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6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7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9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0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04" r:id="rId5"/>
  </p:sldMasterIdLst>
  <p:notesMasterIdLst>
    <p:notesMasterId r:id="rId33"/>
  </p:notesMasterIdLst>
  <p:sldIdLst>
    <p:sldId id="271" r:id="rId6"/>
    <p:sldId id="377" r:id="rId7"/>
    <p:sldId id="359" r:id="rId8"/>
    <p:sldId id="2147482361" r:id="rId9"/>
    <p:sldId id="2147482341" r:id="rId10"/>
    <p:sldId id="2147482324" r:id="rId11"/>
    <p:sldId id="2147482436" r:id="rId12"/>
    <p:sldId id="2147482323" r:id="rId13"/>
    <p:sldId id="2147482348" r:id="rId14"/>
    <p:sldId id="2147482435" r:id="rId15"/>
    <p:sldId id="2147482336" r:id="rId16"/>
    <p:sldId id="364" r:id="rId17"/>
    <p:sldId id="2147482140" r:id="rId18"/>
    <p:sldId id="2147482221" r:id="rId19"/>
    <p:sldId id="279" r:id="rId20"/>
    <p:sldId id="280" r:id="rId21"/>
    <p:sldId id="2147482337" r:id="rId22"/>
    <p:sldId id="2147482218" r:id="rId23"/>
    <p:sldId id="2147482219" r:id="rId24"/>
    <p:sldId id="285" r:id="rId25"/>
    <p:sldId id="371" r:id="rId26"/>
    <p:sldId id="366" r:id="rId27"/>
    <p:sldId id="2147482141" r:id="rId28"/>
    <p:sldId id="367" r:id="rId29"/>
    <p:sldId id="370" r:id="rId30"/>
    <p:sldId id="2147482343" r:id="rId31"/>
    <p:sldId id="369" r:id="rId32"/>
  </p:sldIdLst>
  <p:sldSz cx="12192000" cy="6858000"/>
  <p:notesSz cx="6858000" cy="9144000"/>
  <p:embeddedFontLst>
    <p:embeddedFont>
      <p:font typeface="DM Sans 14pt" panose="020B0604020202020204" charset="0"/>
      <p:regular r:id="rId34"/>
      <p:bold r:id="rId35"/>
      <p:italic r:id="rId36"/>
      <p:boldItalic r:id="rId37"/>
    </p:embeddedFont>
    <p:embeddedFont>
      <p:font typeface="DM Sans 14pt ExtraBold" panose="020B0604020202020204" charset="0"/>
      <p:bold r:id="rId38"/>
      <p:italic r:id="rId39"/>
      <p:boldItalic r:id="rId40"/>
    </p:embeddedFont>
    <p:embeddedFont>
      <p:font typeface="DM Sans 18pt 18pt" panose="020B0604020202020204" charset="0"/>
      <p:regular r:id="rId41"/>
      <p:bold r:id="rId42"/>
      <p:italic r:id="rId43"/>
      <p:boldItalic r:id="rId44"/>
    </p:embeddedFont>
    <p:embeddedFont>
      <p:font typeface="DM Sans 18pt 18pt ExtraBold" panose="020B0604020202020204" charset="0"/>
      <p:bold r:id="rId45"/>
      <p:italic r:id="rId46"/>
      <p:boldItalic r:id="rId47"/>
    </p:embeddedFont>
    <p:embeddedFont>
      <p:font typeface="Verdana" panose="020B0604030504040204" pitchFamily="34" charset="0"/>
      <p:regular r:id="rId48"/>
      <p:bold r:id="rId49"/>
      <p:italic r:id="rId50"/>
      <p:boldItalic r:id="rId51"/>
    </p:embeddedFont>
  </p:embeddedFont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C06209-B2CD-BB13-C59F-4E5274A4437B}" name="Kasper Brøndum Andersen" initials="KA" userId="S::kba@domea.dk::23d34907-f6e1-4907-afd7-52417792db56" providerId="AD"/>
  <p188:author id="{9ABA6723-4ADF-A384-2EF1-EA73D94E0DA0}" name="Ulla Jensen" initials="UJ" userId="S::uje@domea.dk::9f08d654-f16e-4e37-932e-b650d83c4d02" providerId="AD"/>
  <p188:author id="{F043BF62-02E5-E499-5D88-1E0D09E8EAB8}" name="Helene" initials="He" userId="S::helene_wearedouc.com#ext#@domeadk.onmicrosoft.com::352e86e0-ed43-41b6-8071-b1515fd57e55" providerId="AD"/>
  <p188:author id="{31E96DCF-9162-5D5A-40E8-05DB525962EA}" name="Helene Arnfred" initials="" userId="S::ext_hea@domea.dk::05a8b423-6e7f-4e71-b601-f56a99db3ed5" providerId="AD"/>
  <p188:author id="{27B0BEDF-26BA-7323-8DC9-345BF8EBFBF3}" name="Christine Lunde Rasmussen" initials="CR" userId="S::chlu@ramboll.com::2a2bad2f-d0be-4197-814a-0f7e80be61f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3E50"/>
    <a:srgbClr val="F26B78"/>
    <a:srgbClr val="FF0000"/>
    <a:srgbClr val="252F5F"/>
    <a:srgbClr val="1B2F8C"/>
    <a:srgbClr val="FFFFFF"/>
    <a:srgbClr val="F2F6F6"/>
    <a:srgbClr val="000000"/>
    <a:srgbClr val="BFBFBF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F24EC5-C7AA-6E35-4F2B-B0D290F49DE5}" v="10" dt="2025-04-29T10:15:11.306"/>
    <p1510:client id="{C16BD0F3-1DC3-411E-87DE-C9A7C46D4FDA}" v="3" dt="2025-04-29T11:50:09.7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viewProps" Target="viewProps.xml"/><Relationship Id="rId58" Type="http://schemas.microsoft.com/office/2018/10/relationships/authors" Target="author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microsoft.com/office/2016/11/relationships/changesInfo" Target="changesInfos/changesInfo1.xml"/><Relationship Id="rId8" Type="http://schemas.openxmlformats.org/officeDocument/2006/relationships/slide" Target="slides/slide3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0" Type="http://schemas.openxmlformats.org/officeDocument/2006/relationships/slide" Target="slides/slide15.xml"/><Relationship Id="rId41" Type="http://schemas.openxmlformats.org/officeDocument/2006/relationships/font" Target="fonts/font8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microsoft.com/office/2015/10/relationships/revisionInfo" Target="revisionInfo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font" Target="fonts/font11.fntdata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sper Brøndum Andersen" userId="23d34907-f6e1-4907-afd7-52417792db56" providerId="ADAL" clId="{C16BD0F3-1DC3-411E-87DE-C9A7C46D4FDA}"/>
    <pc:docChg chg="undo custSel delSld modSld">
      <pc:chgData name="Kasper Brøndum Andersen" userId="23d34907-f6e1-4907-afd7-52417792db56" providerId="ADAL" clId="{C16BD0F3-1DC3-411E-87DE-C9A7C46D4FDA}" dt="2025-04-29T11:50:09.763" v="23" actId="2696"/>
      <pc:docMkLst>
        <pc:docMk/>
      </pc:docMkLst>
      <pc:sldChg chg="modSp mod">
        <pc:chgData name="Kasper Brøndum Andersen" userId="23d34907-f6e1-4907-afd7-52417792db56" providerId="ADAL" clId="{C16BD0F3-1DC3-411E-87DE-C9A7C46D4FDA}" dt="2025-04-29T10:16:29.496" v="1" actId="14100"/>
        <pc:sldMkLst>
          <pc:docMk/>
          <pc:sldMk cId="3757255944" sldId="271"/>
        </pc:sldMkLst>
        <pc:spChg chg="mod">
          <ac:chgData name="Kasper Brøndum Andersen" userId="23d34907-f6e1-4907-afd7-52417792db56" providerId="ADAL" clId="{C16BD0F3-1DC3-411E-87DE-C9A7C46D4FDA}" dt="2025-04-29T10:16:29.496" v="1" actId="14100"/>
          <ac:spMkLst>
            <pc:docMk/>
            <pc:sldMk cId="3757255944" sldId="271"/>
            <ac:spMk id="4" creationId="{BEFDCC9A-89DB-CE78-A003-7CA8B45CD0C9}"/>
          </ac:spMkLst>
        </pc:spChg>
      </pc:sldChg>
      <pc:sldChg chg="del">
        <pc:chgData name="Kasper Brøndum Andersen" userId="23d34907-f6e1-4907-afd7-52417792db56" providerId="ADAL" clId="{C16BD0F3-1DC3-411E-87DE-C9A7C46D4FDA}" dt="2025-04-29T11:50:00.004" v="21" actId="2696"/>
        <pc:sldMkLst>
          <pc:docMk/>
          <pc:sldMk cId="1322666523" sldId="2147482214"/>
        </pc:sldMkLst>
      </pc:sldChg>
      <pc:sldChg chg="modSp del mod">
        <pc:chgData name="Kasper Brøndum Andersen" userId="23d34907-f6e1-4907-afd7-52417792db56" providerId="ADAL" clId="{C16BD0F3-1DC3-411E-87DE-C9A7C46D4FDA}" dt="2025-04-29T11:50:09.763" v="23" actId="2696"/>
        <pc:sldMkLst>
          <pc:docMk/>
          <pc:sldMk cId="3080545487" sldId="2147482217"/>
        </pc:sldMkLst>
        <pc:spChg chg="mod">
          <ac:chgData name="Kasper Brøndum Andersen" userId="23d34907-f6e1-4907-afd7-52417792db56" providerId="ADAL" clId="{C16BD0F3-1DC3-411E-87DE-C9A7C46D4FDA}" dt="2025-04-29T10:19:23.445" v="20" actId="20577"/>
          <ac:spMkLst>
            <pc:docMk/>
            <pc:sldMk cId="3080545487" sldId="2147482217"/>
            <ac:spMk id="2" creationId="{F2C66A75-080A-0F94-BF7A-7E8EF107BE28}"/>
          </ac:spMkLst>
        </pc:spChg>
      </pc:sldChg>
      <pc:sldChg chg="modSp del mod">
        <pc:chgData name="Kasper Brøndum Andersen" userId="23d34907-f6e1-4907-afd7-52417792db56" providerId="ADAL" clId="{C16BD0F3-1DC3-411E-87DE-C9A7C46D4FDA}" dt="2025-04-29T11:50:05.422" v="22" actId="2696"/>
        <pc:sldMkLst>
          <pc:docMk/>
          <pc:sldMk cId="2393269248" sldId="2147482220"/>
        </pc:sldMkLst>
        <pc:spChg chg="mod">
          <ac:chgData name="Kasper Brøndum Andersen" userId="23d34907-f6e1-4907-afd7-52417792db56" providerId="ADAL" clId="{C16BD0F3-1DC3-411E-87DE-C9A7C46D4FDA}" dt="2025-04-29T10:19:17.715" v="13" actId="20577"/>
          <ac:spMkLst>
            <pc:docMk/>
            <pc:sldMk cId="2393269248" sldId="2147482220"/>
            <ac:spMk id="3" creationId="{772EE258-6938-511B-578C-F31096E6CEEC}"/>
          </ac:spMkLst>
        </pc:spChg>
      </pc:sldChg>
      <pc:sldChg chg="modSp mod">
        <pc:chgData name="Kasper Brøndum Andersen" userId="23d34907-f6e1-4907-afd7-52417792db56" providerId="ADAL" clId="{C16BD0F3-1DC3-411E-87DE-C9A7C46D4FDA}" dt="2025-04-29T10:17:10.762" v="2" actId="552"/>
        <pc:sldMkLst>
          <pc:docMk/>
          <pc:sldMk cId="3493679872" sldId="2147482341"/>
        </pc:sldMkLst>
        <pc:spChg chg="mod">
          <ac:chgData name="Kasper Brøndum Andersen" userId="23d34907-f6e1-4907-afd7-52417792db56" providerId="ADAL" clId="{C16BD0F3-1DC3-411E-87DE-C9A7C46D4FDA}" dt="2025-04-29T10:17:10.762" v="2" actId="552"/>
          <ac:spMkLst>
            <pc:docMk/>
            <pc:sldMk cId="3493679872" sldId="2147482341"/>
            <ac:spMk id="10" creationId="{9460C6E6-E3E4-2E83-915B-17A29E1C7BBB}"/>
          </ac:spMkLst>
        </pc:spChg>
        <pc:spChg chg="mod">
          <ac:chgData name="Kasper Brøndum Andersen" userId="23d34907-f6e1-4907-afd7-52417792db56" providerId="ADAL" clId="{C16BD0F3-1DC3-411E-87DE-C9A7C46D4FDA}" dt="2025-04-29T10:17:10.762" v="2" actId="552"/>
          <ac:spMkLst>
            <pc:docMk/>
            <pc:sldMk cId="3493679872" sldId="2147482341"/>
            <ac:spMk id="11" creationId="{B2DBEB14-2AA3-3B39-6897-BF997D83C398}"/>
          </ac:spMkLst>
        </pc:spChg>
        <pc:spChg chg="mod">
          <ac:chgData name="Kasper Brøndum Andersen" userId="23d34907-f6e1-4907-afd7-52417792db56" providerId="ADAL" clId="{C16BD0F3-1DC3-411E-87DE-C9A7C46D4FDA}" dt="2025-04-29T10:17:10.762" v="2" actId="552"/>
          <ac:spMkLst>
            <pc:docMk/>
            <pc:sldMk cId="3493679872" sldId="2147482341"/>
            <ac:spMk id="13" creationId="{04A4F302-F2B4-2DE5-F8D3-D138A9E5B266}"/>
          </ac:spMkLst>
        </pc:spChg>
        <pc:spChg chg="mod">
          <ac:chgData name="Kasper Brøndum Andersen" userId="23d34907-f6e1-4907-afd7-52417792db56" providerId="ADAL" clId="{C16BD0F3-1DC3-411E-87DE-C9A7C46D4FDA}" dt="2025-04-29T10:17:10.762" v="2" actId="552"/>
          <ac:spMkLst>
            <pc:docMk/>
            <pc:sldMk cId="3493679872" sldId="2147482341"/>
            <ac:spMk id="14" creationId="{B0111D0F-F906-BED3-CE95-5C7D4A1E6B14}"/>
          </ac:spMkLst>
        </pc:spChg>
      </pc:sldChg>
      <pc:sldChg chg="modSp mod">
        <pc:chgData name="Kasper Brøndum Andersen" userId="23d34907-f6e1-4907-afd7-52417792db56" providerId="ADAL" clId="{C16BD0F3-1DC3-411E-87DE-C9A7C46D4FDA}" dt="2025-04-29T10:17:31.231" v="6" actId="20577"/>
        <pc:sldMkLst>
          <pc:docMk/>
          <pc:sldMk cId="2522389082" sldId="2147482348"/>
        </pc:sldMkLst>
        <pc:spChg chg="mod">
          <ac:chgData name="Kasper Brøndum Andersen" userId="23d34907-f6e1-4907-afd7-52417792db56" providerId="ADAL" clId="{C16BD0F3-1DC3-411E-87DE-C9A7C46D4FDA}" dt="2025-04-29T10:17:31.231" v="6" actId="20577"/>
          <ac:spMkLst>
            <pc:docMk/>
            <pc:sldMk cId="2522389082" sldId="2147482348"/>
            <ac:spMk id="11" creationId="{30A296B9-7F59-9FDD-E164-5474A04C769A}"/>
          </ac:spMkLst>
        </pc:spChg>
        <pc:spChg chg="mod">
          <ac:chgData name="Kasper Brøndum Andersen" userId="23d34907-f6e1-4907-afd7-52417792db56" providerId="ADAL" clId="{C16BD0F3-1DC3-411E-87DE-C9A7C46D4FDA}" dt="2025-04-29T10:17:24.193" v="4" actId="20577"/>
          <ac:spMkLst>
            <pc:docMk/>
            <pc:sldMk cId="2522389082" sldId="2147482348"/>
            <ac:spMk id="18" creationId="{AF22E54B-FB42-F9EF-3D0C-0D5D16AF568F}"/>
          </ac:spMkLst>
        </pc:spChg>
      </pc:sldChg>
      <pc:sldMasterChg chg="delSldLayout">
        <pc:chgData name="Kasper Brøndum Andersen" userId="23d34907-f6e1-4907-afd7-52417792db56" providerId="ADAL" clId="{C16BD0F3-1DC3-411E-87DE-C9A7C46D4FDA}" dt="2025-04-29T11:50:09.763" v="23" actId="2696"/>
        <pc:sldMasterMkLst>
          <pc:docMk/>
          <pc:sldMasterMk cId="3274531507" sldId="2147483648"/>
        </pc:sldMasterMkLst>
        <pc:sldLayoutChg chg="del">
          <pc:chgData name="Kasper Brøndum Andersen" userId="23d34907-f6e1-4907-afd7-52417792db56" providerId="ADAL" clId="{C16BD0F3-1DC3-411E-87DE-C9A7C46D4FDA}" dt="2025-04-29T11:50:00.004" v="21" actId="2696"/>
          <pc:sldLayoutMkLst>
            <pc:docMk/>
            <pc:sldMasterMk cId="3274531507" sldId="2147483648"/>
            <pc:sldLayoutMk cId="1306960158" sldId="2147483698"/>
          </pc:sldLayoutMkLst>
        </pc:sldLayoutChg>
        <pc:sldLayoutChg chg="del">
          <pc:chgData name="Kasper Brøndum Andersen" userId="23d34907-f6e1-4907-afd7-52417792db56" providerId="ADAL" clId="{C16BD0F3-1DC3-411E-87DE-C9A7C46D4FDA}" dt="2025-04-29T11:50:05.422" v="22" actId="2696"/>
          <pc:sldLayoutMkLst>
            <pc:docMk/>
            <pc:sldMasterMk cId="3274531507" sldId="2147483648"/>
            <pc:sldLayoutMk cId="145700447" sldId="2147483700"/>
          </pc:sldLayoutMkLst>
        </pc:sldLayoutChg>
        <pc:sldLayoutChg chg="del">
          <pc:chgData name="Kasper Brøndum Andersen" userId="23d34907-f6e1-4907-afd7-52417792db56" providerId="ADAL" clId="{C16BD0F3-1DC3-411E-87DE-C9A7C46D4FDA}" dt="2025-04-29T11:50:09.763" v="23" actId="2696"/>
          <pc:sldLayoutMkLst>
            <pc:docMk/>
            <pc:sldMasterMk cId="3274531507" sldId="2147483648"/>
            <pc:sldLayoutMk cId="3626547234" sldId="2147483702"/>
          </pc:sldLayoutMkLst>
        </pc:sldLayoutChg>
      </pc:sldMasterChg>
    </pc:docChg>
  </pc:docChgLst>
  <pc:docChgLst>
    <pc:chgData name="Ulla Jensen" userId="S::uje@domea.dk::9f08d654-f16e-4e37-932e-b650d83c4d02" providerId="AD" clId="Web-{6669E502-345E-F215-67ED-218A183BBCF7}"/>
    <pc:docChg chg="modSld">
      <pc:chgData name="Ulla Jensen" userId="S::uje@domea.dk::9f08d654-f16e-4e37-932e-b650d83c4d02" providerId="AD" clId="Web-{6669E502-345E-F215-67ED-218A183BBCF7}" dt="2025-04-25T09:31:33.438" v="11" actId="14100"/>
      <pc:docMkLst>
        <pc:docMk/>
      </pc:docMkLst>
      <pc:sldChg chg="modSp">
        <pc:chgData name="Ulla Jensen" userId="S::uje@domea.dk::9f08d654-f16e-4e37-932e-b650d83c4d02" providerId="AD" clId="Web-{6669E502-345E-F215-67ED-218A183BBCF7}" dt="2025-04-25T09:30:20.449" v="6" actId="20577"/>
        <pc:sldMkLst>
          <pc:docMk/>
          <pc:sldMk cId="2177369503" sldId="2147482323"/>
        </pc:sldMkLst>
        <pc:spChg chg="mod">
          <ac:chgData name="Ulla Jensen" userId="S::uje@domea.dk::9f08d654-f16e-4e37-932e-b650d83c4d02" providerId="AD" clId="Web-{6669E502-345E-F215-67ED-218A183BBCF7}" dt="2025-04-25T09:30:20.449" v="6" actId="20577"/>
          <ac:spMkLst>
            <pc:docMk/>
            <pc:sldMk cId="2177369503" sldId="2147482323"/>
            <ac:spMk id="4" creationId="{10D502F5-62F0-40CD-9814-58E2D7BBCBBC}"/>
          </ac:spMkLst>
        </pc:spChg>
      </pc:sldChg>
      <pc:sldChg chg="addSp delSp modSp">
        <pc:chgData name="Ulla Jensen" userId="S::uje@domea.dk::9f08d654-f16e-4e37-932e-b650d83c4d02" providerId="AD" clId="Web-{6669E502-345E-F215-67ED-218A183BBCF7}" dt="2025-04-25T09:31:33.438" v="11" actId="14100"/>
        <pc:sldMkLst>
          <pc:docMk/>
          <pc:sldMk cId="2522389082" sldId="2147482348"/>
        </pc:sldMkLst>
        <pc:picChg chg="add mod">
          <ac:chgData name="Ulla Jensen" userId="S::uje@domea.dk::9f08d654-f16e-4e37-932e-b650d83c4d02" providerId="AD" clId="Web-{6669E502-345E-F215-67ED-218A183BBCF7}" dt="2025-04-25T09:31:33.438" v="11" actId="14100"/>
          <ac:picMkLst>
            <pc:docMk/>
            <pc:sldMk cId="2522389082" sldId="2147482348"/>
            <ac:picMk id="2" creationId="{545DEABD-5CF1-3F5C-B265-2A82FF92CD84}"/>
          </ac:picMkLst>
        </pc:picChg>
      </pc:sldChg>
    </pc:docChg>
  </pc:docChgLst>
  <pc:docChgLst>
    <pc:chgData name="Ulla Jensen" userId="9f08d654-f16e-4e37-932e-b650d83c4d02" providerId="ADAL" clId="{3C480E46-3E8C-484C-ACB5-5F32DF4F6B52}"/>
    <pc:docChg chg="undo custSel addSld delSld modSld sldOrd delMainMaster">
      <pc:chgData name="Ulla Jensen" userId="9f08d654-f16e-4e37-932e-b650d83c4d02" providerId="ADAL" clId="{3C480E46-3E8C-484C-ACB5-5F32DF4F6B52}" dt="2025-04-25T09:35:03.159" v="351" actId="14100"/>
      <pc:docMkLst>
        <pc:docMk/>
      </pc:docMkLst>
      <pc:sldChg chg="del">
        <pc:chgData name="Ulla Jensen" userId="9f08d654-f16e-4e37-932e-b650d83c4d02" providerId="ADAL" clId="{3C480E46-3E8C-484C-ACB5-5F32DF4F6B52}" dt="2025-04-25T09:06:50.570" v="101" actId="47"/>
        <pc:sldMkLst>
          <pc:docMk/>
          <pc:sldMk cId="643063494" sldId="329"/>
        </pc:sldMkLst>
      </pc:sldChg>
      <pc:sldChg chg="addSp delSp modSp mod">
        <pc:chgData name="Ulla Jensen" userId="9f08d654-f16e-4e37-932e-b650d83c4d02" providerId="ADAL" clId="{3C480E46-3E8C-484C-ACB5-5F32DF4F6B52}" dt="2025-04-25T09:00:11.250" v="33" actId="113"/>
        <pc:sldMkLst>
          <pc:docMk/>
          <pc:sldMk cId="1558907064" sldId="359"/>
        </pc:sldMkLst>
        <pc:spChg chg="mod">
          <ac:chgData name="Ulla Jensen" userId="9f08d654-f16e-4e37-932e-b650d83c4d02" providerId="ADAL" clId="{3C480E46-3E8C-484C-ACB5-5F32DF4F6B52}" dt="2025-04-25T08:59:20.261" v="26" actId="6549"/>
          <ac:spMkLst>
            <pc:docMk/>
            <pc:sldMk cId="1558907064" sldId="359"/>
            <ac:spMk id="11" creationId="{496981AC-7C70-840C-E6F7-7E4344A95FCC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14" creationId="{A3AD64FC-C415-FE68-0388-0DD390CEBDDD}"/>
          </ac:spMkLst>
        </pc:spChg>
        <pc:spChg chg="mod">
          <ac:chgData name="Ulla Jensen" userId="9f08d654-f16e-4e37-932e-b650d83c4d02" providerId="ADAL" clId="{3C480E46-3E8C-484C-ACB5-5F32DF4F6B52}" dt="2025-04-25T09:00:11.250" v="33" actId="113"/>
          <ac:spMkLst>
            <pc:docMk/>
            <pc:sldMk cId="1558907064" sldId="359"/>
            <ac:spMk id="16" creationId="{E9DDE379-14BA-AC67-78BB-C67D2B6D14A5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17" creationId="{87F5E7A9-A47B-15F0-4431-A02C78A32372}"/>
          </ac:spMkLst>
        </pc:spChg>
        <pc:spChg chg="mod">
          <ac:chgData name="Ulla Jensen" userId="9f08d654-f16e-4e37-932e-b650d83c4d02" providerId="ADAL" clId="{3C480E46-3E8C-484C-ACB5-5F32DF4F6B52}" dt="2025-04-25T08:59:14.783" v="25" actId="20577"/>
          <ac:spMkLst>
            <pc:docMk/>
            <pc:sldMk cId="1558907064" sldId="359"/>
            <ac:spMk id="18" creationId="{24155389-BBF9-7854-0F91-29FE48ED6004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19" creationId="{45D1812B-8624-70D8-2CF0-1C75E07F7942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20" creationId="{1329A0DB-3A07-B539-1D0E-898A2D84D2F5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24" creationId="{9516E953-3AB2-827A-F477-D47B25EF0B4E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28" creationId="{8E46D492-1160-8BEE-A87A-5B524F562120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30" creationId="{BD6CDE2D-6B24-104B-503D-630100C8E6F6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33" creationId="{812D4FAD-4F45-2208-6BAD-FFC8B7F67B33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35" creationId="{2CA10AED-823D-B81D-9489-FCCAE60B4DCF}"/>
          </ac:spMkLst>
        </pc:spChg>
        <pc:spChg chg="add mod">
          <ac:chgData name="Ulla Jensen" userId="9f08d654-f16e-4e37-932e-b650d83c4d02" providerId="ADAL" clId="{3C480E46-3E8C-484C-ACB5-5F32DF4F6B52}" dt="2025-04-25T08:58:48.276" v="7" actId="1076"/>
          <ac:spMkLst>
            <pc:docMk/>
            <pc:sldMk cId="1558907064" sldId="359"/>
            <ac:spMk id="36" creationId="{9E1DED2A-0E54-51EF-BDFF-40F000BA8D50}"/>
          </ac:spMkLst>
        </pc:spChg>
      </pc:sldChg>
      <pc:sldChg chg="delSp modSp mod">
        <pc:chgData name="Ulla Jensen" userId="9f08d654-f16e-4e37-932e-b650d83c4d02" providerId="ADAL" clId="{3C480E46-3E8C-484C-ACB5-5F32DF4F6B52}" dt="2025-04-25T09:24:50.653" v="312" actId="20577"/>
        <pc:sldMkLst>
          <pc:docMk/>
          <pc:sldMk cId="1192291879" sldId="364"/>
        </pc:sldMkLst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4" creationId="{17DEC962-275C-4C16-B2D1-9DE49A0565BB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43" creationId="{F06E0613-FAD0-477F-9DD7-485EA781E8EF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44" creationId="{939CFFE5-5B5F-4F0F-998F-F5E92EA3B30C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58" creationId="{952CDA73-1956-4F14-A89E-026A64C45FC7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59" creationId="{7F756B24-A0B7-43F3-A8FD-915F96A558CA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60" creationId="{CD17B9DE-A959-429E-B6FC-DB4942D63BED}"/>
          </ac:spMkLst>
        </pc:spChg>
        <pc:spChg chg="mod">
          <ac:chgData name="Ulla Jensen" userId="9f08d654-f16e-4e37-932e-b650d83c4d02" providerId="ADAL" clId="{3C480E46-3E8C-484C-ACB5-5F32DF4F6B52}" dt="2025-04-25T09:24:06.309" v="235" actId="207"/>
          <ac:spMkLst>
            <pc:docMk/>
            <pc:sldMk cId="1192291879" sldId="364"/>
            <ac:spMk id="78" creationId="{87CC7F01-E184-4790-9D42-59A46AE3BB04}"/>
          </ac:spMkLst>
        </pc:spChg>
        <pc:spChg chg="mod">
          <ac:chgData name="Ulla Jensen" userId="9f08d654-f16e-4e37-932e-b650d83c4d02" providerId="ADAL" clId="{3C480E46-3E8C-484C-ACB5-5F32DF4F6B52}" dt="2025-04-25T09:23:26.360" v="186" actId="1076"/>
          <ac:spMkLst>
            <pc:docMk/>
            <pc:sldMk cId="1192291879" sldId="364"/>
            <ac:spMk id="79" creationId="{5663D505-9D09-466E-81E5-F92A204820C9}"/>
          </ac:spMkLst>
        </pc:spChg>
        <pc:spChg chg="mod">
          <ac:chgData name="Ulla Jensen" userId="9f08d654-f16e-4e37-932e-b650d83c4d02" providerId="ADAL" clId="{3C480E46-3E8C-484C-ACB5-5F32DF4F6B52}" dt="2025-04-25T09:24:50.653" v="312" actId="20577"/>
          <ac:spMkLst>
            <pc:docMk/>
            <pc:sldMk cId="1192291879" sldId="364"/>
            <ac:spMk id="80" creationId="{CF6C27B2-1A27-41F1-A52B-9D3D06CEA6FA}"/>
          </ac:spMkLst>
        </pc:spChg>
        <pc:spChg chg="mod">
          <ac:chgData name="Ulla Jensen" userId="9f08d654-f16e-4e37-932e-b650d83c4d02" providerId="ADAL" clId="{3C480E46-3E8C-484C-ACB5-5F32DF4F6B52}" dt="2025-04-25T09:23:35.319" v="187" actId="1076"/>
          <ac:spMkLst>
            <pc:docMk/>
            <pc:sldMk cId="1192291879" sldId="364"/>
            <ac:spMk id="88" creationId="{A3FC566A-3A3F-4604-BF44-288D029A99E1}"/>
          </ac:spMkLst>
        </pc:spChg>
        <pc:picChg chg="mod">
          <ac:chgData name="Ulla Jensen" userId="9f08d654-f16e-4e37-932e-b650d83c4d02" providerId="ADAL" clId="{3C480E46-3E8C-484C-ACB5-5F32DF4F6B52}" dt="2025-04-25T09:23:26.360" v="186" actId="1076"/>
          <ac:picMkLst>
            <pc:docMk/>
            <pc:sldMk cId="1192291879" sldId="364"/>
            <ac:picMk id="71" creationId="{D27ACCC3-1D74-4183-8710-051575EA454A}"/>
          </ac:picMkLst>
        </pc:picChg>
        <pc:picChg chg="mod">
          <ac:chgData name="Ulla Jensen" userId="9f08d654-f16e-4e37-932e-b650d83c4d02" providerId="ADAL" clId="{3C480E46-3E8C-484C-ACB5-5F32DF4F6B52}" dt="2025-04-25T09:21:56.571" v="164" actId="1076"/>
          <ac:picMkLst>
            <pc:docMk/>
            <pc:sldMk cId="1192291879" sldId="364"/>
            <ac:picMk id="74" creationId="{90687A0D-9127-4A4D-B82D-B81F1A18E9DC}"/>
          </ac:picMkLst>
        </pc:picChg>
        <pc:picChg chg="mod">
          <ac:chgData name="Ulla Jensen" userId="9f08d654-f16e-4e37-932e-b650d83c4d02" providerId="ADAL" clId="{3C480E46-3E8C-484C-ACB5-5F32DF4F6B52}" dt="2025-04-25T09:23:35.319" v="187" actId="1076"/>
          <ac:picMkLst>
            <pc:docMk/>
            <pc:sldMk cId="1192291879" sldId="364"/>
            <ac:picMk id="90" creationId="{832172AB-AC87-4C4B-B426-E61A7D2F7573}"/>
          </ac:picMkLst>
        </pc:picChg>
        <pc:picChg chg="mod">
          <ac:chgData name="Ulla Jensen" userId="9f08d654-f16e-4e37-932e-b650d83c4d02" providerId="ADAL" clId="{3C480E46-3E8C-484C-ACB5-5F32DF4F6B52}" dt="2025-04-25T09:23:35.319" v="187" actId="1076"/>
          <ac:picMkLst>
            <pc:docMk/>
            <pc:sldMk cId="1192291879" sldId="364"/>
            <ac:picMk id="91" creationId="{9BE204F0-B76A-4BF5-A233-AB64ACC44F51}"/>
          </ac:picMkLst>
        </pc:picChg>
        <pc:picChg chg="mod">
          <ac:chgData name="Ulla Jensen" userId="9f08d654-f16e-4e37-932e-b650d83c4d02" providerId="ADAL" clId="{3C480E46-3E8C-484C-ACB5-5F32DF4F6B52}" dt="2025-04-25T09:23:35.319" v="187" actId="1076"/>
          <ac:picMkLst>
            <pc:docMk/>
            <pc:sldMk cId="1192291879" sldId="364"/>
            <ac:picMk id="92" creationId="{580D51BB-9738-4244-9903-6280469B77F9}"/>
          </ac:picMkLst>
        </pc:picChg>
        <pc:picChg chg="mod">
          <ac:chgData name="Ulla Jensen" userId="9f08d654-f16e-4e37-932e-b650d83c4d02" providerId="ADAL" clId="{3C480E46-3E8C-484C-ACB5-5F32DF4F6B52}" dt="2025-04-25T09:23:35.319" v="187" actId="1076"/>
          <ac:picMkLst>
            <pc:docMk/>
            <pc:sldMk cId="1192291879" sldId="364"/>
            <ac:picMk id="93" creationId="{AFF0C985-E2B4-40F3-BE04-899B074C34CD}"/>
          </ac:picMkLst>
        </pc:picChg>
      </pc:sldChg>
      <pc:sldChg chg="del">
        <pc:chgData name="Ulla Jensen" userId="9f08d654-f16e-4e37-932e-b650d83c4d02" providerId="ADAL" clId="{3C480E46-3E8C-484C-ACB5-5F32DF4F6B52}" dt="2025-04-25T09:15:30.587" v="148" actId="47"/>
        <pc:sldMkLst>
          <pc:docMk/>
          <pc:sldMk cId="254291433" sldId="2147482212"/>
        </pc:sldMkLst>
      </pc:sldChg>
      <pc:sldChg chg="del">
        <pc:chgData name="Ulla Jensen" userId="9f08d654-f16e-4e37-932e-b650d83c4d02" providerId="ADAL" clId="{3C480E46-3E8C-484C-ACB5-5F32DF4F6B52}" dt="2025-04-25T09:07:25.467" v="133" actId="47"/>
        <pc:sldMkLst>
          <pc:docMk/>
          <pc:sldMk cId="2845332191" sldId="2147482222"/>
        </pc:sldMkLst>
      </pc:sldChg>
      <pc:sldChg chg="del">
        <pc:chgData name="Ulla Jensen" userId="9f08d654-f16e-4e37-932e-b650d83c4d02" providerId="ADAL" clId="{3C480E46-3E8C-484C-ACB5-5F32DF4F6B52}" dt="2025-04-25T09:25:55.976" v="313" actId="47"/>
        <pc:sldMkLst>
          <pc:docMk/>
          <pc:sldMk cId="1098347908" sldId="2147482325"/>
        </pc:sldMkLst>
      </pc:sldChg>
      <pc:sldChg chg="del">
        <pc:chgData name="Ulla Jensen" userId="9f08d654-f16e-4e37-932e-b650d83c4d02" providerId="ADAL" clId="{3C480E46-3E8C-484C-ACB5-5F32DF4F6B52}" dt="2025-04-25T09:05:16.707" v="71" actId="47"/>
        <pc:sldMkLst>
          <pc:docMk/>
          <pc:sldMk cId="1737928683" sldId="2147482335"/>
        </pc:sldMkLst>
      </pc:sldChg>
      <pc:sldChg chg="modSp mod">
        <pc:chgData name="Ulla Jensen" userId="9f08d654-f16e-4e37-932e-b650d83c4d02" providerId="ADAL" clId="{3C480E46-3E8C-484C-ACB5-5F32DF4F6B52}" dt="2025-04-25T09:35:03.159" v="351" actId="14100"/>
        <pc:sldMkLst>
          <pc:docMk/>
          <pc:sldMk cId="3550390986" sldId="2147482336"/>
        </pc:sldMkLst>
        <pc:spChg chg="mod">
          <ac:chgData name="Ulla Jensen" userId="9f08d654-f16e-4e37-932e-b650d83c4d02" providerId="ADAL" clId="{3C480E46-3E8C-484C-ACB5-5F32DF4F6B52}" dt="2025-04-25T09:35:03.159" v="351" actId="14100"/>
          <ac:spMkLst>
            <pc:docMk/>
            <pc:sldMk cId="3550390986" sldId="2147482336"/>
            <ac:spMk id="31" creationId="{FDBE4273-8075-004F-1F52-679D205EB083}"/>
          </ac:spMkLst>
        </pc:spChg>
        <pc:grpChg chg="mod">
          <ac:chgData name="Ulla Jensen" userId="9f08d654-f16e-4e37-932e-b650d83c4d02" providerId="ADAL" clId="{3C480E46-3E8C-484C-ACB5-5F32DF4F6B52}" dt="2025-04-25T09:34:59.158" v="350" actId="1076"/>
          <ac:grpSpMkLst>
            <pc:docMk/>
            <pc:sldMk cId="3550390986" sldId="2147482336"/>
            <ac:grpSpMk id="45" creationId="{0AFC2C7B-1FED-96E4-7962-074927AB897E}"/>
          </ac:grpSpMkLst>
        </pc:grpChg>
      </pc:sldChg>
      <pc:sldChg chg="modSp mod">
        <pc:chgData name="Ulla Jensen" userId="9f08d654-f16e-4e37-932e-b650d83c4d02" providerId="ADAL" clId="{3C480E46-3E8C-484C-ACB5-5F32DF4F6B52}" dt="2025-04-25T09:03:37.662" v="69" actId="20577"/>
        <pc:sldMkLst>
          <pc:docMk/>
          <pc:sldMk cId="3493679872" sldId="2147482341"/>
        </pc:sldMkLst>
        <pc:spChg chg="mod">
          <ac:chgData name="Ulla Jensen" userId="9f08d654-f16e-4e37-932e-b650d83c4d02" providerId="ADAL" clId="{3C480E46-3E8C-484C-ACB5-5F32DF4F6B52}" dt="2025-04-25T09:03:37.662" v="69" actId="20577"/>
          <ac:spMkLst>
            <pc:docMk/>
            <pc:sldMk cId="3493679872" sldId="2147482341"/>
            <ac:spMk id="16" creationId="{5A85AC56-3B0A-F413-D769-1D216E9AECDA}"/>
          </ac:spMkLst>
        </pc:spChg>
      </pc:sldChg>
      <pc:sldChg chg="del">
        <pc:chgData name="Ulla Jensen" userId="9f08d654-f16e-4e37-932e-b650d83c4d02" providerId="ADAL" clId="{3C480E46-3E8C-484C-ACB5-5F32DF4F6B52}" dt="2025-04-25T09:05:58.308" v="93" actId="47"/>
        <pc:sldMkLst>
          <pc:docMk/>
          <pc:sldMk cId="3525823784" sldId="2147482344"/>
        </pc:sldMkLst>
      </pc:sldChg>
      <pc:sldChg chg="del">
        <pc:chgData name="Ulla Jensen" userId="9f08d654-f16e-4e37-932e-b650d83c4d02" providerId="ADAL" clId="{3C480E46-3E8C-484C-ACB5-5F32DF4F6B52}" dt="2025-04-25T09:00:59.577" v="35" actId="47"/>
        <pc:sldMkLst>
          <pc:docMk/>
          <pc:sldMk cId="3905632112" sldId="2147482345"/>
        </pc:sldMkLst>
      </pc:sldChg>
      <pc:sldChg chg="addSp delSp modSp add mod ord modTransition">
        <pc:chgData name="Ulla Jensen" userId="9f08d654-f16e-4e37-932e-b650d83c4d02" providerId="ADAL" clId="{3C480E46-3E8C-484C-ACB5-5F32DF4F6B52}" dt="2025-04-25T09:32:49.548" v="315" actId="14861"/>
        <pc:sldMkLst>
          <pc:docMk/>
          <pc:sldMk cId="2522389082" sldId="2147482348"/>
        </pc:sldMkLst>
        <pc:spChg chg="mod">
          <ac:chgData name="Ulla Jensen" userId="9f08d654-f16e-4e37-932e-b650d83c4d02" providerId="ADAL" clId="{3C480E46-3E8C-484C-ACB5-5F32DF4F6B52}" dt="2025-04-25T09:06:14.283" v="100" actId="20577"/>
          <ac:spMkLst>
            <pc:docMk/>
            <pc:sldMk cId="2522389082" sldId="2147482348"/>
            <ac:spMk id="4" creationId="{639ED6F1-B432-161E-6A60-509AC11E4269}"/>
          </ac:spMkLst>
        </pc:spChg>
        <pc:spChg chg="ord">
          <ac:chgData name="Ulla Jensen" userId="9f08d654-f16e-4e37-932e-b650d83c4d02" providerId="ADAL" clId="{3C480E46-3E8C-484C-ACB5-5F32DF4F6B52}" dt="2025-04-25T09:11:35.982" v="144" actId="167"/>
          <ac:spMkLst>
            <pc:docMk/>
            <pc:sldMk cId="2522389082" sldId="2147482348"/>
            <ac:spMk id="9" creationId="{6B0C1762-507B-4FBE-04B2-FB7954DD5EE8}"/>
          </ac:spMkLst>
        </pc:spChg>
        <pc:spChg chg="mod">
          <ac:chgData name="Ulla Jensen" userId="9f08d654-f16e-4e37-932e-b650d83c4d02" providerId="ADAL" clId="{3C480E46-3E8C-484C-ACB5-5F32DF4F6B52}" dt="2025-04-25T09:05:48.313" v="92" actId="20577"/>
          <ac:spMkLst>
            <pc:docMk/>
            <pc:sldMk cId="2522389082" sldId="2147482348"/>
            <ac:spMk id="18" creationId="{AF22E54B-FB42-F9EF-3D0C-0D5D16AF568F}"/>
          </ac:spMkLst>
        </pc:spChg>
        <pc:picChg chg="mod">
          <ac:chgData name="Ulla Jensen" userId="9f08d654-f16e-4e37-932e-b650d83c4d02" providerId="ADAL" clId="{3C480E46-3E8C-484C-ACB5-5F32DF4F6B52}" dt="2025-04-25T09:32:49.548" v="315" actId="14861"/>
          <ac:picMkLst>
            <pc:docMk/>
            <pc:sldMk cId="2522389082" sldId="2147482348"/>
            <ac:picMk id="2" creationId="{545DEABD-5CF1-3F5C-B265-2A82FF92CD84}"/>
          </ac:picMkLst>
        </pc:picChg>
        <pc:picChg chg="add mod">
          <ac:chgData name="Ulla Jensen" userId="9f08d654-f16e-4e37-932e-b650d83c4d02" providerId="ADAL" clId="{3C480E46-3E8C-484C-ACB5-5F32DF4F6B52}" dt="2025-04-25T09:10:53.874" v="139" actId="14861"/>
          <ac:picMkLst>
            <pc:docMk/>
            <pc:sldMk cId="2522389082" sldId="2147482348"/>
            <ac:picMk id="5" creationId="{067C9AC0-9AB7-0BF9-CFD4-B6E13FF3170D}"/>
          </ac:picMkLst>
        </pc:picChg>
        <pc:picChg chg="add mod ord">
          <ac:chgData name="Ulla Jensen" userId="9f08d654-f16e-4e37-932e-b650d83c4d02" providerId="ADAL" clId="{3C480E46-3E8C-484C-ACB5-5F32DF4F6B52}" dt="2025-04-25T09:11:40.925" v="145" actId="14861"/>
          <ac:picMkLst>
            <pc:docMk/>
            <pc:sldMk cId="2522389082" sldId="2147482348"/>
            <ac:picMk id="15" creationId="{56B60B4A-F78D-43EA-0F37-9AF99460B275}"/>
          </ac:picMkLst>
        </pc:picChg>
      </pc:sldChg>
      <pc:sldChg chg="modSp add mod modTransition">
        <pc:chgData name="Ulla Jensen" userId="9f08d654-f16e-4e37-932e-b650d83c4d02" providerId="ADAL" clId="{3C480E46-3E8C-484C-ACB5-5F32DF4F6B52}" dt="2025-04-25T09:02:33.722" v="57" actId="20577"/>
        <pc:sldMkLst>
          <pc:docMk/>
          <pc:sldMk cId="655890693" sldId="2147482361"/>
        </pc:sldMkLst>
        <pc:spChg chg="mod">
          <ac:chgData name="Ulla Jensen" userId="9f08d654-f16e-4e37-932e-b650d83c4d02" providerId="ADAL" clId="{3C480E46-3E8C-484C-ACB5-5F32DF4F6B52}" dt="2025-04-25T09:01:51.643" v="40" actId="948"/>
          <ac:spMkLst>
            <pc:docMk/>
            <pc:sldMk cId="655890693" sldId="2147482361"/>
            <ac:spMk id="7" creationId="{45A58D0A-DD1D-528D-C216-939AF3654C29}"/>
          </ac:spMkLst>
        </pc:spChg>
        <pc:spChg chg="mod">
          <ac:chgData name="Ulla Jensen" userId="9f08d654-f16e-4e37-932e-b650d83c4d02" providerId="ADAL" clId="{3C480E46-3E8C-484C-ACB5-5F32DF4F6B52}" dt="2025-04-25T09:02:00.056" v="41" actId="948"/>
          <ac:spMkLst>
            <pc:docMk/>
            <pc:sldMk cId="655890693" sldId="2147482361"/>
            <ac:spMk id="14" creationId="{F6A17442-BAE4-D8CF-D18C-9CF04ED9F17B}"/>
          </ac:spMkLst>
        </pc:spChg>
        <pc:spChg chg="mod">
          <ac:chgData name="Ulla Jensen" userId="9f08d654-f16e-4e37-932e-b650d83c4d02" providerId="ADAL" clId="{3C480E46-3E8C-484C-ACB5-5F32DF4F6B52}" dt="2025-04-25T09:02:33.722" v="57" actId="20577"/>
          <ac:spMkLst>
            <pc:docMk/>
            <pc:sldMk cId="655890693" sldId="2147482361"/>
            <ac:spMk id="16" creationId="{FA3EDFDC-D980-2EFA-FFF5-91A15C353DEF}"/>
          </ac:spMkLst>
        </pc:spChg>
      </pc:sldChg>
      <pc:sldChg chg="addSp delSp modSp add mod ord">
        <pc:chgData name="Ulla Jensen" userId="9f08d654-f16e-4e37-932e-b650d83c4d02" providerId="ADAL" clId="{3C480E46-3E8C-484C-ACB5-5F32DF4F6B52}" dt="2025-04-25T09:15:35.680" v="152" actId="27309"/>
        <pc:sldMkLst>
          <pc:docMk/>
          <pc:sldMk cId="921164863" sldId="2147482435"/>
        </pc:sldMkLst>
        <pc:spChg chg="mod">
          <ac:chgData name="Ulla Jensen" userId="9f08d654-f16e-4e37-932e-b650d83c4d02" providerId="ADAL" clId="{3C480E46-3E8C-484C-ACB5-5F32DF4F6B52}" dt="2025-04-25T09:07:06.270" v="132" actId="20577"/>
          <ac:spMkLst>
            <pc:docMk/>
            <pc:sldMk cId="921164863" sldId="2147482435"/>
            <ac:spMk id="2" creationId="{A1F7096D-1A34-2F89-78FF-0B7BEDBF8C50}"/>
          </ac:spMkLst>
        </pc:spChg>
      </pc:sldChg>
      <pc:sldChg chg="add">
        <pc:chgData name="Ulla Jensen" userId="9f08d654-f16e-4e37-932e-b650d83c4d02" providerId="ADAL" clId="{3C480E46-3E8C-484C-ACB5-5F32DF4F6B52}" dt="2025-04-25T09:04:58.351" v="70"/>
        <pc:sldMkLst>
          <pc:docMk/>
          <pc:sldMk cId="1334273291" sldId="2147482436"/>
        </pc:sldMkLst>
      </pc:sldChg>
      <pc:sldChg chg="delSp add del mod">
        <pc:chgData name="Ulla Jensen" userId="9f08d654-f16e-4e37-932e-b650d83c4d02" providerId="ADAL" clId="{3C480E46-3E8C-484C-ACB5-5F32DF4F6B52}" dt="2025-04-25T08:59:25.212" v="27" actId="47"/>
        <pc:sldMkLst>
          <pc:docMk/>
          <pc:sldMk cId="2619670319" sldId="2147482436"/>
        </pc:sldMkLst>
      </pc:sldChg>
      <pc:sldMasterChg chg="del delSldLayout">
        <pc:chgData name="Ulla Jensen" userId="9f08d654-f16e-4e37-932e-b650d83c4d02" providerId="ADAL" clId="{3C480E46-3E8C-484C-ACB5-5F32DF4F6B52}" dt="2025-04-25T09:15:30.587" v="148" actId="47"/>
        <pc:sldMasterMkLst>
          <pc:docMk/>
          <pc:sldMasterMk cId="3226160239" sldId="2147483681"/>
        </pc:sldMasterMkLst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3694889687" sldId="2147483682"/>
          </pc:sldLayoutMkLst>
        </pc:sldLayoutChg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3766756477" sldId="2147483683"/>
          </pc:sldLayoutMkLst>
        </pc:sldLayoutChg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4268666196" sldId="2147483684"/>
          </pc:sldLayoutMkLst>
        </pc:sldLayoutChg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1140919986" sldId="2147483685"/>
          </pc:sldLayoutMkLst>
        </pc:sldLayoutChg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2445743258" sldId="2147483686"/>
          </pc:sldLayoutMkLst>
        </pc:sldLayoutChg>
        <pc:sldLayoutChg chg="del">
          <pc:chgData name="Ulla Jensen" userId="9f08d654-f16e-4e37-932e-b650d83c4d02" providerId="ADAL" clId="{3C480E46-3E8C-484C-ACB5-5F32DF4F6B52}" dt="2025-04-25T09:15:30.587" v="148" actId="47"/>
          <pc:sldLayoutMkLst>
            <pc:docMk/>
            <pc:sldMasterMk cId="3226160239" sldId="2147483681"/>
            <pc:sldLayoutMk cId="1288867461" sldId="2147483687"/>
          </pc:sldLayoutMkLst>
        </pc:sldLayoutChg>
      </pc:sldMasterChg>
      <pc:sldMasterChg chg="del delSldLayout">
        <pc:chgData name="Ulla Jensen" userId="9f08d654-f16e-4e37-932e-b650d83c4d02" providerId="ADAL" clId="{3C480E46-3E8C-484C-ACB5-5F32DF4F6B52}" dt="2025-04-25T09:05:16.707" v="71" actId="47"/>
        <pc:sldMasterMkLst>
          <pc:docMk/>
          <pc:sldMasterMk cId="1269288955" sldId="2147483688"/>
        </pc:sldMasterMkLst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4154124308" sldId="2147483690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4071968434" sldId="2147483691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1041476938" sldId="2147483692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3532182326" sldId="2147483693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2167923493" sldId="2147483694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1493791376" sldId="2147483695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2833462390" sldId="2147483696"/>
          </pc:sldLayoutMkLst>
        </pc:sldLayoutChg>
        <pc:sldLayoutChg chg="del">
          <pc:chgData name="Ulla Jensen" userId="9f08d654-f16e-4e37-932e-b650d83c4d02" providerId="ADAL" clId="{3C480E46-3E8C-484C-ACB5-5F32DF4F6B52}" dt="2025-04-25T09:05:16.707" v="71" actId="47"/>
          <pc:sldLayoutMkLst>
            <pc:docMk/>
            <pc:sldMasterMk cId="1269288955" sldId="2147483688"/>
            <pc:sldLayoutMk cId="1802000341" sldId="2147483697"/>
          </pc:sldLayoutMkLst>
        </pc:sldLayoutChg>
      </pc:sldMasterChg>
    </pc:docChg>
  </pc:docChgLst>
  <pc:docChgLst>
    <pc:chgData name="Kasper Brøndum Andersen" userId="S::kba@domea.dk::23d34907-f6e1-4907-afd7-52417792db56" providerId="AD" clId="Web-{29F24EC5-C7AA-6E35-4F2B-B0D290F49DE5}"/>
    <pc:docChg chg="modSld">
      <pc:chgData name="Kasper Brøndum Andersen" userId="S::kba@domea.dk::23d34907-f6e1-4907-afd7-52417792db56" providerId="AD" clId="Web-{29F24EC5-C7AA-6E35-4F2B-B0D290F49DE5}" dt="2025-04-29T10:15:10.885" v="6" actId="20577"/>
      <pc:docMkLst>
        <pc:docMk/>
      </pc:docMkLst>
      <pc:sldChg chg="modSp">
        <pc:chgData name="Kasper Brøndum Andersen" userId="S::kba@domea.dk::23d34907-f6e1-4907-afd7-52417792db56" providerId="AD" clId="Web-{29F24EC5-C7AA-6E35-4F2B-B0D290F49DE5}" dt="2025-04-29T10:13:12.134" v="0" actId="20577"/>
        <pc:sldMkLst>
          <pc:docMk/>
          <pc:sldMk cId="3493679872" sldId="2147482341"/>
        </pc:sldMkLst>
        <pc:spChg chg="mod">
          <ac:chgData name="Kasper Brøndum Andersen" userId="S::kba@domea.dk::23d34907-f6e1-4907-afd7-52417792db56" providerId="AD" clId="Web-{29F24EC5-C7AA-6E35-4F2B-B0D290F49DE5}" dt="2025-04-29T10:13:12.134" v="0" actId="20577"/>
          <ac:spMkLst>
            <pc:docMk/>
            <pc:sldMk cId="3493679872" sldId="2147482341"/>
            <ac:spMk id="2" creationId="{C8CAA56B-221B-A1DE-A7B9-7BCD9CC9DB81}"/>
          </ac:spMkLst>
        </pc:spChg>
      </pc:sldChg>
      <pc:sldChg chg="modSp">
        <pc:chgData name="Kasper Brøndum Andersen" userId="S::kba@domea.dk::23d34907-f6e1-4907-afd7-52417792db56" providerId="AD" clId="Web-{29F24EC5-C7AA-6E35-4F2B-B0D290F49DE5}" dt="2025-04-29T10:13:25.993" v="2" actId="20577"/>
        <pc:sldMkLst>
          <pc:docMk/>
          <pc:sldMk cId="655890693" sldId="2147482361"/>
        </pc:sldMkLst>
        <pc:spChg chg="mod">
          <ac:chgData name="Kasper Brøndum Andersen" userId="S::kba@domea.dk::23d34907-f6e1-4907-afd7-52417792db56" providerId="AD" clId="Web-{29F24EC5-C7AA-6E35-4F2B-B0D290F49DE5}" dt="2025-04-29T10:13:25.993" v="2" actId="20577"/>
          <ac:spMkLst>
            <pc:docMk/>
            <pc:sldMk cId="655890693" sldId="2147482361"/>
            <ac:spMk id="14" creationId="{F6A17442-BAE4-D8CF-D18C-9CF04ED9F17B}"/>
          </ac:spMkLst>
        </pc:spChg>
      </pc:sldChg>
      <pc:sldChg chg="modSp">
        <pc:chgData name="Kasper Brøndum Andersen" userId="S::kba@domea.dk::23d34907-f6e1-4907-afd7-52417792db56" providerId="AD" clId="Web-{29F24EC5-C7AA-6E35-4F2B-B0D290F49DE5}" dt="2025-04-29T10:15:10.885" v="6" actId="20577"/>
        <pc:sldMkLst>
          <pc:docMk/>
          <pc:sldMk cId="1334273291" sldId="2147482436"/>
        </pc:sldMkLst>
        <pc:spChg chg="mod">
          <ac:chgData name="Kasper Brøndum Andersen" userId="S::kba@domea.dk::23d34907-f6e1-4907-afd7-52417792db56" providerId="AD" clId="Web-{29F24EC5-C7AA-6E35-4F2B-B0D290F49DE5}" dt="2025-04-29T10:15:10.885" v="6" actId="20577"/>
          <ac:spMkLst>
            <pc:docMk/>
            <pc:sldMk cId="1334273291" sldId="2147482436"/>
            <ac:spMk id="42" creationId="{21F880C2-263E-339F-AD57-8E79C6CBFC6F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69E1F1-BDB7-4F26-8BB3-72A5B8EB465E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B35C904-BB6F-4977-B7EB-CD8DFC1A40C5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>
              <a:latin typeface="Verdana" panose="020B0604030504040204" pitchFamily="34" charset="0"/>
              <a:ea typeface="Verdana" panose="020B0604030504040204" pitchFamily="34" charset="0"/>
            </a:rPr>
            <a:t>ESG målepunkter</a:t>
          </a:r>
        </a:p>
      </dgm:t>
    </dgm:pt>
    <dgm:pt modelId="{E7C1FD22-D627-4031-B69A-92D29243DA0C}" type="parTrans" cxnId="{A1B220A2-55DA-44B2-B8F1-2034EA887991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162C4D6-0F29-48F4-BCCB-E79EE9AF7AE2}" type="sibTrans" cxnId="{A1B220A2-55DA-44B2-B8F1-2034EA887991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8AF788F-C01A-41FA-BD6E-7182BD91BE98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>
              <a:latin typeface="Verdana" panose="020B0604030504040204" pitchFamily="34" charset="0"/>
              <a:ea typeface="Verdana" panose="020B0604030504040204" pitchFamily="34" charset="0"/>
            </a:rPr>
            <a:t>Indikatorer og datagrundlag</a:t>
          </a:r>
        </a:p>
      </dgm:t>
    </dgm:pt>
    <dgm:pt modelId="{07C7EFED-4818-449D-8AA8-2C5396A99062}" type="parTrans" cxnId="{6A74F5AF-D061-46FE-A8F2-8CFCC05A42D5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588AA05-800F-447A-A0AB-22B7B736232E}" type="sibTrans" cxnId="{6A74F5AF-D061-46FE-A8F2-8CFCC05A42D5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77C283E-3037-4F03-AFE6-9D7141480F0B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>
              <a:latin typeface="Verdana" panose="020B0604030504040204" pitchFamily="34" charset="0"/>
              <a:ea typeface="Verdana" panose="020B0604030504040204" pitchFamily="34" charset="0"/>
            </a:rPr>
            <a:t>Hjælpeværktøjer</a:t>
          </a:r>
        </a:p>
      </dgm:t>
    </dgm:pt>
    <dgm:pt modelId="{2EA0F087-D9A1-428E-ACB3-BE01EE7C56B1}" type="parTrans" cxnId="{B5BECFC7-0352-4C39-94DD-A5FE5EF204B7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307B469-8EEB-46C0-8727-6C650E4C2C04}" type="sibTrans" cxnId="{B5BECFC7-0352-4C39-94DD-A5FE5EF204B7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D6C16DE-0995-4295-B3A7-B0D77F944EDE}" type="pres">
      <dgm:prSet presAssocID="{2369E1F1-BDB7-4F26-8BB3-72A5B8EB465E}" presName="Name0" presStyleCnt="0">
        <dgm:presLayoutVars>
          <dgm:dir/>
          <dgm:resizeHandles val="exact"/>
        </dgm:presLayoutVars>
      </dgm:prSet>
      <dgm:spPr/>
    </dgm:pt>
    <dgm:pt modelId="{110AB4AD-F70D-4AB9-ACCB-87E61938D6BC}" type="pres">
      <dgm:prSet presAssocID="{4B35C904-BB6F-4977-B7EB-CD8DFC1A40C5}" presName="parTxOnly" presStyleLbl="node1" presStyleIdx="0" presStyleCnt="3">
        <dgm:presLayoutVars>
          <dgm:bulletEnabled val="1"/>
        </dgm:presLayoutVars>
      </dgm:prSet>
      <dgm:spPr/>
    </dgm:pt>
    <dgm:pt modelId="{7CC81E1C-D77D-4DB5-9378-C221DFD19F31}" type="pres">
      <dgm:prSet presAssocID="{7162C4D6-0F29-48F4-BCCB-E79EE9AF7AE2}" presName="parSpace" presStyleCnt="0"/>
      <dgm:spPr/>
    </dgm:pt>
    <dgm:pt modelId="{C65B9BE5-D7E3-4BC6-82A3-2AB4000A4804}" type="pres">
      <dgm:prSet presAssocID="{18AF788F-C01A-41FA-BD6E-7182BD91BE98}" presName="parTxOnly" presStyleLbl="node1" presStyleIdx="1" presStyleCnt="3">
        <dgm:presLayoutVars>
          <dgm:bulletEnabled val="1"/>
        </dgm:presLayoutVars>
      </dgm:prSet>
      <dgm:spPr/>
    </dgm:pt>
    <dgm:pt modelId="{F6D109A4-B34F-406E-9B0D-789CAE3DD66C}" type="pres">
      <dgm:prSet presAssocID="{C588AA05-800F-447A-A0AB-22B7B736232E}" presName="parSpace" presStyleCnt="0"/>
      <dgm:spPr/>
    </dgm:pt>
    <dgm:pt modelId="{F63B5FF9-A13F-4612-A7E3-3F5E117541E3}" type="pres">
      <dgm:prSet presAssocID="{B77C283E-3037-4F03-AFE6-9D7141480F0B}" presName="parTxOnly" presStyleLbl="node1" presStyleIdx="2" presStyleCnt="3" custLinFactNeighborY="338">
        <dgm:presLayoutVars>
          <dgm:bulletEnabled val="1"/>
        </dgm:presLayoutVars>
      </dgm:prSet>
      <dgm:spPr/>
    </dgm:pt>
  </dgm:ptLst>
  <dgm:cxnLst>
    <dgm:cxn modelId="{AE984F09-BB4C-44C9-9E12-EDC55B49CF5F}" type="presOf" srcId="{B77C283E-3037-4F03-AFE6-9D7141480F0B}" destId="{F63B5FF9-A13F-4612-A7E3-3F5E117541E3}" srcOrd="0" destOrd="0" presId="urn:microsoft.com/office/officeart/2005/8/layout/hChevron3"/>
    <dgm:cxn modelId="{F3BF5724-6FD4-413F-870C-6162C12D4765}" type="presOf" srcId="{4B35C904-BB6F-4977-B7EB-CD8DFC1A40C5}" destId="{110AB4AD-F70D-4AB9-ACCB-87E61938D6BC}" srcOrd="0" destOrd="0" presId="urn:microsoft.com/office/officeart/2005/8/layout/hChevron3"/>
    <dgm:cxn modelId="{9EC7B25D-1D48-46FA-936E-C7083318A286}" type="presOf" srcId="{18AF788F-C01A-41FA-BD6E-7182BD91BE98}" destId="{C65B9BE5-D7E3-4BC6-82A3-2AB4000A4804}" srcOrd="0" destOrd="0" presId="urn:microsoft.com/office/officeart/2005/8/layout/hChevron3"/>
    <dgm:cxn modelId="{77CC964D-4807-4487-92D8-1E4024EE2480}" type="presOf" srcId="{2369E1F1-BDB7-4F26-8BB3-72A5B8EB465E}" destId="{8D6C16DE-0995-4295-B3A7-B0D77F944EDE}" srcOrd="0" destOrd="0" presId="urn:microsoft.com/office/officeart/2005/8/layout/hChevron3"/>
    <dgm:cxn modelId="{A1B220A2-55DA-44B2-B8F1-2034EA887991}" srcId="{2369E1F1-BDB7-4F26-8BB3-72A5B8EB465E}" destId="{4B35C904-BB6F-4977-B7EB-CD8DFC1A40C5}" srcOrd="0" destOrd="0" parTransId="{E7C1FD22-D627-4031-B69A-92D29243DA0C}" sibTransId="{7162C4D6-0F29-48F4-BCCB-E79EE9AF7AE2}"/>
    <dgm:cxn modelId="{6A74F5AF-D061-46FE-A8F2-8CFCC05A42D5}" srcId="{2369E1F1-BDB7-4F26-8BB3-72A5B8EB465E}" destId="{18AF788F-C01A-41FA-BD6E-7182BD91BE98}" srcOrd="1" destOrd="0" parTransId="{07C7EFED-4818-449D-8AA8-2C5396A99062}" sibTransId="{C588AA05-800F-447A-A0AB-22B7B736232E}"/>
    <dgm:cxn modelId="{B5BECFC7-0352-4C39-94DD-A5FE5EF204B7}" srcId="{2369E1F1-BDB7-4F26-8BB3-72A5B8EB465E}" destId="{B77C283E-3037-4F03-AFE6-9D7141480F0B}" srcOrd="2" destOrd="0" parTransId="{2EA0F087-D9A1-428E-ACB3-BE01EE7C56B1}" sibTransId="{0307B469-8EEB-46C0-8727-6C650E4C2C04}"/>
    <dgm:cxn modelId="{62C5F369-346A-4C8D-99FF-D209CD6D8BE0}" type="presParOf" srcId="{8D6C16DE-0995-4295-B3A7-B0D77F944EDE}" destId="{110AB4AD-F70D-4AB9-ACCB-87E61938D6BC}" srcOrd="0" destOrd="0" presId="urn:microsoft.com/office/officeart/2005/8/layout/hChevron3"/>
    <dgm:cxn modelId="{D1D4E725-45AF-4E66-ABC2-4937CD043EBE}" type="presParOf" srcId="{8D6C16DE-0995-4295-B3A7-B0D77F944EDE}" destId="{7CC81E1C-D77D-4DB5-9378-C221DFD19F31}" srcOrd="1" destOrd="0" presId="urn:microsoft.com/office/officeart/2005/8/layout/hChevron3"/>
    <dgm:cxn modelId="{D2587674-6881-454D-A2F6-F9D5D5140420}" type="presParOf" srcId="{8D6C16DE-0995-4295-B3A7-B0D77F944EDE}" destId="{C65B9BE5-D7E3-4BC6-82A3-2AB4000A4804}" srcOrd="2" destOrd="0" presId="urn:microsoft.com/office/officeart/2005/8/layout/hChevron3"/>
    <dgm:cxn modelId="{4834D56F-8A68-4AA5-8818-2A01EC501ABA}" type="presParOf" srcId="{8D6C16DE-0995-4295-B3A7-B0D77F944EDE}" destId="{F6D109A4-B34F-406E-9B0D-789CAE3DD66C}" srcOrd="3" destOrd="0" presId="urn:microsoft.com/office/officeart/2005/8/layout/hChevron3"/>
    <dgm:cxn modelId="{B2BD044E-C849-4C01-A12C-42CA60A288F6}" type="presParOf" srcId="{8D6C16DE-0995-4295-B3A7-B0D77F944EDE}" destId="{F63B5FF9-A13F-4612-A7E3-3F5E117541E3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0AB4AD-F70D-4AB9-ACCB-87E61938D6BC}">
      <dsp:nvSpPr>
        <dsp:cNvPr id="0" name=""/>
        <dsp:cNvSpPr/>
      </dsp:nvSpPr>
      <dsp:spPr>
        <a:xfrm>
          <a:off x="3571" y="0"/>
          <a:ext cx="3123406" cy="703550"/>
        </a:xfrm>
        <a:prstGeom prst="homePlate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>
              <a:latin typeface="Verdana" panose="020B0604030504040204" pitchFamily="34" charset="0"/>
              <a:ea typeface="Verdana" panose="020B0604030504040204" pitchFamily="34" charset="0"/>
            </a:rPr>
            <a:t>ESG målepunkter</a:t>
          </a:r>
        </a:p>
      </dsp:txBody>
      <dsp:txXfrm>
        <a:off x="3571" y="0"/>
        <a:ext cx="2947519" cy="703550"/>
      </dsp:txXfrm>
    </dsp:sp>
    <dsp:sp modelId="{C65B9BE5-D7E3-4BC6-82A3-2AB4000A4804}">
      <dsp:nvSpPr>
        <dsp:cNvPr id="0" name=""/>
        <dsp:cNvSpPr/>
      </dsp:nvSpPr>
      <dsp:spPr>
        <a:xfrm>
          <a:off x="2502296" y="0"/>
          <a:ext cx="3123406" cy="703550"/>
        </a:xfrm>
        <a:prstGeom prst="chevron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>
              <a:latin typeface="Verdana" panose="020B0604030504040204" pitchFamily="34" charset="0"/>
              <a:ea typeface="Verdana" panose="020B0604030504040204" pitchFamily="34" charset="0"/>
            </a:rPr>
            <a:t>Indikatorer og datagrundlag</a:t>
          </a:r>
        </a:p>
      </dsp:txBody>
      <dsp:txXfrm>
        <a:off x="2854071" y="0"/>
        <a:ext cx="2419856" cy="703550"/>
      </dsp:txXfrm>
    </dsp:sp>
    <dsp:sp modelId="{F63B5FF9-A13F-4612-A7E3-3F5E117541E3}">
      <dsp:nvSpPr>
        <dsp:cNvPr id="0" name=""/>
        <dsp:cNvSpPr/>
      </dsp:nvSpPr>
      <dsp:spPr>
        <a:xfrm>
          <a:off x="5001021" y="0"/>
          <a:ext cx="3123406" cy="703550"/>
        </a:xfrm>
        <a:prstGeom prst="chevron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>
              <a:latin typeface="Verdana" panose="020B0604030504040204" pitchFamily="34" charset="0"/>
              <a:ea typeface="Verdana" panose="020B0604030504040204" pitchFamily="34" charset="0"/>
            </a:rPr>
            <a:t>Hjælpeværktøjer</a:t>
          </a:r>
        </a:p>
      </dsp:txBody>
      <dsp:txXfrm>
        <a:off x="5352796" y="0"/>
        <a:ext cx="2419856" cy="7035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EF1B28F6-D266-4B97-A6B8-708EE75C5B1F}" type="datetimeFigureOut">
              <a:rPr lang="da-DK" smtClean="0"/>
              <a:pPr/>
              <a:t>29-04-2025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5621165-7226-4F44-9E74-04CD2816FFCE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2008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1050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78688-8545-F3A7-6D23-7DE667EBB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B60E365-4DBD-2933-059B-8217B0125B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EAE0A90E-12CE-5DA7-FC9D-36D89A008E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da-DK"/>
              <a:t>Når man kigger her - Ja... hvad kan man sige andet end: </a:t>
            </a:r>
            <a:r>
              <a:rPr lang="da-DK" b="1"/>
              <a:t>Bare wow!</a:t>
            </a:r>
            <a:endParaRPr lang="da-DK"/>
          </a:p>
          <a:p>
            <a:pPr>
              <a:buNone/>
            </a:pPr>
            <a:r>
              <a:rPr lang="da-DK"/>
              <a:t>Det her er </a:t>
            </a:r>
            <a:r>
              <a:rPr lang="da-DK" i="1"/>
              <a:t>imponerende opbakning</a:t>
            </a:r>
            <a:r>
              <a:rPr lang="da-DK"/>
              <a:t>. Det er ikke bare en idé, der har mødt interesse – det er et projekt, der er er i gang med at blive løftet af en hel branche.</a:t>
            </a:r>
          </a:p>
          <a:p>
            <a:pPr>
              <a:buNone/>
            </a:pPr>
            <a:r>
              <a:rPr lang="da-DK"/>
              <a:t>135 boligorganisationer og der tæller vi kun dem, der faktisk har været med – ikke via administrationsorganisationer. Alle administrationsorganisationer har været med, og over 2.000 mennesker har deltaget i arrangementer, hvor AlmenKompas har været på programmet.</a:t>
            </a:r>
          </a:p>
          <a:p>
            <a:pPr>
              <a:buNone/>
            </a:pPr>
            <a:r>
              <a:rPr lang="da-DK"/>
              <a:t>Og det stopper ikke der – vi har haft et stærkt og konstruktivt samarbejde med en lang række eksterne aktører: banker, kommuner, revisorer, advokater, rådgivere – og den private ejendomsbranche.</a:t>
            </a:r>
          </a:p>
          <a:p>
            <a:pPr marL="0" indent="0" fontAlgn="base">
              <a:lnSpc>
                <a:spcPct val="150000"/>
              </a:lnSpc>
              <a:spcBef>
                <a:spcPts val="975"/>
              </a:spcBef>
              <a:spcAft>
                <a:spcPts val="975"/>
              </a:spcAft>
              <a:buFont typeface="Arial" panose="020B0604020202020204" pitchFamily="34" charset="0"/>
              <a:buNone/>
            </a:pP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9DF09CD-C6CE-006D-28E4-7D81AA7F72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94845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81BBB-D241-EB6D-0D5B-5DC8CC6F1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BC3A9-8269-D308-1B6C-701F104CB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22649-40EC-B7D2-9FB8-DA8FB00AB4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8B67A5-F710-3098-BDD7-F02D19BD0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4530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C638E-6413-DA88-A5C4-61310D2009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270C62-E9EA-7B08-4E62-248FD7ADA6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E2ADE0-E7F8-92BE-D6BB-ADC1B749B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592022-B296-323D-F902-D9DD5D1458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3933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73FE-1A06-CCAF-1BD9-B1F874D75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3ABA9A-8500-87E0-AD56-E274B3F92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14CA79-8D49-2FDE-025A-A14525823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271CD0-46B3-A214-AEB2-00CD79986F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519873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6780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58983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58983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EAE59-A3BF-502F-AE89-D89393B37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3D734D-9229-CCE6-AFE4-D7DDD1CF25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B1FD56-F0A8-6017-5CCA-F19B36B32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56F3D1-C3CF-46C8-2658-E3F1B698CC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33485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267CE3-6258-70FF-863C-0C4BA04372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4D46E9-DE9B-7C87-389F-344C2ABA05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819E2-0233-7D99-B409-2777812BD4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EE44A8-0DD9-5BFB-D6FB-5024F7CD0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6916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9970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4848F-3F16-076B-74BB-270673254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A7404-1F5A-A301-E568-73B94FE70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26AE3E-06A7-2709-D9BC-7EDFCDD44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/>
              <a:t>Der skal følge en god forklaring med i 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B28AA-B5BE-570A-DD91-DEEF5B37F4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0161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E647E-C635-C6EE-35DC-DB323C74E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4AC2C44-EEB5-76FA-B5F0-DFE91E2045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EF3AC6C-6993-A0E2-E054-0CF855A662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4021B2C-BA06-E1A3-67C0-093E7A208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AD489-AFF3-49B4-B2BB-968C1DBF3754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33297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3E9372-8E34-116E-AC5B-34210ED61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8F7002F-9DB0-A006-7AE9-305F6FFDBE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F2FA019-D967-EC54-0C21-5676FB162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0971886-3113-9949-0439-9B2CE5739C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460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CFA062-979A-796E-2D51-059735955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4EE7D4-F62F-1D14-F08F-075CC823E3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791444-26DC-D497-5BE7-E39AEAD55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CABBCB-41EE-DC2C-55A9-4755DA75D7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949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98E55E-AE64-7D11-F62F-C9BCCC63A1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D476D2-ECD7-5FB1-F6F1-3B07D231C6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39ED7E-CE9C-BC3B-4D36-3850CE9AB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A42F92-2DA2-32AD-5E3F-C5AA370804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817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566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CE3081-14C5-4A27-A1D9-3E45BE93753D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6747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5.emf"/><Relationship Id="rId9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9.sv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9.svg"/><Relationship Id="rId5" Type="http://schemas.openxmlformats.org/officeDocument/2006/relationships/image" Target="../media/image7.png"/><Relationship Id="rId4" Type="http://schemas.openxmlformats.org/officeDocument/2006/relationships/image" Target="../media/image5.emf"/><Relationship Id="rId9" Type="http://schemas.openxmlformats.org/officeDocument/2006/relationships/image" Target="../media/image1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9.svg"/><Relationship Id="rId5" Type="http://schemas.openxmlformats.org/officeDocument/2006/relationships/image" Target="../media/image7.png"/><Relationship Id="rId4" Type="http://schemas.openxmlformats.org/officeDocument/2006/relationships/image" Target="../media/image5.emf"/><Relationship Id="rId9" Type="http://schemas.openxmlformats.org/officeDocument/2006/relationships/image" Target="../media/image1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9.svg"/><Relationship Id="rId5" Type="http://schemas.openxmlformats.org/officeDocument/2006/relationships/image" Target="../media/image7.png"/><Relationship Id="rId4" Type="http://schemas.openxmlformats.org/officeDocument/2006/relationships/image" Target="../media/image5.emf"/><Relationship Id="rId9" Type="http://schemas.openxmlformats.org/officeDocument/2006/relationships/image" Target="../media/image1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5.emf"/><Relationship Id="rId9" Type="http://schemas.openxmlformats.org/officeDocument/2006/relationships/image" Target="../media/image10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sv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854124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431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9982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/>
              <a:t>Almenkompas-illustration-mere-</a:t>
            </a:r>
            <a:r>
              <a:rPr lang="da-DK" sz="1400" err="1"/>
              <a:t>farve.ai</a:t>
            </a:r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001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37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0F1C54E0-C216-89A2-85B7-7561718A50A5}"/>
              </a:ext>
            </a:extLst>
          </p:cNvPr>
          <p:cNvGrpSpPr/>
          <p:nvPr userDrawn="1"/>
        </p:nvGrpSpPr>
        <p:grpSpPr>
          <a:xfrm flipH="1">
            <a:off x="-1" y="510161"/>
            <a:ext cx="12192001" cy="6858002"/>
            <a:chOff x="-1" y="-1"/>
            <a:chExt cx="12192001" cy="6858002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91EAE97E-0952-9B7A-F69A-203B7E72F5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5C690960-7CE9-4BBF-89BE-2E4E07234E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3199EAD3-B1DA-80FD-CA24-F02ED72DEC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52EFD55D-636B-B97F-9F63-632D02697F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6EF63833-728A-ED20-6574-1EC32A8752C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/>
            </a:p>
          </p:txBody>
        </p:sp>
      </p:grp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7" name="Group 686">
            <a:extLst>
              <a:ext uri="{FF2B5EF4-FFF2-40B4-BE49-F238E27FC236}">
                <a16:creationId xmlns:a16="http://schemas.microsoft.com/office/drawing/2014/main" id="{F6F8FF00-E358-8FB9-DDC6-33D740339F1A}"/>
              </a:ext>
            </a:extLst>
          </p:cNvPr>
          <p:cNvGrpSpPr/>
          <p:nvPr userDrawn="1"/>
        </p:nvGrpSpPr>
        <p:grpSpPr>
          <a:xfrm>
            <a:off x="4334574" y="1145757"/>
            <a:ext cx="665732" cy="593369"/>
            <a:chOff x="5024894" y="2546149"/>
            <a:chExt cx="574895" cy="512406"/>
          </a:xfrm>
        </p:grpSpPr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C042D4CD-DAB0-D5F5-93E3-9C77E8A8E64B}"/>
                </a:ext>
              </a:extLst>
            </p:cNvPr>
            <p:cNvSpPr/>
            <p:nvPr/>
          </p:nvSpPr>
          <p:spPr>
            <a:xfrm rot="4050002" flipH="1">
              <a:off x="5123518" y="2601707"/>
              <a:ext cx="402686" cy="402686"/>
            </a:xfrm>
            <a:custGeom>
              <a:avLst/>
              <a:gdLst>
                <a:gd name="connsiteX0" fmla="*/ 402687 w 402686"/>
                <a:gd name="connsiteY0" fmla="*/ 201343 h 402686"/>
                <a:gd name="connsiteX1" fmla="*/ 201344 w 402686"/>
                <a:gd name="connsiteY1" fmla="*/ 402686 h 402686"/>
                <a:gd name="connsiteX2" fmla="*/ 0 w 402686"/>
                <a:gd name="connsiteY2" fmla="*/ 201343 h 402686"/>
                <a:gd name="connsiteX3" fmla="*/ 201344 w 402686"/>
                <a:gd name="connsiteY3" fmla="*/ 0 h 402686"/>
                <a:gd name="connsiteX4" fmla="*/ 402687 w 402686"/>
                <a:gd name="connsiteY4" fmla="*/ 201343 h 40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686" h="402686">
                  <a:moveTo>
                    <a:pt x="402687" y="201343"/>
                  </a:moveTo>
                  <a:cubicBezTo>
                    <a:pt x="402687" y="312542"/>
                    <a:pt x="312542" y="402686"/>
                    <a:pt x="201344" y="402686"/>
                  </a:cubicBezTo>
                  <a:cubicBezTo>
                    <a:pt x="90145" y="402686"/>
                    <a:pt x="0" y="312542"/>
                    <a:pt x="0" y="201343"/>
                  </a:cubicBezTo>
                  <a:cubicBezTo>
                    <a:pt x="0" y="90144"/>
                    <a:pt x="90145" y="0"/>
                    <a:pt x="201344" y="0"/>
                  </a:cubicBezTo>
                  <a:cubicBezTo>
                    <a:pt x="312542" y="0"/>
                    <a:pt x="402687" y="90144"/>
                    <a:pt x="402687" y="201343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46EDCF3B-6984-2752-2EE4-5C52DE2006B4}"/>
                </a:ext>
              </a:extLst>
            </p:cNvPr>
            <p:cNvSpPr/>
            <p:nvPr/>
          </p:nvSpPr>
          <p:spPr>
            <a:xfrm flipH="1">
              <a:off x="5117862" y="2575728"/>
              <a:ext cx="396923" cy="396923"/>
            </a:xfrm>
            <a:custGeom>
              <a:avLst/>
              <a:gdLst>
                <a:gd name="connsiteX0" fmla="*/ 396923 w 396923"/>
                <a:gd name="connsiteY0" fmla="*/ 198462 h 396923"/>
                <a:gd name="connsiteX1" fmla="*/ 198462 w 396923"/>
                <a:gd name="connsiteY1" fmla="*/ 396923 h 396923"/>
                <a:gd name="connsiteX2" fmla="*/ 1 w 396923"/>
                <a:gd name="connsiteY2" fmla="*/ 198462 h 396923"/>
                <a:gd name="connsiteX3" fmla="*/ 198462 w 396923"/>
                <a:gd name="connsiteY3" fmla="*/ 0 h 396923"/>
                <a:gd name="connsiteX4" fmla="*/ 396923 w 396923"/>
                <a:gd name="connsiteY4" fmla="*/ 198462 h 3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923" h="396923">
                  <a:moveTo>
                    <a:pt x="396923" y="198462"/>
                  </a:moveTo>
                  <a:cubicBezTo>
                    <a:pt x="396923" y="308069"/>
                    <a:pt x="308069" y="396923"/>
                    <a:pt x="198462" y="396923"/>
                  </a:cubicBezTo>
                  <a:cubicBezTo>
                    <a:pt x="88855" y="396923"/>
                    <a:pt x="1" y="308069"/>
                    <a:pt x="1" y="198462"/>
                  </a:cubicBezTo>
                  <a:cubicBezTo>
                    <a:pt x="1" y="88854"/>
                    <a:pt x="88855" y="0"/>
                    <a:pt x="198462" y="0"/>
                  </a:cubicBezTo>
                  <a:cubicBezTo>
                    <a:pt x="308069" y="0"/>
                    <a:pt x="396923" y="88854"/>
                    <a:pt x="396923" y="198462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81F8BC12-B4F7-D655-16B2-48263D374511}"/>
                </a:ext>
              </a:extLst>
            </p:cNvPr>
            <p:cNvSpPr/>
            <p:nvPr/>
          </p:nvSpPr>
          <p:spPr>
            <a:xfrm flipH="1">
              <a:off x="5480569" y="2803005"/>
              <a:ext cx="119220" cy="102292"/>
            </a:xfrm>
            <a:custGeom>
              <a:avLst/>
              <a:gdLst>
                <a:gd name="connsiteX0" fmla="*/ 87165 w 119220"/>
                <a:gd name="connsiteY0" fmla="*/ 0 h 102292"/>
                <a:gd name="connsiteX1" fmla="*/ 0 w 119220"/>
                <a:gd name="connsiteY1" fmla="*/ 31336 h 102292"/>
                <a:gd name="connsiteX2" fmla="*/ 74198 w 119220"/>
                <a:gd name="connsiteY2" fmla="*/ 59430 h 102292"/>
                <a:gd name="connsiteX3" fmla="*/ 59610 w 119220"/>
                <a:gd name="connsiteY3" fmla="*/ 102292 h 102292"/>
                <a:gd name="connsiteX4" fmla="*/ 119221 w 119220"/>
                <a:gd name="connsiteY4" fmla="*/ 82482 h 10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220" h="102292">
                  <a:moveTo>
                    <a:pt x="87165" y="0"/>
                  </a:moveTo>
                  <a:lnTo>
                    <a:pt x="0" y="31336"/>
                  </a:lnTo>
                  <a:lnTo>
                    <a:pt x="74198" y="59430"/>
                  </a:lnTo>
                  <a:lnTo>
                    <a:pt x="59610" y="102292"/>
                  </a:lnTo>
                  <a:lnTo>
                    <a:pt x="119221" y="82482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7CAD685A-A64A-5858-A757-82E41329C81D}"/>
                </a:ext>
              </a:extLst>
            </p:cNvPr>
            <p:cNvSpPr/>
            <p:nvPr/>
          </p:nvSpPr>
          <p:spPr>
            <a:xfrm flipH="1">
              <a:off x="5415375" y="2752039"/>
              <a:ext cx="23073" cy="36198"/>
            </a:xfrm>
            <a:custGeom>
              <a:avLst/>
              <a:gdLst>
                <a:gd name="connsiteX0" fmla="*/ 22 w 23073"/>
                <a:gd name="connsiteY0" fmla="*/ 0 h 36198"/>
                <a:gd name="connsiteX1" fmla="*/ 23074 w 23073"/>
                <a:gd name="connsiteY1" fmla="*/ 36199 h 3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73" h="36198">
                  <a:moveTo>
                    <a:pt x="22" y="0"/>
                  </a:moveTo>
                  <a:cubicBezTo>
                    <a:pt x="22" y="0"/>
                    <a:pt x="-1599" y="29715"/>
                    <a:pt x="23074" y="3619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46FC6BFE-36FC-0EC6-9FDA-7F9B9F10AF9C}"/>
                </a:ext>
              </a:extLst>
            </p:cNvPr>
            <p:cNvSpPr/>
            <p:nvPr/>
          </p:nvSpPr>
          <p:spPr>
            <a:xfrm flipH="1">
              <a:off x="5193348" y="2632830"/>
              <a:ext cx="171653" cy="146402"/>
            </a:xfrm>
            <a:custGeom>
              <a:avLst/>
              <a:gdLst>
                <a:gd name="connsiteX0" fmla="*/ 5455 w 171653"/>
                <a:gd name="connsiteY0" fmla="*/ 92375 h 146402"/>
                <a:gd name="connsiteX1" fmla="*/ 19142 w 171653"/>
                <a:gd name="connsiteY1" fmla="*/ 528 h 146402"/>
                <a:gd name="connsiteX2" fmla="*/ 70288 w 171653"/>
                <a:gd name="connsiteY2" fmla="*/ 55636 h 146402"/>
                <a:gd name="connsiteX3" fmla="*/ 108827 w 171653"/>
                <a:gd name="connsiteY3" fmla="*/ 6291 h 146402"/>
                <a:gd name="connsiteX4" fmla="*/ 103965 w 171653"/>
                <a:gd name="connsiteY4" fmla="*/ 73825 h 146402"/>
                <a:gd name="connsiteX5" fmla="*/ 169699 w 171653"/>
                <a:gd name="connsiteY5" fmla="*/ 63920 h 146402"/>
                <a:gd name="connsiteX6" fmla="*/ 99823 w 171653"/>
                <a:gd name="connsiteY6" fmla="*/ 146403 h 14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653" h="146402">
                  <a:moveTo>
                    <a:pt x="5455" y="92375"/>
                  </a:moveTo>
                  <a:cubicBezTo>
                    <a:pt x="5455" y="92375"/>
                    <a:pt x="-13455" y="7371"/>
                    <a:pt x="19142" y="528"/>
                  </a:cubicBezTo>
                  <a:cubicBezTo>
                    <a:pt x="51738" y="-6316"/>
                    <a:pt x="70288" y="55636"/>
                    <a:pt x="70288" y="55636"/>
                  </a:cubicBezTo>
                  <a:cubicBezTo>
                    <a:pt x="70288" y="55636"/>
                    <a:pt x="83795" y="-2173"/>
                    <a:pt x="108827" y="6291"/>
                  </a:cubicBezTo>
                  <a:cubicBezTo>
                    <a:pt x="133860" y="14755"/>
                    <a:pt x="103965" y="73825"/>
                    <a:pt x="103965" y="73825"/>
                  </a:cubicBezTo>
                  <a:cubicBezTo>
                    <a:pt x="103965" y="73825"/>
                    <a:pt x="153671" y="36546"/>
                    <a:pt x="169699" y="63920"/>
                  </a:cubicBezTo>
                  <a:cubicBezTo>
                    <a:pt x="185547" y="91294"/>
                    <a:pt x="99823" y="146403"/>
                    <a:pt x="99823" y="146403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3D5AFF30-614F-AB01-2773-A9652BFF6F6C}"/>
                </a:ext>
              </a:extLst>
            </p:cNvPr>
            <p:cNvSpPr/>
            <p:nvPr/>
          </p:nvSpPr>
          <p:spPr>
            <a:xfrm flipH="1">
              <a:off x="5182336" y="2940775"/>
              <a:ext cx="26473" cy="94548"/>
            </a:xfrm>
            <a:custGeom>
              <a:avLst/>
              <a:gdLst>
                <a:gd name="connsiteX0" fmla="*/ 0 w 26473"/>
                <a:gd name="connsiteY0" fmla="*/ 0 h 94548"/>
                <a:gd name="connsiteX1" fmla="*/ 26474 w 26473"/>
                <a:gd name="connsiteY1" fmla="*/ 51686 h 94548"/>
                <a:gd name="connsiteX2" fmla="*/ 0 w 26473"/>
                <a:gd name="connsiteY2" fmla="*/ 94548 h 9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73" h="94548">
                  <a:moveTo>
                    <a:pt x="0" y="0"/>
                  </a:moveTo>
                  <a:lnTo>
                    <a:pt x="26474" y="51686"/>
                  </a:lnTo>
                  <a:lnTo>
                    <a:pt x="0" y="94548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462F5AEB-6CE4-4997-4E45-0F4E01AEE381}"/>
                </a:ext>
              </a:extLst>
            </p:cNvPr>
            <p:cNvSpPr/>
            <p:nvPr/>
          </p:nvSpPr>
          <p:spPr>
            <a:xfrm flipH="1">
              <a:off x="5273643" y="2972652"/>
              <a:ext cx="34577" cy="85903"/>
            </a:xfrm>
            <a:custGeom>
              <a:avLst/>
              <a:gdLst>
                <a:gd name="connsiteX0" fmla="*/ 16568 w 34577"/>
                <a:gd name="connsiteY0" fmla="*/ 0 h 85903"/>
                <a:gd name="connsiteX1" fmla="*/ 34577 w 34577"/>
                <a:gd name="connsiteY1" fmla="*/ 36559 h 85903"/>
                <a:gd name="connsiteX2" fmla="*/ 0 w 34577"/>
                <a:gd name="connsiteY2" fmla="*/ 85904 h 8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577" h="85903">
                  <a:moveTo>
                    <a:pt x="16568" y="0"/>
                  </a:moveTo>
                  <a:lnTo>
                    <a:pt x="34577" y="36559"/>
                  </a:lnTo>
                  <a:lnTo>
                    <a:pt x="0" y="85904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8F4A3A9-9DA8-21F3-CED0-EC801ED0F1F2}"/>
                </a:ext>
              </a:extLst>
            </p:cNvPr>
            <p:cNvSpPr/>
            <p:nvPr/>
          </p:nvSpPr>
          <p:spPr>
            <a:xfrm flipH="1">
              <a:off x="5024894" y="2546149"/>
              <a:ext cx="132589" cy="230982"/>
            </a:xfrm>
            <a:custGeom>
              <a:avLst/>
              <a:gdLst>
                <a:gd name="connsiteX0" fmla="*/ 0 w 132589"/>
                <a:gd name="connsiteY0" fmla="*/ 109721 h 230982"/>
                <a:gd name="connsiteX1" fmla="*/ 94729 w 132589"/>
                <a:gd name="connsiteY1" fmla="*/ 1485 h 230982"/>
                <a:gd name="connsiteX2" fmla="*/ 55108 w 132589"/>
                <a:gd name="connsiteY2" fmla="*/ 109721 h 230982"/>
                <a:gd name="connsiteX3" fmla="*/ 130927 w 132589"/>
                <a:gd name="connsiteY3" fmla="*/ 109721 h 230982"/>
                <a:gd name="connsiteX4" fmla="*/ 74918 w 132589"/>
                <a:gd name="connsiteY4" fmla="*/ 161407 h 230982"/>
                <a:gd name="connsiteX5" fmla="*/ 127685 w 132589"/>
                <a:gd name="connsiteY5" fmla="*/ 214174 h 230982"/>
                <a:gd name="connsiteX6" fmla="*/ 38720 w 132589"/>
                <a:gd name="connsiteY6" fmla="*/ 214174 h 23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589" h="230982">
                  <a:moveTo>
                    <a:pt x="0" y="109721"/>
                  </a:moveTo>
                  <a:cubicBezTo>
                    <a:pt x="0" y="109721"/>
                    <a:pt x="56909" y="-14903"/>
                    <a:pt x="94729" y="1485"/>
                  </a:cubicBezTo>
                  <a:cubicBezTo>
                    <a:pt x="132548" y="17874"/>
                    <a:pt x="55108" y="109721"/>
                    <a:pt x="55108" y="109721"/>
                  </a:cubicBezTo>
                  <a:cubicBezTo>
                    <a:pt x="55108" y="109721"/>
                    <a:pt x="117780" y="81086"/>
                    <a:pt x="130927" y="109721"/>
                  </a:cubicBezTo>
                  <a:cubicBezTo>
                    <a:pt x="144074" y="138355"/>
                    <a:pt x="74918" y="161407"/>
                    <a:pt x="74918" y="161407"/>
                  </a:cubicBezTo>
                  <a:cubicBezTo>
                    <a:pt x="74918" y="161407"/>
                    <a:pt x="140832" y="176175"/>
                    <a:pt x="127685" y="214174"/>
                  </a:cubicBezTo>
                  <a:cubicBezTo>
                    <a:pt x="114539" y="251994"/>
                    <a:pt x="38720" y="214174"/>
                    <a:pt x="38720" y="21417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F8FA54D-BD64-AE94-84FC-2A5291552AA3}"/>
              </a:ext>
            </a:extLst>
          </p:cNvPr>
          <p:cNvGrpSpPr/>
          <p:nvPr userDrawn="1"/>
        </p:nvGrpSpPr>
        <p:grpSpPr>
          <a:xfrm>
            <a:off x="4273902" y="509467"/>
            <a:ext cx="7912694" cy="5970723"/>
            <a:chOff x="3927642" y="248189"/>
            <a:chExt cx="8258954" cy="623200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CC403A0-0E3F-E721-B5C6-E87EB63EB080}"/>
                </a:ext>
              </a:extLst>
            </p:cNvPr>
            <p:cNvSpPr/>
            <p:nvPr/>
          </p:nvSpPr>
          <p:spPr>
            <a:xfrm>
              <a:off x="6634323" y="3720662"/>
              <a:ext cx="3210805" cy="2720317"/>
            </a:xfrm>
            <a:custGeom>
              <a:avLst/>
              <a:gdLst>
                <a:gd name="connsiteX0" fmla="*/ 1087397 w 2772700"/>
                <a:gd name="connsiteY0" fmla="*/ 1371 h 2349137"/>
                <a:gd name="connsiteX1" fmla="*/ 1241556 w 2772700"/>
                <a:gd name="connsiteY1" fmla="*/ 86735 h 2349137"/>
                <a:gd name="connsiteX2" fmla="*/ 1803083 w 2772700"/>
                <a:gd name="connsiteY2" fmla="*/ 35589 h 2349137"/>
                <a:gd name="connsiteX3" fmla="*/ 1888087 w 2772700"/>
                <a:gd name="connsiteY3" fmla="*/ 9115 h 2349137"/>
                <a:gd name="connsiteX4" fmla="*/ 2516429 w 2772700"/>
                <a:gd name="connsiteY4" fmla="*/ 493923 h 2349137"/>
                <a:gd name="connsiteX5" fmla="*/ 2772700 w 2772700"/>
                <a:gd name="connsiteY5" fmla="*/ 1219155 h 2349137"/>
                <a:gd name="connsiteX6" fmla="*/ 2523813 w 2772700"/>
                <a:gd name="connsiteY6" fmla="*/ 1331532 h 2349137"/>
                <a:gd name="connsiteX7" fmla="*/ 2230262 w 2772700"/>
                <a:gd name="connsiteY7" fmla="*/ 1390062 h 2349137"/>
                <a:gd name="connsiteX8" fmla="*/ 2221618 w 2772700"/>
                <a:gd name="connsiteY8" fmla="*/ 1595727 h 2349137"/>
                <a:gd name="connsiteX9" fmla="*/ 2170111 w 2772700"/>
                <a:gd name="connsiteY9" fmla="*/ 1703783 h 2349137"/>
                <a:gd name="connsiteX10" fmla="*/ 2155629 w 2772700"/>
                <a:gd name="connsiteY10" fmla="*/ 2346662 h 2349137"/>
                <a:gd name="connsiteX11" fmla="*/ 2145381 w 2772700"/>
                <a:gd name="connsiteY11" fmla="*/ 2345806 h 2349137"/>
                <a:gd name="connsiteX12" fmla="*/ 2099056 w 2772700"/>
                <a:gd name="connsiteY12" fmla="*/ 2341934 h 2349137"/>
                <a:gd name="connsiteX13" fmla="*/ 2006406 w 2772700"/>
                <a:gd name="connsiteY13" fmla="*/ 2344275 h 2349137"/>
                <a:gd name="connsiteX14" fmla="*/ 1913755 w 2772700"/>
                <a:gd name="connsiteY14" fmla="*/ 2349137 h 2349137"/>
                <a:gd name="connsiteX15" fmla="*/ 1821106 w 2772700"/>
                <a:gd name="connsiteY15" fmla="*/ 2348597 h 2349137"/>
                <a:gd name="connsiteX16" fmla="*/ 1728456 w 2772700"/>
                <a:gd name="connsiteY16" fmla="*/ 2343915 h 2349137"/>
                <a:gd name="connsiteX17" fmla="*/ 1635806 w 2772700"/>
                <a:gd name="connsiteY17" fmla="*/ 2339232 h 2349137"/>
                <a:gd name="connsiteX18" fmla="*/ 1543156 w 2772700"/>
                <a:gd name="connsiteY18" fmla="*/ 2338692 h 2349137"/>
                <a:gd name="connsiteX19" fmla="*/ 1450506 w 2772700"/>
                <a:gd name="connsiteY19" fmla="*/ 2348957 h 2349137"/>
                <a:gd name="connsiteX20" fmla="*/ 1357856 w 2772700"/>
                <a:gd name="connsiteY20" fmla="*/ 2344995 h 2349137"/>
                <a:gd name="connsiteX21" fmla="*/ 1265207 w 2772700"/>
                <a:gd name="connsiteY21" fmla="*/ 2341033 h 2349137"/>
                <a:gd name="connsiteX22" fmla="*/ 1172556 w 2772700"/>
                <a:gd name="connsiteY22" fmla="*/ 2338692 h 2349137"/>
                <a:gd name="connsiteX23" fmla="*/ 1079908 w 2772700"/>
                <a:gd name="connsiteY23" fmla="*/ 2344455 h 2349137"/>
                <a:gd name="connsiteX24" fmla="*/ 987257 w 2772700"/>
                <a:gd name="connsiteY24" fmla="*/ 2343554 h 2349137"/>
                <a:gd name="connsiteX25" fmla="*/ 940932 w 2772700"/>
                <a:gd name="connsiteY25" fmla="*/ 2344815 h 2349137"/>
                <a:gd name="connsiteX26" fmla="*/ 895583 w 2772700"/>
                <a:gd name="connsiteY26" fmla="*/ 2346050 h 2349137"/>
                <a:gd name="connsiteX27" fmla="*/ 660020 w 2772700"/>
                <a:gd name="connsiteY27" fmla="*/ 2343569 h 2349137"/>
                <a:gd name="connsiteX28" fmla="*/ 644102 w 2772700"/>
                <a:gd name="connsiteY28" fmla="*/ 2342153 h 2349137"/>
                <a:gd name="connsiteX29" fmla="*/ 616657 w 2772700"/>
                <a:gd name="connsiteY29" fmla="*/ 2341393 h 2349137"/>
                <a:gd name="connsiteX30" fmla="*/ 523566 w 2772700"/>
                <a:gd name="connsiteY30" fmla="*/ 2340313 h 2349137"/>
                <a:gd name="connsiteX31" fmla="*/ 495905 w 2772700"/>
                <a:gd name="connsiteY31" fmla="*/ 2340792 h 2349137"/>
                <a:gd name="connsiteX32" fmla="*/ 480118 w 2772700"/>
                <a:gd name="connsiteY32" fmla="*/ 2341674 h 2349137"/>
                <a:gd name="connsiteX33" fmla="*/ 411331 w 2772700"/>
                <a:gd name="connsiteY33" fmla="*/ 2340949 h 2349137"/>
                <a:gd name="connsiteX34" fmla="*/ 410790 w 2772700"/>
                <a:gd name="connsiteY34" fmla="*/ 1077242 h 2349137"/>
                <a:gd name="connsiteX35" fmla="*/ 205845 w 2772700"/>
                <a:gd name="connsiteY35" fmla="*/ 1035100 h 2349137"/>
                <a:gd name="connsiteX36" fmla="*/ 0 w 2772700"/>
                <a:gd name="connsiteY36" fmla="*/ 418645 h 2349137"/>
                <a:gd name="connsiteX37" fmla="*/ 219712 w 2772700"/>
                <a:gd name="connsiteY37" fmla="*/ 247557 h 2349137"/>
                <a:gd name="connsiteX38" fmla="*/ 1087397 w 2772700"/>
                <a:gd name="connsiteY38" fmla="*/ 1371 h 23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72700" h="2349137">
                  <a:moveTo>
                    <a:pt x="1087397" y="1371"/>
                  </a:moveTo>
                  <a:cubicBezTo>
                    <a:pt x="1152950" y="50897"/>
                    <a:pt x="1183026" y="63143"/>
                    <a:pt x="1241556" y="86735"/>
                  </a:cubicBezTo>
                  <a:cubicBezTo>
                    <a:pt x="1487021" y="185786"/>
                    <a:pt x="1652886" y="116450"/>
                    <a:pt x="1803083" y="35589"/>
                  </a:cubicBezTo>
                  <a:cubicBezTo>
                    <a:pt x="1828476" y="21902"/>
                    <a:pt x="1864675" y="18120"/>
                    <a:pt x="1888087" y="9115"/>
                  </a:cubicBezTo>
                  <a:cubicBezTo>
                    <a:pt x="2071421" y="44053"/>
                    <a:pt x="2344981" y="175881"/>
                    <a:pt x="2516429" y="493923"/>
                  </a:cubicBezTo>
                  <a:cubicBezTo>
                    <a:pt x="2687877" y="811966"/>
                    <a:pt x="2772700" y="1219155"/>
                    <a:pt x="2772700" y="1219155"/>
                  </a:cubicBezTo>
                  <a:lnTo>
                    <a:pt x="2523813" y="1331532"/>
                  </a:lnTo>
                  <a:lnTo>
                    <a:pt x="2230262" y="1390062"/>
                  </a:lnTo>
                  <a:lnTo>
                    <a:pt x="2221618" y="1595727"/>
                  </a:lnTo>
                  <a:lnTo>
                    <a:pt x="2170111" y="1703783"/>
                  </a:lnTo>
                  <a:lnTo>
                    <a:pt x="2155629" y="2346662"/>
                  </a:lnTo>
                  <a:lnTo>
                    <a:pt x="2145381" y="2345806"/>
                  </a:lnTo>
                  <a:cubicBezTo>
                    <a:pt x="2133772" y="2343870"/>
                    <a:pt x="2122163" y="2341934"/>
                    <a:pt x="2099056" y="2341934"/>
                  </a:cubicBezTo>
                  <a:cubicBezTo>
                    <a:pt x="2052841" y="2341934"/>
                    <a:pt x="2052620" y="2344275"/>
                    <a:pt x="2006406" y="2344275"/>
                  </a:cubicBezTo>
                  <a:cubicBezTo>
                    <a:pt x="1960192" y="2344275"/>
                    <a:pt x="1959970" y="2349137"/>
                    <a:pt x="1913755" y="2349137"/>
                  </a:cubicBezTo>
                  <a:lnTo>
                    <a:pt x="1821106" y="2348597"/>
                  </a:lnTo>
                  <a:cubicBezTo>
                    <a:pt x="1774891" y="2348597"/>
                    <a:pt x="1774670" y="2343915"/>
                    <a:pt x="1728456" y="2343915"/>
                  </a:cubicBezTo>
                  <a:cubicBezTo>
                    <a:pt x="1682242" y="2343915"/>
                    <a:pt x="1682021" y="2339232"/>
                    <a:pt x="1635806" y="2339232"/>
                  </a:cubicBezTo>
                  <a:lnTo>
                    <a:pt x="1543156" y="2338692"/>
                  </a:lnTo>
                  <a:cubicBezTo>
                    <a:pt x="1496942" y="2338692"/>
                    <a:pt x="1496720" y="2348957"/>
                    <a:pt x="1450506" y="2348957"/>
                  </a:cubicBezTo>
                  <a:cubicBezTo>
                    <a:pt x="1404292" y="2348957"/>
                    <a:pt x="1404071" y="2344995"/>
                    <a:pt x="1357856" y="2344995"/>
                  </a:cubicBezTo>
                  <a:cubicBezTo>
                    <a:pt x="1311642" y="2344995"/>
                    <a:pt x="1311421" y="2341033"/>
                    <a:pt x="1265207" y="2341033"/>
                  </a:cubicBezTo>
                  <a:cubicBezTo>
                    <a:pt x="1218993" y="2341033"/>
                    <a:pt x="1218772" y="2338692"/>
                    <a:pt x="1172556" y="2338692"/>
                  </a:cubicBezTo>
                  <a:cubicBezTo>
                    <a:pt x="1126342" y="2338692"/>
                    <a:pt x="1126122" y="2344455"/>
                    <a:pt x="1079908" y="2344455"/>
                  </a:cubicBezTo>
                  <a:cubicBezTo>
                    <a:pt x="1033692" y="2344455"/>
                    <a:pt x="1033471" y="2343554"/>
                    <a:pt x="987257" y="2343554"/>
                  </a:cubicBezTo>
                  <a:cubicBezTo>
                    <a:pt x="964150" y="2343554"/>
                    <a:pt x="952541" y="2344185"/>
                    <a:pt x="940932" y="2344815"/>
                  </a:cubicBezTo>
                  <a:lnTo>
                    <a:pt x="895583" y="2346050"/>
                  </a:lnTo>
                  <a:lnTo>
                    <a:pt x="660020" y="2343569"/>
                  </a:lnTo>
                  <a:lnTo>
                    <a:pt x="644102" y="2342153"/>
                  </a:lnTo>
                  <a:cubicBezTo>
                    <a:pt x="636877" y="2341697"/>
                    <a:pt x="628211" y="2341393"/>
                    <a:pt x="616657" y="2341393"/>
                  </a:cubicBezTo>
                  <a:cubicBezTo>
                    <a:pt x="570443" y="2341393"/>
                    <a:pt x="570222" y="2340313"/>
                    <a:pt x="523566" y="2340313"/>
                  </a:cubicBezTo>
                  <a:cubicBezTo>
                    <a:pt x="511902" y="2340313"/>
                    <a:pt x="503168" y="2340505"/>
                    <a:pt x="495905" y="2340792"/>
                  </a:cubicBezTo>
                  <a:lnTo>
                    <a:pt x="480118" y="2341674"/>
                  </a:lnTo>
                  <a:lnTo>
                    <a:pt x="411331" y="2340949"/>
                  </a:lnTo>
                  <a:cubicBezTo>
                    <a:pt x="411331" y="2340949"/>
                    <a:pt x="415113" y="1091829"/>
                    <a:pt x="410790" y="1077242"/>
                  </a:cubicBezTo>
                  <a:cubicBezTo>
                    <a:pt x="410790" y="1077242"/>
                    <a:pt x="209267" y="1046266"/>
                    <a:pt x="205845" y="1035100"/>
                  </a:cubicBezTo>
                  <a:lnTo>
                    <a:pt x="0" y="418645"/>
                  </a:lnTo>
                  <a:cubicBezTo>
                    <a:pt x="5583" y="412882"/>
                    <a:pt x="203144" y="258543"/>
                    <a:pt x="219712" y="247557"/>
                  </a:cubicBezTo>
                  <a:cubicBezTo>
                    <a:pt x="334972" y="171018"/>
                    <a:pt x="749904" y="-17899"/>
                    <a:pt x="1087397" y="137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29FB940-54B7-3A7A-A59A-D49B1A7249E5}"/>
                </a:ext>
              </a:extLst>
            </p:cNvPr>
            <p:cNvSpPr/>
            <p:nvPr/>
          </p:nvSpPr>
          <p:spPr>
            <a:xfrm>
              <a:off x="6634116" y="3728238"/>
              <a:ext cx="2513003" cy="2712739"/>
            </a:xfrm>
            <a:custGeom>
              <a:avLst/>
              <a:gdLst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2170111 w 2170111"/>
                <a:gd name="connsiteY2" fmla="*/ 1944504 h 2342593"/>
                <a:gd name="connsiteX3" fmla="*/ 2155802 w 2170111"/>
                <a:gd name="connsiteY3" fmla="*/ 2340118 h 2342593"/>
                <a:gd name="connsiteX4" fmla="*/ 2145561 w 2170111"/>
                <a:gd name="connsiteY4" fmla="*/ 2339262 h 2342593"/>
                <a:gd name="connsiteX5" fmla="*/ 2099236 w 2170111"/>
                <a:gd name="connsiteY5" fmla="*/ 2335390 h 2342593"/>
                <a:gd name="connsiteX6" fmla="*/ 2006586 w 2170111"/>
                <a:gd name="connsiteY6" fmla="*/ 2337731 h 2342593"/>
                <a:gd name="connsiteX7" fmla="*/ 1913935 w 2170111"/>
                <a:gd name="connsiteY7" fmla="*/ 2342593 h 2342593"/>
                <a:gd name="connsiteX8" fmla="*/ 1821286 w 2170111"/>
                <a:gd name="connsiteY8" fmla="*/ 2342053 h 2342593"/>
                <a:gd name="connsiteX9" fmla="*/ 1728636 w 2170111"/>
                <a:gd name="connsiteY9" fmla="*/ 2337371 h 2342593"/>
                <a:gd name="connsiteX10" fmla="*/ 1635986 w 2170111"/>
                <a:gd name="connsiteY10" fmla="*/ 2332688 h 2342593"/>
                <a:gd name="connsiteX11" fmla="*/ 1543336 w 2170111"/>
                <a:gd name="connsiteY11" fmla="*/ 2332148 h 2342593"/>
                <a:gd name="connsiteX12" fmla="*/ 1450686 w 2170111"/>
                <a:gd name="connsiteY12" fmla="*/ 2342413 h 2342593"/>
                <a:gd name="connsiteX13" fmla="*/ 1358036 w 2170111"/>
                <a:gd name="connsiteY13" fmla="*/ 2338451 h 2342593"/>
                <a:gd name="connsiteX14" fmla="*/ 1265387 w 2170111"/>
                <a:gd name="connsiteY14" fmla="*/ 2334489 h 2342593"/>
                <a:gd name="connsiteX15" fmla="*/ 1172736 w 2170111"/>
                <a:gd name="connsiteY15" fmla="*/ 2332148 h 2342593"/>
                <a:gd name="connsiteX16" fmla="*/ 1080088 w 2170111"/>
                <a:gd name="connsiteY16" fmla="*/ 2337911 h 2342593"/>
                <a:gd name="connsiteX17" fmla="*/ 987437 w 2170111"/>
                <a:gd name="connsiteY17" fmla="*/ 2337010 h 2342593"/>
                <a:gd name="connsiteX18" fmla="*/ 941112 w 2170111"/>
                <a:gd name="connsiteY18" fmla="*/ 2338271 h 2342593"/>
                <a:gd name="connsiteX19" fmla="*/ 895739 w 2170111"/>
                <a:gd name="connsiteY19" fmla="*/ 2339506 h 2342593"/>
                <a:gd name="connsiteX20" fmla="*/ 657732 w 2170111"/>
                <a:gd name="connsiteY20" fmla="*/ 2336999 h 2342593"/>
                <a:gd name="connsiteX21" fmla="*/ 616837 w 2170111"/>
                <a:gd name="connsiteY21" fmla="*/ 2334849 h 2342593"/>
                <a:gd name="connsiteX22" fmla="*/ 523746 w 2170111"/>
                <a:gd name="connsiteY22" fmla="*/ 2333769 h 2342593"/>
                <a:gd name="connsiteX23" fmla="*/ 496085 w 2170111"/>
                <a:gd name="connsiteY23" fmla="*/ 2334248 h 2342593"/>
                <a:gd name="connsiteX24" fmla="*/ 480284 w 2170111"/>
                <a:gd name="connsiteY24" fmla="*/ 2335131 h 2342593"/>
                <a:gd name="connsiteX25" fmla="*/ 411331 w 2170111"/>
                <a:gd name="connsiteY25" fmla="*/ 2334404 h 2342593"/>
                <a:gd name="connsiteX26" fmla="*/ 410790 w 2170111"/>
                <a:gd name="connsiteY26" fmla="*/ 1075920 h 2342593"/>
                <a:gd name="connsiteX27" fmla="*/ 205845 w 2170111"/>
                <a:gd name="connsiteY27" fmla="*/ 1033778 h 2342593"/>
                <a:gd name="connsiteX28" fmla="*/ 124444 w 2170111"/>
                <a:gd name="connsiteY28" fmla="*/ 778588 h 2342593"/>
                <a:gd name="connsiteX29" fmla="*/ 0 w 2170111"/>
                <a:gd name="connsiteY29" fmla="*/ 417143 h 2342593"/>
                <a:gd name="connsiteX30" fmla="*/ 219712 w 2170111"/>
                <a:gd name="connsiteY30" fmla="*/ 246055 h 2342593"/>
                <a:gd name="connsiteX31" fmla="*/ 958988 w 2170111"/>
                <a:gd name="connsiteY31" fmla="*/ 18 h 2342593"/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1657015 w 2170111"/>
                <a:gd name="connsiteY2" fmla="*/ 1048438 h 2342593"/>
                <a:gd name="connsiteX3" fmla="*/ 2170111 w 2170111"/>
                <a:gd name="connsiteY3" fmla="*/ 1944504 h 2342593"/>
                <a:gd name="connsiteX4" fmla="*/ 2155802 w 2170111"/>
                <a:gd name="connsiteY4" fmla="*/ 2340118 h 2342593"/>
                <a:gd name="connsiteX5" fmla="*/ 2145561 w 2170111"/>
                <a:gd name="connsiteY5" fmla="*/ 2339262 h 2342593"/>
                <a:gd name="connsiteX6" fmla="*/ 2099236 w 2170111"/>
                <a:gd name="connsiteY6" fmla="*/ 2335390 h 2342593"/>
                <a:gd name="connsiteX7" fmla="*/ 2006586 w 2170111"/>
                <a:gd name="connsiteY7" fmla="*/ 2337731 h 2342593"/>
                <a:gd name="connsiteX8" fmla="*/ 1913935 w 2170111"/>
                <a:gd name="connsiteY8" fmla="*/ 2342593 h 2342593"/>
                <a:gd name="connsiteX9" fmla="*/ 1821286 w 2170111"/>
                <a:gd name="connsiteY9" fmla="*/ 2342053 h 2342593"/>
                <a:gd name="connsiteX10" fmla="*/ 1728636 w 2170111"/>
                <a:gd name="connsiteY10" fmla="*/ 2337371 h 2342593"/>
                <a:gd name="connsiteX11" fmla="*/ 1635986 w 2170111"/>
                <a:gd name="connsiteY11" fmla="*/ 2332688 h 2342593"/>
                <a:gd name="connsiteX12" fmla="*/ 1543336 w 2170111"/>
                <a:gd name="connsiteY12" fmla="*/ 2332148 h 2342593"/>
                <a:gd name="connsiteX13" fmla="*/ 1450686 w 2170111"/>
                <a:gd name="connsiteY13" fmla="*/ 2342413 h 2342593"/>
                <a:gd name="connsiteX14" fmla="*/ 1358036 w 2170111"/>
                <a:gd name="connsiteY14" fmla="*/ 2338451 h 2342593"/>
                <a:gd name="connsiteX15" fmla="*/ 1265387 w 2170111"/>
                <a:gd name="connsiteY15" fmla="*/ 2334489 h 2342593"/>
                <a:gd name="connsiteX16" fmla="*/ 1172736 w 2170111"/>
                <a:gd name="connsiteY16" fmla="*/ 2332148 h 2342593"/>
                <a:gd name="connsiteX17" fmla="*/ 1080088 w 2170111"/>
                <a:gd name="connsiteY17" fmla="*/ 2337911 h 2342593"/>
                <a:gd name="connsiteX18" fmla="*/ 987437 w 2170111"/>
                <a:gd name="connsiteY18" fmla="*/ 2337010 h 2342593"/>
                <a:gd name="connsiteX19" fmla="*/ 941112 w 2170111"/>
                <a:gd name="connsiteY19" fmla="*/ 2338271 h 2342593"/>
                <a:gd name="connsiteX20" fmla="*/ 895739 w 2170111"/>
                <a:gd name="connsiteY20" fmla="*/ 2339506 h 2342593"/>
                <a:gd name="connsiteX21" fmla="*/ 657732 w 2170111"/>
                <a:gd name="connsiteY21" fmla="*/ 2336999 h 2342593"/>
                <a:gd name="connsiteX22" fmla="*/ 616837 w 2170111"/>
                <a:gd name="connsiteY22" fmla="*/ 2334849 h 2342593"/>
                <a:gd name="connsiteX23" fmla="*/ 523746 w 2170111"/>
                <a:gd name="connsiteY23" fmla="*/ 2333769 h 2342593"/>
                <a:gd name="connsiteX24" fmla="*/ 496085 w 2170111"/>
                <a:gd name="connsiteY24" fmla="*/ 2334248 h 2342593"/>
                <a:gd name="connsiteX25" fmla="*/ 480284 w 2170111"/>
                <a:gd name="connsiteY25" fmla="*/ 2335131 h 2342593"/>
                <a:gd name="connsiteX26" fmla="*/ 411331 w 2170111"/>
                <a:gd name="connsiteY26" fmla="*/ 2334404 h 2342593"/>
                <a:gd name="connsiteX27" fmla="*/ 410790 w 2170111"/>
                <a:gd name="connsiteY27" fmla="*/ 1075920 h 2342593"/>
                <a:gd name="connsiteX28" fmla="*/ 205845 w 2170111"/>
                <a:gd name="connsiteY28" fmla="*/ 1033778 h 2342593"/>
                <a:gd name="connsiteX29" fmla="*/ 124444 w 2170111"/>
                <a:gd name="connsiteY29" fmla="*/ 778588 h 2342593"/>
                <a:gd name="connsiteX30" fmla="*/ 0 w 2170111"/>
                <a:gd name="connsiteY30" fmla="*/ 417143 h 2342593"/>
                <a:gd name="connsiteX31" fmla="*/ 219712 w 2170111"/>
                <a:gd name="connsiteY31" fmla="*/ 246055 h 2342593"/>
                <a:gd name="connsiteX32" fmla="*/ 958988 w 2170111"/>
                <a:gd name="connsiteY32" fmla="*/ 18 h 2342593"/>
                <a:gd name="connsiteX0" fmla="*/ 1657015 w 2170111"/>
                <a:gd name="connsiteY0" fmla="*/ 1048438 h 2342593"/>
                <a:gd name="connsiteX1" fmla="*/ 2170111 w 2170111"/>
                <a:gd name="connsiteY1" fmla="*/ 1944504 h 2342593"/>
                <a:gd name="connsiteX2" fmla="*/ 2155802 w 2170111"/>
                <a:gd name="connsiteY2" fmla="*/ 2340118 h 2342593"/>
                <a:gd name="connsiteX3" fmla="*/ 2145561 w 2170111"/>
                <a:gd name="connsiteY3" fmla="*/ 2339262 h 2342593"/>
                <a:gd name="connsiteX4" fmla="*/ 2099236 w 2170111"/>
                <a:gd name="connsiteY4" fmla="*/ 2335390 h 2342593"/>
                <a:gd name="connsiteX5" fmla="*/ 2006586 w 2170111"/>
                <a:gd name="connsiteY5" fmla="*/ 2337731 h 2342593"/>
                <a:gd name="connsiteX6" fmla="*/ 1913935 w 2170111"/>
                <a:gd name="connsiteY6" fmla="*/ 2342593 h 2342593"/>
                <a:gd name="connsiteX7" fmla="*/ 1821286 w 2170111"/>
                <a:gd name="connsiteY7" fmla="*/ 2342053 h 2342593"/>
                <a:gd name="connsiteX8" fmla="*/ 1728636 w 2170111"/>
                <a:gd name="connsiteY8" fmla="*/ 2337371 h 2342593"/>
                <a:gd name="connsiteX9" fmla="*/ 1635986 w 2170111"/>
                <a:gd name="connsiteY9" fmla="*/ 2332688 h 2342593"/>
                <a:gd name="connsiteX10" fmla="*/ 1543336 w 2170111"/>
                <a:gd name="connsiteY10" fmla="*/ 2332148 h 2342593"/>
                <a:gd name="connsiteX11" fmla="*/ 1450686 w 2170111"/>
                <a:gd name="connsiteY11" fmla="*/ 2342413 h 2342593"/>
                <a:gd name="connsiteX12" fmla="*/ 1358036 w 2170111"/>
                <a:gd name="connsiteY12" fmla="*/ 2338451 h 2342593"/>
                <a:gd name="connsiteX13" fmla="*/ 1265387 w 2170111"/>
                <a:gd name="connsiteY13" fmla="*/ 2334489 h 2342593"/>
                <a:gd name="connsiteX14" fmla="*/ 1172736 w 2170111"/>
                <a:gd name="connsiteY14" fmla="*/ 2332148 h 2342593"/>
                <a:gd name="connsiteX15" fmla="*/ 1080088 w 2170111"/>
                <a:gd name="connsiteY15" fmla="*/ 2337911 h 2342593"/>
                <a:gd name="connsiteX16" fmla="*/ 987437 w 2170111"/>
                <a:gd name="connsiteY16" fmla="*/ 2337010 h 2342593"/>
                <a:gd name="connsiteX17" fmla="*/ 941112 w 2170111"/>
                <a:gd name="connsiteY17" fmla="*/ 2338271 h 2342593"/>
                <a:gd name="connsiteX18" fmla="*/ 895739 w 2170111"/>
                <a:gd name="connsiteY18" fmla="*/ 2339506 h 2342593"/>
                <a:gd name="connsiteX19" fmla="*/ 657732 w 2170111"/>
                <a:gd name="connsiteY19" fmla="*/ 2336999 h 2342593"/>
                <a:gd name="connsiteX20" fmla="*/ 616837 w 2170111"/>
                <a:gd name="connsiteY20" fmla="*/ 2334849 h 2342593"/>
                <a:gd name="connsiteX21" fmla="*/ 523746 w 2170111"/>
                <a:gd name="connsiteY21" fmla="*/ 2333769 h 2342593"/>
                <a:gd name="connsiteX22" fmla="*/ 496085 w 2170111"/>
                <a:gd name="connsiteY22" fmla="*/ 2334248 h 2342593"/>
                <a:gd name="connsiteX23" fmla="*/ 480284 w 2170111"/>
                <a:gd name="connsiteY23" fmla="*/ 2335131 h 2342593"/>
                <a:gd name="connsiteX24" fmla="*/ 411331 w 2170111"/>
                <a:gd name="connsiteY24" fmla="*/ 2334404 h 2342593"/>
                <a:gd name="connsiteX25" fmla="*/ 410790 w 2170111"/>
                <a:gd name="connsiteY25" fmla="*/ 1075920 h 2342593"/>
                <a:gd name="connsiteX26" fmla="*/ 205845 w 2170111"/>
                <a:gd name="connsiteY26" fmla="*/ 1033778 h 2342593"/>
                <a:gd name="connsiteX27" fmla="*/ 124444 w 2170111"/>
                <a:gd name="connsiteY27" fmla="*/ 778588 h 2342593"/>
                <a:gd name="connsiteX28" fmla="*/ 0 w 2170111"/>
                <a:gd name="connsiteY28" fmla="*/ 417143 h 2342593"/>
                <a:gd name="connsiteX29" fmla="*/ 219712 w 2170111"/>
                <a:gd name="connsiteY29" fmla="*/ 246055 h 2342593"/>
                <a:gd name="connsiteX30" fmla="*/ 958988 w 2170111"/>
                <a:gd name="connsiteY30" fmla="*/ 18 h 2342593"/>
                <a:gd name="connsiteX31" fmla="*/ 1062364 w 2170111"/>
                <a:gd name="connsiteY31" fmla="*/ 6352 h 2342593"/>
                <a:gd name="connsiteX32" fmla="*/ 1748455 w 2170111"/>
                <a:gd name="connsiteY32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  <a:gd name="connsiteX31" fmla="*/ 1748455 w 2170111"/>
                <a:gd name="connsiteY31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70111" h="2342593">
                  <a:moveTo>
                    <a:pt x="2170111" y="1944504"/>
                  </a:moveTo>
                  <a:lnTo>
                    <a:pt x="2155802" y="2340118"/>
                  </a:lnTo>
                  <a:lnTo>
                    <a:pt x="2145561" y="2339262"/>
                  </a:lnTo>
                  <a:cubicBezTo>
                    <a:pt x="2133952" y="2337326"/>
                    <a:pt x="2122343" y="2335390"/>
                    <a:pt x="2099236" y="2335390"/>
                  </a:cubicBezTo>
                  <a:cubicBezTo>
                    <a:pt x="2053021" y="2335390"/>
                    <a:pt x="2052800" y="2337731"/>
                    <a:pt x="2006586" y="2337731"/>
                  </a:cubicBezTo>
                  <a:cubicBezTo>
                    <a:pt x="1960372" y="2337731"/>
                    <a:pt x="1960150" y="2342593"/>
                    <a:pt x="1913935" y="2342593"/>
                  </a:cubicBezTo>
                  <a:lnTo>
                    <a:pt x="1821286" y="2342053"/>
                  </a:lnTo>
                  <a:cubicBezTo>
                    <a:pt x="1775071" y="2342053"/>
                    <a:pt x="1774850" y="2337371"/>
                    <a:pt x="1728636" y="2337371"/>
                  </a:cubicBezTo>
                  <a:cubicBezTo>
                    <a:pt x="1682422" y="2337371"/>
                    <a:pt x="1682201" y="2332688"/>
                    <a:pt x="1635986" y="2332688"/>
                  </a:cubicBezTo>
                  <a:lnTo>
                    <a:pt x="1543336" y="2332148"/>
                  </a:lnTo>
                  <a:cubicBezTo>
                    <a:pt x="1497122" y="2332148"/>
                    <a:pt x="1496900" y="2342413"/>
                    <a:pt x="1450686" y="2342413"/>
                  </a:cubicBezTo>
                  <a:cubicBezTo>
                    <a:pt x="1404472" y="2342413"/>
                    <a:pt x="1404251" y="2338451"/>
                    <a:pt x="1358036" y="2338451"/>
                  </a:cubicBezTo>
                  <a:cubicBezTo>
                    <a:pt x="1311822" y="2338451"/>
                    <a:pt x="1311601" y="2334489"/>
                    <a:pt x="1265387" y="2334489"/>
                  </a:cubicBezTo>
                  <a:cubicBezTo>
                    <a:pt x="1219173" y="2334489"/>
                    <a:pt x="1218952" y="2332148"/>
                    <a:pt x="1172736" y="2332148"/>
                  </a:cubicBezTo>
                  <a:cubicBezTo>
                    <a:pt x="1126522" y="2332148"/>
                    <a:pt x="1126302" y="2337911"/>
                    <a:pt x="1080088" y="2337911"/>
                  </a:cubicBezTo>
                  <a:lnTo>
                    <a:pt x="987437" y="2337010"/>
                  </a:lnTo>
                  <a:cubicBezTo>
                    <a:pt x="964330" y="2337010"/>
                    <a:pt x="952721" y="2337641"/>
                    <a:pt x="941112" y="2338271"/>
                  </a:cubicBezTo>
                  <a:lnTo>
                    <a:pt x="895739" y="2339506"/>
                  </a:lnTo>
                  <a:lnTo>
                    <a:pt x="657732" y="2336999"/>
                  </a:lnTo>
                  <a:lnTo>
                    <a:pt x="616837" y="2334849"/>
                  </a:lnTo>
                  <a:cubicBezTo>
                    <a:pt x="570623" y="2334849"/>
                    <a:pt x="570402" y="2333769"/>
                    <a:pt x="523746" y="2333769"/>
                  </a:cubicBezTo>
                  <a:cubicBezTo>
                    <a:pt x="512082" y="2333769"/>
                    <a:pt x="503348" y="2333961"/>
                    <a:pt x="496085" y="2334248"/>
                  </a:cubicBezTo>
                  <a:lnTo>
                    <a:pt x="480284" y="2335131"/>
                  </a:lnTo>
                  <a:lnTo>
                    <a:pt x="411331" y="2334404"/>
                  </a:lnTo>
                  <a:cubicBezTo>
                    <a:pt x="411151" y="1914909"/>
                    <a:pt x="410970" y="1495415"/>
                    <a:pt x="410790" y="1075920"/>
                  </a:cubicBezTo>
                  <a:lnTo>
                    <a:pt x="205845" y="1033778"/>
                  </a:lnTo>
                  <a:lnTo>
                    <a:pt x="124444" y="778588"/>
                  </a:lnTo>
                  <a:lnTo>
                    <a:pt x="0" y="417143"/>
                  </a:lnTo>
                  <a:cubicBezTo>
                    <a:pt x="11166" y="408318"/>
                    <a:pt x="208547" y="254159"/>
                    <a:pt x="219712" y="246055"/>
                  </a:cubicBezTo>
                  <a:cubicBezTo>
                    <a:pt x="510787" y="31160"/>
                    <a:pt x="804191" y="-885"/>
                    <a:pt x="958988" y="18"/>
                  </a:cubicBezTo>
                  <a:cubicBezTo>
                    <a:pt x="1010587" y="319"/>
                    <a:pt x="1046786" y="4281"/>
                    <a:pt x="1062364" y="6352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7ACF1A-4D41-EE59-9666-B34D89BA40EF}"/>
                </a:ext>
              </a:extLst>
            </p:cNvPr>
            <p:cNvSpPr/>
            <p:nvPr/>
          </p:nvSpPr>
          <p:spPr>
            <a:xfrm>
              <a:off x="8820534" y="3737264"/>
              <a:ext cx="1024386" cy="1594855"/>
            </a:xfrm>
            <a:custGeom>
              <a:avLst/>
              <a:gdLst>
                <a:gd name="connsiteX0" fmla="*/ 0 w 884612"/>
                <a:gd name="connsiteY0" fmla="*/ 0 h 1377242"/>
                <a:gd name="connsiteX1" fmla="*/ 39980 w 884612"/>
                <a:gd name="connsiteY1" fmla="*/ 0 h 1377242"/>
                <a:gd name="connsiteX2" fmla="*/ 855798 w 884612"/>
                <a:gd name="connsiteY2" fmla="*/ 1064345 h 1377242"/>
                <a:gd name="connsiteX3" fmla="*/ 884613 w 884612"/>
                <a:gd name="connsiteY3" fmla="*/ 1204817 h 1377242"/>
                <a:gd name="connsiteX4" fmla="*/ 834547 w 884612"/>
                <a:gd name="connsiteY4" fmla="*/ 1229850 h 1377242"/>
                <a:gd name="connsiteX5" fmla="*/ 272479 w 884612"/>
                <a:gd name="connsiteY5" fmla="*/ 1376264 h 137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612" h="1377242">
                  <a:moveTo>
                    <a:pt x="0" y="0"/>
                  </a:moveTo>
                  <a:lnTo>
                    <a:pt x="39980" y="0"/>
                  </a:lnTo>
                  <a:cubicBezTo>
                    <a:pt x="39980" y="0"/>
                    <a:pt x="621138" y="43942"/>
                    <a:pt x="855798" y="1064345"/>
                  </a:cubicBezTo>
                  <a:cubicBezTo>
                    <a:pt x="866063" y="1109368"/>
                    <a:pt x="875788" y="1156012"/>
                    <a:pt x="884613" y="1204817"/>
                  </a:cubicBezTo>
                  <a:cubicBezTo>
                    <a:pt x="867685" y="1213641"/>
                    <a:pt x="850936" y="1221925"/>
                    <a:pt x="834547" y="1229850"/>
                  </a:cubicBezTo>
                  <a:cubicBezTo>
                    <a:pt x="484808" y="1398596"/>
                    <a:pt x="272479" y="1376264"/>
                    <a:pt x="272479" y="137626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58D078A-2BC8-8E58-909B-065734ABF2DA}"/>
                </a:ext>
              </a:extLst>
            </p:cNvPr>
            <p:cNvSpPr/>
            <p:nvPr/>
          </p:nvSpPr>
          <p:spPr>
            <a:xfrm>
              <a:off x="7841053" y="4801408"/>
              <a:ext cx="1952971" cy="1266077"/>
            </a:xfrm>
            <a:custGeom>
              <a:avLst/>
              <a:gdLst>
                <a:gd name="connsiteX0" fmla="*/ 1680380 w 1686493"/>
                <a:gd name="connsiteY0" fmla="*/ 310905 h 1093324"/>
                <a:gd name="connsiteX1" fmla="*/ 1664892 w 1686493"/>
                <a:gd name="connsiteY1" fmla="*/ 1089443 h 1093324"/>
                <a:gd name="connsiteX2" fmla="*/ 399384 w 1686493"/>
                <a:gd name="connsiteY2" fmla="*/ 811381 h 1093324"/>
                <a:gd name="connsiteX3" fmla="*/ 73417 w 1686493"/>
                <a:gd name="connsiteY3" fmla="*/ 811381 h 1093324"/>
                <a:gd name="connsiteX4" fmla="*/ 1740 w 1686493"/>
                <a:gd name="connsiteY4" fmla="*/ 290014 h 1093324"/>
                <a:gd name="connsiteX5" fmla="*/ 217671 w 1686493"/>
                <a:gd name="connsiteY5" fmla="*/ 274526 h 1093324"/>
                <a:gd name="connsiteX6" fmla="*/ 198581 w 1686493"/>
                <a:gd name="connsiteY6" fmla="*/ 81107 h 1093324"/>
                <a:gd name="connsiteX7" fmla="*/ 298712 w 1686493"/>
                <a:gd name="connsiteY7" fmla="*/ 13753 h 1093324"/>
                <a:gd name="connsiteX8" fmla="*/ 412711 w 1686493"/>
                <a:gd name="connsiteY8" fmla="*/ 307483 h 1093324"/>
                <a:gd name="connsiteX9" fmla="*/ 528510 w 1686493"/>
                <a:gd name="connsiteY9" fmla="*/ 518191 h 1093324"/>
                <a:gd name="connsiteX10" fmla="*/ 1191429 w 1686493"/>
                <a:gd name="connsiteY10" fmla="*/ 605175 h 1093324"/>
                <a:gd name="connsiteX11" fmla="*/ 1187828 w 1686493"/>
                <a:gd name="connsiteY11" fmla="*/ 456599 h 1093324"/>
                <a:gd name="connsiteX12" fmla="*/ 1680200 w 1686493"/>
                <a:gd name="connsiteY12" fmla="*/ 310725 h 10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6493" h="1093324">
                  <a:moveTo>
                    <a:pt x="1680380" y="310905"/>
                  </a:moveTo>
                  <a:cubicBezTo>
                    <a:pt x="1680380" y="310905"/>
                    <a:pt x="1701631" y="905569"/>
                    <a:pt x="1664892" y="1089443"/>
                  </a:cubicBezTo>
                  <a:cubicBezTo>
                    <a:pt x="1377105" y="1131945"/>
                    <a:pt x="399384" y="811381"/>
                    <a:pt x="399384" y="811381"/>
                  </a:cubicBezTo>
                  <a:cubicBezTo>
                    <a:pt x="399384" y="811381"/>
                    <a:pt x="117359" y="842717"/>
                    <a:pt x="73417" y="811381"/>
                  </a:cubicBezTo>
                  <a:cubicBezTo>
                    <a:pt x="29475" y="780045"/>
                    <a:pt x="-8705" y="328013"/>
                    <a:pt x="1740" y="290014"/>
                  </a:cubicBezTo>
                  <a:cubicBezTo>
                    <a:pt x="12186" y="252015"/>
                    <a:pt x="217671" y="274526"/>
                    <a:pt x="217671" y="274526"/>
                  </a:cubicBezTo>
                  <a:cubicBezTo>
                    <a:pt x="217671" y="274526"/>
                    <a:pt x="174449" y="162329"/>
                    <a:pt x="198581" y="81107"/>
                  </a:cubicBezTo>
                  <a:cubicBezTo>
                    <a:pt x="222713" y="-114"/>
                    <a:pt x="279803" y="-15602"/>
                    <a:pt x="298712" y="13753"/>
                  </a:cubicBezTo>
                  <a:cubicBezTo>
                    <a:pt x="317802" y="43108"/>
                    <a:pt x="329868" y="257417"/>
                    <a:pt x="412711" y="307483"/>
                  </a:cubicBezTo>
                  <a:cubicBezTo>
                    <a:pt x="495553" y="357549"/>
                    <a:pt x="528510" y="518191"/>
                    <a:pt x="528510" y="518191"/>
                  </a:cubicBezTo>
                  <a:lnTo>
                    <a:pt x="1191429" y="605175"/>
                  </a:lnTo>
                  <a:lnTo>
                    <a:pt x="1187828" y="456599"/>
                  </a:lnTo>
                  <a:cubicBezTo>
                    <a:pt x="1187828" y="456599"/>
                    <a:pt x="1484620" y="413197"/>
                    <a:pt x="1680200" y="310725"/>
                  </a:cubicBez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734772CF-A0AF-7E15-C14A-6774C3237CDB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18D34B-BA3A-D79B-9119-97264096D794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0C674F1-D832-9B3D-D8F8-8212016EF556}"/>
                </a:ext>
              </a:extLst>
            </p:cNvPr>
            <p:cNvGrpSpPr/>
            <p:nvPr/>
          </p:nvGrpSpPr>
          <p:grpSpPr>
            <a:xfrm>
              <a:off x="3927642" y="4952800"/>
              <a:ext cx="1747972" cy="609208"/>
              <a:chOff x="5054552" y="4466735"/>
              <a:chExt cx="1509466" cy="526084"/>
            </a:xfrm>
          </p:grpSpPr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C1E53F3D-34D0-595B-A17B-EF32D305DD6F}"/>
                  </a:ext>
                </a:extLst>
              </p:cNvPr>
              <p:cNvSpPr/>
              <p:nvPr/>
            </p:nvSpPr>
            <p:spPr>
              <a:xfrm>
                <a:off x="5166444" y="4505733"/>
                <a:ext cx="1397349" cy="487086"/>
              </a:xfrm>
              <a:custGeom>
                <a:avLst/>
                <a:gdLst>
                  <a:gd name="connsiteX0" fmla="*/ 965665 w 1037138"/>
                  <a:gd name="connsiteY0" fmla="*/ 361216 h 361524"/>
                  <a:gd name="connsiteX1" fmla="*/ 966685 w 1037138"/>
                  <a:gd name="connsiteY1" fmla="*/ 361220 h 361524"/>
                  <a:gd name="connsiteX2" fmla="*/ 968720 w 1037138"/>
                  <a:gd name="connsiteY2" fmla="*/ 361228 h 361524"/>
                  <a:gd name="connsiteX3" fmla="*/ 842997 w 1037138"/>
                  <a:gd name="connsiteY3" fmla="*/ 360761 h 361524"/>
                  <a:gd name="connsiteX4" fmla="*/ 859013 w 1037138"/>
                  <a:gd name="connsiteY4" fmla="*/ 360812 h 361524"/>
                  <a:gd name="connsiteX5" fmla="*/ 898643 w 1037138"/>
                  <a:gd name="connsiteY5" fmla="*/ 360962 h 361524"/>
                  <a:gd name="connsiteX6" fmla="*/ 712742 w 1037138"/>
                  <a:gd name="connsiteY6" fmla="*/ 360355 h 361524"/>
                  <a:gd name="connsiteX7" fmla="*/ 718640 w 1037138"/>
                  <a:gd name="connsiteY7" fmla="*/ 360369 h 361524"/>
                  <a:gd name="connsiteX8" fmla="*/ 725267 w 1037138"/>
                  <a:gd name="connsiteY8" fmla="*/ 360390 h 361524"/>
                  <a:gd name="connsiteX9" fmla="*/ 182370 w 1037138"/>
                  <a:gd name="connsiteY9" fmla="*/ 359818 h 361524"/>
                  <a:gd name="connsiteX10" fmla="*/ 161904 w 1037138"/>
                  <a:gd name="connsiteY10" fmla="*/ 359840 h 361524"/>
                  <a:gd name="connsiteX11" fmla="*/ 34636 w 1037138"/>
                  <a:gd name="connsiteY11" fmla="*/ 360335 h 361524"/>
                  <a:gd name="connsiteX12" fmla="*/ 307299 w 1037138"/>
                  <a:gd name="connsiteY12" fmla="*/ 359684 h 361524"/>
                  <a:gd name="connsiteX13" fmla="*/ 236414 w 1037138"/>
                  <a:gd name="connsiteY13" fmla="*/ 359760 h 361524"/>
                  <a:gd name="connsiteX14" fmla="*/ 336152 w 1037138"/>
                  <a:gd name="connsiteY14" fmla="*/ 359721 h 361524"/>
                  <a:gd name="connsiteX15" fmla="*/ 365166 w 1037138"/>
                  <a:gd name="connsiteY15" fmla="*/ 194 h 361524"/>
                  <a:gd name="connsiteX16" fmla="*/ 416338 w 1037138"/>
                  <a:gd name="connsiteY16" fmla="*/ 8585 h 361524"/>
                  <a:gd name="connsiteX17" fmla="*/ 425367 w 1037138"/>
                  <a:gd name="connsiteY17" fmla="*/ 12703 h 361524"/>
                  <a:gd name="connsiteX18" fmla="*/ 442665 w 1037138"/>
                  <a:gd name="connsiteY18" fmla="*/ 26844 h 361524"/>
                  <a:gd name="connsiteX19" fmla="*/ 497748 w 1037138"/>
                  <a:gd name="connsiteY19" fmla="*/ 137669 h 361524"/>
                  <a:gd name="connsiteX20" fmla="*/ 522984 w 1037138"/>
                  <a:gd name="connsiteY20" fmla="*/ 121756 h 361524"/>
                  <a:gd name="connsiteX21" fmla="*/ 527051 w 1037138"/>
                  <a:gd name="connsiteY21" fmla="*/ 119798 h 361524"/>
                  <a:gd name="connsiteX22" fmla="*/ 550742 w 1037138"/>
                  <a:gd name="connsiteY22" fmla="*/ 108390 h 361524"/>
                  <a:gd name="connsiteX23" fmla="*/ 623918 w 1037138"/>
                  <a:gd name="connsiteY23" fmla="*/ 92584 h 361524"/>
                  <a:gd name="connsiteX24" fmla="*/ 703815 w 1037138"/>
                  <a:gd name="connsiteY24" fmla="*/ 120347 h 361524"/>
                  <a:gd name="connsiteX25" fmla="*/ 711292 w 1037138"/>
                  <a:gd name="connsiteY25" fmla="*/ 128845 h 361524"/>
                  <a:gd name="connsiteX26" fmla="*/ 728536 w 1037138"/>
                  <a:gd name="connsiteY26" fmla="*/ 138226 h 361524"/>
                  <a:gd name="connsiteX27" fmla="*/ 748921 w 1037138"/>
                  <a:gd name="connsiteY27" fmla="*/ 161394 h 361524"/>
                  <a:gd name="connsiteX28" fmla="*/ 762013 w 1037138"/>
                  <a:gd name="connsiteY28" fmla="*/ 176273 h 361524"/>
                  <a:gd name="connsiteX29" fmla="*/ 1013917 w 1037138"/>
                  <a:gd name="connsiteY29" fmla="*/ 328545 h 361524"/>
                  <a:gd name="connsiteX30" fmla="*/ 1030921 w 1037138"/>
                  <a:gd name="connsiteY30" fmla="*/ 352164 h 361524"/>
                  <a:gd name="connsiteX31" fmla="*/ 1031082 w 1037138"/>
                  <a:gd name="connsiteY31" fmla="*/ 352388 h 361524"/>
                  <a:gd name="connsiteX32" fmla="*/ 1037138 w 1037138"/>
                  <a:gd name="connsiteY32" fmla="*/ 361523 h 361524"/>
                  <a:gd name="connsiteX33" fmla="*/ 1037125 w 1037138"/>
                  <a:gd name="connsiteY33" fmla="*/ 361523 h 361524"/>
                  <a:gd name="connsiteX34" fmla="*/ 1028119 w 1037138"/>
                  <a:gd name="connsiteY34" fmla="*/ 361482 h 361524"/>
                  <a:gd name="connsiteX35" fmla="*/ 968720 w 1037138"/>
                  <a:gd name="connsiteY35" fmla="*/ 361228 h 361524"/>
                  <a:gd name="connsiteX36" fmla="*/ 982594 w 1037138"/>
                  <a:gd name="connsiteY36" fmla="*/ 361285 h 361524"/>
                  <a:gd name="connsiteX37" fmla="*/ 973083 w 1037138"/>
                  <a:gd name="connsiteY37" fmla="*/ 361245 h 361524"/>
                  <a:gd name="connsiteX38" fmla="*/ 964401 w 1037138"/>
                  <a:gd name="connsiteY38" fmla="*/ 361211 h 361524"/>
                  <a:gd name="connsiteX39" fmla="*/ 965665 w 1037138"/>
                  <a:gd name="connsiteY39" fmla="*/ 361216 h 361524"/>
                  <a:gd name="connsiteX40" fmla="*/ 898643 w 1037138"/>
                  <a:gd name="connsiteY40" fmla="*/ 360962 h 361524"/>
                  <a:gd name="connsiteX41" fmla="*/ 924833 w 1037138"/>
                  <a:gd name="connsiteY41" fmla="*/ 361056 h 361524"/>
                  <a:gd name="connsiteX42" fmla="*/ 879807 w 1037138"/>
                  <a:gd name="connsiteY42" fmla="*/ 360881 h 361524"/>
                  <a:gd name="connsiteX43" fmla="*/ 818769 w 1037138"/>
                  <a:gd name="connsiteY43" fmla="*/ 360674 h 361524"/>
                  <a:gd name="connsiteX44" fmla="*/ 842997 w 1037138"/>
                  <a:gd name="connsiteY44" fmla="*/ 360761 h 361524"/>
                  <a:gd name="connsiteX45" fmla="*/ 725267 w 1037138"/>
                  <a:gd name="connsiteY45" fmla="*/ 360390 h 361524"/>
                  <a:gd name="connsiteX46" fmla="*/ 776920 w 1037138"/>
                  <a:gd name="connsiteY46" fmla="*/ 360532 h 361524"/>
                  <a:gd name="connsiteX47" fmla="*/ 757074 w 1037138"/>
                  <a:gd name="connsiteY47" fmla="*/ 360464 h 361524"/>
                  <a:gd name="connsiteX48" fmla="*/ 614401 w 1037138"/>
                  <a:gd name="connsiteY48" fmla="*/ 360074 h 361524"/>
                  <a:gd name="connsiteX49" fmla="*/ 607277 w 1037138"/>
                  <a:gd name="connsiteY49" fmla="*/ 360065 h 361524"/>
                  <a:gd name="connsiteX50" fmla="*/ 712742 w 1037138"/>
                  <a:gd name="connsiteY50" fmla="*/ 360355 h 361524"/>
                  <a:gd name="connsiteX51" fmla="*/ 560569 w 1037138"/>
                  <a:gd name="connsiteY51" fmla="*/ 360006 h 361524"/>
                  <a:gd name="connsiteX52" fmla="*/ 557717 w 1037138"/>
                  <a:gd name="connsiteY52" fmla="*/ 360002 h 361524"/>
                  <a:gd name="connsiteX53" fmla="*/ 236668 w 1037138"/>
                  <a:gd name="connsiteY53" fmla="*/ 359944 h 361524"/>
                  <a:gd name="connsiteX54" fmla="*/ 0 w 1037138"/>
                  <a:gd name="connsiteY54" fmla="*/ 361524 h 361524"/>
                  <a:gd name="connsiteX55" fmla="*/ 353 w 1037138"/>
                  <a:gd name="connsiteY55" fmla="*/ 360601 h 361524"/>
                  <a:gd name="connsiteX56" fmla="*/ 17234 w 1037138"/>
                  <a:gd name="connsiteY56" fmla="*/ 316491 h 361524"/>
                  <a:gd name="connsiteX57" fmla="*/ 230605 w 1037138"/>
                  <a:gd name="connsiteY57" fmla="*/ 152429 h 361524"/>
                  <a:gd name="connsiteX58" fmla="*/ 365166 w 1037138"/>
                  <a:gd name="connsiteY58" fmla="*/ 194 h 36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37138" h="361524">
                    <a:moveTo>
                      <a:pt x="965665" y="361216"/>
                    </a:moveTo>
                    <a:lnTo>
                      <a:pt x="966685" y="361220"/>
                    </a:lnTo>
                    <a:lnTo>
                      <a:pt x="968720" y="361228"/>
                    </a:lnTo>
                    <a:close/>
                    <a:moveTo>
                      <a:pt x="842997" y="360761"/>
                    </a:moveTo>
                    <a:lnTo>
                      <a:pt x="859013" y="360812"/>
                    </a:lnTo>
                    <a:lnTo>
                      <a:pt x="898643" y="360962"/>
                    </a:lnTo>
                    <a:close/>
                    <a:moveTo>
                      <a:pt x="712742" y="360355"/>
                    </a:moveTo>
                    <a:lnTo>
                      <a:pt x="718640" y="360369"/>
                    </a:lnTo>
                    <a:lnTo>
                      <a:pt x="725267" y="360390"/>
                    </a:lnTo>
                    <a:close/>
                    <a:moveTo>
                      <a:pt x="182370" y="359818"/>
                    </a:moveTo>
                    <a:lnTo>
                      <a:pt x="161904" y="359840"/>
                    </a:lnTo>
                    <a:cubicBezTo>
                      <a:pt x="115932" y="359945"/>
                      <a:pt x="72981" y="360105"/>
                      <a:pt x="34636" y="360335"/>
                    </a:cubicBezTo>
                    <a:close/>
                    <a:moveTo>
                      <a:pt x="307299" y="359684"/>
                    </a:moveTo>
                    <a:lnTo>
                      <a:pt x="236414" y="359760"/>
                    </a:lnTo>
                    <a:lnTo>
                      <a:pt x="336152" y="359721"/>
                    </a:lnTo>
                    <a:close/>
                    <a:moveTo>
                      <a:pt x="365166" y="194"/>
                    </a:moveTo>
                    <a:cubicBezTo>
                      <a:pt x="384217" y="965"/>
                      <a:pt x="401201" y="3951"/>
                      <a:pt x="416338" y="8585"/>
                    </a:cubicBezTo>
                    <a:lnTo>
                      <a:pt x="425367" y="12703"/>
                    </a:lnTo>
                    <a:lnTo>
                      <a:pt x="442665" y="26844"/>
                    </a:lnTo>
                    <a:cubicBezTo>
                      <a:pt x="489236" y="75270"/>
                      <a:pt x="497748" y="137669"/>
                      <a:pt x="497748" y="137669"/>
                    </a:cubicBezTo>
                    <a:cubicBezTo>
                      <a:pt x="497748" y="137669"/>
                      <a:pt x="507282" y="130432"/>
                      <a:pt x="522984" y="121756"/>
                    </a:cubicBezTo>
                    <a:lnTo>
                      <a:pt x="527051" y="119798"/>
                    </a:lnTo>
                    <a:lnTo>
                      <a:pt x="550742" y="108390"/>
                    </a:lnTo>
                    <a:cubicBezTo>
                      <a:pt x="571771" y="99727"/>
                      <a:pt x="597285" y="92525"/>
                      <a:pt x="623918" y="92584"/>
                    </a:cubicBezTo>
                    <a:cubicBezTo>
                      <a:pt x="650553" y="92645"/>
                      <a:pt x="678307" y="99966"/>
                      <a:pt x="703815" y="120347"/>
                    </a:cubicBezTo>
                    <a:lnTo>
                      <a:pt x="711292" y="128845"/>
                    </a:lnTo>
                    <a:lnTo>
                      <a:pt x="728536" y="138226"/>
                    </a:lnTo>
                    <a:lnTo>
                      <a:pt x="748921" y="161394"/>
                    </a:lnTo>
                    <a:lnTo>
                      <a:pt x="762013" y="176273"/>
                    </a:lnTo>
                    <a:cubicBezTo>
                      <a:pt x="867436" y="154763"/>
                      <a:pt x="969483" y="269722"/>
                      <a:pt x="1013917" y="328545"/>
                    </a:cubicBezTo>
                    <a:lnTo>
                      <a:pt x="1030921" y="352164"/>
                    </a:lnTo>
                    <a:lnTo>
                      <a:pt x="1031082" y="352388"/>
                    </a:lnTo>
                    <a:lnTo>
                      <a:pt x="1037138" y="361523"/>
                    </a:lnTo>
                    <a:lnTo>
                      <a:pt x="1037125" y="361523"/>
                    </a:lnTo>
                    <a:lnTo>
                      <a:pt x="1028119" y="361482"/>
                    </a:lnTo>
                    <a:lnTo>
                      <a:pt x="968720" y="361228"/>
                    </a:lnTo>
                    <a:lnTo>
                      <a:pt x="982594" y="361285"/>
                    </a:lnTo>
                    <a:lnTo>
                      <a:pt x="973083" y="361245"/>
                    </a:lnTo>
                    <a:lnTo>
                      <a:pt x="964401" y="361211"/>
                    </a:lnTo>
                    <a:lnTo>
                      <a:pt x="965665" y="361216"/>
                    </a:lnTo>
                    <a:lnTo>
                      <a:pt x="898643" y="360962"/>
                    </a:lnTo>
                    <a:lnTo>
                      <a:pt x="924833" y="361056"/>
                    </a:lnTo>
                    <a:lnTo>
                      <a:pt x="879807" y="360881"/>
                    </a:lnTo>
                    <a:lnTo>
                      <a:pt x="818769" y="360674"/>
                    </a:lnTo>
                    <a:lnTo>
                      <a:pt x="842997" y="360761"/>
                    </a:lnTo>
                    <a:lnTo>
                      <a:pt x="725267" y="360390"/>
                    </a:lnTo>
                    <a:lnTo>
                      <a:pt x="776920" y="360532"/>
                    </a:lnTo>
                    <a:lnTo>
                      <a:pt x="757074" y="360464"/>
                    </a:lnTo>
                    <a:cubicBezTo>
                      <a:pt x="712311" y="360326"/>
                      <a:pt x="664225" y="360191"/>
                      <a:pt x="614401" y="360074"/>
                    </a:cubicBezTo>
                    <a:lnTo>
                      <a:pt x="607277" y="360065"/>
                    </a:lnTo>
                    <a:lnTo>
                      <a:pt x="712742" y="360355"/>
                    </a:lnTo>
                    <a:lnTo>
                      <a:pt x="560569" y="360006"/>
                    </a:lnTo>
                    <a:lnTo>
                      <a:pt x="557717" y="360002"/>
                    </a:lnTo>
                    <a:lnTo>
                      <a:pt x="236668" y="359944"/>
                    </a:lnTo>
                    <a:cubicBezTo>
                      <a:pt x="137468" y="360148"/>
                      <a:pt x="52563" y="360625"/>
                      <a:pt x="0" y="361524"/>
                    </a:cubicBezTo>
                    <a:lnTo>
                      <a:pt x="353" y="360601"/>
                    </a:lnTo>
                    <a:lnTo>
                      <a:pt x="17234" y="316491"/>
                    </a:lnTo>
                    <a:cubicBezTo>
                      <a:pt x="73581" y="216388"/>
                      <a:pt x="230605" y="152429"/>
                      <a:pt x="230605" y="152429"/>
                    </a:cubicBezTo>
                    <a:cubicBezTo>
                      <a:pt x="230605" y="152429"/>
                      <a:pt x="204926" y="-6310"/>
                      <a:pt x="365166" y="194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CC0F0F4-3DC6-1553-7C4C-F47E2A2CD2A3}"/>
                  </a:ext>
                </a:extLst>
              </p:cNvPr>
              <p:cNvSpPr/>
              <p:nvPr/>
            </p:nvSpPr>
            <p:spPr>
              <a:xfrm>
                <a:off x="5054552" y="4466735"/>
                <a:ext cx="1509466" cy="526084"/>
              </a:xfrm>
              <a:custGeom>
                <a:avLst/>
                <a:gdLst>
                  <a:gd name="connsiteX0" fmla="*/ 1120174 w 1120353"/>
                  <a:gd name="connsiteY0" fmla="*/ 390470 h 390469"/>
                  <a:gd name="connsiteX1" fmla="*/ 823021 w 1120353"/>
                  <a:gd name="connsiteY1" fmla="*/ 190387 h 390469"/>
                  <a:gd name="connsiteX2" fmla="*/ 580797 w 1120353"/>
                  <a:gd name="connsiteY2" fmla="*/ 166615 h 390469"/>
                  <a:gd name="connsiteX3" fmla="*/ 394402 w 1120353"/>
                  <a:gd name="connsiteY3" fmla="*/ 210 h 390469"/>
                  <a:gd name="connsiteX4" fmla="*/ 249068 w 1120353"/>
                  <a:gd name="connsiteY4" fmla="*/ 164634 h 390469"/>
                  <a:gd name="connsiteX5" fmla="*/ 0 w 1120353"/>
                  <a:gd name="connsiteY5" fmla="*/ 390470 h 390469"/>
                  <a:gd name="connsiteX6" fmla="*/ 1120354 w 1120353"/>
                  <a:gd name="connsiteY6" fmla="*/ 390470 h 39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0353" h="390469">
                    <a:moveTo>
                      <a:pt x="1120174" y="390470"/>
                    </a:moveTo>
                    <a:cubicBezTo>
                      <a:pt x="1120174" y="390470"/>
                      <a:pt x="974839" y="159411"/>
                      <a:pt x="823021" y="190387"/>
                    </a:cubicBezTo>
                    <a:cubicBezTo>
                      <a:pt x="733336" y="50816"/>
                      <a:pt x="580797" y="166615"/>
                      <a:pt x="580797" y="166615"/>
                    </a:cubicBezTo>
                    <a:cubicBezTo>
                      <a:pt x="580797" y="166615"/>
                      <a:pt x="559006" y="6873"/>
                      <a:pt x="394402" y="210"/>
                    </a:cubicBezTo>
                    <a:cubicBezTo>
                      <a:pt x="221333" y="-6814"/>
                      <a:pt x="249068" y="164634"/>
                      <a:pt x="249068" y="164634"/>
                    </a:cubicBezTo>
                    <a:cubicBezTo>
                      <a:pt x="249068" y="164634"/>
                      <a:pt x="27554" y="254860"/>
                      <a:pt x="0" y="390470"/>
                    </a:cubicBezTo>
                    <a:cubicBezTo>
                      <a:pt x="242224" y="386328"/>
                      <a:pt x="1120354" y="390470"/>
                      <a:pt x="1120354" y="39047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DB2D27-D1C3-01E6-12C2-D472F8F83733}"/>
                </a:ext>
              </a:extLst>
            </p:cNvPr>
            <p:cNvSpPr/>
            <p:nvPr/>
          </p:nvSpPr>
          <p:spPr>
            <a:xfrm>
              <a:off x="9124596" y="4969782"/>
              <a:ext cx="686956" cy="217724"/>
            </a:xfrm>
            <a:custGeom>
              <a:avLst/>
              <a:gdLst>
                <a:gd name="connsiteX0" fmla="*/ 593224 w 593223"/>
                <a:gd name="connsiteY0" fmla="*/ 0 h 188016"/>
                <a:gd name="connsiteX1" fmla="*/ 0 w 593223"/>
                <a:gd name="connsiteY1" fmla="*/ 188016 h 18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3223" h="188016">
                  <a:moveTo>
                    <a:pt x="593224" y="0"/>
                  </a:moveTo>
                  <a:cubicBezTo>
                    <a:pt x="593224" y="0"/>
                    <a:pt x="300214" y="171448"/>
                    <a:pt x="0" y="18801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F3C60DB-50E0-2736-8FDC-3524636BCC78}"/>
                </a:ext>
              </a:extLst>
            </p:cNvPr>
            <p:cNvSpPr/>
            <p:nvPr/>
          </p:nvSpPr>
          <p:spPr>
            <a:xfrm>
              <a:off x="6738598" y="4122660"/>
              <a:ext cx="229402" cy="670481"/>
            </a:xfrm>
            <a:custGeom>
              <a:avLst/>
              <a:gdLst>
                <a:gd name="connsiteX0" fmla="*/ 0 w 198101"/>
                <a:gd name="connsiteY0" fmla="*/ 0 h 578996"/>
                <a:gd name="connsiteX1" fmla="*/ 198101 w 198101"/>
                <a:gd name="connsiteY1" fmla="*/ 578996 h 57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01" h="578996">
                  <a:moveTo>
                    <a:pt x="0" y="0"/>
                  </a:moveTo>
                  <a:cubicBezTo>
                    <a:pt x="0" y="0"/>
                    <a:pt x="72037" y="240783"/>
                    <a:pt x="198101" y="57899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grpSp>
          <p:nvGrpSpPr>
            <p:cNvPr id="649" name="Group 648">
              <a:extLst>
                <a:ext uri="{FF2B5EF4-FFF2-40B4-BE49-F238E27FC236}">
                  <a16:creationId xmlns:a16="http://schemas.microsoft.com/office/drawing/2014/main" id="{A45E782A-6B5A-126B-7CFA-537558CDAF0F}"/>
                </a:ext>
              </a:extLst>
            </p:cNvPr>
            <p:cNvGrpSpPr/>
            <p:nvPr/>
          </p:nvGrpSpPr>
          <p:grpSpPr>
            <a:xfrm>
              <a:off x="10425516" y="2661856"/>
              <a:ext cx="402919" cy="429901"/>
              <a:chOff x="10665809" y="2488384"/>
              <a:chExt cx="347942" cy="37124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E5190DF-0C1B-5697-C92D-A256052C4D82}"/>
                  </a:ext>
                </a:extLst>
              </p:cNvPr>
              <p:cNvSpPr/>
              <p:nvPr/>
            </p:nvSpPr>
            <p:spPr>
              <a:xfrm>
                <a:off x="10665809" y="2652067"/>
                <a:ext cx="241373" cy="207559"/>
              </a:xfrm>
              <a:custGeom>
                <a:avLst/>
                <a:gdLst>
                  <a:gd name="connsiteX0" fmla="*/ 40524 w 241373"/>
                  <a:gd name="connsiteY0" fmla="*/ 139529 h 207559"/>
                  <a:gd name="connsiteX1" fmla="*/ 82485 w 241373"/>
                  <a:gd name="connsiteY1" fmla="*/ 167443 h 207559"/>
                  <a:gd name="connsiteX2" fmla="*/ 126788 w 241373"/>
                  <a:gd name="connsiteY2" fmla="*/ 191756 h 207559"/>
                  <a:gd name="connsiteX3" fmla="*/ 183337 w 241373"/>
                  <a:gd name="connsiteY3" fmla="*/ 206343 h 207559"/>
                  <a:gd name="connsiteX4" fmla="*/ 234123 w 241373"/>
                  <a:gd name="connsiteY4" fmla="*/ 172486 h 207559"/>
                  <a:gd name="connsiteX5" fmla="*/ 232322 w 241373"/>
                  <a:gd name="connsiteY5" fmla="*/ 171405 h 207559"/>
                  <a:gd name="connsiteX6" fmla="*/ 238445 w 241373"/>
                  <a:gd name="connsiteY6" fmla="*/ 112875 h 207559"/>
                  <a:gd name="connsiteX7" fmla="*/ 205308 w 241373"/>
                  <a:gd name="connsiteY7" fmla="*/ 66592 h 207559"/>
                  <a:gd name="connsiteX8" fmla="*/ 164067 w 241373"/>
                  <a:gd name="connsiteY8" fmla="*/ 37417 h 207559"/>
                  <a:gd name="connsiteX9" fmla="*/ 121025 w 241373"/>
                  <a:gd name="connsiteY9" fmla="*/ 10943 h 207559"/>
                  <a:gd name="connsiteX10" fmla="*/ 63035 w 241373"/>
                  <a:gd name="connsiteY10" fmla="*/ 2119 h 207559"/>
                  <a:gd name="connsiteX11" fmla="*/ 14590 w 241373"/>
                  <a:gd name="connsiteY11" fmla="*/ 35436 h 207559"/>
                  <a:gd name="connsiteX12" fmla="*/ 1444 w 241373"/>
                  <a:gd name="connsiteY12" fmla="*/ 94506 h 207559"/>
                  <a:gd name="connsiteX13" fmla="*/ 40704 w 241373"/>
                  <a:gd name="connsiteY13" fmla="*/ 139349 h 207559"/>
                  <a:gd name="connsiteX14" fmla="*/ 40704 w 241373"/>
                  <a:gd name="connsiteY14" fmla="*/ 139349 h 20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373" h="207559">
                    <a:moveTo>
                      <a:pt x="40524" y="139529"/>
                    </a:moveTo>
                    <a:cubicBezTo>
                      <a:pt x="61955" y="152856"/>
                      <a:pt x="61234" y="154116"/>
                      <a:pt x="82485" y="167443"/>
                    </a:cubicBezTo>
                    <a:cubicBezTo>
                      <a:pt x="103736" y="180770"/>
                      <a:pt x="105357" y="178249"/>
                      <a:pt x="126788" y="191756"/>
                    </a:cubicBezTo>
                    <a:cubicBezTo>
                      <a:pt x="144797" y="202921"/>
                      <a:pt x="164067" y="210665"/>
                      <a:pt x="183337" y="206343"/>
                    </a:cubicBezTo>
                    <a:cubicBezTo>
                      <a:pt x="202427" y="202021"/>
                      <a:pt x="222777" y="190495"/>
                      <a:pt x="234123" y="172486"/>
                    </a:cubicBezTo>
                    <a:lnTo>
                      <a:pt x="232322" y="171405"/>
                    </a:lnTo>
                    <a:cubicBezTo>
                      <a:pt x="243488" y="153396"/>
                      <a:pt x="242767" y="132145"/>
                      <a:pt x="238445" y="112875"/>
                    </a:cubicBezTo>
                    <a:cubicBezTo>
                      <a:pt x="234123" y="93605"/>
                      <a:pt x="223137" y="77757"/>
                      <a:pt x="205308" y="66592"/>
                    </a:cubicBezTo>
                    <a:cubicBezTo>
                      <a:pt x="183877" y="53265"/>
                      <a:pt x="185318" y="50743"/>
                      <a:pt x="164067" y="37417"/>
                    </a:cubicBezTo>
                    <a:cubicBezTo>
                      <a:pt x="142816" y="24090"/>
                      <a:pt x="142456" y="24270"/>
                      <a:pt x="121025" y="10943"/>
                    </a:cubicBezTo>
                    <a:cubicBezTo>
                      <a:pt x="103016" y="-223"/>
                      <a:pt x="82125" y="-2204"/>
                      <a:pt x="63035" y="2119"/>
                    </a:cubicBezTo>
                    <a:cubicBezTo>
                      <a:pt x="43946" y="6441"/>
                      <a:pt x="25936" y="17426"/>
                      <a:pt x="14590" y="35436"/>
                    </a:cubicBezTo>
                    <a:cubicBezTo>
                      <a:pt x="3425" y="53445"/>
                      <a:pt x="-3059" y="75236"/>
                      <a:pt x="1444" y="94506"/>
                    </a:cubicBezTo>
                    <a:cubicBezTo>
                      <a:pt x="5766" y="113776"/>
                      <a:pt x="22694" y="128183"/>
                      <a:pt x="40704" y="139349"/>
                    </a:cubicBezTo>
                    <a:lnTo>
                      <a:pt x="40704" y="139349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46F0B76-B297-AB79-6052-B6B400E361D4}"/>
                  </a:ext>
                </a:extLst>
              </p:cNvPr>
              <p:cNvSpPr/>
              <p:nvPr/>
            </p:nvSpPr>
            <p:spPr>
              <a:xfrm>
                <a:off x="10849031" y="2565750"/>
                <a:ext cx="164720" cy="143776"/>
              </a:xfrm>
              <a:custGeom>
                <a:avLst/>
                <a:gdLst>
                  <a:gd name="connsiteX0" fmla="*/ 72511 w 164720"/>
                  <a:gd name="connsiteY0" fmla="*/ 22701 h 143776"/>
                  <a:gd name="connsiteX1" fmla="*/ 40815 w 164720"/>
                  <a:gd name="connsiteY1" fmla="*/ 55478 h 143776"/>
                  <a:gd name="connsiteX2" fmla="*/ 20644 w 164720"/>
                  <a:gd name="connsiteY2" fmla="*/ 96719 h 143776"/>
                  <a:gd name="connsiteX3" fmla="*/ 5156 w 164720"/>
                  <a:gd name="connsiteY3" fmla="*/ 136519 h 143776"/>
                  <a:gd name="connsiteX4" fmla="*/ 47118 w 164720"/>
                  <a:gd name="connsiteY4" fmla="*/ 128775 h 143776"/>
                  <a:gd name="connsiteX5" fmla="*/ 91961 w 164720"/>
                  <a:gd name="connsiteY5" fmla="*/ 118690 h 143776"/>
                  <a:gd name="connsiteX6" fmla="*/ 130141 w 164720"/>
                  <a:gd name="connsiteY6" fmla="*/ 93117 h 143776"/>
                  <a:gd name="connsiteX7" fmla="*/ 162377 w 164720"/>
                  <a:gd name="connsiteY7" fmla="*/ 59980 h 143776"/>
                  <a:gd name="connsiteX8" fmla="*/ 148870 w 164720"/>
                  <a:gd name="connsiteY8" fmla="*/ 18559 h 143776"/>
                  <a:gd name="connsiteX9" fmla="*/ 111591 w 164720"/>
                  <a:gd name="connsiteY9" fmla="*/ 910 h 143776"/>
                  <a:gd name="connsiteX10" fmla="*/ 72151 w 164720"/>
                  <a:gd name="connsiteY10" fmla="*/ 22701 h 143776"/>
                  <a:gd name="connsiteX11" fmla="*/ 72511 w 164720"/>
                  <a:gd name="connsiteY11" fmla="*/ 22701 h 143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720" h="143776">
                    <a:moveTo>
                      <a:pt x="72511" y="22701"/>
                    </a:moveTo>
                    <a:cubicBezTo>
                      <a:pt x="61705" y="31525"/>
                      <a:pt x="49639" y="42331"/>
                      <a:pt x="40815" y="55478"/>
                    </a:cubicBezTo>
                    <a:cubicBezTo>
                      <a:pt x="31990" y="68625"/>
                      <a:pt x="26767" y="83932"/>
                      <a:pt x="20644" y="96719"/>
                    </a:cubicBezTo>
                    <a:cubicBezTo>
                      <a:pt x="9478" y="119951"/>
                      <a:pt x="-9071" y="119050"/>
                      <a:pt x="5156" y="136519"/>
                    </a:cubicBezTo>
                    <a:cubicBezTo>
                      <a:pt x="19384" y="153988"/>
                      <a:pt x="22265" y="135259"/>
                      <a:pt x="47118" y="128775"/>
                    </a:cubicBezTo>
                    <a:cubicBezTo>
                      <a:pt x="60625" y="125353"/>
                      <a:pt x="77374" y="124633"/>
                      <a:pt x="91961" y="118690"/>
                    </a:cubicBezTo>
                    <a:cubicBezTo>
                      <a:pt x="106368" y="112747"/>
                      <a:pt x="119335" y="101942"/>
                      <a:pt x="130141" y="93117"/>
                    </a:cubicBezTo>
                    <a:cubicBezTo>
                      <a:pt x="145808" y="80150"/>
                      <a:pt x="157875" y="70245"/>
                      <a:pt x="162377" y="59980"/>
                    </a:cubicBezTo>
                    <a:cubicBezTo>
                      <a:pt x="169581" y="43592"/>
                      <a:pt x="158775" y="30805"/>
                      <a:pt x="148870" y="18559"/>
                    </a:cubicBezTo>
                    <a:cubicBezTo>
                      <a:pt x="138965" y="6493"/>
                      <a:pt x="129420" y="-3052"/>
                      <a:pt x="111591" y="910"/>
                    </a:cubicBezTo>
                    <a:cubicBezTo>
                      <a:pt x="100785" y="3251"/>
                      <a:pt x="87819" y="9734"/>
                      <a:pt x="72151" y="22701"/>
                    </a:cubicBezTo>
                    <a:lnTo>
                      <a:pt x="72511" y="2270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5A1B30C-E87D-0CA1-7914-BABAF3AFE40C}"/>
                  </a:ext>
                </a:extLst>
              </p:cNvPr>
              <p:cNvSpPr/>
              <p:nvPr/>
            </p:nvSpPr>
            <p:spPr>
              <a:xfrm>
                <a:off x="10795520" y="2488384"/>
                <a:ext cx="109626" cy="223994"/>
              </a:xfrm>
              <a:custGeom>
                <a:avLst/>
                <a:gdLst>
                  <a:gd name="connsiteX0" fmla="*/ 1578 w 109626"/>
                  <a:gd name="connsiteY0" fmla="*/ 69271 h 223994"/>
                  <a:gd name="connsiteX1" fmla="*/ 2479 w 109626"/>
                  <a:gd name="connsiteY1" fmla="*/ 122398 h 223994"/>
                  <a:gd name="connsiteX2" fmla="*/ 21388 w 109626"/>
                  <a:gd name="connsiteY2" fmla="*/ 172104 h 223994"/>
                  <a:gd name="connsiteX3" fmla="*/ 39578 w 109626"/>
                  <a:gd name="connsiteY3" fmla="*/ 223790 h 223994"/>
                  <a:gd name="connsiteX4" fmla="*/ 66592 w 109626"/>
                  <a:gd name="connsiteY4" fmla="*/ 176246 h 223994"/>
                  <a:gd name="connsiteX5" fmla="*/ 90904 w 109626"/>
                  <a:gd name="connsiteY5" fmla="*/ 129602 h 223994"/>
                  <a:gd name="connsiteX6" fmla="*/ 108913 w 109626"/>
                  <a:gd name="connsiteY6" fmla="*/ 79897 h 223994"/>
                  <a:gd name="connsiteX7" fmla="*/ 102790 w 109626"/>
                  <a:gd name="connsiteY7" fmla="*/ 27490 h 223994"/>
                  <a:gd name="connsiteX8" fmla="*/ 61729 w 109626"/>
                  <a:gd name="connsiteY8" fmla="*/ 476 h 223994"/>
                  <a:gd name="connsiteX9" fmla="*/ 16346 w 109626"/>
                  <a:gd name="connsiteY9" fmla="*/ 19206 h 223994"/>
                  <a:gd name="connsiteX10" fmla="*/ 1578 w 109626"/>
                  <a:gd name="connsiteY10" fmla="*/ 69451 h 223994"/>
                  <a:gd name="connsiteX11" fmla="*/ 1578 w 109626"/>
                  <a:gd name="connsiteY11" fmla="*/ 69451 h 22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626" h="223994">
                    <a:moveTo>
                      <a:pt x="1578" y="69271"/>
                    </a:moveTo>
                    <a:cubicBezTo>
                      <a:pt x="-43" y="85480"/>
                      <a:pt x="-1304" y="104209"/>
                      <a:pt x="2479" y="122398"/>
                    </a:cubicBezTo>
                    <a:cubicBezTo>
                      <a:pt x="6261" y="140588"/>
                      <a:pt x="15986" y="156796"/>
                      <a:pt x="21388" y="172104"/>
                    </a:cubicBezTo>
                    <a:cubicBezTo>
                      <a:pt x="31294" y="200378"/>
                      <a:pt x="13284" y="221089"/>
                      <a:pt x="39578" y="223790"/>
                    </a:cubicBezTo>
                    <a:cubicBezTo>
                      <a:pt x="65871" y="226492"/>
                      <a:pt x="51464" y="201999"/>
                      <a:pt x="66592" y="176246"/>
                    </a:cubicBezTo>
                    <a:cubicBezTo>
                      <a:pt x="74876" y="162199"/>
                      <a:pt x="83700" y="146351"/>
                      <a:pt x="90904" y="129602"/>
                    </a:cubicBezTo>
                    <a:cubicBezTo>
                      <a:pt x="98108" y="112854"/>
                      <a:pt x="107472" y="96105"/>
                      <a:pt x="108913" y="79897"/>
                    </a:cubicBezTo>
                    <a:cubicBezTo>
                      <a:pt x="111254" y="56485"/>
                      <a:pt x="107472" y="39556"/>
                      <a:pt x="102790" y="27490"/>
                    </a:cubicBezTo>
                    <a:cubicBezTo>
                      <a:pt x="95226" y="8040"/>
                      <a:pt x="79558" y="2277"/>
                      <a:pt x="61729" y="476"/>
                    </a:cubicBezTo>
                    <a:cubicBezTo>
                      <a:pt x="43900" y="-1325"/>
                      <a:pt x="27692" y="1376"/>
                      <a:pt x="16346" y="19206"/>
                    </a:cubicBezTo>
                    <a:cubicBezTo>
                      <a:pt x="9322" y="30011"/>
                      <a:pt x="3919" y="45859"/>
                      <a:pt x="1578" y="69451"/>
                    </a:cubicBezTo>
                    <a:lnTo>
                      <a:pt x="1578" y="6945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8C72B26-988B-8047-B51F-B7758B3DCC76}"/>
                  </a:ext>
                </a:extLst>
              </p:cNvPr>
              <p:cNvSpPr/>
              <p:nvPr/>
            </p:nvSpPr>
            <p:spPr>
              <a:xfrm>
                <a:off x="10792776" y="2719378"/>
                <a:ext cx="83022" cy="128765"/>
              </a:xfrm>
              <a:custGeom>
                <a:avLst/>
                <a:gdLst>
                  <a:gd name="connsiteX0" fmla="*/ 83022 w 83022"/>
                  <a:gd name="connsiteY0" fmla="*/ 0 h 128765"/>
                  <a:gd name="connsiteX1" fmla="*/ 57449 w 83022"/>
                  <a:gd name="connsiteY1" fmla="*/ 44123 h 128765"/>
                  <a:gd name="connsiteX2" fmla="*/ 28275 w 83022"/>
                  <a:gd name="connsiteY2" fmla="*/ 86084 h 128765"/>
                  <a:gd name="connsiteX3" fmla="*/ 0 w 83022"/>
                  <a:gd name="connsiteY3" fmla="*/ 128766 h 1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22" h="128765">
                    <a:moveTo>
                      <a:pt x="83022" y="0"/>
                    </a:moveTo>
                    <a:cubicBezTo>
                      <a:pt x="69515" y="21611"/>
                      <a:pt x="70956" y="22512"/>
                      <a:pt x="57449" y="44123"/>
                    </a:cubicBezTo>
                    <a:cubicBezTo>
                      <a:pt x="43943" y="65734"/>
                      <a:pt x="41782" y="64473"/>
                      <a:pt x="28275" y="86084"/>
                    </a:cubicBezTo>
                    <a:cubicBezTo>
                      <a:pt x="14768" y="107695"/>
                      <a:pt x="13507" y="106975"/>
                      <a:pt x="0" y="12876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A68A42-C6C1-0DAC-DA40-3B398D881323}"/>
                  </a:ext>
                </a:extLst>
              </p:cNvPr>
              <p:cNvSpPr/>
              <p:nvPr/>
            </p:nvSpPr>
            <p:spPr>
              <a:xfrm>
                <a:off x="10698768" y="2661029"/>
                <a:ext cx="83202" cy="128405"/>
              </a:xfrm>
              <a:custGeom>
                <a:avLst/>
                <a:gdLst>
                  <a:gd name="connsiteX0" fmla="*/ 83203 w 83202"/>
                  <a:gd name="connsiteY0" fmla="*/ 0 h 128405"/>
                  <a:gd name="connsiteX1" fmla="*/ 53487 w 83202"/>
                  <a:gd name="connsiteY1" fmla="*/ 41421 h 128405"/>
                  <a:gd name="connsiteX2" fmla="*/ 28995 w 83202"/>
                  <a:gd name="connsiteY2" fmla="*/ 86264 h 128405"/>
                  <a:gd name="connsiteX3" fmla="*/ 0 w 83202"/>
                  <a:gd name="connsiteY3" fmla="*/ 128406 h 128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202" h="128405">
                    <a:moveTo>
                      <a:pt x="83203" y="0"/>
                    </a:moveTo>
                    <a:cubicBezTo>
                      <a:pt x="69696" y="21611"/>
                      <a:pt x="66814" y="19810"/>
                      <a:pt x="53487" y="41421"/>
                    </a:cubicBezTo>
                    <a:cubicBezTo>
                      <a:pt x="40161" y="63032"/>
                      <a:pt x="42682" y="64653"/>
                      <a:pt x="28995" y="86264"/>
                    </a:cubicBezTo>
                    <a:cubicBezTo>
                      <a:pt x="15488" y="107875"/>
                      <a:pt x="13507" y="106795"/>
                      <a:pt x="0" y="12840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43" name="Graphic 6">
              <a:extLst>
                <a:ext uri="{FF2B5EF4-FFF2-40B4-BE49-F238E27FC236}">
                  <a16:creationId xmlns:a16="http://schemas.microsoft.com/office/drawing/2014/main" id="{A751F84F-2F25-12EA-C49E-F46F21D02F41}"/>
                </a:ext>
              </a:extLst>
            </p:cNvPr>
            <p:cNvGrpSpPr/>
            <p:nvPr/>
          </p:nvGrpSpPr>
          <p:grpSpPr>
            <a:xfrm>
              <a:off x="6435485" y="1870548"/>
              <a:ext cx="393986" cy="453096"/>
              <a:chOff x="7220207" y="1805048"/>
              <a:chExt cx="340228" cy="391273"/>
            </a:xfrm>
            <a:noFill/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8BC89E3B-6893-8722-9BB2-1790DD5A5285}"/>
                  </a:ext>
                </a:extLst>
              </p:cNvPr>
              <p:cNvSpPr/>
              <p:nvPr/>
            </p:nvSpPr>
            <p:spPr>
              <a:xfrm>
                <a:off x="7307268" y="1986570"/>
                <a:ext cx="253167" cy="209750"/>
              </a:xfrm>
              <a:custGeom>
                <a:avLst/>
                <a:gdLst>
                  <a:gd name="connsiteX0" fmla="*/ 205308 w 253167"/>
                  <a:gd name="connsiteY0" fmla="*/ 152371 h 209750"/>
                  <a:gd name="connsiteX1" fmla="*/ 159745 w 253167"/>
                  <a:gd name="connsiteY1" fmla="*/ 178124 h 209750"/>
                  <a:gd name="connsiteX2" fmla="*/ 112921 w 253167"/>
                  <a:gd name="connsiteY2" fmla="*/ 201356 h 209750"/>
                  <a:gd name="connsiteX3" fmla="*/ 49529 w 253167"/>
                  <a:gd name="connsiteY3" fmla="*/ 205498 h 209750"/>
                  <a:gd name="connsiteX4" fmla="*/ 5766 w 253167"/>
                  <a:gd name="connsiteY4" fmla="*/ 161376 h 209750"/>
                  <a:gd name="connsiteX5" fmla="*/ 7567 w 253167"/>
                  <a:gd name="connsiteY5" fmla="*/ 160655 h 209750"/>
                  <a:gd name="connsiteX6" fmla="*/ 4686 w 253167"/>
                  <a:gd name="connsiteY6" fmla="*/ 102125 h 209750"/>
                  <a:gd name="connsiteX7" fmla="*/ 42505 w 253167"/>
                  <a:gd name="connsiteY7" fmla="*/ 56022 h 209750"/>
                  <a:gd name="connsiteX8" fmla="*/ 89509 w 253167"/>
                  <a:gd name="connsiteY8" fmla="*/ 33330 h 209750"/>
                  <a:gd name="connsiteX9" fmla="*/ 135793 w 253167"/>
                  <a:gd name="connsiteY9" fmla="*/ 9018 h 209750"/>
                  <a:gd name="connsiteX10" fmla="*/ 198285 w 253167"/>
                  <a:gd name="connsiteY10" fmla="*/ 3795 h 209750"/>
                  <a:gd name="connsiteX11" fmla="*/ 239346 w 253167"/>
                  <a:gd name="connsiteY11" fmla="*/ 48818 h 209750"/>
                  <a:gd name="connsiteX12" fmla="*/ 244028 w 253167"/>
                  <a:gd name="connsiteY12" fmla="*/ 46657 h 209750"/>
                  <a:gd name="connsiteX13" fmla="*/ 249431 w 253167"/>
                  <a:gd name="connsiteY13" fmla="*/ 108969 h 209750"/>
                  <a:gd name="connsiteX14" fmla="*/ 205308 w 253167"/>
                  <a:gd name="connsiteY14" fmla="*/ 152371 h 209750"/>
                  <a:gd name="connsiteX15" fmla="*/ 205308 w 253167"/>
                  <a:gd name="connsiteY15" fmla="*/ 152371 h 20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3167" h="209750">
                    <a:moveTo>
                      <a:pt x="205308" y="152371"/>
                    </a:moveTo>
                    <a:cubicBezTo>
                      <a:pt x="181896" y="163717"/>
                      <a:pt x="183337" y="166598"/>
                      <a:pt x="159745" y="178124"/>
                    </a:cubicBezTo>
                    <a:cubicBezTo>
                      <a:pt x="136333" y="189470"/>
                      <a:pt x="136693" y="190190"/>
                      <a:pt x="112921" y="201356"/>
                    </a:cubicBezTo>
                    <a:cubicBezTo>
                      <a:pt x="93111" y="210901"/>
                      <a:pt x="68798" y="212342"/>
                      <a:pt x="49529" y="205498"/>
                    </a:cubicBezTo>
                    <a:cubicBezTo>
                      <a:pt x="30259" y="198655"/>
                      <a:pt x="15311" y="181186"/>
                      <a:pt x="5766" y="161376"/>
                    </a:cubicBezTo>
                    <a:lnTo>
                      <a:pt x="7567" y="160655"/>
                    </a:lnTo>
                    <a:cubicBezTo>
                      <a:pt x="-1978" y="140845"/>
                      <a:pt x="-1978" y="121215"/>
                      <a:pt x="4686" y="102125"/>
                    </a:cubicBezTo>
                    <a:cubicBezTo>
                      <a:pt x="11349" y="83035"/>
                      <a:pt x="22695" y="65567"/>
                      <a:pt x="42505" y="56022"/>
                    </a:cubicBezTo>
                    <a:cubicBezTo>
                      <a:pt x="58173" y="48458"/>
                      <a:pt x="73841" y="40894"/>
                      <a:pt x="89509" y="33330"/>
                    </a:cubicBezTo>
                    <a:cubicBezTo>
                      <a:pt x="112921" y="21984"/>
                      <a:pt x="112381" y="20544"/>
                      <a:pt x="135793" y="9018"/>
                    </a:cubicBezTo>
                    <a:cubicBezTo>
                      <a:pt x="155603" y="-527"/>
                      <a:pt x="179015" y="-2869"/>
                      <a:pt x="198285" y="3795"/>
                    </a:cubicBezTo>
                    <a:cubicBezTo>
                      <a:pt x="217555" y="10458"/>
                      <a:pt x="229621" y="29368"/>
                      <a:pt x="239346" y="48818"/>
                    </a:cubicBezTo>
                    <a:lnTo>
                      <a:pt x="244028" y="46657"/>
                    </a:lnTo>
                    <a:cubicBezTo>
                      <a:pt x="253573" y="66467"/>
                      <a:pt x="256094" y="89879"/>
                      <a:pt x="249431" y="108969"/>
                    </a:cubicBezTo>
                    <a:cubicBezTo>
                      <a:pt x="242768" y="128058"/>
                      <a:pt x="224938" y="142826"/>
                      <a:pt x="205308" y="152371"/>
                    </a:cubicBezTo>
                    <a:lnTo>
                      <a:pt x="205308" y="15237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EB0596B-16EE-0979-88BB-E7642DD2F146}"/>
                  </a:ext>
                </a:extLst>
              </p:cNvPr>
              <p:cNvSpPr/>
              <p:nvPr/>
            </p:nvSpPr>
            <p:spPr>
              <a:xfrm>
                <a:off x="7220207" y="1874494"/>
                <a:ext cx="157929" cy="161578"/>
              </a:xfrm>
              <a:custGeom>
                <a:avLst/>
                <a:gdLst>
                  <a:gd name="connsiteX0" fmla="*/ 93548 w 157929"/>
                  <a:gd name="connsiteY0" fmla="*/ 30328 h 161578"/>
                  <a:gd name="connsiteX1" fmla="*/ 118941 w 157929"/>
                  <a:gd name="connsiteY1" fmla="*/ 69408 h 161578"/>
                  <a:gd name="connsiteX2" fmla="*/ 141813 w 157929"/>
                  <a:gd name="connsiteY2" fmla="*/ 111009 h 161578"/>
                  <a:gd name="connsiteX3" fmla="*/ 150817 w 157929"/>
                  <a:gd name="connsiteY3" fmla="*/ 155852 h 161578"/>
                  <a:gd name="connsiteX4" fmla="*/ 108315 w 157929"/>
                  <a:gd name="connsiteY4" fmla="*/ 139824 h 161578"/>
                  <a:gd name="connsiteX5" fmla="*/ 66174 w 157929"/>
                  <a:gd name="connsiteY5" fmla="*/ 120014 h 161578"/>
                  <a:gd name="connsiteX6" fmla="*/ 23492 w 157929"/>
                  <a:gd name="connsiteY6" fmla="*/ 98943 h 161578"/>
                  <a:gd name="connsiteX7" fmla="*/ 1881 w 157929"/>
                  <a:gd name="connsiteY7" fmla="*/ 56981 h 161578"/>
                  <a:gd name="connsiteX8" fmla="*/ 14668 w 157929"/>
                  <a:gd name="connsiteY8" fmla="*/ 17001 h 161578"/>
                  <a:gd name="connsiteX9" fmla="*/ 55909 w 157929"/>
                  <a:gd name="connsiteY9" fmla="*/ 1693 h 161578"/>
                  <a:gd name="connsiteX10" fmla="*/ 93368 w 157929"/>
                  <a:gd name="connsiteY10" fmla="*/ 30148 h 161578"/>
                  <a:gd name="connsiteX11" fmla="*/ 93368 w 157929"/>
                  <a:gd name="connsiteY11" fmla="*/ 30148 h 16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929" h="161578">
                    <a:moveTo>
                      <a:pt x="93548" y="30328"/>
                    </a:moveTo>
                    <a:cubicBezTo>
                      <a:pt x="103633" y="40593"/>
                      <a:pt x="111377" y="54820"/>
                      <a:pt x="118941" y="69408"/>
                    </a:cubicBezTo>
                    <a:cubicBezTo>
                      <a:pt x="126505" y="83995"/>
                      <a:pt x="136950" y="97142"/>
                      <a:pt x="141813" y="111009"/>
                    </a:cubicBezTo>
                    <a:cubicBezTo>
                      <a:pt x="150637" y="136042"/>
                      <a:pt x="167566" y="139464"/>
                      <a:pt x="150817" y="155852"/>
                    </a:cubicBezTo>
                    <a:cubicBezTo>
                      <a:pt x="134069" y="172240"/>
                      <a:pt x="133348" y="149189"/>
                      <a:pt x="108315" y="139824"/>
                    </a:cubicBezTo>
                    <a:cubicBezTo>
                      <a:pt x="94809" y="134601"/>
                      <a:pt x="80401" y="127758"/>
                      <a:pt x="66174" y="120014"/>
                    </a:cubicBezTo>
                    <a:cubicBezTo>
                      <a:pt x="51947" y="112270"/>
                      <a:pt x="33577" y="109208"/>
                      <a:pt x="23492" y="98943"/>
                    </a:cubicBezTo>
                    <a:cubicBezTo>
                      <a:pt x="8905" y="83995"/>
                      <a:pt x="5303" y="68147"/>
                      <a:pt x="1881" y="56981"/>
                    </a:cubicBezTo>
                    <a:cubicBezTo>
                      <a:pt x="-3522" y="39152"/>
                      <a:pt x="3322" y="28167"/>
                      <a:pt x="14668" y="17001"/>
                    </a:cubicBezTo>
                    <a:cubicBezTo>
                      <a:pt x="26013" y="5835"/>
                      <a:pt x="38260" y="-4070"/>
                      <a:pt x="55909" y="1693"/>
                    </a:cubicBezTo>
                    <a:cubicBezTo>
                      <a:pt x="66894" y="5475"/>
                      <a:pt x="78780" y="15200"/>
                      <a:pt x="93368" y="30148"/>
                    </a:cubicBezTo>
                    <a:lnTo>
                      <a:pt x="93368" y="30148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0906EA1-D6A7-1E07-181D-DD1220BA0047}"/>
                  </a:ext>
                </a:extLst>
              </p:cNvPr>
              <p:cNvSpPr/>
              <p:nvPr/>
            </p:nvSpPr>
            <p:spPr>
              <a:xfrm>
                <a:off x="7338926" y="1805048"/>
                <a:ext cx="105803" cy="233042"/>
              </a:xfrm>
              <a:custGeom>
                <a:avLst/>
                <a:gdLst>
                  <a:gd name="connsiteX0" fmla="*/ 105756 w 105803"/>
                  <a:gd name="connsiteY0" fmla="*/ 82304 h 233042"/>
                  <a:gd name="connsiteX1" fmla="*/ 94410 w 105803"/>
                  <a:gd name="connsiteY1" fmla="*/ 135071 h 233042"/>
                  <a:gd name="connsiteX2" fmla="*/ 75500 w 105803"/>
                  <a:gd name="connsiteY2" fmla="*/ 186037 h 233042"/>
                  <a:gd name="connsiteX3" fmla="*/ 49747 w 105803"/>
                  <a:gd name="connsiteY3" fmla="*/ 233042 h 233042"/>
                  <a:gd name="connsiteX4" fmla="*/ 25075 w 105803"/>
                  <a:gd name="connsiteY4" fmla="*/ 185497 h 233042"/>
                  <a:gd name="connsiteX5" fmla="*/ 5264 w 105803"/>
                  <a:gd name="connsiteY5" fmla="*/ 134531 h 233042"/>
                  <a:gd name="connsiteX6" fmla="*/ 42 w 105803"/>
                  <a:gd name="connsiteY6" fmla="*/ 80864 h 233042"/>
                  <a:gd name="connsiteX7" fmla="*/ 9767 w 105803"/>
                  <a:gd name="connsiteY7" fmla="*/ 29357 h 233042"/>
                  <a:gd name="connsiteX8" fmla="*/ 52088 w 105803"/>
                  <a:gd name="connsiteY8" fmla="*/ 2 h 233042"/>
                  <a:gd name="connsiteX9" fmla="*/ 98552 w 105803"/>
                  <a:gd name="connsiteY9" fmla="*/ 27917 h 233042"/>
                  <a:gd name="connsiteX10" fmla="*/ 105756 w 105803"/>
                  <a:gd name="connsiteY10" fmla="*/ 81944 h 233042"/>
                  <a:gd name="connsiteX11" fmla="*/ 105756 w 105803"/>
                  <a:gd name="connsiteY11" fmla="*/ 81944 h 23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803" h="233042">
                    <a:moveTo>
                      <a:pt x="105756" y="82304"/>
                    </a:moveTo>
                    <a:cubicBezTo>
                      <a:pt x="105756" y="99233"/>
                      <a:pt x="100173" y="117062"/>
                      <a:pt x="94410" y="135071"/>
                    </a:cubicBezTo>
                    <a:cubicBezTo>
                      <a:pt x="88647" y="153261"/>
                      <a:pt x="82704" y="170910"/>
                      <a:pt x="75500" y="186037"/>
                    </a:cubicBezTo>
                    <a:cubicBezTo>
                      <a:pt x="62174" y="213952"/>
                      <a:pt x="77121" y="233222"/>
                      <a:pt x="49747" y="233042"/>
                    </a:cubicBezTo>
                    <a:cubicBezTo>
                      <a:pt x="22373" y="233042"/>
                      <a:pt x="37861" y="213592"/>
                      <a:pt x="25075" y="185497"/>
                    </a:cubicBezTo>
                    <a:cubicBezTo>
                      <a:pt x="18231" y="170009"/>
                      <a:pt x="10667" y="152540"/>
                      <a:pt x="5264" y="134531"/>
                    </a:cubicBezTo>
                    <a:cubicBezTo>
                      <a:pt x="42" y="116522"/>
                      <a:pt x="-138" y="97612"/>
                      <a:pt x="42" y="80864"/>
                    </a:cubicBezTo>
                    <a:cubicBezTo>
                      <a:pt x="402" y="56551"/>
                      <a:pt x="3644" y="41063"/>
                      <a:pt x="9767" y="29357"/>
                    </a:cubicBezTo>
                    <a:cubicBezTo>
                      <a:pt x="19852" y="10268"/>
                      <a:pt x="33359" y="-178"/>
                      <a:pt x="52088" y="2"/>
                    </a:cubicBezTo>
                    <a:cubicBezTo>
                      <a:pt x="70818" y="182"/>
                      <a:pt x="88827" y="8467"/>
                      <a:pt x="98552" y="27917"/>
                    </a:cubicBezTo>
                    <a:cubicBezTo>
                      <a:pt x="104495" y="39803"/>
                      <a:pt x="106116" y="57812"/>
                      <a:pt x="105756" y="81944"/>
                    </a:cubicBezTo>
                    <a:lnTo>
                      <a:pt x="105756" y="81944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F95524-9266-14A9-80A7-CA9CFFD7DEF2}"/>
                  </a:ext>
                </a:extLst>
              </p:cNvPr>
              <p:cNvSpPr/>
              <p:nvPr/>
            </p:nvSpPr>
            <p:spPr>
              <a:xfrm>
                <a:off x="7343650" y="2045834"/>
                <a:ext cx="73297" cy="140291"/>
              </a:xfrm>
              <a:custGeom>
                <a:avLst/>
                <a:gdLst>
                  <a:gd name="connsiteX0" fmla="*/ 0 w 73297"/>
                  <a:gd name="connsiteY0" fmla="*/ 0 h 140291"/>
                  <a:gd name="connsiteX1" fmla="*/ 25753 w 73297"/>
                  <a:gd name="connsiteY1" fmla="*/ 46104 h 140291"/>
                  <a:gd name="connsiteX2" fmla="*/ 48445 w 73297"/>
                  <a:gd name="connsiteY2" fmla="*/ 93648 h 140291"/>
                  <a:gd name="connsiteX3" fmla="*/ 73298 w 73297"/>
                  <a:gd name="connsiteY3" fmla="*/ 140292 h 14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97" h="140291">
                    <a:moveTo>
                      <a:pt x="0" y="0"/>
                    </a:moveTo>
                    <a:cubicBezTo>
                      <a:pt x="11346" y="23772"/>
                      <a:pt x="14227" y="22331"/>
                      <a:pt x="25753" y="46104"/>
                    </a:cubicBezTo>
                    <a:cubicBezTo>
                      <a:pt x="37279" y="69876"/>
                      <a:pt x="36919" y="70056"/>
                      <a:pt x="48445" y="93648"/>
                    </a:cubicBezTo>
                    <a:cubicBezTo>
                      <a:pt x="59791" y="117240"/>
                      <a:pt x="61772" y="116520"/>
                      <a:pt x="73298" y="1402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DD48DA9-7C59-7AC0-F3E9-5262ADD0F31A}"/>
                  </a:ext>
                </a:extLst>
              </p:cNvPr>
              <p:cNvSpPr/>
              <p:nvPr/>
            </p:nvSpPr>
            <p:spPr>
              <a:xfrm>
                <a:off x="7447563" y="1995768"/>
                <a:ext cx="68615" cy="142452"/>
              </a:xfrm>
              <a:custGeom>
                <a:avLst/>
                <a:gdLst>
                  <a:gd name="connsiteX0" fmla="*/ 0 w 68615"/>
                  <a:gd name="connsiteY0" fmla="*/ 0 h 142452"/>
                  <a:gd name="connsiteX1" fmla="*/ 27734 w 68615"/>
                  <a:gd name="connsiteY1" fmla="*/ 45023 h 142452"/>
                  <a:gd name="connsiteX2" fmla="*/ 45924 w 68615"/>
                  <a:gd name="connsiteY2" fmla="*/ 94728 h 142452"/>
                  <a:gd name="connsiteX3" fmla="*/ 68615 w 68615"/>
                  <a:gd name="connsiteY3" fmla="*/ 142453 h 14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15" h="142452">
                    <a:moveTo>
                      <a:pt x="0" y="0"/>
                    </a:moveTo>
                    <a:cubicBezTo>
                      <a:pt x="11346" y="23772"/>
                      <a:pt x="16388" y="21431"/>
                      <a:pt x="27734" y="45023"/>
                    </a:cubicBezTo>
                    <a:cubicBezTo>
                      <a:pt x="39080" y="68795"/>
                      <a:pt x="34398" y="70956"/>
                      <a:pt x="45924" y="94728"/>
                    </a:cubicBezTo>
                    <a:cubicBezTo>
                      <a:pt x="57269" y="118501"/>
                      <a:pt x="57089" y="118681"/>
                      <a:pt x="68615" y="14245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F71746C-6B64-5BA1-B84C-B7B9FED880DE}"/>
                </a:ext>
              </a:extLst>
            </p:cNvPr>
            <p:cNvGrpSpPr/>
            <p:nvPr/>
          </p:nvGrpSpPr>
          <p:grpSpPr>
            <a:xfrm>
              <a:off x="10281413" y="5187505"/>
              <a:ext cx="393242" cy="1236897"/>
              <a:chOff x="10541368" y="4686165"/>
              <a:chExt cx="339585" cy="1068126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56A87152-7C46-8604-4DBF-98B984B8B9C4}"/>
                  </a:ext>
                </a:extLst>
              </p:cNvPr>
              <p:cNvSpPr/>
              <p:nvPr/>
            </p:nvSpPr>
            <p:spPr>
              <a:xfrm>
                <a:off x="10717498" y="5029961"/>
                <a:ext cx="5042" cy="724330"/>
              </a:xfrm>
              <a:custGeom>
                <a:avLst/>
                <a:gdLst>
                  <a:gd name="connsiteX0" fmla="*/ 0 w 5042"/>
                  <a:gd name="connsiteY0" fmla="*/ 0 h 724330"/>
                  <a:gd name="connsiteX1" fmla="*/ 2161 w 5042"/>
                  <a:gd name="connsiteY1" fmla="*/ 48265 h 724330"/>
                  <a:gd name="connsiteX2" fmla="*/ 2521 w 5042"/>
                  <a:gd name="connsiteY2" fmla="*/ 96529 h 724330"/>
                  <a:gd name="connsiteX3" fmla="*/ 900 w 5042"/>
                  <a:gd name="connsiteY3" fmla="*/ 144794 h 724330"/>
                  <a:gd name="connsiteX4" fmla="*/ 4322 w 5042"/>
                  <a:gd name="connsiteY4" fmla="*/ 193059 h 724330"/>
                  <a:gd name="connsiteX5" fmla="*/ 5043 w 5042"/>
                  <a:gd name="connsiteY5" fmla="*/ 241324 h 724330"/>
                  <a:gd name="connsiteX6" fmla="*/ 1981 w 5042"/>
                  <a:gd name="connsiteY6" fmla="*/ 289588 h 724330"/>
                  <a:gd name="connsiteX7" fmla="*/ 2701 w 5042"/>
                  <a:gd name="connsiteY7" fmla="*/ 337853 h 724330"/>
                  <a:gd name="connsiteX8" fmla="*/ 0 w 5042"/>
                  <a:gd name="connsiteY8" fmla="*/ 386118 h 724330"/>
                  <a:gd name="connsiteX9" fmla="*/ 3962 w 5042"/>
                  <a:gd name="connsiteY9" fmla="*/ 434383 h 724330"/>
                  <a:gd name="connsiteX10" fmla="*/ 0 w 5042"/>
                  <a:gd name="connsiteY10" fmla="*/ 482647 h 724330"/>
                  <a:gd name="connsiteX11" fmla="*/ 3422 w 5042"/>
                  <a:gd name="connsiteY11" fmla="*/ 530912 h 724330"/>
                  <a:gd name="connsiteX12" fmla="*/ 2341 w 5042"/>
                  <a:gd name="connsiteY12" fmla="*/ 579177 h 724330"/>
                  <a:gd name="connsiteX13" fmla="*/ 0 w 5042"/>
                  <a:gd name="connsiteY13" fmla="*/ 627441 h 724330"/>
                  <a:gd name="connsiteX14" fmla="*/ 4502 w 5042"/>
                  <a:gd name="connsiteY14" fmla="*/ 675886 h 724330"/>
                  <a:gd name="connsiteX15" fmla="*/ 2521 w 5042"/>
                  <a:gd name="connsiteY15" fmla="*/ 724331 h 72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42" h="724330">
                    <a:moveTo>
                      <a:pt x="0" y="0"/>
                    </a:moveTo>
                    <a:cubicBezTo>
                      <a:pt x="0" y="24133"/>
                      <a:pt x="2161" y="24133"/>
                      <a:pt x="2161" y="48265"/>
                    </a:cubicBezTo>
                    <a:cubicBezTo>
                      <a:pt x="2161" y="72397"/>
                      <a:pt x="2521" y="72397"/>
                      <a:pt x="2521" y="96529"/>
                    </a:cubicBezTo>
                    <a:cubicBezTo>
                      <a:pt x="2521" y="120662"/>
                      <a:pt x="900" y="120662"/>
                      <a:pt x="900" y="144794"/>
                    </a:cubicBezTo>
                    <a:cubicBezTo>
                      <a:pt x="900" y="168927"/>
                      <a:pt x="4322" y="168927"/>
                      <a:pt x="4322" y="193059"/>
                    </a:cubicBezTo>
                    <a:cubicBezTo>
                      <a:pt x="4322" y="217191"/>
                      <a:pt x="5043" y="217191"/>
                      <a:pt x="5043" y="241324"/>
                    </a:cubicBezTo>
                    <a:cubicBezTo>
                      <a:pt x="5043" y="265456"/>
                      <a:pt x="1981" y="265456"/>
                      <a:pt x="1981" y="289588"/>
                    </a:cubicBezTo>
                    <a:cubicBezTo>
                      <a:pt x="1981" y="313721"/>
                      <a:pt x="2701" y="313721"/>
                      <a:pt x="2701" y="337853"/>
                    </a:cubicBezTo>
                    <a:cubicBezTo>
                      <a:pt x="2701" y="361985"/>
                      <a:pt x="0" y="361985"/>
                      <a:pt x="0" y="386118"/>
                    </a:cubicBezTo>
                    <a:cubicBezTo>
                      <a:pt x="0" y="410250"/>
                      <a:pt x="3962" y="410250"/>
                      <a:pt x="3962" y="434383"/>
                    </a:cubicBezTo>
                    <a:cubicBezTo>
                      <a:pt x="3962" y="458515"/>
                      <a:pt x="0" y="458515"/>
                      <a:pt x="0" y="482647"/>
                    </a:cubicBezTo>
                    <a:cubicBezTo>
                      <a:pt x="0" y="506780"/>
                      <a:pt x="3422" y="506780"/>
                      <a:pt x="3422" y="530912"/>
                    </a:cubicBezTo>
                    <a:cubicBezTo>
                      <a:pt x="3422" y="555044"/>
                      <a:pt x="2341" y="555044"/>
                      <a:pt x="2341" y="579177"/>
                    </a:cubicBezTo>
                    <a:cubicBezTo>
                      <a:pt x="2341" y="603309"/>
                      <a:pt x="0" y="603309"/>
                      <a:pt x="0" y="627441"/>
                    </a:cubicBezTo>
                    <a:cubicBezTo>
                      <a:pt x="0" y="651574"/>
                      <a:pt x="4502" y="651574"/>
                      <a:pt x="4502" y="675886"/>
                    </a:cubicBezTo>
                    <a:cubicBezTo>
                      <a:pt x="4502" y="700199"/>
                      <a:pt x="2521" y="700019"/>
                      <a:pt x="2521" y="72433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BDC0B79B-9265-865D-620F-0DC5028FD7C5}"/>
                  </a:ext>
                </a:extLst>
              </p:cNvPr>
              <p:cNvSpPr/>
              <p:nvPr/>
            </p:nvSpPr>
            <p:spPr>
              <a:xfrm>
                <a:off x="10541368" y="4686165"/>
                <a:ext cx="314800" cy="346677"/>
              </a:xfrm>
              <a:custGeom>
                <a:avLst/>
                <a:gdLst>
                  <a:gd name="connsiteX0" fmla="*/ 42682 w 314800"/>
                  <a:gd name="connsiteY0" fmla="*/ 175410 h 346677"/>
                  <a:gd name="connsiteX1" fmla="*/ 11166 w 314800"/>
                  <a:gd name="connsiteY1" fmla="*/ 151097 h 346677"/>
                  <a:gd name="connsiteX2" fmla="*/ 0 w 314800"/>
                  <a:gd name="connsiteY2" fmla="*/ 116880 h 346677"/>
                  <a:gd name="connsiteX3" fmla="*/ 17829 w 314800"/>
                  <a:gd name="connsiteY3" fmla="*/ 77440 h 346677"/>
                  <a:gd name="connsiteX4" fmla="*/ 57449 w 314800"/>
                  <a:gd name="connsiteY4" fmla="*/ 59250 h 346677"/>
                  <a:gd name="connsiteX5" fmla="*/ 96709 w 314800"/>
                  <a:gd name="connsiteY5" fmla="*/ 77620 h 346677"/>
                  <a:gd name="connsiteX6" fmla="*/ 92928 w 314800"/>
                  <a:gd name="connsiteY6" fmla="*/ 60151 h 346677"/>
                  <a:gd name="connsiteX7" fmla="*/ 111837 w 314800"/>
                  <a:gd name="connsiteY7" fmla="*/ 16929 h 346677"/>
                  <a:gd name="connsiteX8" fmla="*/ 155059 w 314800"/>
                  <a:gd name="connsiteY8" fmla="*/ 0 h 346677"/>
                  <a:gd name="connsiteX9" fmla="*/ 197381 w 314800"/>
                  <a:gd name="connsiteY9" fmla="*/ 18009 h 346677"/>
                  <a:gd name="connsiteX10" fmla="*/ 211608 w 314800"/>
                  <a:gd name="connsiteY10" fmla="*/ 60331 h 346677"/>
                  <a:gd name="connsiteX11" fmla="*/ 212509 w 314800"/>
                  <a:gd name="connsiteY11" fmla="*/ 75459 h 346677"/>
                  <a:gd name="connsiteX12" fmla="*/ 252669 w 314800"/>
                  <a:gd name="connsiteY12" fmla="*/ 55829 h 346677"/>
                  <a:gd name="connsiteX13" fmla="*/ 293010 w 314800"/>
                  <a:gd name="connsiteY13" fmla="*/ 76359 h 346677"/>
                  <a:gd name="connsiteX14" fmla="*/ 311559 w 314800"/>
                  <a:gd name="connsiteY14" fmla="*/ 116700 h 346677"/>
                  <a:gd name="connsiteX15" fmla="*/ 300934 w 314800"/>
                  <a:gd name="connsiteY15" fmla="*/ 153439 h 346677"/>
                  <a:gd name="connsiteX16" fmla="*/ 271579 w 314800"/>
                  <a:gd name="connsiteY16" fmla="*/ 173069 h 346677"/>
                  <a:gd name="connsiteX17" fmla="*/ 299673 w 314800"/>
                  <a:gd name="connsiteY17" fmla="*/ 193779 h 346677"/>
                  <a:gd name="connsiteX18" fmla="*/ 314801 w 314800"/>
                  <a:gd name="connsiteY18" fmla="*/ 229618 h 346677"/>
                  <a:gd name="connsiteX19" fmla="*/ 292470 w 314800"/>
                  <a:gd name="connsiteY19" fmla="*/ 269238 h 346677"/>
                  <a:gd name="connsiteX20" fmla="*/ 252849 w 314800"/>
                  <a:gd name="connsiteY20" fmla="*/ 289228 h 346677"/>
                  <a:gd name="connsiteX21" fmla="*/ 211248 w 314800"/>
                  <a:gd name="connsiteY21" fmla="*/ 273200 h 346677"/>
                  <a:gd name="connsiteX22" fmla="*/ 212689 w 314800"/>
                  <a:gd name="connsiteY22" fmla="*/ 285626 h 346677"/>
                  <a:gd name="connsiteX23" fmla="*/ 197561 w 314800"/>
                  <a:gd name="connsiteY23" fmla="*/ 328128 h 346677"/>
                  <a:gd name="connsiteX24" fmla="*/ 155059 w 314800"/>
                  <a:gd name="connsiteY24" fmla="*/ 346677 h 346677"/>
                  <a:gd name="connsiteX25" fmla="*/ 113638 w 314800"/>
                  <a:gd name="connsiteY25" fmla="*/ 326867 h 346677"/>
                  <a:gd name="connsiteX26" fmla="*/ 95089 w 314800"/>
                  <a:gd name="connsiteY26" fmla="*/ 285626 h 346677"/>
                  <a:gd name="connsiteX27" fmla="*/ 99591 w 314800"/>
                  <a:gd name="connsiteY27" fmla="*/ 273380 h 346677"/>
                  <a:gd name="connsiteX28" fmla="*/ 57629 w 314800"/>
                  <a:gd name="connsiteY28" fmla="*/ 289588 h 346677"/>
                  <a:gd name="connsiteX29" fmla="*/ 16748 w 314800"/>
                  <a:gd name="connsiteY29" fmla="*/ 269778 h 346677"/>
                  <a:gd name="connsiteX30" fmla="*/ 1081 w 314800"/>
                  <a:gd name="connsiteY30" fmla="*/ 228897 h 346677"/>
                  <a:gd name="connsiteX31" fmla="*/ 42682 w 314800"/>
                  <a:gd name="connsiteY31" fmla="*/ 175410 h 346677"/>
                  <a:gd name="connsiteX32" fmla="*/ 42682 w 314800"/>
                  <a:gd name="connsiteY32" fmla="*/ 175410 h 34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14800" h="346677">
                    <a:moveTo>
                      <a:pt x="42682" y="175410"/>
                    </a:moveTo>
                    <a:cubicBezTo>
                      <a:pt x="30436" y="171808"/>
                      <a:pt x="18729" y="161182"/>
                      <a:pt x="11166" y="151097"/>
                    </a:cubicBezTo>
                    <a:cubicBezTo>
                      <a:pt x="3782" y="141012"/>
                      <a:pt x="0" y="130027"/>
                      <a:pt x="0" y="116880"/>
                    </a:cubicBezTo>
                    <a:cubicBezTo>
                      <a:pt x="0" y="100852"/>
                      <a:pt x="7204" y="88065"/>
                      <a:pt x="17829" y="77440"/>
                    </a:cubicBezTo>
                    <a:cubicBezTo>
                      <a:pt x="28454" y="66994"/>
                      <a:pt x="41061" y="59250"/>
                      <a:pt x="57449" y="59250"/>
                    </a:cubicBezTo>
                    <a:cubicBezTo>
                      <a:pt x="73838" y="59250"/>
                      <a:pt x="86084" y="67535"/>
                      <a:pt x="96709" y="77620"/>
                    </a:cubicBezTo>
                    <a:cubicBezTo>
                      <a:pt x="95449" y="72937"/>
                      <a:pt x="92928" y="65374"/>
                      <a:pt x="92928" y="60151"/>
                    </a:cubicBezTo>
                    <a:cubicBezTo>
                      <a:pt x="92928" y="44123"/>
                      <a:pt x="101212" y="27554"/>
                      <a:pt x="111837" y="16929"/>
                    </a:cubicBezTo>
                    <a:cubicBezTo>
                      <a:pt x="122462" y="6303"/>
                      <a:pt x="138851" y="0"/>
                      <a:pt x="155059" y="0"/>
                    </a:cubicBezTo>
                    <a:cubicBezTo>
                      <a:pt x="171267" y="0"/>
                      <a:pt x="186756" y="7204"/>
                      <a:pt x="197381" y="18009"/>
                    </a:cubicBezTo>
                    <a:cubicBezTo>
                      <a:pt x="208006" y="28815"/>
                      <a:pt x="211608" y="43943"/>
                      <a:pt x="211608" y="60331"/>
                    </a:cubicBezTo>
                    <a:cubicBezTo>
                      <a:pt x="211608" y="65194"/>
                      <a:pt x="213769" y="70956"/>
                      <a:pt x="212509" y="75459"/>
                    </a:cubicBezTo>
                    <a:cubicBezTo>
                      <a:pt x="222954" y="65194"/>
                      <a:pt x="236821" y="55829"/>
                      <a:pt x="252669" y="55829"/>
                    </a:cubicBezTo>
                    <a:cubicBezTo>
                      <a:pt x="268518" y="55829"/>
                      <a:pt x="282384" y="65734"/>
                      <a:pt x="293010" y="76359"/>
                    </a:cubicBezTo>
                    <a:cubicBezTo>
                      <a:pt x="303635" y="86985"/>
                      <a:pt x="311559" y="100311"/>
                      <a:pt x="311559" y="116700"/>
                    </a:cubicBezTo>
                    <a:cubicBezTo>
                      <a:pt x="311559" y="130027"/>
                      <a:pt x="308498" y="143533"/>
                      <a:pt x="300934" y="153439"/>
                    </a:cubicBezTo>
                    <a:cubicBezTo>
                      <a:pt x="293370" y="163344"/>
                      <a:pt x="284186" y="169647"/>
                      <a:pt x="271579" y="173069"/>
                    </a:cubicBezTo>
                    <a:cubicBezTo>
                      <a:pt x="284186" y="176490"/>
                      <a:pt x="291929" y="183694"/>
                      <a:pt x="299673" y="193779"/>
                    </a:cubicBezTo>
                    <a:cubicBezTo>
                      <a:pt x="307417" y="203864"/>
                      <a:pt x="314801" y="216111"/>
                      <a:pt x="314801" y="229618"/>
                    </a:cubicBezTo>
                    <a:cubicBezTo>
                      <a:pt x="314801" y="245646"/>
                      <a:pt x="303095" y="258612"/>
                      <a:pt x="292470" y="269238"/>
                    </a:cubicBezTo>
                    <a:cubicBezTo>
                      <a:pt x="281844" y="279863"/>
                      <a:pt x="268878" y="289228"/>
                      <a:pt x="252849" y="289228"/>
                    </a:cubicBezTo>
                    <a:cubicBezTo>
                      <a:pt x="236821" y="289228"/>
                      <a:pt x="221873" y="283285"/>
                      <a:pt x="211248" y="273200"/>
                    </a:cubicBezTo>
                    <a:cubicBezTo>
                      <a:pt x="212328" y="277702"/>
                      <a:pt x="212689" y="280764"/>
                      <a:pt x="212689" y="285626"/>
                    </a:cubicBezTo>
                    <a:cubicBezTo>
                      <a:pt x="212689" y="301654"/>
                      <a:pt x="208366" y="317503"/>
                      <a:pt x="197561" y="328128"/>
                    </a:cubicBezTo>
                    <a:cubicBezTo>
                      <a:pt x="186756" y="338753"/>
                      <a:pt x="171267" y="346677"/>
                      <a:pt x="155059" y="346677"/>
                    </a:cubicBezTo>
                    <a:cubicBezTo>
                      <a:pt x="138851" y="346677"/>
                      <a:pt x="124264" y="337493"/>
                      <a:pt x="113638" y="326867"/>
                    </a:cubicBezTo>
                    <a:cubicBezTo>
                      <a:pt x="103013" y="316242"/>
                      <a:pt x="95089" y="301654"/>
                      <a:pt x="95089" y="285626"/>
                    </a:cubicBezTo>
                    <a:cubicBezTo>
                      <a:pt x="95089" y="280584"/>
                      <a:pt x="98510" y="277882"/>
                      <a:pt x="99591" y="273380"/>
                    </a:cubicBezTo>
                    <a:cubicBezTo>
                      <a:pt x="89145" y="283645"/>
                      <a:pt x="73477" y="289588"/>
                      <a:pt x="57629" y="289588"/>
                    </a:cubicBezTo>
                    <a:cubicBezTo>
                      <a:pt x="41781" y="289588"/>
                      <a:pt x="27374" y="280404"/>
                      <a:pt x="16748" y="269778"/>
                    </a:cubicBezTo>
                    <a:cubicBezTo>
                      <a:pt x="6123" y="259153"/>
                      <a:pt x="1081" y="244925"/>
                      <a:pt x="1081" y="228897"/>
                    </a:cubicBezTo>
                    <a:cubicBezTo>
                      <a:pt x="1081" y="202604"/>
                      <a:pt x="18729" y="182794"/>
                      <a:pt x="42682" y="175410"/>
                    </a:cubicBezTo>
                    <a:lnTo>
                      <a:pt x="42682" y="175410"/>
                    </a:lnTo>
                    <a:close/>
                  </a:path>
                </a:pathLst>
              </a:custGeom>
              <a:solidFill>
                <a:srgbClr val="FBCCD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0204599-2C8E-42BD-64CF-CBA8C26C8B3C}"/>
                  </a:ext>
                </a:extLst>
              </p:cNvPr>
              <p:cNvSpPr/>
              <p:nvPr/>
            </p:nvSpPr>
            <p:spPr>
              <a:xfrm>
                <a:off x="10624751" y="4792960"/>
                <a:ext cx="121562" cy="123002"/>
              </a:xfrm>
              <a:custGeom>
                <a:avLst/>
                <a:gdLst>
                  <a:gd name="connsiteX0" fmla="*/ 180 w 121562"/>
                  <a:gd name="connsiteY0" fmla="*/ 62672 h 123002"/>
                  <a:gd name="connsiteX1" fmla="*/ 19269 w 121562"/>
                  <a:gd name="connsiteY1" fmla="*/ 20710 h 123002"/>
                  <a:gd name="connsiteX2" fmla="*/ 61231 w 121562"/>
                  <a:gd name="connsiteY2" fmla="*/ 0 h 123002"/>
                  <a:gd name="connsiteX3" fmla="*/ 106434 w 121562"/>
                  <a:gd name="connsiteY3" fmla="*/ 17469 h 123002"/>
                  <a:gd name="connsiteX4" fmla="*/ 121562 w 121562"/>
                  <a:gd name="connsiteY4" fmla="*/ 62672 h 123002"/>
                  <a:gd name="connsiteX5" fmla="*/ 101212 w 121562"/>
                  <a:gd name="connsiteY5" fmla="*/ 102832 h 123002"/>
                  <a:gd name="connsiteX6" fmla="*/ 61051 w 121562"/>
                  <a:gd name="connsiteY6" fmla="*/ 123003 h 123002"/>
                  <a:gd name="connsiteX7" fmla="*/ 19630 w 121562"/>
                  <a:gd name="connsiteY7" fmla="*/ 104093 h 123002"/>
                  <a:gd name="connsiteX8" fmla="*/ 0 w 121562"/>
                  <a:gd name="connsiteY8" fmla="*/ 62852 h 123002"/>
                  <a:gd name="connsiteX9" fmla="*/ 0 w 121562"/>
                  <a:gd name="connsiteY9" fmla="*/ 62852 h 12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562" h="123002">
                    <a:moveTo>
                      <a:pt x="180" y="62672"/>
                    </a:moveTo>
                    <a:cubicBezTo>
                      <a:pt x="180" y="46104"/>
                      <a:pt x="8284" y="31516"/>
                      <a:pt x="19269" y="20710"/>
                    </a:cubicBezTo>
                    <a:cubicBezTo>
                      <a:pt x="30255" y="9905"/>
                      <a:pt x="44663" y="0"/>
                      <a:pt x="61231" y="0"/>
                    </a:cubicBezTo>
                    <a:cubicBezTo>
                      <a:pt x="77799" y="0"/>
                      <a:pt x="95449" y="6483"/>
                      <a:pt x="106434" y="17469"/>
                    </a:cubicBezTo>
                    <a:cubicBezTo>
                      <a:pt x="117420" y="28455"/>
                      <a:pt x="121562" y="46104"/>
                      <a:pt x="121562" y="62672"/>
                    </a:cubicBezTo>
                    <a:cubicBezTo>
                      <a:pt x="121562" y="79240"/>
                      <a:pt x="112197" y="91847"/>
                      <a:pt x="101212" y="102832"/>
                    </a:cubicBezTo>
                    <a:cubicBezTo>
                      <a:pt x="90226" y="113818"/>
                      <a:pt x="77799" y="123003"/>
                      <a:pt x="61051" y="123003"/>
                    </a:cubicBezTo>
                    <a:cubicBezTo>
                      <a:pt x="44303" y="123003"/>
                      <a:pt x="30615" y="114899"/>
                      <a:pt x="19630" y="104093"/>
                    </a:cubicBezTo>
                    <a:cubicBezTo>
                      <a:pt x="8644" y="93108"/>
                      <a:pt x="0" y="79240"/>
                      <a:pt x="0" y="62852"/>
                    </a:cubicBezTo>
                    <a:lnTo>
                      <a:pt x="0" y="62852"/>
                    </a:lnTo>
                    <a:close/>
                  </a:path>
                </a:pathLst>
              </a:custGeom>
              <a:solidFill>
                <a:schemeClr val="bg1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6BE4CA3-1C60-45BC-6983-C631E71D9BF0}"/>
                  </a:ext>
                </a:extLst>
              </p:cNvPr>
              <p:cNvSpPr/>
              <p:nvPr/>
            </p:nvSpPr>
            <p:spPr>
              <a:xfrm>
                <a:off x="10560516" y="5262497"/>
                <a:ext cx="165947" cy="166196"/>
              </a:xfrm>
              <a:custGeom>
                <a:avLst/>
                <a:gdLst>
                  <a:gd name="connsiteX0" fmla="*/ 158603 w 165947"/>
                  <a:gd name="connsiteY0" fmla="*/ 158804 h 166196"/>
                  <a:gd name="connsiteX1" fmla="*/ 158603 w 165947"/>
                  <a:gd name="connsiteY1" fmla="*/ 117023 h 166196"/>
                  <a:gd name="connsiteX2" fmla="*/ 143835 w 165947"/>
                  <a:gd name="connsiteY2" fmla="*/ 78303 h 166196"/>
                  <a:gd name="connsiteX3" fmla="*/ 123845 w 165947"/>
                  <a:gd name="connsiteY3" fmla="*/ 42645 h 166196"/>
                  <a:gd name="connsiteX4" fmla="*/ 89087 w 165947"/>
                  <a:gd name="connsiteY4" fmla="*/ 20674 h 166196"/>
                  <a:gd name="connsiteX5" fmla="*/ 49647 w 165947"/>
                  <a:gd name="connsiteY5" fmla="*/ 6086 h 166196"/>
                  <a:gd name="connsiteX6" fmla="*/ 7686 w 165947"/>
                  <a:gd name="connsiteY6" fmla="*/ 8067 h 166196"/>
                  <a:gd name="connsiteX7" fmla="*/ 6785 w 165947"/>
                  <a:gd name="connsiteY7" fmla="*/ 49848 h 166196"/>
                  <a:gd name="connsiteX8" fmla="*/ 18491 w 165947"/>
                  <a:gd name="connsiteY8" fmla="*/ 90189 h 166196"/>
                  <a:gd name="connsiteX9" fmla="*/ 41183 w 165947"/>
                  <a:gd name="connsiteY9" fmla="*/ 125667 h 166196"/>
                  <a:gd name="connsiteX10" fmla="*/ 76481 w 165947"/>
                  <a:gd name="connsiteY10" fmla="*/ 148539 h 166196"/>
                  <a:gd name="connsiteX11" fmla="*/ 117002 w 165947"/>
                  <a:gd name="connsiteY11" fmla="*/ 158804 h 166196"/>
                  <a:gd name="connsiteX12" fmla="*/ 158783 w 165947"/>
                  <a:gd name="connsiteY12" fmla="*/ 158804 h 166196"/>
                  <a:gd name="connsiteX13" fmla="*/ 158783 w 165947"/>
                  <a:gd name="connsiteY13" fmla="*/ 158804 h 166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947" h="166196">
                    <a:moveTo>
                      <a:pt x="158603" y="158804"/>
                    </a:moveTo>
                    <a:cubicBezTo>
                      <a:pt x="173371" y="144037"/>
                      <a:pt x="161845" y="140255"/>
                      <a:pt x="158603" y="117023"/>
                    </a:cubicBezTo>
                    <a:cubicBezTo>
                      <a:pt x="156802" y="104596"/>
                      <a:pt x="149418" y="91810"/>
                      <a:pt x="143835" y="78303"/>
                    </a:cubicBezTo>
                    <a:cubicBezTo>
                      <a:pt x="138612" y="65877"/>
                      <a:pt x="133930" y="52550"/>
                      <a:pt x="123845" y="42645"/>
                    </a:cubicBezTo>
                    <a:cubicBezTo>
                      <a:pt x="113580" y="32559"/>
                      <a:pt x="101334" y="25716"/>
                      <a:pt x="89087" y="20674"/>
                    </a:cubicBezTo>
                    <a:cubicBezTo>
                      <a:pt x="75580" y="15091"/>
                      <a:pt x="62254" y="7887"/>
                      <a:pt x="49647" y="6086"/>
                    </a:cubicBezTo>
                    <a:cubicBezTo>
                      <a:pt x="26415" y="2664"/>
                      <a:pt x="22453" y="-6700"/>
                      <a:pt x="7686" y="8067"/>
                    </a:cubicBezTo>
                    <a:cubicBezTo>
                      <a:pt x="-7082" y="22835"/>
                      <a:pt x="3364" y="26617"/>
                      <a:pt x="6785" y="49848"/>
                    </a:cubicBezTo>
                    <a:cubicBezTo>
                      <a:pt x="8586" y="62275"/>
                      <a:pt x="12908" y="76502"/>
                      <a:pt x="18491" y="90189"/>
                    </a:cubicBezTo>
                    <a:cubicBezTo>
                      <a:pt x="23714" y="102615"/>
                      <a:pt x="31097" y="115402"/>
                      <a:pt x="41183" y="125667"/>
                    </a:cubicBezTo>
                    <a:cubicBezTo>
                      <a:pt x="51268" y="135932"/>
                      <a:pt x="64055" y="143496"/>
                      <a:pt x="76481" y="148539"/>
                    </a:cubicBezTo>
                    <a:cubicBezTo>
                      <a:pt x="89988" y="154122"/>
                      <a:pt x="104575" y="157184"/>
                      <a:pt x="117002" y="158804"/>
                    </a:cubicBezTo>
                    <a:cubicBezTo>
                      <a:pt x="140234" y="162226"/>
                      <a:pt x="144016" y="173572"/>
                      <a:pt x="158783" y="158804"/>
                    </a:cubicBezTo>
                    <a:lnTo>
                      <a:pt x="158783" y="158804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94ADE19-070C-1153-9C5C-0DB0C5CCD277}"/>
                  </a:ext>
                </a:extLst>
              </p:cNvPr>
              <p:cNvSpPr/>
              <p:nvPr/>
            </p:nvSpPr>
            <p:spPr>
              <a:xfrm>
                <a:off x="10718652" y="5464695"/>
                <a:ext cx="162301" cy="163635"/>
              </a:xfrm>
              <a:custGeom>
                <a:avLst/>
                <a:gdLst>
                  <a:gd name="connsiteX0" fmla="*/ 155166 w 162301"/>
                  <a:gd name="connsiteY0" fmla="*/ 7212 h 163635"/>
                  <a:gd name="connsiteX1" fmla="*/ 154626 w 162301"/>
                  <a:gd name="connsiteY1" fmla="*/ 48813 h 163635"/>
                  <a:gd name="connsiteX2" fmla="*/ 143100 w 162301"/>
                  <a:gd name="connsiteY2" fmla="*/ 88794 h 163635"/>
                  <a:gd name="connsiteX3" fmla="*/ 119148 w 162301"/>
                  <a:gd name="connsiteY3" fmla="*/ 122111 h 163635"/>
                  <a:gd name="connsiteX4" fmla="*/ 86551 w 162301"/>
                  <a:gd name="connsiteY4" fmla="*/ 147864 h 163635"/>
                  <a:gd name="connsiteX5" fmla="*/ 45670 w 162301"/>
                  <a:gd name="connsiteY5" fmla="*/ 156688 h 163635"/>
                  <a:gd name="connsiteX6" fmla="*/ 6590 w 162301"/>
                  <a:gd name="connsiteY6" fmla="*/ 156148 h 163635"/>
                  <a:gd name="connsiteX7" fmla="*/ 9112 w 162301"/>
                  <a:gd name="connsiteY7" fmla="*/ 117428 h 163635"/>
                  <a:gd name="connsiteX8" fmla="*/ 17215 w 162301"/>
                  <a:gd name="connsiteY8" fmla="*/ 77088 h 163635"/>
                  <a:gd name="connsiteX9" fmla="*/ 40267 w 162301"/>
                  <a:gd name="connsiteY9" fmla="*/ 43230 h 163635"/>
                  <a:gd name="connsiteX10" fmla="*/ 73584 w 162301"/>
                  <a:gd name="connsiteY10" fmla="*/ 19098 h 163635"/>
                  <a:gd name="connsiteX11" fmla="*/ 113745 w 162301"/>
                  <a:gd name="connsiteY11" fmla="*/ 7392 h 163635"/>
                  <a:gd name="connsiteX12" fmla="*/ 155346 w 162301"/>
                  <a:gd name="connsiteY12" fmla="*/ 7392 h 163635"/>
                  <a:gd name="connsiteX13" fmla="*/ 155346 w 162301"/>
                  <a:gd name="connsiteY13" fmla="*/ 7392 h 163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301" h="163635">
                    <a:moveTo>
                      <a:pt x="155166" y="7212"/>
                    </a:moveTo>
                    <a:cubicBezTo>
                      <a:pt x="169934" y="21979"/>
                      <a:pt x="157688" y="25401"/>
                      <a:pt x="154626" y="48813"/>
                    </a:cubicBezTo>
                    <a:cubicBezTo>
                      <a:pt x="152825" y="61240"/>
                      <a:pt x="148683" y="75287"/>
                      <a:pt x="143100" y="88794"/>
                    </a:cubicBezTo>
                    <a:cubicBezTo>
                      <a:pt x="137877" y="101220"/>
                      <a:pt x="129233" y="111845"/>
                      <a:pt x="119148" y="122111"/>
                    </a:cubicBezTo>
                    <a:cubicBezTo>
                      <a:pt x="109063" y="132376"/>
                      <a:pt x="99158" y="142641"/>
                      <a:pt x="86551" y="147864"/>
                    </a:cubicBezTo>
                    <a:cubicBezTo>
                      <a:pt x="73044" y="153447"/>
                      <a:pt x="58276" y="154887"/>
                      <a:pt x="45670" y="156688"/>
                    </a:cubicBezTo>
                    <a:cubicBezTo>
                      <a:pt x="22438" y="160110"/>
                      <a:pt x="21177" y="170736"/>
                      <a:pt x="6590" y="156148"/>
                    </a:cubicBezTo>
                    <a:cubicBezTo>
                      <a:pt x="-7997" y="141560"/>
                      <a:pt x="5690" y="140840"/>
                      <a:pt x="9112" y="117428"/>
                    </a:cubicBezTo>
                    <a:cubicBezTo>
                      <a:pt x="10912" y="105002"/>
                      <a:pt x="11633" y="90775"/>
                      <a:pt x="17215" y="77088"/>
                    </a:cubicBezTo>
                    <a:cubicBezTo>
                      <a:pt x="22438" y="64661"/>
                      <a:pt x="30182" y="53315"/>
                      <a:pt x="40267" y="43230"/>
                    </a:cubicBezTo>
                    <a:cubicBezTo>
                      <a:pt x="50352" y="33145"/>
                      <a:pt x="61338" y="24321"/>
                      <a:pt x="73584" y="19098"/>
                    </a:cubicBezTo>
                    <a:cubicBezTo>
                      <a:pt x="87091" y="13515"/>
                      <a:pt x="101319" y="9193"/>
                      <a:pt x="113745" y="7392"/>
                    </a:cubicBezTo>
                    <a:cubicBezTo>
                      <a:pt x="136977" y="3970"/>
                      <a:pt x="140759" y="-7376"/>
                      <a:pt x="155346" y="7392"/>
                    </a:cubicBezTo>
                    <a:lnTo>
                      <a:pt x="155346" y="7392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B680294-DD0A-5F83-1FE1-FFB54303F6F4}"/>
                </a:ext>
              </a:extLst>
            </p:cNvPr>
            <p:cNvGrpSpPr/>
            <p:nvPr/>
          </p:nvGrpSpPr>
          <p:grpSpPr>
            <a:xfrm>
              <a:off x="10782320" y="4267521"/>
              <a:ext cx="696221" cy="2047440"/>
              <a:chOff x="10973928" y="3874961"/>
              <a:chExt cx="601223" cy="1768073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F7DBFAF0-8F34-72FA-3DC1-4CE9A29ACEB2}"/>
                  </a:ext>
                </a:extLst>
              </p:cNvPr>
              <p:cNvGrpSpPr/>
              <p:nvPr/>
            </p:nvGrpSpPr>
            <p:grpSpPr>
              <a:xfrm>
                <a:off x="10973928" y="3874961"/>
                <a:ext cx="601223" cy="1295333"/>
                <a:chOff x="10973928" y="3887661"/>
                <a:chExt cx="601223" cy="1295333"/>
              </a:xfrm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42A528A8-190E-387B-EDD5-A7C91C655A3C}"/>
                    </a:ext>
                  </a:extLst>
                </p:cNvPr>
                <p:cNvSpPr/>
                <p:nvPr/>
              </p:nvSpPr>
              <p:spPr>
                <a:xfrm>
                  <a:off x="11259035" y="4477393"/>
                  <a:ext cx="4322" cy="705601"/>
                </a:xfrm>
                <a:custGeom>
                  <a:avLst/>
                  <a:gdLst>
                    <a:gd name="connsiteX0" fmla="*/ 1440 w 4322"/>
                    <a:gd name="connsiteY0" fmla="*/ 0 h 705601"/>
                    <a:gd name="connsiteX1" fmla="*/ 4322 w 4322"/>
                    <a:gd name="connsiteY1" fmla="*/ 88245 h 705601"/>
                    <a:gd name="connsiteX2" fmla="*/ 1800 w 4322"/>
                    <a:gd name="connsiteY2" fmla="*/ 176490 h 705601"/>
                    <a:gd name="connsiteX3" fmla="*/ 1800 w 4322"/>
                    <a:gd name="connsiteY3" fmla="*/ 264375 h 705601"/>
                    <a:gd name="connsiteX4" fmla="*/ 0 w 4322"/>
                    <a:gd name="connsiteY4" fmla="*/ 352621 h 705601"/>
                    <a:gd name="connsiteX5" fmla="*/ 3061 w 4322"/>
                    <a:gd name="connsiteY5" fmla="*/ 440866 h 705601"/>
                    <a:gd name="connsiteX6" fmla="*/ 4142 w 4322"/>
                    <a:gd name="connsiteY6" fmla="*/ 529111 h 705601"/>
                    <a:gd name="connsiteX7" fmla="*/ 4142 w 4322"/>
                    <a:gd name="connsiteY7" fmla="*/ 617356 h 705601"/>
                    <a:gd name="connsiteX8" fmla="*/ 3061 w 4322"/>
                    <a:gd name="connsiteY8" fmla="*/ 705601 h 705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22" h="705601">
                      <a:moveTo>
                        <a:pt x="1440" y="0"/>
                      </a:moveTo>
                      <a:cubicBezTo>
                        <a:pt x="1440" y="44123"/>
                        <a:pt x="4322" y="44123"/>
                        <a:pt x="4322" y="88245"/>
                      </a:cubicBezTo>
                      <a:cubicBezTo>
                        <a:pt x="4322" y="132368"/>
                        <a:pt x="1800" y="132368"/>
                        <a:pt x="1800" y="176490"/>
                      </a:cubicBezTo>
                      <a:cubicBezTo>
                        <a:pt x="1800" y="220613"/>
                        <a:pt x="1800" y="220613"/>
                        <a:pt x="1800" y="264375"/>
                      </a:cubicBezTo>
                      <a:cubicBezTo>
                        <a:pt x="1800" y="308138"/>
                        <a:pt x="0" y="308498"/>
                        <a:pt x="0" y="352621"/>
                      </a:cubicBezTo>
                      <a:cubicBezTo>
                        <a:pt x="0" y="396743"/>
                        <a:pt x="3061" y="396743"/>
                        <a:pt x="3061" y="440866"/>
                      </a:cubicBezTo>
                      <a:cubicBezTo>
                        <a:pt x="3061" y="484988"/>
                        <a:pt x="4142" y="484988"/>
                        <a:pt x="4142" y="529111"/>
                      </a:cubicBezTo>
                      <a:lnTo>
                        <a:pt x="4142" y="617356"/>
                      </a:lnTo>
                      <a:cubicBezTo>
                        <a:pt x="4142" y="661479"/>
                        <a:pt x="3061" y="661479"/>
                        <a:pt x="3061" y="705601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F69382DE-1AB8-269E-5E4A-53950B622B67}"/>
                    </a:ext>
                  </a:extLst>
                </p:cNvPr>
                <p:cNvSpPr/>
                <p:nvPr/>
              </p:nvSpPr>
              <p:spPr>
                <a:xfrm>
                  <a:off x="10973928" y="3887661"/>
                  <a:ext cx="601223" cy="597754"/>
                </a:xfrm>
                <a:custGeom>
                  <a:avLst/>
                  <a:gdLst>
                    <a:gd name="connsiteX0" fmla="*/ 153820 w 601223"/>
                    <a:gd name="connsiteY0" fmla="*/ 443678 h 597754"/>
                    <a:gd name="connsiteX1" fmla="*/ 112038 w 601223"/>
                    <a:gd name="connsiteY1" fmla="*/ 458085 h 597754"/>
                    <a:gd name="connsiteX2" fmla="*/ 68276 w 601223"/>
                    <a:gd name="connsiteY2" fmla="*/ 448000 h 597754"/>
                    <a:gd name="connsiteX3" fmla="*/ 32798 w 601223"/>
                    <a:gd name="connsiteY3" fmla="*/ 422787 h 597754"/>
                    <a:gd name="connsiteX4" fmla="*/ 3803 w 601223"/>
                    <a:gd name="connsiteY4" fmla="*/ 377764 h 597754"/>
                    <a:gd name="connsiteX5" fmla="*/ 3262 w 601223"/>
                    <a:gd name="connsiteY5" fmla="*/ 323376 h 597754"/>
                    <a:gd name="connsiteX6" fmla="*/ 30637 w 601223"/>
                    <a:gd name="connsiteY6" fmla="*/ 276192 h 597754"/>
                    <a:gd name="connsiteX7" fmla="*/ 65214 w 601223"/>
                    <a:gd name="connsiteY7" fmla="*/ 256382 h 597754"/>
                    <a:gd name="connsiteX8" fmla="*/ 103214 w 601223"/>
                    <a:gd name="connsiteY8" fmla="*/ 245576 h 597754"/>
                    <a:gd name="connsiteX9" fmla="*/ 83944 w 601223"/>
                    <a:gd name="connsiteY9" fmla="*/ 228288 h 597754"/>
                    <a:gd name="connsiteX10" fmla="*/ 53328 w 601223"/>
                    <a:gd name="connsiteY10" fmla="*/ 183265 h 597754"/>
                    <a:gd name="connsiteX11" fmla="*/ 57470 w 601223"/>
                    <a:gd name="connsiteY11" fmla="*/ 129057 h 597754"/>
                    <a:gd name="connsiteX12" fmla="*/ 81962 w 601223"/>
                    <a:gd name="connsiteY12" fmla="*/ 81152 h 597754"/>
                    <a:gd name="connsiteX13" fmla="*/ 129147 w 601223"/>
                    <a:gd name="connsiteY13" fmla="*/ 53418 h 597754"/>
                    <a:gd name="connsiteX14" fmla="*/ 184075 w 601223"/>
                    <a:gd name="connsiteY14" fmla="*/ 53418 h 597754"/>
                    <a:gd name="connsiteX15" fmla="*/ 231259 w 601223"/>
                    <a:gd name="connsiteY15" fmla="*/ 81152 h 597754"/>
                    <a:gd name="connsiteX16" fmla="*/ 243866 w 601223"/>
                    <a:gd name="connsiteY16" fmla="*/ 99882 h 597754"/>
                    <a:gd name="connsiteX17" fmla="*/ 253591 w 601223"/>
                    <a:gd name="connsiteY17" fmla="*/ 62243 h 597754"/>
                    <a:gd name="connsiteX18" fmla="*/ 275742 w 601223"/>
                    <a:gd name="connsiteY18" fmla="*/ 28385 h 597754"/>
                    <a:gd name="connsiteX19" fmla="*/ 324187 w 601223"/>
                    <a:gd name="connsiteY19" fmla="*/ 3172 h 597754"/>
                    <a:gd name="connsiteX20" fmla="*/ 377854 w 601223"/>
                    <a:gd name="connsiteY20" fmla="*/ 3893 h 597754"/>
                    <a:gd name="connsiteX21" fmla="*/ 427200 w 601223"/>
                    <a:gd name="connsiteY21" fmla="*/ 27665 h 597754"/>
                    <a:gd name="connsiteX22" fmla="*/ 452233 w 601223"/>
                    <a:gd name="connsiteY22" fmla="*/ 66565 h 597754"/>
                    <a:gd name="connsiteX23" fmla="*/ 453133 w 601223"/>
                    <a:gd name="connsiteY23" fmla="*/ 111948 h 597754"/>
                    <a:gd name="connsiteX24" fmla="*/ 441247 w 601223"/>
                    <a:gd name="connsiteY24" fmla="*/ 156431 h 597754"/>
                    <a:gd name="connsiteX25" fmla="*/ 485910 w 601223"/>
                    <a:gd name="connsiteY25" fmla="*/ 145265 h 597754"/>
                    <a:gd name="connsiteX26" fmla="*/ 530572 w 601223"/>
                    <a:gd name="connsiteY26" fmla="*/ 147426 h 597754"/>
                    <a:gd name="connsiteX27" fmla="*/ 571454 w 601223"/>
                    <a:gd name="connsiteY27" fmla="*/ 169217 h 597754"/>
                    <a:gd name="connsiteX28" fmla="*/ 592344 w 601223"/>
                    <a:gd name="connsiteY28" fmla="*/ 219823 h 597754"/>
                    <a:gd name="connsiteX29" fmla="*/ 599728 w 601223"/>
                    <a:gd name="connsiteY29" fmla="*/ 274031 h 597754"/>
                    <a:gd name="connsiteX30" fmla="*/ 566411 w 601223"/>
                    <a:gd name="connsiteY30" fmla="*/ 317613 h 597754"/>
                    <a:gd name="connsiteX31" fmla="*/ 535255 w 601223"/>
                    <a:gd name="connsiteY31" fmla="*/ 341565 h 597754"/>
                    <a:gd name="connsiteX32" fmla="*/ 494914 w 601223"/>
                    <a:gd name="connsiteY32" fmla="*/ 348589 h 597754"/>
                    <a:gd name="connsiteX33" fmla="*/ 515445 w 601223"/>
                    <a:gd name="connsiteY33" fmla="*/ 367139 h 597754"/>
                    <a:gd name="connsiteX34" fmla="*/ 541558 w 601223"/>
                    <a:gd name="connsiteY34" fmla="*/ 413602 h 597754"/>
                    <a:gd name="connsiteX35" fmla="*/ 540117 w 601223"/>
                    <a:gd name="connsiteY35" fmla="*/ 466370 h 597754"/>
                    <a:gd name="connsiteX36" fmla="*/ 517786 w 601223"/>
                    <a:gd name="connsiteY36" fmla="*/ 515715 h 597754"/>
                    <a:gd name="connsiteX37" fmla="*/ 468981 w 601223"/>
                    <a:gd name="connsiteY37" fmla="*/ 540027 h 597754"/>
                    <a:gd name="connsiteX38" fmla="*/ 414773 w 601223"/>
                    <a:gd name="connsiteY38" fmla="*/ 542368 h 597754"/>
                    <a:gd name="connsiteX39" fmla="*/ 368670 w 601223"/>
                    <a:gd name="connsiteY39" fmla="*/ 513374 h 597754"/>
                    <a:gd name="connsiteX40" fmla="*/ 352101 w 601223"/>
                    <a:gd name="connsiteY40" fmla="*/ 493383 h 597754"/>
                    <a:gd name="connsiteX41" fmla="*/ 346158 w 601223"/>
                    <a:gd name="connsiteY41" fmla="*/ 533364 h 597754"/>
                    <a:gd name="connsiteX42" fmla="*/ 322206 w 601223"/>
                    <a:gd name="connsiteY42" fmla="*/ 566320 h 597754"/>
                    <a:gd name="connsiteX43" fmla="*/ 275021 w 601223"/>
                    <a:gd name="connsiteY43" fmla="*/ 595315 h 597754"/>
                    <a:gd name="connsiteX44" fmla="*/ 219913 w 601223"/>
                    <a:gd name="connsiteY44" fmla="*/ 592614 h 597754"/>
                    <a:gd name="connsiteX45" fmla="*/ 172729 w 601223"/>
                    <a:gd name="connsiteY45" fmla="*/ 565780 h 597754"/>
                    <a:gd name="connsiteX46" fmla="*/ 152199 w 601223"/>
                    <a:gd name="connsiteY46" fmla="*/ 527421 h 597754"/>
                    <a:gd name="connsiteX47" fmla="*/ 140673 w 601223"/>
                    <a:gd name="connsiteY47" fmla="*/ 484919 h 597754"/>
                    <a:gd name="connsiteX48" fmla="*/ 153639 w 601223"/>
                    <a:gd name="connsiteY48" fmla="*/ 443137 h 597754"/>
                    <a:gd name="connsiteX49" fmla="*/ 153639 w 601223"/>
                    <a:gd name="connsiteY49" fmla="*/ 443137 h 597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601223" h="597754">
                      <a:moveTo>
                        <a:pt x="153820" y="443678"/>
                      </a:moveTo>
                      <a:cubicBezTo>
                        <a:pt x="140492" y="450701"/>
                        <a:pt x="126626" y="457185"/>
                        <a:pt x="112038" y="458085"/>
                      </a:cubicBezTo>
                      <a:cubicBezTo>
                        <a:pt x="97451" y="458986"/>
                        <a:pt x="82503" y="453403"/>
                        <a:pt x="68276" y="448000"/>
                      </a:cubicBezTo>
                      <a:cubicBezTo>
                        <a:pt x="54048" y="442597"/>
                        <a:pt x="43783" y="433773"/>
                        <a:pt x="32798" y="422787"/>
                      </a:cubicBezTo>
                      <a:cubicBezTo>
                        <a:pt x="19291" y="409280"/>
                        <a:pt x="8485" y="395053"/>
                        <a:pt x="3803" y="377764"/>
                      </a:cubicBezTo>
                      <a:cubicBezTo>
                        <a:pt x="-700" y="360475"/>
                        <a:pt x="-1600" y="341205"/>
                        <a:pt x="3262" y="323376"/>
                      </a:cubicBezTo>
                      <a:cubicBezTo>
                        <a:pt x="7945" y="305547"/>
                        <a:pt x="17130" y="289699"/>
                        <a:pt x="30637" y="276192"/>
                      </a:cubicBezTo>
                      <a:cubicBezTo>
                        <a:pt x="40541" y="266287"/>
                        <a:pt x="53148" y="261425"/>
                        <a:pt x="65214" y="256382"/>
                      </a:cubicBezTo>
                      <a:cubicBezTo>
                        <a:pt x="77280" y="251339"/>
                        <a:pt x="89887" y="245757"/>
                        <a:pt x="103214" y="245576"/>
                      </a:cubicBezTo>
                      <a:cubicBezTo>
                        <a:pt x="95650" y="241254"/>
                        <a:pt x="90427" y="234771"/>
                        <a:pt x="83944" y="228288"/>
                      </a:cubicBezTo>
                      <a:cubicBezTo>
                        <a:pt x="70437" y="214781"/>
                        <a:pt x="58010" y="200553"/>
                        <a:pt x="53328" y="183265"/>
                      </a:cubicBezTo>
                      <a:cubicBezTo>
                        <a:pt x="48646" y="165976"/>
                        <a:pt x="52788" y="146886"/>
                        <a:pt x="57470" y="129057"/>
                      </a:cubicBezTo>
                      <a:cubicBezTo>
                        <a:pt x="62153" y="111228"/>
                        <a:pt x="68456" y="94659"/>
                        <a:pt x="81962" y="81152"/>
                      </a:cubicBezTo>
                      <a:cubicBezTo>
                        <a:pt x="95469" y="67645"/>
                        <a:pt x="111858" y="58100"/>
                        <a:pt x="129147" y="53418"/>
                      </a:cubicBezTo>
                      <a:cubicBezTo>
                        <a:pt x="146436" y="48736"/>
                        <a:pt x="166246" y="48555"/>
                        <a:pt x="184075" y="53418"/>
                      </a:cubicBezTo>
                      <a:cubicBezTo>
                        <a:pt x="201904" y="58281"/>
                        <a:pt x="217752" y="67645"/>
                        <a:pt x="231259" y="81152"/>
                      </a:cubicBezTo>
                      <a:cubicBezTo>
                        <a:pt x="237382" y="87275"/>
                        <a:pt x="239543" y="92858"/>
                        <a:pt x="243866" y="99882"/>
                      </a:cubicBezTo>
                      <a:cubicBezTo>
                        <a:pt x="243866" y="86555"/>
                        <a:pt x="248368" y="74669"/>
                        <a:pt x="253591" y="62243"/>
                      </a:cubicBezTo>
                      <a:cubicBezTo>
                        <a:pt x="258813" y="49816"/>
                        <a:pt x="266017" y="38110"/>
                        <a:pt x="275742" y="28385"/>
                      </a:cubicBezTo>
                      <a:cubicBezTo>
                        <a:pt x="289249" y="14878"/>
                        <a:pt x="307078" y="8035"/>
                        <a:pt x="324187" y="3172"/>
                      </a:cubicBezTo>
                      <a:cubicBezTo>
                        <a:pt x="341296" y="-1510"/>
                        <a:pt x="360025" y="-790"/>
                        <a:pt x="377854" y="3893"/>
                      </a:cubicBezTo>
                      <a:cubicBezTo>
                        <a:pt x="395683" y="8575"/>
                        <a:pt x="413693" y="14158"/>
                        <a:pt x="427200" y="27665"/>
                      </a:cubicBezTo>
                      <a:cubicBezTo>
                        <a:pt x="438365" y="38831"/>
                        <a:pt x="447190" y="52878"/>
                        <a:pt x="452233" y="66565"/>
                      </a:cubicBezTo>
                      <a:cubicBezTo>
                        <a:pt x="457275" y="80252"/>
                        <a:pt x="454394" y="96820"/>
                        <a:pt x="453133" y="111948"/>
                      </a:cubicBezTo>
                      <a:cubicBezTo>
                        <a:pt x="451872" y="127076"/>
                        <a:pt x="448811" y="142924"/>
                        <a:pt x="441247" y="156431"/>
                      </a:cubicBezTo>
                      <a:cubicBezTo>
                        <a:pt x="454754" y="148687"/>
                        <a:pt x="470782" y="146706"/>
                        <a:pt x="485910" y="145265"/>
                      </a:cubicBezTo>
                      <a:cubicBezTo>
                        <a:pt x="501037" y="143824"/>
                        <a:pt x="516165" y="142204"/>
                        <a:pt x="530572" y="147426"/>
                      </a:cubicBezTo>
                      <a:cubicBezTo>
                        <a:pt x="544980" y="152829"/>
                        <a:pt x="560108" y="158052"/>
                        <a:pt x="571454" y="169217"/>
                      </a:cubicBezTo>
                      <a:cubicBezTo>
                        <a:pt x="584960" y="182724"/>
                        <a:pt x="587662" y="202534"/>
                        <a:pt x="592344" y="219823"/>
                      </a:cubicBezTo>
                      <a:cubicBezTo>
                        <a:pt x="597026" y="237112"/>
                        <a:pt x="604410" y="256202"/>
                        <a:pt x="599728" y="274031"/>
                      </a:cubicBezTo>
                      <a:cubicBezTo>
                        <a:pt x="595046" y="291860"/>
                        <a:pt x="579918" y="304106"/>
                        <a:pt x="566411" y="317613"/>
                      </a:cubicBezTo>
                      <a:cubicBezTo>
                        <a:pt x="556686" y="327338"/>
                        <a:pt x="547321" y="336523"/>
                        <a:pt x="535255" y="341565"/>
                      </a:cubicBezTo>
                      <a:cubicBezTo>
                        <a:pt x="523188" y="346608"/>
                        <a:pt x="508421" y="348409"/>
                        <a:pt x="494914" y="348589"/>
                      </a:cubicBezTo>
                      <a:cubicBezTo>
                        <a:pt x="501938" y="352911"/>
                        <a:pt x="509141" y="361015"/>
                        <a:pt x="515445" y="367139"/>
                      </a:cubicBezTo>
                      <a:cubicBezTo>
                        <a:pt x="528952" y="380645"/>
                        <a:pt x="536876" y="396494"/>
                        <a:pt x="541558" y="413602"/>
                      </a:cubicBezTo>
                      <a:cubicBezTo>
                        <a:pt x="546241" y="430711"/>
                        <a:pt x="544800" y="448720"/>
                        <a:pt x="540117" y="466370"/>
                      </a:cubicBezTo>
                      <a:cubicBezTo>
                        <a:pt x="535435" y="484198"/>
                        <a:pt x="531293" y="502208"/>
                        <a:pt x="517786" y="515715"/>
                      </a:cubicBezTo>
                      <a:cubicBezTo>
                        <a:pt x="504279" y="529222"/>
                        <a:pt x="486089" y="535525"/>
                        <a:pt x="468981" y="540027"/>
                      </a:cubicBezTo>
                      <a:cubicBezTo>
                        <a:pt x="451872" y="544529"/>
                        <a:pt x="432422" y="547051"/>
                        <a:pt x="414773" y="542368"/>
                      </a:cubicBezTo>
                      <a:cubicBezTo>
                        <a:pt x="396944" y="537686"/>
                        <a:pt x="382176" y="527061"/>
                        <a:pt x="368670" y="513374"/>
                      </a:cubicBezTo>
                      <a:cubicBezTo>
                        <a:pt x="362186" y="506890"/>
                        <a:pt x="356603" y="500767"/>
                        <a:pt x="352101" y="493383"/>
                      </a:cubicBezTo>
                      <a:cubicBezTo>
                        <a:pt x="351741" y="506710"/>
                        <a:pt x="351381" y="520937"/>
                        <a:pt x="346158" y="533364"/>
                      </a:cubicBezTo>
                      <a:cubicBezTo>
                        <a:pt x="340935" y="545790"/>
                        <a:pt x="332111" y="556596"/>
                        <a:pt x="322206" y="566320"/>
                      </a:cubicBezTo>
                      <a:cubicBezTo>
                        <a:pt x="308699" y="579827"/>
                        <a:pt x="292130" y="590633"/>
                        <a:pt x="275021" y="595315"/>
                      </a:cubicBezTo>
                      <a:cubicBezTo>
                        <a:pt x="257913" y="599998"/>
                        <a:pt x="237743" y="597296"/>
                        <a:pt x="219913" y="592614"/>
                      </a:cubicBezTo>
                      <a:cubicBezTo>
                        <a:pt x="202084" y="587932"/>
                        <a:pt x="186236" y="579287"/>
                        <a:pt x="172729" y="565780"/>
                      </a:cubicBezTo>
                      <a:cubicBezTo>
                        <a:pt x="161923" y="554975"/>
                        <a:pt x="157241" y="540928"/>
                        <a:pt x="152199" y="527421"/>
                      </a:cubicBezTo>
                      <a:cubicBezTo>
                        <a:pt x="146976" y="513914"/>
                        <a:pt x="139772" y="499686"/>
                        <a:pt x="140673" y="484919"/>
                      </a:cubicBezTo>
                      <a:cubicBezTo>
                        <a:pt x="141574" y="470151"/>
                        <a:pt x="146796" y="456464"/>
                        <a:pt x="153639" y="443137"/>
                      </a:cubicBezTo>
                      <a:lnTo>
                        <a:pt x="153639" y="443137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860C48E1-76F5-204A-F2F3-FCAA4061C7EC}"/>
                    </a:ext>
                  </a:extLst>
                </p:cNvPr>
                <p:cNvSpPr/>
                <p:nvPr/>
              </p:nvSpPr>
              <p:spPr>
                <a:xfrm>
                  <a:off x="11146826" y="4084632"/>
                  <a:ext cx="218989" cy="217246"/>
                </a:xfrm>
                <a:custGeom>
                  <a:avLst/>
                  <a:gdLst>
                    <a:gd name="connsiteX0" fmla="*/ 33869 w 218989"/>
                    <a:gd name="connsiteY0" fmla="*/ 184935 h 217246"/>
                    <a:gd name="connsiteX1" fmla="*/ 4694 w 218989"/>
                    <a:gd name="connsiteY1" fmla="*/ 138111 h 217246"/>
                    <a:gd name="connsiteX2" fmla="*/ 2893 w 218989"/>
                    <a:gd name="connsiteY2" fmla="*/ 82102 h 217246"/>
                    <a:gd name="connsiteX3" fmla="*/ 33329 w 218989"/>
                    <a:gd name="connsiteY3" fmla="*/ 35458 h 217246"/>
                    <a:gd name="connsiteX4" fmla="*/ 79612 w 218989"/>
                    <a:gd name="connsiteY4" fmla="*/ 3402 h 217246"/>
                    <a:gd name="connsiteX5" fmla="*/ 136882 w 218989"/>
                    <a:gd name="connsiteY5" fmla="*/ 3762 h 217246"/>
                    <a:gd name="connsiteX6" fmla="*/ 185327 w 218989"/>
                    <a:gd name="connsiteY6" fmla="*/ 33477 h 217246"/>
                    <a:gd name="connsiteX7" fmla="*/ 215221 w 218989"/>
                    <a:gd name="connsiteY7" fmla="*/ 81742 h 217246"/>
                    <a:gd name="connsiteX8" fmla="*/ 215582 w 218989"/>
                    <a:gd name="connsiteY8" fmla="*/ 139011 h 217246"/>
                    <a:gd name="connsiteX9" fmla="*/ 185687 w 218989"/>
                    <a:gd name="connsiteY9" fmla="*/ 187636 h 217246"/>
                    <a:gd name="connsiteX10" fmla="*/ 136161 w 218989"/>
                    <a:gd name="connsiteY10" fmla="*/ 213930 h 217246"/>
                    <a:gd name="connsiteX11" fmla="*/ 80873 w 218989"/>
                    <a:gd name="connsiteY11" fmla="*/ 213390 h 217246"/>
                    <a:gd name="connsiteX12" fmla="*/ 33869 w 218989"/>
                    <a:gd name="connsiteY12" fmla="*/ 184935 h 217246"/>
                    <a:gd name="connsiteX13" fmla="*/ 33869 w 218989"/>
                    <a:gd name="connsiteY13" fmla="*/ 184935 h 217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8989" h="217246">
                      <a:moveTo>
                        <a:pt x="33869" y="184935"/>
                      </a:moveTo>
                      <a:cubicBezTo>
                        <a:pt x="20002" y="171068"/>
                        <a:pt x="9556" y="155940"/>
                        <a:pt x="4694" y="138111"/>
                      </a:cubicBezTo>
                      <a:cubicBezTo>
                        <a:pt x="12" y="120282"/>
                        <a:pt x="-2149" y="100472"/>
                        <a:pt x="2893" y="82102"/>
                      </a:cubicBezTo>
                      <a:cubicBezTo>
                        <a:pt x="7755" y="63913"/>
                        <a:pt x="19642" y="49506"/>
                        <a:pt x="33329" y="35458"/>
                      </a:cubicBezTo>
                      <a:cubicBezTo>
                        <a:pt x="47015" y="21411"/>
                        <a:pt x="61783" y="8084"/>
                        <a:pt x="79612" y="3402"/>
                      </a:cubicBezTo>
                      <a:cubicBezTo>
                        <a:pt x="97442" y="-1280"/>
                        <a:pt x="118692" y="-1100"/>
                        <a:pt x="136882" y="3762"/>
                      </a:cubicBezTo>
                      <a:cubicBezTo>
                        <a:pt x="155071" y="8625"/>
                        <a:pt x="171279" y="19610"/>
                        <a:pt x="185327" y="33477"/>
                      </a:cubicBezTo>
                      <a:cubicBezTo>
                        <a:pt x="199374" y="47345"/>
                        <a:pt x="210539" y="64093"/>
                        <a:pt x="215221" y="81742"/>
                      </a:cubicBezTo>
                      <a:cubicBezTo>
                        <a:pt x="219904" y="99391"/>
                        <a:pt x="220444" y="120642"/>
                        <a:pt x="215582" y="139011"/>
                      </a:cubicBezTo>
                      <a:cubicBezTo>
                        <a:pt x="210719" y="157381"/>
                        <a:pt x="199734" y="173769"/>
                        <a:pt x="185687" y="187636"/>
                      </a:cubicBezTo>
                      <a:cubicBezTo>
                        <a:pt x="171639" y="201503"/>
                        <a:pt x="153811" y="209247"/>
                        <a:pt x="136161" y="213930"/>
                      </a:cubicBezTo>
                      <a:cubicBezTo>
                        <a:pt x="118512" y="218612"/>
                        <a:pt x="99062" y="218252"/>
                        <a:pt x="80873" y="213390"/>
                      </a:cubicBezTo>
                      <a:cubicBezTo>
                        <a:pt x="62684" y="208527"/>
                        <a:pt x="47916" y="198802"/>
                        <a:pt x="33869" y="184935"/>
                      </a:cubicBezTo>
                      <a:lnTo>
                        <a:pt x="33869" y="1849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3781F3DC-D643-E412-A9C1-3A7E997ADA77}"/>
                    </a:ext>
                  </a:extLst>
                </p:cNvPr>
                <p:cNvSpPr/>
                <p:nvPr/>
              </p:nvSpPr>
              <p:spPr>
                <a:xfrm>
                  <a:off x="11031384" y="4586743"/>
                  <a:ext cx="236093" cy="234684"/>
                </a:xfrm>
                <a:custGeom>
                  <a:avLst/>
                  <a:gdLst>
                    <a:gd name="connsiteX0" fmla="*/ 228011 w 236093"/>
                    <a:gd name="connsiteY0" fmla="*/ 227962 h 234684"/>
                    <a:gd name="connsiteX1" fmla="*/ 229092 w 236093"/>
                    <a:gd name="connsiteY1" fmla="*/ 182579 h 234684"/>
                    <a:gd name="connsiteX2" fmla="*/ 223869 w 236093"/>
                    <a:gd name="connsiteY2" fmla="*/ 136656 h 234684"/>
                    <a:gd name="connsiteX3" fmla="*/ 206940 w 236093"/>
                    <a:gd name="connsiteY3" fmla="*/ 93434 h 234684"/>
                    <a:gd name="connsiteX4" fmla="*/ 175605 w 236093"/>
                    <a:gd name="connsiteY4" fmla="*/ 59756 h 234684"/>
                    <a:gd name="connsiteX5" fmla="*/ 140667 w 236093"/>
                    <a:gd name="connsiteY5" fmla="*/ 30942 h 234684"/>
                    <a:gd name="connsiteX6" fmla="*/ 98345 w 236093"/>
                    <a:gd name="connsiteY6" fmla="*/ 12933 h 234684"/>
                    <a:gd name="connsiteX7" fmla="*/ 52782 w 236093"/>
                    <a:gd name="connsiteY7" fmla="*/ 7170 h 234684"/>
                    <a:gd name="connsiteX8" fmla="*/ 8119 w 236093"/>
                    <a:gd name="connsiteY8" fmla="*/ 7890 h 234684"/>
                    <a:gd name="connsiteX9" fmla="*/ 6678 w 236093"/>
                    <a:gd name="connsiteY9" fmla="*/ 52733 h 234684"/>
                    <a:gd name="connsiteX10" fmla="*/ 18204 w 236093"/>
                    <a:gd name="connsiteY10" fmla="*/ 96855 h 234684"/>
                    <a:gd name="connsiteX11" fmla="*/ 31171 w 236093"/>
                    <a:gd name="connsiteY11" fmla="*/ 140618 h 234684"/>
                    <a:gd name="connsiteX12" fmla="*/ 55663 w 236093"/>
                    <a:gd name="connsiteY12" fmla="*/ 179878 h 234684"/>
                    <a:gd name="connsiteX13" fmla="*/ 93843 w 236093"/>
                    <a:gd name="connsiteY13" fmla="*/ 206351 h 234684"/>
                    <a:gd name="connsiteX14" fmla="*/ 137245 w 236093"/>
                    <a:gd name="connsiteY14" fmla="*/ 222200 h 234684"/>
                    <a:gd name="connsiteX15" fmla="*/ 183169 w 236093"/>
                    <a:gd name="connsiteY15" fmla="*/ 224541 h 234684"/>
                    <a:gd name="connsiteX16" fmla="*/ 228192 w 236093"/>
                    <a:gd name="connsiteY16" fmla="*/ 227782 h 234684"/>
                    <a:gd name="connsiteX17" fmla="*/ 228192 w 236093"/>
                    <a:gd name="connsiteY17" fmla="*/ 227782 h 234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36093" h="234684">
                      <a:moveTo>
                        <a:pt x="228011" y="227962"/>
                      </a:moveTo>
                      <a:cubicBezTo>
                        <a:pt x="244220" y="211754"/>
                        <a:pt x="231433" y="209233"/>
                        <a:pt x="229092" y="182579"/>
                      </a:cubicBezTo>
                      <a:cubicBezTo>
                        <a:pt x="227831" y="169073"/>
                        <a:pt x="228011" y="152684"/>
                        <a:pt x="223869" y="136656"/>
                      </a:cubicBezTo>
                      <a:cubicBezTo>
                        <a:pt x="220087" y="122429"/>
                        <a:pt x="214145" y="107481"/>
                        <a:pt x="206940" y="93434"/>
                      </a:cubicBezTo>
                      <a:cubicBezTo>
                        <a:pt x="199737" y="79386"/>
                        <a:pt x="186590" y="70742"/>
                        <a:pt x="175605" y="59756"/>
                      </a:cubicBezTo>
                      <a:cubicBezTo>
                        <a:pt x="164619" y="48771"/>
                        <a:pt x="153814" y="37785"/>
                        <a:pt x="140667" y="30942"/>
                      </a:cubicBezTo>
                      <a:cubicBezTo>
                        <a:pt x="127520" y="24098"/>
                        <a:pt x="112753" y="16534"/>
                        <a:pt x="98345" y="12933"/>
                      </a:cubicBezTo>
                      <a:cubicBezTo>
                        <a:pt x="82317" y="8790"/>
                        <a:pt x="66288" y="8430"/>
                        <a:pt x="52782" y="7170"/>
                      </a:cubicBezTo>
                      <a:cubicBezTo>
                        <a:pt x="26128" y="4828"/>
                        <a:pt x="24147" y="-8138"/>
                        <a:pt x="8119" y="7890"/>
                      </a:cubicBezTo>
                      <a:cubicBezTo>
                        <a:pt x="-7909" y="24098"/>
                        <a:pt x="4337" y="26079"/>
                        <a:pt x="6678" y="52733"/>
                      </a:cubicBezTo>
                      <a:cubicBezTo>
                        <a:pt x="7939" y="66240"/>
                        <a:pt x="13882" y="81007"/>
                        <a:pt x="18204" y="96855"/>
                      </a:cubicBezTo>
                      <a:cubicBezTo>
                        <a:pt x="21986" y="111083"/>
                        <a:pt x="23787" y="126571"/>
                        <a:pt x="31171" y="140618"/>
                      </a:cubicBezTo>
                      <a:cubicBezTo>
                        <a:pt x="38555" y="154665"/>
                        <a:pt x="44678" y="168892"/>
                        <a:pt x="55663" y="179878"/>
                      </a:cubicBezTo>
                      <a:cubicBezTo>
                        <a:pt x="66649" y="190864"/>
                        <a:pt x="80696" y="199508"/>
                        <a:pt x="93843" y="206351"/>
                      </a:cubicBezTo>
                      <a:cubicBezTo>
                        <a:pt x="106989" y="213195"/>
                        <a:pt x="123017" y="218418"/>
                        <a:pt x="137245" y="222200"/>
                      </a:cubicBezTo>
                      <a:cubicBezTo>
                        <a:pt x="153273" y="226342"/>
                        <a:pt x="169662" y="223280"/>
                        <a:pt x="183169" y="224541"/>
                      </a:cubicBezTo>
                      <a:cubicBezTo>
                        <a:pt x="209822" y="226882"/>
                        <a:pt x="211983" y="243991"/>
                        <a:pt x="228192" y="227782"/>
                      </a:cubicBezTo>
                      <a:lnTo>
                        <a:pt x="228192" y="227782"/>
                      </a:lnTo>
                      <a:close/>
                    </a:path>
                  </a:pathLst>
                </a:custGeom>
                <a:solidFill>
                  <a:srgbClr val="8DC1B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73388FE7-685C-B283-ABA8-9BF318D2D0E2}"/>
                    </a:ext>
                  </a:extLst>
                </p:cNvPr>
                <p:cNvSpPr/>
                <p:nvPr/>
              </p:nvSpPr>
              <p:spPr>
                <a:xfrm>
                  <a:off x="11279926" y="4157189"/>
                  <a:ext cx="4142" cy="44662"/>
                </a:xfrm>
                <a:custGeom>
                  <a:avLst/>
                  <a:gdLst>
                    <a:gd name="connsiteX0" fmla="*/ 0 w 4142"/>
                    <a:gd name="connsiteY0" fmla="*/ 0 h 44662"/>
                    <a:gd name="connsiteX1" fmla="*/ 4142 w 414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42" h="44662">
                      <a:moveTo>
                        <a:pt x="0" y="0"/>
                      </a:moveTo>
                      <a:cubicBezTo>
                        <a:pt x="0" y="22332"/>
                        <a:pt x="4142" y="22332"/>
                        <a:pt x="4142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04866305-00D8-7B7D-3FAE-7A9399777D81}"/>
                    </a:ext>
                  </a:extLst>
                </p:cNvPr>
                <p:cNvSpPr/>
                <p:nvPr/>
              </p:nvSpPr>
              <p:spPr>
                <a:xfrm>
                  <a:off x="11227339" y="4157189"/>
                  <a:ext cx="4502" cy="44662"/>
                </a:xfrm>
                <a:custGeom>
                  <a:avLst/>
                  <a:gdLst>
                    <a:gd name="connsiteX0" fmla="*/ 4502 w 4502"/>
                    <a:gd name="connsiteY0" fmla="*/ 0 h 44662"/>
                    <a:gd name="connsiteX1" fmla="*/ 0 w 450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02" h="44662">
                      <a:moveTo>
                        <a:pt x="4502" y="0"/>
                      </a:moveTo>
                      <a:cubicBezTo>
                        <a:pt x="4502" y="22332"/>
                        <a:pt x="0" y="22332"/>
                        <a:pt x="0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E919F36E-526E-D140-1721-B0EAD19A2DCF}"/>
                    </a:ext>
                  </a:extLst>
                </p:cNvPr>
                <p:cNvSpPr/>
                <p:nvPr/>
              </p:nvSpPr>
              <p:spPr>
                <a:xfrm>
                  <a:off x="11186638" y="4196450"/>
                  <a:ext cx="138850" cy="68795"/>
                </a:xfrm>
                <a:custGeom>
                  <a:avLst/>
                  <a:gdLst>
                    <a:gd name="connsiteX0" fmla="*/ 138851 w 138850"/>
                    <a:gd name="connsiteY0" fmla="*/ 0 h 68795"/>
                    <a:gd name="connsiteX1" fmla="*/ 113638 w 138850"/>
                    <a:gd name="connsiteY1" fmla="*/ 44843 h 68795"/>
                    <a:gd name="connsiteX2" fmla="*/ 68795 w 138850"/>
                    <a:gd name="connsiteY2" fmla="*/ 68795 h 68795"/>
                    <a:gd name="connsiteX3" fmla="*/ 23232 w 138850"/>
                    <a:gd name="connsiteY3" fmla="*/ 45743 h 68795"/>
                    <a:gd name="connsiteX4" fmla="*/ 0 w 138850"/>
                    <a:gd name="connsiteY4" fmla="*/ 180 h 68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850" h="68795">
                      <a:moveTo>
                        <a:pt x="138851" y="0"/>
                      </a:moveTo>
                      <a:cubicBezTo>
                        <a:pt x="138851" y="18369"/>
                        <a:pt x="125705" y="32777"/>
                        <a:pt x="113638" y="44843"/>
                      </a:cubicBezTo>
                      <a:cubicBezTo>
                        <a:pt x="101752" y="56729"/>
                        <a:pt x="87165" y="68795"/>
                        <a:pt x="68795" y="68795"/>
                      </a:cubicBezTo>
                      <a:cubicBezTo>
                        <a:pt x="50426" y="68795"/>
                        <a:pt x="35118" y="57809"/>
                        <a:pt x="23232" y="45743"/>
                      </a:cubicBezTo>
                      <a:cubicBezTo>
                        <a:pt x="11346" y="33677"/>
                        <a:pt x="0" y="18369"/>
                        <a:pt x="0" y="180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449FDBF9-09DC-146A-8292-F700DFDB0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259035" y="5184360"/>
                <a:ext cx="4322" cy="458674"/>
              </a:xfrm>
              <a:custGeom>
                <a:avLst/>
                <a:gdLst>
                  <a:gd name="connsiteX0" fmla="*/ 1440 w 4322"/>
                  <a:gd name="connsiteY0" fmla="*/ 0 h 705601"/>
                  <a:gd name="connsiteX1" fmla="*/ 4322 w 4322"/>
                  <a:gd name="connsiteY1" fmla="*/ 88245 h 705601"/>
                  <a:gd name="connsiteX2" fmla="*/ 1800 w 4322"/>
                  <a:gd name="connsiteY2" fmla="*/ 176490 h 705601"/>
                  <a:gd name="connsiteX3" fmla="*/ 1800 w 4322"/>
                  <a:gd name="connsiteY3" fmla="*/ 264375 h 705601"/>
                  <a:gd name="connsiteX4" fmla="*/ 0 w 4322"/>
                  <a:gd name="connsiteY4" fmla="*/ 352621 h 705601"/>
                  <a:gd name="connsiteX5" fmla="*/ 3061 w 4322"/>
                  <a:gd name="connsiteY5" fmla="*/ 440866 h 705601"/>
                  <a:gd name="connsiteX6" fmla="*/ 4142 w 4322"/>
                  <a:gd name="connsiteY6" fmla="*/ 529111 h 705601"/>
                  <a:gd name="connsiteX7" fmla="*/ 4142 w 4322"/>
                  <a:gd name="connsiteY7" fmla="*/ 617356 h 705601"/>
                  <a:gd name="connsiteX8" fmla="*/ 3061 w 4322"/>
                  <a:gd name="connsiteY8" fmla="*/ 705601 h 70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22" h="705601">
                    <a:moveTo>
                      <a:pt x="1440" y="0"/>
                    </a:moveTo>
                    <a:cubicBezTo>
                      <a:pt x="1440" y="44123"/>
                      <a:pt x="4322" y="44123"/>
                      <a:pt x="4322" y="88245"/>
                    </a:cubicBezTo>
                    <a:cubicBezTo>
                      <a:pt x="4322" y="132368"/>
                      <a:pt x="1800" y="132368"/>
                      <a:pt x="1800" y="176490"/>
                    </a:cubicBezTo>
                    <a:cubicBezTo>
                      <a:pt x="1800" y="220613"/>
                      <a:pt x="1800" y="220613"/>
                      <a:pt x="1800" y="264375"/>
                    </a:cubicBezTo>
                    <a:cubicBezTo>
                      <a:pt x="1800" y="308138"/>
                      <a:pt x="0" y="308498"/>
                      <a:pt x="0" y="352621"/>
                    </a:cubicBezTo>
                    <a:cubicBezTo>
                      <a:pt x="0" y="396743"/>
                      <a:pt x="3061" y="396743"/>
                      <a:pt x="3061" y="440866"/>
                    </a:cubicBezTo>
                    <a:cubicBezTo>
                      <a:pt x="3061" y="484988"/>
                      <a:pt x="4142" y="484988"/>
                      <a:pt x="4142" y="529111"/>
                    </a:cubicBezTo>
                    <a:lnTo>
                      <a:pt x="4142" y="617356"/>
                    </a:lnTo>
                    <a:cubicBezTo>
                      <a:pt x="4142" y="661479"/>
                      <a:pt x="3061" y="661479"/>
                      <a:pt x="3061" y="70560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4AF29A5-1A30-013E-67AE-39175064E0DB}"/>
                </a:ext>
              </a:extLst>
            </p:cNvPr>
            <p:cNvSpPr/>
            <p:nvPr/>
          </p:nvSpPr>
          <p:spPr>
            <a:xfrm>
              <a:off x="10733060" y="6191821"/>
              <a:ext cx="1453536" cy="255983"/>
            </a:xfrm>
            <a:custGeom>
              <a:avLst/>
              <a:gdLst>
                <a:gd name="connsiteX0" fmla="*/ 188897 w 1236441"/>
                <a:gd name="connsiteY0" fmla="*/ 951 h 382071"/>
                <a:gd name="connsiteX1" fmla="*/ 251243 w 1236441"/>
                <a:gd name="connsiteY1" fmla="*/ 50285 h 382071"/>
                <a:gd name="connsiteX2" fmla="*/ 338144 w 1236441"/>
                <a:gd name="connsiteY2" fmla="*/ 94948 h 382071"/>
                <a:gd name="connsiteX3" fmla="*/ 426372 w 1236441"/>
                <a:gd name="connsiteY3" fmla="*/ 137269 h 382071"/>
                <a:gd name="connsiteX4" fmla="*/ 509293 w 1236441"/>
                <a:gd name="connsiteY4" fmla="*/ 186795 h 382071"/>
                <a:gd name="connsiteX5" fmla="*/ 602606 w 1236441"/>
                <a:gd name="connsiteY5" fmla="*/ 181932 h 382071"/>
                <a:gd name="connsiteX6" fmla="*/ 695697 w 1236441"/>
                <a:gd name="connsiteY6" fmla="*/ 190397 h 382071"/>
                <a:gd name="connsiteX7" fmla="*/ 788789 w 1236441"/>
                <a:gd name="connsiteY7" fmla="*/ 190397 h 382071"/>
                <a:gd name="connsiteX8" fmla="*/ 881882 w 1236441"/>
                <a:gd name="connsiteY8" fmla="*/ 182293 h 382071"/>
                <a:gd name="connsiteX9" fmla="*/ 974974 w 1236441"/>
                <a:gd name="connsiteY9" fmla="*/ 188416 h 382071"/>
                <a:gd name="connsiteX10" fmla="*/ 1067623 w 1236441"/>
                <a:gd name="connsiteY10" fmla="*/ 180852 h 382071"/>
                <a:gd name="connsiteX11" fmla="*/ 1160716 w 1236441"/>
                <a:gd name="connsiteY11" fmla="*/ 188055 h 382071"/>
                <a:gd name="connsiteX12" fmla="*/ 1236441 w 1236441"/>
                <a:gd name="connsiteY12" fmla="*/ 188055 h 382071"/>
                <a:gd name="connsiteX13" fmla="*/ 1236441 w 1236441"/>
                <a:gd name="connsiteY13" fmla="*/ 329149 h 382071"/>
                <a:gd name="connsiteX14" fmla="*/ 21832 w 1236441"/>
                <a:gd name="connsiteY14" fmla="*/ 382071 h 382071"/>
                <a:gd name="connsiteX15" fmla="*/ 70367 w 1236441"/>
                <a:gd name="connsiteY15" fmla="*/ 211648 h 382071"/>
                <a:gd name="connsiteX16" fmla="*/ 159478 w 1236441"/>
                <a:gd name="connsiteY16" fmla="*/ 212728 h 382071"/>
                <a:gd name="connsiteX17" fmla="*/ 113485 w 1236441"/>
                <a:gd name="connsiteY17" fmla="*/ 173828 h 382071"/>
                <a:gd name="connsiteX18" fmla="*/ 56878 w 1236441"/>
                <a:gd name="connsiteY18" fmla="*/ 136729 h 382071"/>
                <a:gd name="connsiteX19" fmla="*/ 138914 w 1236441"/>
                <a:gd name="connsiteY19" fmla="*/ 154198 h 382071"/>
                <a:gd name="connsiteX20" fmla="*/ 218960 w 1236441"/>
                <a:gd name="connsiteY20" fmla="*/ 175089 h 382071"/>
                <a:gd name="connsiteX21" fmla="*/ 298343 w 1236441"/>
                <a:gd name="connsiteY21" fmla="*/ 184274 h 382071"/>
                <a:gd name="connsiteX22" fmla="*/ 260531 w 1236441"/>
                <a:gd name="connsiteY22" fmla="*/ 123943 h 382071"/>
                <a:gd name="connsiteX23" fmla="*/ 213873 w 1236441"/>
                <a:gd name="connsiteY23" fmla="*/ 64512 h 382071"/>
                <a:gd name="connsiteX24" fmla="*/ 161246 w 1236441"/>
                <a:gd name="connsiteY24" fmla="*/ 4001 h 382071"/>
                <a:gd name="connsiteX25" fmla="*/ 188897 w 1236441"/>
                <a:gd name="connsiteY25" fmla="*/ 951 h 382071"/>
                <a:gd name="connsiteX0" fmla="*/ 21832 w 1236441"/>
                <a:gd name="connsiteY0" fmla="*/ 382071 h 473511"/>
                <a:gd name="connsiteX1" fmla="*/ 70367 w 1236441"/>
                <a:gd name="connsiteY1" fmla="*/ 211648 h 473511"/>
                <a:gd name="connsiteX2" fmla="*/ 159478 w 1236441"/>
                <a:gd name="connsiteY2" fmla="*/ 212728 h 473511"/>
                <a:gd name="connsiteX3" fmla="*/ 113485 w 1236441"/>
                <a:gd name="connsiteY3" fmla="*/ 173828 h 473511"/>
                <a:gd name="connsiteX4" fmla="*/ 56878 w 1236441"/>
                <a:gd name="connsiteY4" fmla="*/ 136729 h 473511"/>
                <a:gd name="connsiteX5" fmla="*/ 138914 w 1236441"/>
                <a:gd name="connsiteY5" fmla="*/ 154198 h 473511"/>
                <a:gd name="connsiteX6" fmla="*/ 218960 w 1236441"/>
                <a:gd name="connsiteY6" fmla="*/ 175089 h 473511"/>
                <a:gd name="connsiteX7" fmla="*/ 298343 w 1236441"/>
                <a:gd name="connsiteY7" fmla="*/ 184274 h 473511"/>
                <a:gd name="connsiteX8" fmla="*/ 260531 w 1236441"/>
                <a:gd name="connsiteY8" fmla="*/ 123943 h 473511"/>
                <a:gd name="connsiteX9" fmla="*/ 213873 w 1236441"/>
                <a:gd name="connsiteY9" fmla="*/ 64512 h 473511"/>
                <a:gd name="connsiteX10" fmla="*/ 161246 w 1236441"/>
                <a:gd name="connsiteY10" fmla="*/ 4001 h 473511"/>
                <a:gd name="connsiteX11" fmla="*/ 188897 w 1236441"/>
                <a:gd name="connsiteY11" fmla="*/ 951 h 473511"/>
                <a:gd name="connsiteX12" fmla="*/ 251243 w 1236441"/>
                <a:gd name="connsiteY12" fmla="*/ 50285 h 473511"/>
                <a:gd name="connsiteX13" fmla="*/ 338144 w 1236441"/>
                <a:gd name="connsiteY13" fmla="*/ 94948 h 473511"/>
                <a:gd name="connsiteX14" fmla="*/ 426372 w 1236441"/>
                <a:gd name="connsiteY14" fmla="*/ 137269 h 473511"/>
                <a:gd name="connsiteX15" fmla="*/ 509293 w 1236441"/>
                <a:gd name="connsiteY15" fmla="*/ 186795 h 473511"/>
                <a:gd name="connsiteX16" fmla="*/ 602606 w 1236441"/>
                <a:gd name="connsiteY16" fmla="*/ 181932 h 473511"/>
                <a:gd name="connsiteX17" fmla="*/ 695697 w 1236441"/>
                <a:gd name="connsiteY17" fmla="*/ 190397 h 473511"/>
                <a:gd name="connsiteX18" fmla="*/ 788789 w 1236441"/>
                <a:gd name="connsiteY18" fmla="*/ 190397 h 473511"/>
                <a:gd name="connsiteX19" fmla="*/ 881882 w 1236441"/>
                <a:gd name="connsiteY19" fmla="*/ 182293 h 473511"/>
                <a:gd name="connsiteX20" fmla="*/ 974974 w 1236441"/>
                <a:gd name="connsiteY20" fmla="*/ 188416 h 473511"/>
                <a:gd name="connsiteX21" fmla="*/ 1067623 w 1236441"/>
                <a:gd name="connsiteY21" fmla="*/ 180852 h 473511"/>
                <a:gd name="connsiteX22" fmla="*/ 1160716 w 1236441"/>
                <a:gd name="connsiteY22" fmla="*/ 188055 h 473511"/>
                <a:gd name="connsiteX23" fmla="*/ 1236441 w 1236441"/>
                <a:gd name="connsiteY23" fmla="*/ 188055 h 473511"/>
                <a:gd name="connsiteX24" fmla="*/ 1236441 w 1236441"/>
                <a:gd name="connsiteY24" fmla="*/ 329149 h 473511"/>
                <a:gd name="connsiteX25" fmla="*/ 113272 w 1236441"/>
                <a:gd name="connsiteY25" fmla="*/ 473511 h 473511"/>
                <a:gd name="connsiteX0" fmla="*/ 21832 w 1236441"/>
                <a:gd name="connsiteY0" fmla="*/ 382071 h 382071"/>
                <a:gd name="connsiteX1" fmla="*/ 70367 w 1236441"/>
                <a:gd name="connsiteY1" fmla="*/ 211648 h 382071"/>
                <a:gd name="connsiteX2" fmla="*/ 159478 w 1236441"/>
                <a:gd name="connsiteY2" fmla="*/ 212728 h 382071"/>
                <a:gd name="connsiteX3" fmla="*/ 113485 w 1236441"/>
                <a:gd name="connsiteY3" fmla="*/ 173828 h 382071"/>
                <a:gd name="connsiteX4" fmla="*/ 56878 w 1236441"/>
                <a:gd name="connsiteY4" fmla="*/ 136729 h 382071"/>
                <a:gd name="connsiteX5" fmla="*/ 138914 w 1236441"/>
                <a:gd name="connsiteY5" fmla="*/ 154198 h 382071"/>
                <a:gd name="connsiteX6" fmla="*/ 218960 w 1236441"/>
                <a:gd name="connsiteY6" fmla="*/ 175089 h 382071"/>
                <a:gd name="connsiteX7" fmla="*/ 298343 w 1236441"/>
                <a:gd name="connsiteY7" fmla="*/ 184274 h 382071"/>
                <a:gd name="connsiteX8" fmla="*/ 260531 w 1236441"/>
                <a:gd name="connsiteY8" fmla="*/ 123943 h 382071"/>
                <a:gd name="connsiteX9" fmla="*/ 213873 w 1236441"/>
                <a:gd name="connsiteY9" fmla="*/ 64512 h 382071"/>
                <a:gd name="connsiteX10" fmla="*/ 161246 w 1236441"/>
                <a:gd name="connsiteY10" fmla="*/ 4001 h 382071"/>
                <a:gd name="connsiteX11" fmla="*/ 188897 w 1236441"/>
                <a:gd name="connsiteY11" fmla="*/ 951 h 382071"/>
                <a:gd name="connsiteX12" fmla="*/ 251243 w 1236441"/>
                <a:gd name="connsiteY12" fmla="*/ 50285 h 382071"/>
                <a:gd name="connsiteX13" fmla="*/ 338144 w 1236441"/>
                <a:gd name="connsiteY13" fmla="*/ 94948 h 382071"/>
                <a:gd name="connsiteX14" fmla="*/ 426372 w 1236441"/>
                <a:gd name="connsiteY14" fmla="*/ 137269 h 382071"/>
                <a:gd name="connsiteX15" fmla="*/ 509293 w 1236441"/>
                <a:gd name="connsiteY15" fmla="*/ 186795 h 382071"/>
                <a:gd name="connsiteX16" fmla="*/ 602606 w 1236441"/>
                <a:gd name="connsiteY16" fmla="*/ 181932 h 382071"/>
                <a:gd name="connsiteX17" fmla="*/ 695697 w 1236441"/>
                <a:gd name="connsiteY17" fmla="*/ 190397 h 382071"/>
                <a:gd name="connsiteX18" fmla="*/ 788789 w 1236441"/>
                <a:gd name="connsiteY18" fmla="*/ 190397 h 382071"/>
                <a:gd name="connsiteX19" fmla="*/ 881882 w 1236441"/>
                <a:gd name="connsiteY19" fmla="*/ 182293 h 382071"/>
                <a:gd name="connsiteX20" fmla="*/ 974974 w 1236441"/>
                <a:gd name="connsiteY20" fmla="*/ 188416 h 382071"/>
                <a:gd name="connsiteX21" fmla="*/ 1067623 w 1236441"/>
                <a:gd name="connsiteY21" fmla="*/ 180852 h 382071"/>
                <a:gd name="connsiteX22" fmla="*/ 1160716 w 1236441"/>
                <a:gd name="connsiteY22" fmla="*/ 188055 h 382071"/>
                <a:gd name="connsiteX23" fmla="*/ 1236441 w 1236441"/>
                <a:gd name="connsiteY23" fmla="*/ 188055 h 382071"/>
                <a:gd name="connsiteX24" fmla="*/ 1236441 w 1236441"/>
                <a:gd name="connsiteY24" fmla="*/ 329149 h 382071"/>
                <a:gd name="connsiteX0" fmla="*/ 19996 w 1186070"/>
                <a:gd name="connsiteY0" fmla="*/ 211648 h 329149"/>
                <a:gd name="connsiteX1" fmla="*/ 109107 w 1186070"/>
                <a:gd name="connsiteY1" fmla="*/ 212728 h 329149"/>
                <a:gd name="connsiteX2" fmla="*/ 63114 w 1186070"/>
                <a:gd name="connsiteY2" fmla="*/ 173828 h 329149"/>
                <a:gd name="connsiteX3" fmla="*/ 6507 w 1186070"/>
                <a:gd name="connsiteY3" fmla="*/ 136729 h 329149"/>
                <a:gd name="connsiteX4" fmla="*/ 88543 w 1186070"/>
                <a:gd name="connsiteY4" fmla="*/ 154198 h 329149"/>
                <a:gd name="connsiteX5" fmla="*/ 168589 w 1186070"/>
                <a:gd name="connsiteY5" fmla="*/ 175089 h 329149"/>
                <a:gd name="connsiteX6" fmla="*/ 247972 w 1186070"/>
                <a:gd name="connsiteY6" fmla="*/ 184274 h 329149"/>
                <a:gd name="connsiteX7" fmla="*/ 210160 w 1186070"/>
                <a:gd name="connsiteY7" fmla="*/ 123943 h 329149"/>
                <a:gd name="connsiteX8" fmla="*/ 163502 w 1186070"/>
                <a:gd name="connsiteY8" fmla="*/ 64512 h 329149"/>
                <a:gd name="connsiteX9" fmla="*/ 110875 w 1186070"/>
                <a:gd name="connsiteY9" fmla="*/ 4001 h 329149"/>
                <a:gd name="connsiteX10" fmla="*/ 138526 w 1186070"/>
                <a:gd name="connsiteY10" fmla="*/ 951 h 329149"/>
                <a:gd name="connsiteX11" fmla="*/ 200872 w 1186070"/>
                <a:gd name="connsiteY11" fmla="*/ 50285 h 329149"/>
                <a:gd name="connsiteX12" fmla="*/ 287773 w 1186070"/>
                <a:gd name="connsiteY12" fmla="*/ 94948 h 329149"/>
                <a:gd name="connsiteX13" fmla="*/ 376001 w 1186070"/>
                <a:gd name="connsiteY13" fmla="*/ 137269 h 329149"/>
                <a:gd name="connsiteX14" fmla="*/ 458922 w 1186070"/>
                <a:gd name="connsiteY14" fmla="*/ 186795 h 329149"/>
                <a:gd name="connsiteX15" fmla="*/ 552235 w 1186070"/>
                <a:gd name="connsiteY15" fmla="*/ 181932 h 329149"/>
                <a:gd name="connsiteX16" fmla="*/ 645326 w 1186070"/>
                <a:gd name="connsiteY16" fmla="*/ 190397 h 329149"/>
                <a:gd name="connsiteX17" fmla="*/ 738418 w 1186070"/>
                <a:gd name="connsiteY17" fmla="*/ 190397 h 329149"/>
                <a:gd name="connsiteX18" fmla="*/ 831511 w 1186070"/>
                <a:gd name="connsiteY18" fmla="*/ 182293 h 329149"/>
                <a:gd name="connsiteX19" fmla="*/ 924603 w 1186070"/>
                <a:gd name="connsiteY19" fmla="*/ 188416 h 329149"/>
                <a:gd name="connsiteX20" fmla="*/ 1017252 w 1186070"/>
                <a:gd name="connsiteY20" fmla="*/ 180852 h 329149"/>
                <a:gd name="connsiteX21" fmla="*/ 1110345 w 1186070"/>
                <a:gd name="connsiteY21" fmla="*/ 188055 h 329149"/>
                <a:gd name="connsiteX22" fmla="*/ 1186070 w 1186070"/>
                <a:gd name="connsiteY22" fmla="*/ 188055 h 329149"/>
                <a:gd name="connsiteX23" fmla="*/ 1186070 w 1186070"/>
                <a:gd name="connsiteY23" fmla="*/ 329149 h 329149"/>
                <a:gd name="connsiteX0" fmla="*/ 19996 w 1186070"/>
                <a:gd name="connsiteY0" fmla="*/ 211648 h 221055"/>
                <a:gd name="connsiteX1" fmla="*/ 109107 w 1186070"/>
                <a:gd name="connsiteY1" fmla="*/ 212728 h 221055"/>
                <a:gd name="connsiteX2" fmla="*/ 63114 w 1186070"/>
                <a:gd name="connsiteY2" fmla="*/ 173828 h 221055"/>
                <a:gd name="connsiteX3" fmla="*/ 6507 w 1186070"/>
                <a:gd name="connsiteY3" fmla="*/ 136729 h 221055"/>
                <a:gd name="connsiteX4" fmla="*/ 88543 w 1186070"/>
                <a:gd name="connsiteY4" fmla="*/ 154198 h 221055"/>
                <a:gd name="connsiteX5" fmla="*/ 168589 w 1186070"/>
                <a:gd name="connsiteY5" fmla="*/ 175089 h 221055"/>
                <a:gd name="connsiteX6" fmla="*/ 247972 w 1186070"/>
                <a:gd name="connsiteY6" fmla="*/ 184274 h 221055"/>
                <a:gd name="connsiteX7" fmla="*/ 210160 w 1186070"/>
                <a:gd name="connsiteY7" fmla="*/ 123943 h 221055"/>
                <a:gd name="connsiteX8" fmla="*/ 163502 w 1186070"/>
                <a:gd name="connsiteY8" fmla="*/ 64512 h 221055"/>
                <a:gd name="connsiteX9" fmla="*/ 110875 w 1186070"/>
                <a:gd name="connsiteY9" fmla="*/ 4001 h 221055"/>
                <a:gd name="connsiteX10" fmla="*/ 138526 w 1186070"/>
                <a:gd name="connsiteY10" fmla="*/ 951 h 221055"/>
                <a:gd name="connsiteX11" fmla="*/ 200872 w 1186070"/>
                <a:gd name="connsiteY11" fmla="*/ 50285 h 221055"/>
                <a:gd name="connsiteX12" fmla="*/ 287773 w 1186070"/>
                <a:gd name="connsiteY12" fmla="*/ 94948 h 221055"/>
                <a:gd name="connsiteX13" fmla="*/ 376001 w 1186070"/>
                <a:gd name="connsiteY13" fmla="*/ 137269 h 221055"/>
                <a:gd name="connsiteX14" fmla="*/ 458922 w 1186070"/>
                <a:gd name="connsiteY14" fmla="*/ 186795 h 221055"/>
                <a:gd name="connsiteX15" fmla="*/ 552235 w 1186070"/>
                <a:gd name="connsiteY15" fmla="*/ 181932 h 221055"/>
                <a:gd name="connsiteX16" fmla="*/ 645326 w 1186070"/>
                <a:gd name="connsiteY16" fmla="*/ 190397 h 221055"/>
                <a:gd name="connsiteX17" fmla="*/ 738418 w 1186070"/>
                <a:gd name="connsiteY17" fmla="*/ 190397 h 221055"/>
                <a:gd name="connsiteX18" fmla="*/ 831511 w 1186070"/>
                <a:gd name="connsiteY18" fmla="*/ 182293 h 221055"/>
                <a:gd name="connsiteX19" fmla="*/ 924603 w 1186070"/>
                <a:gd name="connsiteY19" fmla="*/ 188416 h 221055"/>
                <a:gd name="connsiteX20" fmla="*/ 1017252 w 1186070"/>
                <a:gd name="connsiteY20" fmla="*/ 180852 h 221055"/>
                <a:gd name="connsiteX21" fmla="*/ 1110345 w 1186070"/>
                <a:gd name="connsiteY21" fmla="*/ 188055 h 221055"/>
                <a:gd name="connsiteX22" fmla="*/ 1186070 w 1186070"/>
                <a:gd name="connsiteY22" fmla="*/ 188055 h 22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070" h="221055">
                  <a:moveTo>
                    <a:pt x="19996" y="211648"/>
                  </a:moveTo>
                  <a:cubicBezTo>
                    <a:pt x="42936" y="183424"/>
                    <a:pt x="79034" y="241723"/>
                    <a:pt x="109107" y="212728"/>
                  </a:cubicBezTo>
                  <a:cubicBezTo>
                    <a:pt x="132103" y="190397"/>
                    <a:pt x="89649" y="193458"/>
                    <a:pt x="63114" y="173828"/>
                  </a:cubicBezTo>
                  <a:cubicBezTo>
                    <a:pt x="36579" y="154198"/>
                    <a:pt x="-18923" y="156899"/>
                    <a:pt x="6507" y="136729"/>
                  </a:cubicBezTo>
                  <a:cubicBezTo>
                    <a:pt x="36579" y="112957"/>
                    <a:pt x="47856" y="145914"/>
                    <a:pt x="88543" y="154198"/>
                  </a:cubicBezTo>
                  <a:cubicBezTo>
                    <a:pt x="129229" y="162482"/>
                    <a:pt x="127903" y="166985"/>
                    <a:pt x="168589" y="175089"/>
                  </a:cubicBezTo>
                  <a:cubicBezTo>
                    <a:pt x="209276" y="183193"/>
                    <a:pt x="224312" y="213809"/>
                    <a:pt x="247972" y="184274"/>
                  </a:cubicBezTo>
                  <a:cubicBezTo>
                    <a:pt x="271853" y="154738"/>
                    <a:pt x="233378" y="153658"/>
                    <a:pt x="210160" y="123943"/>
                  </a:cubicBezTo>
                  <a:cubicBezTo>
                    <a:pt x="186942" y="94227"/>
                    <a:pt x="186500" y="94227"/>
                    <a:pt x="163502" y="64512"/>
                  </a:cubicBezTo>
                  <a:cubicBezTo>
                    <a:pt x="140506" y="34797"/>
                    <a:pt x="71516" y="18409"/>
                    <a:pt x="110875" y="4001"/>
                  </a:cubicBezTo>
                  <a:cubicBezTo>
                    <a:pt x="122540" y="-231"/>
                    <a:pt x="131288" y="-850"/>
                    <a:pt x="138526" y="951"/>
                  </a:cubicBezTo>
                  <a:cubicBezTo>
                    <a:pt x="160242" y="6354"/>
                    <a:pt x="168368" y="33536"/>
                    <a:pt x="200872" y="50285"/>
                  </a:cubicBezTo>
                  <a:lnTo>
                    <a:pt x="287773" y="94948"/>
                  </a:lnTo>
                  <a:cubicBezTo>
                    <a:pt x="331113" y="117279"/>
                    <a:pt x="332661" y="114938"/>
                    <a:pt x="376001" y="137269"/>
                  </a:cubicBezTo>
                  <a:cubicBezTo>
                    <a:pt x="419340" y="159601"/>
                    <a:pt x="410053" y="174548"/>
                    <a:pt x="458922" y="186795"/>
                  </a:cubicBezTo>
                  <a:cubicBezTo>
                    <a:pt x="503366" y="197780"/>
                    <a:pt x="505799" y="181932"/>
                    <a:pt x="552235" y="181932"/>
                  </a:cubicBezTo>
                  <a:cubicBezTo>
                    <a:pt x="598670" y="181932"/>
                    <a:pt x="598670" y="190397"/>
                    <a:pt x="645326" y="190397"/>
                  </a:cubicBezTo>
                  <a:lnTo>
                    <a:pt x="738418" y="190397"/>
                  </a:lnTo>
                  <a:cubicBezTo>
                    <a:pt x="785076" y="190397"/>
                    <a:pt x="784855" y="182293"/>
                    <a:pt x="831511" y="182293"/>
                  </a:cubicBezTo>
                  <a:cubicBezTo>
                    <a:pt x="878168" y="182293"/>
                    <a:pt x="878389" y="188416"/>
                    <a:pt x="924603" y="188416"/>
                  </a:cubicBezTo>
                  <a:cubicBezTo>
                    <a:pt x="970817" y="188416"/>
                    <a:pt x="970596" y="180852"/>
                    <a:pt x="1017252" y="180852"/>
                  </a:cubicBezTo>
                  <a:cubicBezTo>
                    <a:pt x="1063910" y="180852"/>
                    <a:pt x="1063689" y="188055"/>
                    <a:pt x="1110345" y="188055"/>
                  </a:cubicBezTo>
                  <a:lnTo>
                    <a:pt x="1186070" y="188055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725243D-79B5-9EF5-A062-7FB132721EE6}"/>
                </a:ext>
              </a:extLst>
            </p:cNvPr>
            <p:cNvSpPr/>
            <p:nvPr/>
          </p:nvSpPr>
          <p:spPr>
            <a:xfrm>
              <a:off x="4254445" y="6219246"/>
              <a:ext cx="6446396" cy="260945"/>
            </a:xfrm>
            <a:custGeom>
              <a:avLst/>
              <a:gdLst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0 w 5633519"/>
                <a:gd name="connsiteY50" fmla="*/ 284663 h 284663"/>
                <a:gd name="connsiteX51" fmla="*/ 5088 w 5633519"/>
                <a:gd name="connsiteY51" fmla="*/ 282101 h 284663"/>
                <a:gd name="connsiteX52" fmla="*/ 53499 w 5633519"/>
                <a:gd name="connsiteY52" fmla="*/ 215429 h 284663"/>
                <a:gd name="connsiteX53" fmla="*/ 146812 w 5633519"/>
                <a:gd name="connsiteY53" fmla="*/ 213989 h 284663"/>
                <a:gd name="connsiteX54" fmla="*/ 239905 w 5633519"/>
                <a:gd name="connsiteY54" fmla="*/ 215069 h 284663"/>
                <a:gd name="connsiteX55" fmla="*/ 332996 w 5633519"/>
                <a:gd name="connsiteY55" fmla="*/ 214169 h 284663"/>
                <a:gd name="connsiteX56" fmla="*/ 426088 w 5633519"/>
                <a:gd name="connsiteY56" fmla="*/ 220112 h 284663"/>
                <a:gd name="connsiteX57" fmla="*/ 519180 w 5633519"/>
                <a:gd name="connsiteY57" fmla="*/ 217050 h 284663"/>
                <a:gd name="connsiteX58" fmla="*/ 612273 w 5633519"/>
                <a:gd name="connsiteY58" fmla="*/ 218671 h 284663"/>
                <a:gd name="connsiteX59" fmla="*/ 705365 w 5633519"/>
                <a:gd name="connsiteY59" fmla="*/ 214529 h 284663"/>
                <a:gd name="connsiteX60" fmla="*/ 798457 w 5633519"/>
                <a:gd name="connsiteY60" fmla="*/ 213989 h 284663"/>
                <a:gd name="connsiteX61" fmla="*/ 891548 w 5633519"/>
                <a:gd name="connsiteY61" fmla="*/ 217590 h 284663"/>
                <a:gd name="connsiteX62" fmla="*/ 984641 w 5633519"/>
                <a:gd name="connsiteY62" fmla="*/ 218491 h 284663"/>
                <a:gd name="connsiteX63" fmla="*/ 1077733 w 5633519"/>
                <a:gd name="connsiteY63" fmla="*/ 221012 h 284663"/>
                <a:gd name="connsiteX64" fmla="*/ 1170825 w 5633519"/>
                <a:gd name="connsiteY64" fmla="*/ 213629 h 284663"/>
                <a:gd name="connsiteX65" fmla="*/ 1263476 w 5633519"/>
                <a:gd name="connsiteY65" fmla="*/ 211648 h 284663"/>
                <a:gd name="connsiteX66" fmla="*/ 1352587 w 5633519"/>
                <a:gd name="connsiteY66" fmla="*/ 212728 h 284663"/>
                <a:gd name="connsiteX67" fmla="*/ 1306594 w 5633519"/>
                <a:gd name="connsiteY67" fmla="*/ 173828 h 284663"/>
                <a:gd name="connsiteX68" fmla="*/ 1249987 w 5633519"/>
                <a:gd name="connsiteY68" fmla="*/ 136729 h 284663"/>
                <a:gd name="connsiteX69" fmla="*/ 1332023 w 5633519"/>
                <a:gd name="connsiteY69" fmla="*/ 154198 h 284663"/>
                <a:gd name="connsiteX70" fmla="*/ 1412069 w 5633519"/>
                <a:gd name="connsiteY70" fmla="*/ 175089 h 284663"/>
                <a:gd name="connsiteX71" fmla="*/ 1491452 w 5633519"/>
                <a:gd name="connsiteY71" fmla="*/ 184274 h 284663"/>
                <a:gd name="connsiteX72" fmla="*/ 1453640 w 5633519"/>
                <a:gd name="connsiteY72" fmla="*/ 123943 h 284663"/>
                <a:gd name="connsiteX73" fmla="*/ 1406982 w 5633519"/>
                <a:gd name="connsiteY73" fmla="*/ 64512 h 284663"/>
                <a:gd name="connsiteX74" fmla="*/ 1354355 w 5633519"/>
                <a:gd name="connsiteY74" fmla="*/ 4001 h 284663"/>
                <a:gd name="connsiteX75" fmla="*/ 1382006 w 5633519"/>
                <a:gd name="connsiteY75" fmla="*/ 951 h 284663"/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2235618 w 5633519"/>
                <a:gd name="connsiteY50" fmla="*/ 277048 h 284663"/>
                <a:gd name="connsiteX51" fmla="*/ 0 w 5633519"/>
                <a:gd name="connsiteY51" fmla="*/ 284663 h 284663"/>
                <a:gd name="connsiteX52" fmla="*/ 5088 w 5633519"/>
                <a:gd name="connsiteY52" fmla="*/ 282101 h 284663"/>
                <a:gd name="connsiteX53" fmla="*/ 53499 w 5633519"/>
                <a:gd name="connsiteY53" fmla="*/ 215429 h 284663"/>
                <a:gd name="connsiteX54" fmla="*/ 146812 w 5633519"/>
                <a:gd name="connsiteY54" fmla="*/ 213989 h 284663"/>
                <a:gd name="connsiteX55" fmla="*/ 239905 w 5633519"/>
                <a:gd name="connsiteY55" fmla="*/ 215069 h 284663"/>
                <a:gd name="connsiteX56" fmla="*/ 332996 w 5633519"/>
                <a:gd name="connsiteY56" fmla="*/ 214169 h 284663"/>
                <a:gd name="connsiteX57" fmla="*/ 426088 w 5633519"/>
                <a:gd name="connsiteY57" fmla="*/ 220112 h 284663"/>
                <a:gd name="connsiteX58" fmla="*/ 519180 w 5633519"/>
                <a:gd name="connsiteY58" fmla="*/ 217050 h 284663"/>
                <a:gd name="connsiteX59" fmla="*/ 612273 w 5633519"/>
                <a:gd name="connsiteY59" fmla="*/ 218671 h 284663"/>
                <a:gd name="connsiteX60" fmla="*/ 705365 w 5633519"/>
                <a:gd name="connsiteY60" fmla="*/ 214529 h 284663"/>
                <a:gd name="connsiteX61" fmla="*/ 798457 w 5633519"/>
                <a:gd name="connsiteY61" fmla="*/ 213989 h 284663"/>
                <a:gd name="connsiteX62" fmla="*/ 891548 w 5633519"/>
                <a:gd name="connsiteY62" fmla="*/ 217590 h 284663"/>
                <a:gd name="connsiteX63" fmla="*/ 984641 w 5633519"/>
                <a:gd name="connsiteY63" fmla="*/ 218491 h 284663"/>
                <a:gd name="connsiteX64" fmla="*/ 1077733 w 5633519"/>
                <a:gd name="connsiteY64" fmla="*/ 221012 h 284663"/>
                <a:gd name="connsiteX65" fmla="*/ 1170825 w 5633519"/>
                <a:gd name="connsiteY65" fmla="*/ 213629 h 284663"/>
                <a:gd name="connsiteX66" fmla="*/ 1263476 w 5633519"/>
                <a:gd name="connsiteY66" fmla="*/ 211648 h 284663"/>
                <a:gd name="connsiteX67" fmla="*/ 1352587 w 5633519"/>
                <a:gd name="connsiteY67" fmla="*/ 212728 h 284663"/>
                <a:gd name="connsiteX68" fmla="*/ 1306594 w 5633519"/>
                <a:gd name="connsiteY68" fmla="*/ 173828 h 284663"/>
                <a:gd name="connsiteX69" fmla="*/ 1249987 w 5633519"/>
                <a:gd name="connsiteY69" fmla="*/ 136729 h 284663"/>
                <a:gd name="connsiteX70" fmla="*/ 1332023 w 5633519"/>
                <a:gd name="connsiteY70" fmla="*/ 154198 h 284663"/>
                <a:gd name="connsiteX71" fmla="*/ 1412069 w 5633519"/>
                <a:gd name="connsiteY71" fmla="*/ 175089 h 284663"/>
                <a:gd name="connsiteX72" fmla="*/ 1491452 w 5633519"/>
                <a:gd name="connsiteY72" fmla="*/ 184274 h 284663"/>
                <a:gd name="connsiteX73" fmla="*/ 1453640 w 5633519"/>
                <a:gd name="connsiteY73" fmla="*/ 123943 h 284663"/>
                <a:gd name="connsiteX74" fmla="*/ 1406982 w 5633519"/>
                <a:gd name="connsiteY74" fmla="*/ 64512 h 284663"/>
                <a:gd name="connsiteX75" fmla="*/ 1354355 w 5633519"/>
                <a:gd name="connsiteY75" fmla="*/ 4001 h 284663"/>
                <a:gd name="connsiteX76" fmla="*/ 1382006 w 5633519"/>
                <a:gd name="connsiteY76" fmla="*/ 951 h 284663"/>
                <a:gd name="connsiteX0" fmla="*/ 2235618 w 5633519"/>
                <a:gd name="connsiteY0" fmla="*/ 277048 h 368488"/>
                <a:gd name="connsiteX1" fmla="*/ 0 w 5633519"/>
                <a:gd name="connsiteY1" fmla="*/ 284663 h 368488"/>
                <a:gd name="connsiteX2" fmla="*/ 5088 w 5633519"/>
                <a:gd name="connsiteY2" fmla="*/ 282101 h 368488"/>
                <a:gd name="connsiteX3" fmla="*/ 53499 w 5633519"/>
                <a:gd name="connsiteY3" fmla="*/ 215429 h 368488"/>
                <a:gd name="connsiteX4" fmla="*/ 146812 w 5633519"/>
                <a:gd name="connsiteY4" fmla="*/ 213989 h 368488"/>
                <a:gd name="connsiteX5" fmla="*/ 239905 w 5633519"/>
                <a:gd name="connsiteY5" fmla="*/ 215069 h 368488"/>
                <a:gd name="connsiteX6" fmla="*/ 332996 w 5633519"/>
                <a:gd name="connsiteY6" fmla="*/ 214169 h 368488"/>
                <a:gd name="connsiteX7" fmla="*/ 426088 w 5633519"/>
                <a:gd name="connsiteY7" fmla="*/ 220112 h 368488"/>
                <a:gd name="connsiteX8" fmla="*/ 519180 w 5633519"/>
                <a:gd name="connsiteY8" fmla="*/ 217050 h 368488"/>
                <a:gd name="connsiteX9" fmla="*/ 612273 w 5633519"/>
                <a:gd name="connsiteY9" fmla="*/ 218671 h 368488"/>
                <a:gd name="connsiteX10" fmla="*/ 705365 w 5633519"/>
                <a:gd name="connsiteY10" fmla="*/ 214529 h 368488"/>
                <a:gd name="connsiteX11" fmla="*/ 798457 w 5633519"/>
                <a:gd name="connsiteY11" fmla="*/ 213989 h 368488"/>
                <a:gd name="connsiteX12" fmla="*/ 891548 w 5633519"/>
                <a:gd name="connsiteY12" fmla="*/ 217590 h 368488"/>
                <a:gd name="connsiteX13" fmla="*/ 984641 w 5633519"/>
                <a:gd name="connsiteY13" fmla="*/ 218491 h 368488"/>
                <a:gd name="connsiteX14" fmla="*/ 1077733 w 5633519"/>
                <a:gd name="connsiteY14" fmla="*/ 221012 h 368488"/>
                <a:gd name="connsiteX15" fmla="*/ 1170825 w 5633519"/>
                <a:gd name="connsiteY15" fmla="*/ 213629 h 368488"/>
                <a:gd name="connsiteX16" fmla="*/ 1263476 w 5633519"/>
                <a:gd name="connsiteY16" fmla="*/ 211648 h 368488"/>
                <a:gd name="connsiteX17" fmla="*/ 1352587 w 5633519"/>
                <a:gd name="connsiteY17" fmla="*/ 212728 h 368488"/>
                <a:gd name="connsiteX18" fmla="*/ 1306594 w 5633519"/>
                <a:gd name="connsiteY18" fmla="*/ 173828 h 368488"/>
                <a:gd name="connsiteX19" fmla="*/ 1249987 w 5633519"/>
                <a:gd name="connsiteY19" fmla="*/ 136729 h 368488"/>
                <a:gd name="connsiteX20" fmla="*/ 1332023 w 5633519"/>
                <a:gd name="connsiteY20" fmla="*/ 154198 h 368488"/>
                <a:gd name="connsiteX21" fmla="*/ 1412069 w 5633519"/>
                <a:gd name="connsiteY21" fmla="*/ 175089 h 368488"/>
                <a:gd name="connsiteX22" fmla="*/ 1491452 w 5633519"/>
                <a:gd name="connsiteY22" fmla="*/ 184274 h 368488"/>
                <a:gd name="connsiteX23" fmla="*/ 1453640 w 5633519"/>
                <a:gd name="connsiteY23" fmla="*/ 123943 h 368488"/>
                <a:gd name="connsiteX24" fmla="*/ 1406982 w 5633519"/>
                <a:gd name="connsiteY24" fmla="*/ 64512 h 368488"/>
                <a:gd name="connsiteX25" fmla="*/ 1354355 w 5633519"/>
                <a:gd name="connsiteY25" fmla="*/ 4001 h 368488"/>
                <a:gd name="connsiteX26" fmla="*/ 1382006 w 5633519"/>
                <a:gd name="connsiteY26" fmla="*/ 951 h 368488"/>
                <a:gd name="connsiteX27" fmla="*/ 1444352 w 5633519"/>
                <a:gd name="connsiteY27" fmla="*/ 50285 h 368488"/>
                <a:gd name="connsiteX28" fmla="*/ 1531253 w 5633519"/>
                <a:gd name="connsiteY28" fmla="*/ 94948 h 368488"/>
                <a:gd name="connsiteX29" fmla="*/ 1619481 w 5633519"/>
                <a:gd name="connsiteY29" fmla="*/ 137269 h 368488"/>
                <a:gd name="connsiteX30" fmla="*/ 1702402 w 5633519"/>
                <a:gd name="connsiteY30" fmla="*/ 186795 h 368488"/>
                <a:gd name="connsiteX31" fmla="*/ 1795715 w 5633519"/>
                <a:gd name="connsiteY31" fmla="*/ 181932 h 368488"/>
                <a:gd name="connsiteX32" fmla="*/ 1888806 w 5633519"/>
                <a:gd name="connsiteY32" fmla="*/ 190397 h 368488"/>
                <a:gd name="connsiteX33" fmla="*/ 1981898 w 5633519"/>
                <a:gd name="connsiteY33" fmla="*/ 190397 h 368488"/>
                <a:gd name="connsiteX34" fmla="*/ 2074991 w 5633519"/>
                <a:gd name="connsiteY34" fmla="*/ 182293 h 368488"/>
                <a:gd name="connsiteX35" fmla="*/ 2168083 w 5633519"/>
                <a:gd name="connsiteY35" fmla="*/ 188416 h 368488"/>
                <a:gd name="connsiteX36" fmla="*/ 2260732 w 5633519"/>
                <a:gd name="connsiteY36" fmla="*/ 180852 h 368488"/>
                <a:gd name="connsiteX37" fmla="*/ 2353824 w 5633519"/>
                <a:gd name="connsiteY37" fmla="*/ 188055 h 368488"/>
                <a:gd name="connsiteX38" fmla="*/ 2446917 w 5633519"/>
                <a:gd name="connsiteY38" fmla="*/ 188055 h 368488"/>
                <a:gd name="connsiteX39" fmla="*/ 2539567 w 5633519"/>
                <a:gd name="connsiteY39" fmla="*/ 185714 h 368488"/>
                <a:gd name="connsiteX40" fmla="*/ 2632217 w 5633519"/>
                <a:gd name="connsiteY40" fmla="*/ 182653 h 368488"/>
                <a:gd name="connsiteX41" fmla="*/ 2725308 w 5633519"/>
                <a:gd name="connsiteY41" fmla="*/ 183733 h 368488"/>
                <a:gd name="connsiteX42" fmla="*/ 2817959 w 5633519"/>
                <a:gd name="connsiteY42" fmla="*/ 188596 h 368488"/>
                <a:gd name="connsiteX43" fmla="*/ 2910609 w 5633519"/>
                <a:gd name="connsiteY43" fmla="*/ 188596 h 368488"/>
                <a:gd name="connsiteX44" fmla="*/ 3003258 w 5633519"/>
                <a:gd name="connsiteY44" fmla="*/ 188416 h 368488"/>
                <a:gd name="connsiteX45" fmla="*/ 3095908 w 5633519"/>
                <a:gd name="connsiteY45" fmla="*/ 185894 h 368488"/>
                <a:gd name="connsiteX46" fmla="*/ 3188559 w 5633519"/>
                <a:gd name="connsiteY46" fmla="*/ 186795 h 368488"/>
                <a:gd name="connsiteX47" fmla="*/ 3281207 w 5633519"/>
                <a:gd name="connsiteY47" fmla="*/ 181032 h 368488"/>
                <a:gd name="connsiteX48" fmla="*/ 3373858 w 5633519"/>
                <a:gd name="connsiteY48" fmla="*/ 183373 h 368488"/>
                <a:gd name="connsiteX49" fmla="*/ 3466507 w 5633519"/>
                <a:gd name="connsiteY49" fmla="*/ 187335 h 368488"/>
                <a:gd name="connsiteX50" fmla="*/ 3559157 w 5633519"/>
                <a:gd name="connsiteY50" fmla="*/ 191297 h 368488"/>
                <a:gd name="connsiteX51" fmla="*/ 3651807 w 5633519"/>
                <a:gd name="connsiteY51" fmla="*/ 181032 h 368488"/>
                <a:gd name="connsiteX52" fmla="*/ 3744457 w 5633519"/>
                <a:gd name="connsiteY52" fmla="*/ 181572 h 368488"/>
                <a:gd name="connsiteX53" fmla="*/ 3837107 w 5633519"/>
                <a:gd name="connsiteY53" fmla="*/ 186255 h 368488"/>
                <a:gd name="connsiteX54" fmla="*/ 3929757 w 5633519"/>
                <a:gd name="connsiteY54" fmla="*/ 190937 h 368488"/>
                <a:gd name="connsiteX55" fmla="*/ 4022406 w 5633519"/>
                <a:gd name="connsiteY55" fmla="*/ 191477 h 368488"/>
                <a:gd name="connsiteX56" fmla="*/ 4115057 w 5633519"/>
                <a:gd name="connsiteY56" fmla="*/ 186615 h 368488"/>
                <a:gd name="connsiteX57" fmla="*/ 4207707 w 5633519"/>
                <a:gd name="connsiteY57" fmla="*/ 184274 h 368488"/>
                <a:gd name="connsiteX58" fmla="*/ 4300356 w 5633519"/>
                <a:gd name="connsiteY58" fmla="*/ 192017 h 368488"/>
                <a:gd name="connsiteX59" fmla="*/ 4393007 w 5633519"/>
                <a:gd name="connsiteY59" fmla="*/ 183193 h 368488"/>
                <a:gd name="connsiteX60" fmla="*/ 4485657 w 5633519"/>
                <a:gd name="connsiteY60" fmla="*/ 184093 h 368488"/>
                <a:gd name="connsiteX61" fmla="*/ 4578305 w 5633519"/>
                <a:gd name="connsiteY61" fmla="*/ 187335 h 368488"/>
                <a:gd name="connsiteX62" fmla="*/ 4670956 w 5633519"/>
                <a:gd name="connsiteY62" fmla="*/ 190036 h 368488"/>
                <a:gd name="connsiteX63" fmla="*/ 4763605 w 5633519"/>
                <a:gd name="connsiteY63" fmla="*/ 186435 h 368488"/>
                <a:gd name="connsiteX64" fmla="*/ 4856255 w 5633519"/>
                <a:gd name="connsiteY64" fmla="*/ 192378 h 368488"/>
                <a:gd name="connsiteX65" fmla="*/ 4948905 w 5633519"/>
                <a:gd name="connsiteY65" fmla="*/ 191657 h 368488"/>
                <a:gd name="connsiteX66" fmla="*/ 5041556 w 5633519"/>
                <a:gd name="connsiteY66" fmla="*/ 190757 h 368488"/>
                <a:gd name="connsiteX67" fmla="*/ 5134205 w 5633519"/>
                <a:gd name="connsiteY67" fmla="*/ 186074 h 368488"/>
                <a:gd name="connsiteX68" fmla="*/ 5226855 w 5633519"/>
                <a:gd name="connsiteY68" fmla="*/ 186074 h 368488"/>
                <a:gd name="connsiteX69" fmla="*/ 5319505 w 5633519"/>
                <a:gd name="connsiteY69" fmla="*/ 190036 h 368488"/>
                <a:gd name="connsiteX70" fmla="*/ 5412155 w 5633519"/>
                <a:gd name="connsiteY70" fmla="*/ 184274 h 368488"/>
                <a:gd name="connsiteX71" fmla="*/ 5493944 w 5633519"/>
                <a:gd name="connsiteY71" fmla="*/ 190073 h 368488"/>
                <a:gd name="connsiteX72" fmla="*/ 5585487 w 5633519"/>
                <a:gd name="connsiteY72" fmla="*/ 197578 h 368488"/>
                <a:gd name="connsiteX73" fmla="*/ 5633304 w 5633519"/>
                <a:gd name="connsiteY73" fmla="*/ 207189 h 368488"/>
                <a:gd name="connsiteX74" fmla="*/ 5629900 w 5633519"/>
                <a:gd name="connsiteY74" fmla="*/ 253384 h 368488"/>
                <a:gd name="connsiteX75" fmla="*/ 5625668 w 5633519"/>
                <a:gd name="connsiteY75" fmla="*/ 280398 h 368488"/>
                <a:gd name="connsiteX76" fmla="*/ 2327058 w 5633519"/>
                <a:gd name="connsiteY76" fmla="*/ 368488 h 368488"/>
                <a:gd name="connsiteX0" fmla="*/ 2235618 w 5633519"/>
                <a:gd name="connsiteY0" fmla="*/ 277048 h 284663"/>
                <a:gd name="connsiteX1" fmla="*/ 0 w 5633519"/>
                <a:gd name="connsiteY1" fmla="*/ 284663 h 284663"/>
                <a:gd name="connsiteX2" fmla="*/ 5088 w 5633519"/>
                <a:gd name="connsiteY2" fmla="*/ 282101 h 284663"/>
                <a:gd name="connsiteX3" fmla="*/ 53499 w 5633519"/>
                <a:gd name="connsiteY3" fmla="*/ 215429 h 284663"/>
                <a:gd name="connsiteX4" fmla="*/ 146812 w 5633519"/>
                <a:gd name="connsiteY4" fmla="*/ 213989 h 284663"/>
                <a:gd name="connsiteX5" fmla="*/ 239905 w 5633519"/>
                <a:gd name="connsiteY5" fmla="*/ 215069 h 284663"/>
                <a:gd name="connsiteX6" fmla="*/ 332996 w 5633519"/>
                <a:gd name="connsiteY6" fmla="*/ 214169 h 284663"/>
                <a:gd name="connsiteX7" fmla="*/ 426088 w 5633519"/>
                <a:gd name="connsiteY7" fmla="*/ 220112 h 284663"/>
                <a:gd name="connsiteX8" fmla="*/ 519180 w 5633519"/>
                <a:gd name="connsiteY8" fmla="*/ 217050 h 284663"/>
                <a:gd name="connsiteX9" fmla="*/ 612273 w 5633519"/>
                <a:gd name="connsiteY9" fmla="*/ 218671 h 284663"/>
                <a:gd name="connsiteX10" fmla="*/ 705365 w 5633519"/>
                <a:gd name="connsiteY10" fmla="*/ 214529 h 284663"/>
                <a:gd name="connsiteX11" fmla="*/ 798457 w 5633519"/>
                <a:gd name="connsiteY11" fmla="*/ 213989 h 284663"/>
                <a:gd name="connsiteX12" fmla="*/ 891548 w 5633519"/>
                <a:gd name="connsiteY12" fmla="*/ 217590 h 284663"/>
                <a:gd name="connsiteX13" fmla="*/ 984641 w 5633519"/>
                <a:gd name="connsiteY13" fmla="*/ 218491 h 284663"/>
                <a:gd name="connsiteX14" fmla="*/ 1077733 w 5633519"/>
                <a:gd name="connsiteY14" fmla="*/ 221012 h 284663"/>
                <a:gd name="connsiteX15" fmla="*/ 1170825 w 5633519"/>
                <a:gd name="connsiteY15" fmla="*/ 213629 h 284663"/>
                <a:gd name="connsiteX16" fmla="*/ 1263476 w 5633519"/>
                <a:gd name="connsiteY16" fmla="*/ 211648 h 284663"/>
                <a:gd name="connsiteX17" fmla="*/ 1352587 w 5633519"/>
                <a:gd name="connsiteY17" fmla="*/ 212728 h 284663"/>
                <a:gd name="connsiteX18" fmla="*/ 1306594 w 5633519"/>
                <a:gd name="connsiteY18" fmla="*/ 173828 h 284663"/>
                <a:gd name="connsiteX19" fmla="*/ 1249987 w 5633519"/>
                <a:gd name="connsiteY19" fmla="*/ 136729 h 284663"/>
                <a:gd name="connsiteX20" fmla="*/ 1332023 w 5633519"/>
                <a:gd name="connsiteY20" fmla="*/ 154198 h 284663"/>
                <a:gd name="connsiteX21" fmla="*/ 1412069 w 5633519"/>
                <a:gd name="connsiteY21" fmla="*/ 175089 h 284663"/>
                <a:gd name="connsiteX22" fmla="*/ 1491452 w 5633519"/>
                <a:gd name="connsiteY22" fmla="*/ 184274 h 284663"/>
                <a:gd name="connsiteX23" fmla="*/ 1453640 w 5633519"/>
                <a:gd name="connsiteY23" fmla="*/ 123943 h 284663"/>
                <a:gd name="connsiteX24" fmla="*/ 1406982 w 5633519"/>
                <a:gd name="connsiteY24" fmla="*/ 64512 h 284663"/>
                <a:gd name="connsiteX25" fmla="*/ 1354355 w 5633519"/>
                <a:gd name="connsiteY25" fmla="*/ 4001 h 284663"/>
                <a:gd name="connsiteX26" fmla="*/ 1382006 w 5633519"/>
                <a:gd name="connsiteY26" fmla="*/ 951 h 284663"/>
                <a:gd name="connsiteX27" fmla="*/ 1444352 w 5633519"/>
                <a:gd name="connsiteY27" fmla="*/ 50285 h 284663"/>
                <a:gd name="connsiteX28" fmla="*/ 1531253 w 5633519"/>
                <a:gd name="connsiteY28" fmla="*/ 94948 h 284663"/>
                <a:gd name="connsiteX29" fmla="*/ 1619481 w 5633519"/>
                <a:gd name="connsiteY29" fmla="*/ 137269 h 284663"/>
                <a:gd name="connsiteX30" fmla="*/ 1702402 w 5633519"/>
                <a:gd name="connsiteY30" fmla="*/ 186795 h 284663"/>
                <a:gd name="connsiteX31" fmla="*/ 1795715 w 5633519"/>
                <a:gd name="connsiteY31" fmla="*/ 181932 h 284663"/>
                <a:gd name="connsiteX32" fmla="*/ 1888806 w 5633519"/>
                <a:gd name="connsiteY32" fmla="*/ 190397 h 284663"/>
                <a:gd name="connsiteX33" fmla="*/ 1981898 w 5633519"/>
                <a:gd name="connsiteY33" fmla="*/ 190397 h 284663"/>
                <a:gd name="connsiteX34" fmla="*/ 2074991 w 5633519"/>
                <a:gd name="connsiteY34" fmla="*/ 182293 h 284663"/>
                <a:gd name="connsiteX35" fmla="*/ 2168083 w 5633519"/>
                <a:gd name="connsiteY35" fmla="*/ 188416 h 284663"/>
                <a:gd name="connsiteX36" fmla="*/ 2260732 w 5633519"/>
                <a:gd name="connsiteY36" fmla="*/ 180852 h 284663"/>
                <a:gd name="connsiteX37" fmla="*/ 2353824 w 5633519"/>
                <a:gd name="connsiteY37" fmla="*/ 188055 h 284663"/>
                <a:gd name="connsiteX38" fmla="*/ 2446917 w 5633519"/>
                <a:gd name="connsiteY38" fmla="*/ 188055 h 284663"/>
                <a:gd name="connsiteX39" fmla="*/ 2539567 w 5633519"/>
                <a:gd name="connsiteY39" fmla="*/ 185714 h 284663"/>
                <a:gd name="connsiteX40" fmla="*/ 2632217 w 5633519"/>
                <a:gd name="connsiteY40" fmla="*/ 182653 h 284663"/>
                <a:gd name="connsiteX41" fmla="*/ 2725308 w 5633519"/>
                <a:gd name="connsiteY41" fmla="*/ 183733 h 284663"/>
                <a:gd name="connsiteX42" fmla="*/ 2817959 w 5633519"/>
                <a:gd name="connsiteY42" fmla="*/ 188596 h 284663"/>
                <a:gd name="connsiteX43" fmla="*/ 2910609 w 5633519"/>
                <a:gd name="connsiteY43" fmla="*/ 188596 h 284663"/>
                <a:gd name="connsiteX44" fmla="*/ 3003258 w 5633519"/>
                <a:gd name="connsiteY44" fmla="*/ 188416 h 284663"/>
                <a:gd name="connsiteX45" fmla="*/ 3095908 w 5633519"/>
                <a:gd name="connsiteY45" fmla="*/ 185894 h 284663"/>
                <a:gd name="connsiteX46" fmla="*/ 3188559 w 5633519"/>
                <a:gd name="connsiteY46" fmla="*/ 186795 h 284663"/>
                <a:gd name="connsiteX47" fmla="*/ 3281207 w 5633519"/>
                <a:gd name="connsiteY47" fmla="*/ 181032 h 284663"/>
                <a:gd name="connsiteX48" fmla="*/ 3373858 w 5633519"/>
                <a:gd name="connsiteY48" fmla="*/ 183373 h 284663"/>
                <a:gd name="connsiteX49" fmla="*/ 3466507 w 5633519"/>
                <a:gd name="connsiteY49" fmla="*/ 187335 h 284663"/>
                <a:gd name="connsiteX50" fmla="*/ 3559157 w 5633519"/>
                <a:gd name="connsiteY50" fmla="*/ 191297 h 284663"/>
                <a:gd name="connsiteX51" fmla="*/ 3651807 w 5633519"/>
                <a:gd name="connsiteY51" fmla="*/ 181032 h 284663"/>
                <a:gd name="connsiteX52" fmla="*/ 3744457 w 5633519"/>
                <a:gd name="connsiteY52" fmla="*/ 181572 h 284663"/>
                <a:gd name="connsiteX53" fmla="*/ 3837107 w 5633519"/>
                <a:gd name="connsiteY53" fmla="*/ 186255 h 284663"/>
                <a:gd name="connsiteX54" fmla="*/ 3929757 w 5633519"/>
                <a:gd name="connsiteY54" fmla="*/ 190937 h 284663"/>
                <a:gd name="connsiteX55" fmla="*/ 4022406 w 5633519"/>
                <a:gd name="connsiteY55" fmla="*/ 191477 h 284663"/>
                <a:gd name="connsiteX56" fmla="*/ 4115057 w 5633519"/>
                <a:gd name="connsiteY56" fmla="*/ 186615 h 284663"/>
                <a:gd name="connsiteX57" fmla="*/ 4207707 w 5633519"/>
                <a:gd name="connsiteY57" fmla="*/ 184274 h 284663"/>
                <a:gd name="connsiteX58" fmla="*/ 4300356 w 5633519"/>
                <a:gd name="connsiteY58" fmla="*/ 192017 h 284663"/>
                <a:gd name="connsiteX59" fmla="*/ 4393007 w 5633519"/>
                <a:gd name="connsiteY59" fmla="*/ 183193 h 284663"/>
                <a:gd name="connsiteX60" fmla="*/ 4485657 w 5633519"/>
                <a:gd name="connsiteY60" fmla="*/ 184093 h 284663"/>
                <a:gd name="connsiteX61" fmla="*/ 4578305 w 5633519"/>
                <a:gd name="connsiteY61" fmla="*/ 187335 h 284663"/>
                <a:gd name="connsiteX62" fmla="*/ 4670956 w 5633519"/>
                <a:gd name="connsiteY62" fmla="*/ 190036 h 284663"/>
                <a:gd name="connsiteX63" fmla="*/ 4763605 w 5633519"/>
                <a:gd name="connsiteY63" fmla="*/ 186435 h 284663"/>
                <a:gd name="connsiteX64" fmla="*/ 4856255 w 5633519"/>
                <a:gd name="connsiteY64" fmla="*/ 192378 h 284663"/>
                <a:gd name="connsiteX65" fmla="*/ 4948905 w 5633519"/>
                <a:gd name="connsiteY65" fmla="*/ 191657 h 284663"/>
                <a:gd name="connsiteX66" fmla="*/ 5041556 w 5633519"/>
                <a:gd name="connsiteY66" fmla="*/ 190757 h 284663"/>
                <a:gd name="connsiteX67" fmla="*/ 5134205 w 5633519"/>
                <a:gd name="connsiteY67" fmla="*/ 186074 h 284663"/>
                <a:gd name="connsiteX68" fmla="*/ 5226855 w 5633519"/>
                <a:gd name="connsiteY68" fmla="*/ 186074 h 284663"/>
                <a:gd name="connsiteX69" fmla="*/ 5319505 w 5633519"/>
                <a:gd name="connsiteY69" fmla="*/ 190036 h 284663"/>
                <a:gd name="connsiteX70" fmla="*/ 5412155 w 5633519"/>
                <a:gd name="connsiteY70" fmla="*/ 184274 h 284663"/>
                <a:gd name="connsiteX71" fmla="*/ 5493944 w 5633519"/>
                <a:gd name="connsiteY71" fmla="*/ 190073 h 284663"/>
                <a:gd name="connsiteX72" fmla="*/ 5585487 w 5633519"/>
                <a:gd name="connsiteY72" fmla="*/ 197578 h 284663"/>
                <a:gd name="connsiteX73" fmla="*/ 5633304 w 5633519"/>
                <a:gd name="connsiteY73" fmla="*/ 207189 h 284663"/>
                <a:gd name="connsiteX74" fmla="*/ 5629900 w 5633519"/>
                <a:gd name="connsiteY74" fmla="*/ 253384 h 284663"/>
                <a:gd name="connsiteX75" fmla="*/ 5625668 w 5633519"/>
                <a:gd name="connsiteY75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74" fmla="*/ 5625668 w 5633519"/>
                <a:gd name="connsiteY74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0" fmla="*/ 0 w 5633304"/>
                <a:gd name="connsiteY0" fmla="*/ 284663 h 284663"/>
                <a:gd name="connsiteX1" fmla="*/ 5088 w 5633304"/>
                <a:gd name="connsiteY1" fmla="*/ 282101 h 284663"/>
                <a:gd name="connsiteX2" fmla="*/ 53499 w 5633304"/>
                <a:gd name="connsiteY2" fmla="*/ 215429 h 284663"/>
                <a:gd name="connsiteX3" fmla="*/ 146812 w 5633304"/>
                <a:gd name="connsiteY3" fmla="*/ 213989 h 284663"/>
                <a:gd name="connsiteX4" fmla="*/ 239905 w 5633304"/>
                <a:gd name="connsiteY4" fmla="*/ 215069 h 284663"/>
                <a:gd name="connsiteX5" fmla="*/ 332996 w 5633304"/>
                <a:gd name="connsiteY5" fmla="*/ 214169 h 284663"/>
                <a:gd name="connsiteX6" fmla="*/ 426088 w 5633304"/>
                <a:gd name="connsiteY6" fmla="*/ 220112 h 284663"/>
                <a:gd name="connsiteX7" fmla="*/ 519180 w 5633304"/>
                <a:gd name="connsiteY7" fmla="*/ 217050 h 284663"/>
                <a:gd name="connsiteX8" fmla="*/ 612273 w 5633304"/>
                <a:gd name="connsiteY8" fmla="*/ 218671 h 284663"/>
                <a:gd name="connsiteX9" fmla="*/ 705365 w 5633304"/>
                <a:gd name="connsiteY9" fmla="*/ 214529 h 284663"/>
                <a:gd name="connsiteX10" fmla="*/ 798457 w 5633304"/>
                <a:gd name="connsiteY10" fmla="*/ 213989 h 284663"/>
                <a:gd name="connsiteX11" fmla="*/ 891548 w 5633304"/>
                <a:gd name="connsiteY11" fmla="*/ 217590 h 284663"/>
                <a:gd name="connsiteX12" fmla="*/ 984641 w 5633304"/>
                <a:gd name="connsiteY12" fmla="*/ 218491 h 284663"/>
                <a:gd name="connsiteX13" fmla="*/ 1077733 w 5633304"/>
                <a:gd name="connsiteY13" fmla="*/ 221012 h 284663"/>
                <a:gd name="connsiteX14" fmla="*/ 1170825 w 5633304"/>
                <a:gd name="connsiteY14" fmla="*/ 213629 h 284663"/>
                <a:gd name="connsiteX15" fmla="*/ 1263476 w 5633304"/>
                <a:gd name="connsiteY15" fmla="*/ 211648 h 284663"/>
                <a:gd name="connsiteX16" fmla="*/ 1352587 w 5633304"/>
                <a:gd name="connsiteY16" fmla="*/ 212728 h 284663"/>
                <a:gd name="connsiteX17" fmla="*/ 1306594 w 5633304"/>
                <a:gd name="connsiteY17" fmla="*/ 173828 h 284663"/>
                <a:gd name="connsiteX18" fmla="*/ 1249987 w 5633304"/>
                <a:gd name="connsiteY18" fmla="*/ 136729 h 284663"/>
                <a:gd name="connsiteX19" fmla="*/ 1332023 w 5633304"/>
                <a:gd name="connsiteY19" fmla="*/ 154198 h 284663"/>
                <a:gd name="connsiteX20" fmla="*/ 1412069 w 5633304"/>
                <a:gd name="connsiteY20" fmla="*/ 175089 h 284663"/>
                <a:gd name="connsiteX21" fmla="*/ 1491452 w 5633304"/>
                <a:gd name="connsiteY21" fmla="*/ 184274 h 284663"/>
                <a:gd name="connsiteX22" fmla="*/ 1453640 w 5633304"/>
                <a:gd name="connsiteY22" fmla="*/ 123943 h 284663"/>
                <a:gd name="connsiteX23" fmla="*/ 1406982 w 5633304"/>
                <a:gd name="connsiteY23" fmla="*/ 64512 h 284663"/>
                <a:gd name="connsiteX24" fmla="*/ 1354355 w 5633304"/>
                <a:gd name="connsiteY24" fmla="*/ 4001 h 284663"/>
                <a:gd name="connsiteX25" fmla="*/ 1382006 w 5633304"/>
                <a:gd name="connsiteY25" fmla="*/ 951 h 284663"/>
                <a:gd name="connsiteX26" fmla="*/ 1444352 w 5633304"/>
                <a:gd name="connsiteY26" fmla="*/ 50285 h 284663"/>
                <a:gd name="connsiteX27" fmla="*/ 1531253 w 5633304"/>
                <a:gd name="connsiteY27" fmla="*/ 94948 h 284663"/>
                <a:gd name="connsiteX28" fmla="*/ 1619481 w 5633304"/>
                <a:gd name="connsiteY28" fmla="*/ 137269 h 284663"/>
                <a:gd name="connsiteX29" fmla="*/ 1702402 w 5633304"/>
                <a:gd name="connsiteY29" fmla="*/ 186795 h 284663"/>
                <a:gd name="connsiteX30" fmla="*/ 1795715 w 5633304"/>
                <a:gd name="connsiteY30" fmla="*/ 181932 h 284663"/>
                <a:gd name="connsiteX31" fmla="*/ 1888806 w 5633304"/>
                <a:gd name="connsiteY31" fmla="*/ 190397 h 284663"/>
                <a:gd name="connsiteX32" fmla="*/ 1981898 w 5633304"/>
                <a:gd name="connsiteY32" fmla="*/ 190397 h 284663"/>
                <a:gd name="connsiteX33" fmla="*/ 2074991 w 5633304"/>
                <a:gd name="connsiteY33" fmla="*/ 182293 h 284663"/>
                <a:gd name="connsiteX34" fmla="*/ 2168083 w 5633304"/>
                <a:gd name="connsiteY34" fmla="*/ 188416 h 284663"/>
                <a:gd name="connsiteX35" fmla="*/ 2260732 w 5633304"/>
                <a:gd name="connsiteY35" fmla="*/ 180852 h 284663"/>
                <a:gd name="connsiteX36" fmla="*/ 2353824 w 5633304"/>
                <a:gd name="connsiteY36" fmla="*/ 188055 h 284663"/>
                <a:gd name="connsiteX37" fmla="*/ 2446917 w 5633304"/>
                <a:gd name="connsiteY37" fmla="*/ 188055 h 284663"/>
                <a:gd name="connsiteX38" fmla="*/ 2539567 w 5633304"/>
                <a:gd name="connsiteY38" fmla="*/ 185714 h 284663"/>
                <a:gd name="connsiteX39" fmla="*/ 2632217 w 5633304"/>
                <a:gd name="connsiteY39" fmla="*/ 182653 h 284663"/>
                <a:gd name="connsiteX40" fmla="*/ 2725308 w 5633304"/>
                <a:gd name="connsiteY40" fmla="*/ 183733 h 284663"/>
                <a:gd name="connsiteX41" fmla="*/ 2817959 w 5633304"/>
                <a:gd name="connsiteY41" fmla="*/ 188596 h 284663"/>
                <a:gd name="connsiteX42" fmla="*/ 2910609 w 5633304"/>
                <a:gd name="connsiteY42" fmla="*/ 188596 h 284663"/>
                <a:gd name="connsiteX43" fmla="*/ 3003258 w 5633304"/>
                <a:gd name="connsiteY43" fmla="*/ 188416 h 284663"/>
                <a:gd name="connsiteX44" fmla="*/ 3095908 w 5633304"/>
                <a:gd name="connsiteY44" fmla="*/ 185894 h 284663"/>
                <a:gd name="connsiteX45" fmla="*/ 3188559 w 5633304"/>
                <a:gd name="connsiteY45" fmla="*/ 186795 h 284663"/>
                <a:gd name="connsiteX46" fmla="*/ 3281207 w 5633304"/>
                <a:gd name="connsiteY46" fmla="*/ 181032 h 284663"/>
                <a:gd name="connsiteX47" fmla="*/ 3373858 w 5633304"/>
                <a:gd name="connsiteY47" fmla="*/ 183373 h 284663"/>
                <a:gd name="connsiteX48" fmla="*/ 3466507 w 5633304"/>
                <a:gd name="connsiteY48" fmla="*/ 187335 h 284663"/>
                <a:gd name="connsiteX49" fmla="*/ 3559157 w 5633304"/>
                <a:gd name="connsiteY49" fmla="*/ 191297 h 284663"/>
                <a:gd name="connsiteX50" fmla="*/ 3651807 w 5633304"/>
                <a:gd name="connsiteY50" fmla="*/ 181032 h 284663"/>
                <a:gd name="connsiteX51" fmla="*/ 3744457 w 5633304"/>
                <a:gd name="connsiteY51" fmla="*/ 181572 h 284663"/>
                <a:gd name="connsiteX52" fmla="*/ 3837107 w 5633304"/>
                <a:gd name="connsiteY52" fmla="*/ 186255 h 284663"/>
                <a:gd name="connsiteX53" fmla="*/ 3929757 w 5633304"/>
                <a:gd name="connsiteY53" fmla="*/ 190937 h 284663"/>
                <a:gd name="connsiteX54" fmla="*/ 4022406 w 5633304"/>
                <a:gd name="connsiteY54" fmla="*/ 191477 h 284663"/>
                <a:gd name="connsiteX55" fmla="*/ 4115057 w 5633304"/>
                <a:gd name="connsiteY55" fmla="*/ 186615 h 284663"/>
                <a:gd name="connsiteX56" fmla="*/ 4207707 w 5633304"/>
                <a:gd name="connsiteY56" fmla="*/ 184274 h 284663"/>
                <a:gd name="connsiteX57" fmla="*/ 4300356 w 5633304"/>
                <a:gd name="connsiteY57" fmla="*/ 192017 h 284663"/>
                <a:gd name="connsiteX58" fmla="*/ 4393007 w 5633304"/>
                <a:gd name="connsiteY58" fmla="*/ 183193 h 284663"/>
                <a:gd name="connsiteX59" fmla="*/ 4485657 w 5633304"/>
                <a:gd name="connsiteY59" fmla="*/ 184093 h 284663"/>
                <a:gd name="connsiteX60" fmla="*/ 4578305 w 5633304"/>
                <a:gd name="connsiteY60" fmla="*/ 187335 h 284663"/>
                <a:gd name="connsiteX61" fmla="*/ 4670956 w 5633304"/>
                <a:gd name="connsiteY61" fmla="*/ 190036 h 284663"/>
                <a:gd name="connsiteX62" fmla="*/ 4763605 w 5633304"/>
                <a:gd name="connsiteY62" fmla="*/ 186435 h 284663"/>
                <a:gd name="connsiteX63" fmla="*/ 4856255 w 5633304"/>
                <a:gd name="connsiteY63" fmla="*/ 192378 h 284663"/>
                <a:gd name="connsiteX64" fmla="*/ 4948905 w 5633304"/>
                <a:gd name="connsiteY64" fmla="*/ 191657 h 284663"/>
                <a:gd name="connsiteX65" fmla="*/ 5041556 w 5633304"/>
                <a:gd name="connsiteY65" fmla="*/ 190757 h 284663"/>
                <a:gd name="connsiteX66" fmla="*/ 5134205 w 5633304"/>
                <a:gd name="connsiteY66" fmla="*/ 186074 h 284663"/>
                <a:gd name="connsiteX67" fmla="*/ 5226855 w 5633304"/>
                <a:gd name="connsiteY67" fmla="*/ 186074 h 284663"/>
                <a:gd name="connsiteX68" fmla="*/ 5319505 w 5633304"/>
                <a:gd name="connsiteY68" fmla="*/ 190036 h 284663"/>
                <a:gd name="connsiteX69" fmla="*/ 5412155 w 5633304"/>
                <a:gd name="connsiteY69" fmla="*/ 184274 h 284663"/>
                <a:gd name="connsiteX70" fmla="*/ 5493944 w 5633304"/>
                <a:gd name="connsiteY70" fmla="*/ 190073 h 284663"/>
                <a:gd name="connsiteX71" fmla="*/ 5585487 w 5633304"/>
                <a:gd name="connsiteY71" fmla="*/ 197578 h 284663"/>
                <a:gd name="connsiteX72" fmla="*/ 5633304 w 5633304"/>
                <a:gd name="connsiteY72" fmla="*/ 207189 h 284663"/>
                <a:gd name="connsiteX0" fmla="*/ 0 w 5633304"/>
                <a:gd name="connsiteY0" fmla="*/ 284663 h 284663"/>
                <a:gd name="connsiteX1" fmla="*/ 53499 w 5633304"/>
                <a:gd name="connsiteY1" fmla="*/ 215429 h 284663"/>
                <a:gd name="connsiteX2" fmla="*/ 146812 w 5633304"/>
                <a:gd name="connsiteY2" fmla="*/ 213989 h 284663"/>
                <a:gd name="connsiteX3" fmla="*/ 239905 w 5633304"/>
                <a:gd name="connsiteY3" fmla="*/ 215069 h 284663"/>
                <a:gd name="connsiteX4" fmla="*/ 332996 w 5633304"/>
                <a:gd name="connsiteY4" fmla="*/ 214169 h 284663"/>
                <a:gd name="connsiteX5" fmla="*/ 426088 w 5633304"/>
                <a:gd name="connsiteY5" fmla="*/ 220112 h 284663"/>
                <a:gd name="connsiteX6" fmla="*/ 519180 w 5633304"/>
                <a:gd name="connsiteY6" fmla="*/ 217050 h 284663"/>
                <a:gd name="connsiteX7" fmla="*/ 612273 w 5633304"/>
                <a:gd name="connsiteY7" fmla="*/ 218671 h 284663"/>
                <a:gd name="connsiteX8" fmla="*/ 705365 w 5633304"/>
                <a:gd name="connsiteY8" fmla="*/ 214529 h 284663"/>
                <a:gd name="connsiteX9" fmla="*/ 798457 w 5633304"/>
                <a:gd name="connsiteY9" fmla="*/ 213989 h 284663"/>
                <a:gd name="connsiteX10" fmla="*/ 891548 w 5633304"/>
                <a:gd name="connsiteY10" fmla="*/ 217590 h 284663"/>
                <a:gd name="connsiteX11" fmla="*/ 984641 w 5633304"/>
                <a:gd name="connsiteY11" fmla="*/ 218491 h 284663"/>
                <a:gd name="connsiteX12" fmla="*/ 1077733 w 5633304"/>
                <a:gd name="connsiteY12" fmla="*/ 221012 h 284663"/>
                <a:gd name="connsiteX13" fmla="*/ 1170825 w 5633304"/>
                <a:gd name="connsiteY13" fmla="*/ 213629 h 284663"/>
                <a:gd name="connsiteX14" fmla="*/ 1263476 w 5633304"/>
                <a:gd name="connsiteY14" fmla="*/ 211648 h 284663"/>
                <a:gd name="connsiteX15" fmla="*/ 1352587 w 5633304"/>
                <a:gd name="connsiteY15" fmla="*/ 212728 h 284663"/>
                <a:gd name="connsiteX16" fmla="*/ 1306594 w 5633304"/>
                <a:gd name="connsiteY16" fmla="*/ 173828 h 284663"/>
                <a:gd name="connsiteX17" fmla="*/ 1249987 w 5633304"/>
                <a:gd name="connsiteY17" fmla="*/ 136729 h 284663"/>
                <a:gd name="connsiteX18" fmla="*/ 1332023 w 5633304"/>
                <a:gd name="connsiteY18" fmla="*/ 154198 h 284663"/>
                <a:gd name="connsiteX19" fmla="*/ 1412069 w 5633304"/>
                <a:gd name="connsiteY19" fmla="*/ 175089 h 284663"/>
                <a:gd name="connsiteX20" fmla="*/ 1491452 w 5633304"/>
                <a:gd name="connsiteY20" fmla="*/ 184274 h 284663"/>
                <a:gd name="connsiteX21" fmla="*/ 1453640 w 5633304"/>
                <a:gd name="connsiteY21" fmla="*/ 123943 h 284663"/>
                <a:gd name="connsiteX22" fmla="*/ 1406982 w 5633304"/>
                <a:gd name="connsiteY22" fmla="*/ 64512 h 284663"/>
                <a:gd name="connsiteX23" fmla="*/ 1354355 w 5633304"/>
                <a:gd name="connsiteY23" fmla="*/ 4001 h 284663"/>
                <a:gd name="connsiteX24" fmla="*/ 1382006 w 5633304"/>
                <a:gd name="connsiteY24" fmla="*/ 951 h 284663"/>
                <a:gd name="connsiteX25" fmla="*/ 1444352 w 5633304"/>
                <a:gd name="connsiteY25" fmla="*/ 50285 h 284663"/>
                <a:gd name="connsiteX26" fmla="*/ 1531253 w 5633304"/>
                <a:gd name="connsiteY26" fmla="*/ 94948 h 284663"/>
                <a:gd name="connsiteX27" fmla="*/ 1619481 w 5633304"/>
                <a:gd name="connsiteY27" fmla="*/ 137269 h 284663"/>
                <a:gd name="connsiteX28" fmla="*/ 1702402 w 5633304"/>
                <a:gd name="connsiteY28" fmla="*/ 186795 h 284663"/>
                <a:gd name="connsiteX29" fmla="*/ 1795715 w 5633304"/>
                <a:gd name="connsiteY29" fmla="*/ 181932 h 284663"/>
                <a:gd name="connsiteX30" fmla="*/ 1888806 w 5633304"/>
                <a:gd name="connsiteY30" fmla="*/ 190397 h 284663"/>
                <a:gd name="connsiteX31" fmla="*/ 1981898 w 5633304"/>
                <a:gd name="connsiteY31" fmla="*/ 190397 h 284663"/>
                <a:gd name="connsiteX32" fmla="*/ 2074991 w 5633304"/>
                <a:gd name="connsiteY32" fmla="*/ 182293 h 284663"/>
                <a:gd name="connsiteX33" fmla="*/ 2168083 w 5633304"/>
                <a:gd name="connsiteY33" fmla="*/ 188416 h 284663"/>
                <a:gd name="connsiteX34" fmla="*/ 2260732 w 5633304"/>
                <a:gd name="connsiteY34" fmla="*/ 180852 h 284663"/>
                <a:gd name="connsiteX35" fmla="*/ 2353824 w 5633304"/>
                <a:gd name="connsiteY35" fmla="*/ 188055 h 284663"/>
                <a:gd name="connsiteX36" fmla="*/ 2446917 w 5633304"/>
                <a:gd name="connsiteY36" fmla="*/ 188055 h 284663"/>
                <a:gd name="connsiteX37" fmla="*/ 2539567 w 5633304"/>
                <a:gd name="connsiteY37" fmla="*/ 185714 h 284663"/>
                <a:gd name="connsiteX38" fmla="*/ 2632217 w 5633304"/>
                <a:gd name="connsiteY38" fmla="*/ 182653 h 284663"/>
                <a:gd name="connsiteX39" fmla="*/ 2725308 w 5633304"/>
                <a:gd name="connsiteY39" fmla="*/ 183733 h 284663"/>
                <a:gd name="connsiteX40" fmla="*/ 2817959 w 5633304"/>
                <a:gd name="connsiteY40" fmla="*/ 188596 h 284663"/>
                <a:gd name="connsiteX41" fmla="*/ 2910609 w 5633304"/>
                <a:gd name="connsiteY41" fmla="*/ 188596 h 284663"/>
                <a:gd name="connsiteX42" fmla="*/ 3003258 w 5633304"/>
                <a:gd name="connsiteY42" fmla="*/ 188416 h 284663"/>
                <a:gd name="connsiteX43" fmla="*/ 3095908 w 5633304"/>
                <a:gd name="connsiteY43" fmla="*/ 185894 h 284663"/>
                <a:gd name="connsiteX44" fmla="*/ 3188559 w 5633304"/>
                <a:gd name="connsiteY44" fmla="*/ 186795 h 284663"/>
                <a:gd name="connsiteX45" fmla="*/ 3281207 w 5633304"/>
                <a:gd name="connsiteY45" fmla="*/ 181032 h 284663"/>
                <a:gd name="connsiteX46" fmla="*/ 3373858 w 5633304"/>
                <a:gd name="connsiteY46" fmla="*/ 183373 h 284663"/>
                <a:gd name="connsiteX47" fmla="*/ 3466507 w 5633304"/>
                <a:gd name="connsiteY47" fmla="*/ 187335 h 284663"/>
                <a:gd name="connsiteX48" fmla="*/ 3559157 w 5633304"/>
                <a:gd name="connsiteY48" fmla="*/ 191297 h 284663"/>
                <a:gd name="connsiteX49" fmla="*/ 3651807 w 5633304"/>
                <a:gd name="connsiteY49" fmla="*/ 181032 h 284663"/>
                <a:gd name="connsiteX50" fmla="*/ 3744457 w 5633304"/>
                <a:gd name="connsiteY50" fmla="*/ 181572 h 284663"/>
                <a:gd name="connsiteX51" fmla="*/ 3837107 w 5633304"/>
                <a:gd name="connsiteY51" fmla="*/ 186255 h 284663"/>
                <a:gd name="connsiteX52" fmla="*/ 3929757 w 5633304"/>
                <a:gd name="connsiteY52" fmla="*/ 190937 h 284663"/>
                <a:gd name="connsiteX53" fmla="*/ 4022406 w 5633304"/>
                <a:gd name="connsiteY53" fmla="*/ 191477 h 284663"/>
                <a:gd name="connsiteX54" fmla="*/ 4115057 w 5633304"/>
                <a:gd name="connsiteY54" fmla="*/ 186615 h 284663"/>
                <a:gd name="connsiteX55" fmla="*/ 4207707 w 5633304"/>
                <a:gd name="connsiteY55" fmla="*/ 184274 h 284663"/>
                <a:gd name="connsiteX56" fmla="*/ 4300356 w 5633304"/>
                <a:gd name="connsiteY56" fmla="*/ 192017 h 284663"/>
                <a:gd name="connsiteX57" fmla="*/ 4393007 w 5633304"/>
                <a:gd name="connsiteY57" fmla="*/ 183193 h 284663"/>
                <a:gd name="connsiteX58" fmla="*/ 4485657 w 5633304"/>
                <a:gd name="connsiteY58" fmla="*/ 184093 h 284663"/>
                <a:gd name="connsiteX59" fmla="*/ 4578305 w 5633304"/>
                <a:gd name="connsiteY59" fmla="*/ 187335 h 284663"/>
                <a:gd name="connsiteX60" fmla="*/ 4670956 w 5633304"/>
                <a:gd name="connsiteY60" fmla="*/ 190036 h 284663"/>
                <a:gd name="connsiteX61" fmla="*/ 4763605 w 5633304"/>
                <a:gd name="connsiteY61" fmla="*/ 186435 h 284663"/>
                <a:gd name="connsiteX62" fmla="*/ 4856255 w 5633304"/>
                <a:gd name="connsiteY62" fmla="*/ 192378 h 284663"/>
                <a:gd name="connsiteX63" fmla="*/ 4948905 w 5633304"/>
                <a:gd name="connsiteY63" fmla="*/ 191657 h 284663"/>
                <a:gd name="connsiteX64" fmla="*/ 5041556 w 5633304"/>
                <a:gd name="connsiteY64" fmla="*/ 190757 h 284663"/>
                <a:gd name="connsiteX65" fmla="*/ 5134205 w 5633304"/>
                <a:gd name="connsiteY65" fmla="*/ 186074 h 284663"/>
                <a:gd name="connsiteX66" fmla="*/ 5226855 w 5633304"/>
                <a:gd name="connsiteY66" fmla="*/ 186074 h 284663"/>
                <a:gd name="connsiteX67" fmla="*/ 5319505 w 5633304"/>
                <a:gd name="connsiteY67" fmla="*/ 190036 h 284663"/>
                <a:gd name="connsiteX68" fmla="*/ 5412155 w 5633304"/>
                <a:gd name="connsiteY68" fmla="*/ 184274 h 284663"/>
                <a:gd name="connsiteX69" fmla="*/ 5493944 w 5633304"/>
                <a:gd name="connsiteY69" fmla="*/ 190073 h 284663"/>
                <a:gd name="connsiteX70" fmla="*/ 5585487 w 5633304"/>
                <a:gd name="connsiteY70" fmla="*/ 197578 h 284663"/>
                <a:gd name="connsiteX71" fmla="*/ 5633304 w 5633304"/>
                <a:gd name="connsiteY71" fmla="*/ 207189 h 284663"/>
                <a:gd name="connsiteX0" fmla="*/ 0 w 5579805"/>
                <a:gd name="connsiteY0" fmla="*/ 215429 h 225340"/>
                <a:gd name="connsiteX1" fmla="*/ 93313 w 5579805"/>
                <a:gd name="connsiteY1" fmla="*/ 213989 h 225340"/>
                <a:gd name="connsiteX2" fmla="*/ 186406 w 5579805"/>
                <a:gd name="connsiteY2" fmla="*/ 215069 h 225340"/>
                <a:gd name="connsiteX3" fmla="*/ 279497 w 5579805"/>
                <a:gd name="connsiteY3" fmla="*/ 214169 h 225340"/>
                <a:gd name="connsiteX4" fmla="*/ 372589 w 5579805"/>
                <a:gd name="connsiteY4" fmla="*/ 220112 h 225340"/>
                <a:gd name="connsiteX5" fmla="*/ 465681 w 5579805"/>
                <a:gd name="connsiteY5" fmla="*/ 217050 h 225340"/>
                <a:gd name="connsiteX6" fmla="*/ 558774 w 5579805"/>
                <a:gd name="connsiteY6" fmla="*/ 218671 h 225340"/>
                <a:gd name="connsiteX7" fmla="*/ 651866 w 5579805"/>
                <a:gd name="connsiteY7" fmla="*/ 214529 h 225340"/>
                <a:gd name="connsiteX8" fmla="*/ 744958 w 5579805"/>
                <a:gd name="connsiteY8" fmla="*/ 213989 h 225340"/>
                <a:gd name="connsiteX9" fmla="*/ 838049 w 5579805"/>
                <a:gd name="connsiteY9" fmla="*/ 217590 h 225340"/>
                <a:gd name="connsiteX10" fmla="*/ 931142 w 5579805"/>
                <a:gd name="connsiteY10" fmla="*/ 218491 h 225340"/>
                <a:gd name="connsiteX11" fmla="*/ 1024234 w 5579805"/>
                <a:gd name="connsiteY11" fmla="*/ 221012 h 225340"/>
                <a:gd name="connsiteX12" fmla="*/ 1117326 w 5579805"/>
                <a:gd name="connsiteY12" fmla="*/ 213629 h 225340"/>
                <a:gd name="connsiteX13" fmla="*/ 1209977 w 5579805"/>
                <a:gd name="connsiteY13" fmla="*/ 211648 h 225340"/>
                <a:gd name="connsiteX14" fmla="*/ 1299088 w 5579805"/>
                <a:gd name="connsiteY14" fmla="*/ 212728 h 225340"/>
                <a:gd name="connsiteX15" fmla="*/ 1253095 w 5579805"/>
                <a:gd name="connsiteY15" fmla="*/ 173828 h 225340"/>
                <a:gd name="connsiteX16" fmla="*/ 1196488 w 5579805"/>
                <a:gd name="connsiteY16" fmla="*/ 136729 h 225340"/>
                <a:gd name="connsiteX17" fmla="*/ 1278524 w 5579805"/>
                <a:gd name="connsiteY17" fmla="*/ 154198 h 225340"/>
                <a:gd name="connsiteX18" fmla="*/ 1358570 w 5579805"/>
                <a:gd name="connsiteY18" fmla="*/ 175089 h 225340"/>
                <a:gd name="connsiteX19" fmla="*/ 1437953 w 5579805"/>
                <a:gd name="connsiteY19" fmla="*/ 184274 h 225340"/>
                <a:gd name="connsiteX20" fmla="*/ 1400141 w 5579805"/>
                <a:gd name="connsiteY20" fmla="*/ 123943 h 225340"/>
                <a:gd name="connsiteX21" fmla="*/ 1353483 w 5579805"/>
                <a:gd name="connsiteY21" fmla="*/ 64512 h 225340"/>
                <a:gd name="connsiteX22" fmla="*/ 1300856 w 5579805"/>
                <a:gd name="connsiteY22" fmla="*/ 4001 h 225340"/>
                <a:gd name="connsiteX23" fmla="*/ 1328507 w 5579805"/>
                <a:gd name="connsiteY23" fmla="*/ 951 h 225340"/>
                <a:gd name="connsiteX24" fmla="*/ 1390853 w 5579805"/>
                <a:gd name="connsiteY24" fmla="*/ 50285 h 225340"/>
                <a:gd name="connsiteX25" fmla="*/ 1477754 w 5579805"/>
                <a:gd name="connsiteY25" fmla="*/ 94948 h 225340"/>
                <a:gd name="connsiteX26" fmla="*/ 1565982 w 5579805"/>
                <a:gd name="connsiteY26" fmla="*/ 137269 h 225340"/>
                <a:gd name="connsiteX27" fmla="*/ 1648903 w 5579805"/>
                <a:gd name="connsiteY27" fmla="*/ 186795 h 225340"/>
                <a:gd name="connsiteX28" fmla="*/ 1742216 w 5579805"/>
                <a:gd name="connsiteY28" fmla="*/ 181932 h 225340"/>
                <a:gd name="connsiteX29" fmla="*/ 1835307 w 5579805"/>
                <a:gd name="connsiteY29" fmla="*/ 190397 h 225340"/>
                <a:gd name="connsiteX30" fmla="*/ 1928399 w 5579805"/>
                <a:gd name="connsiteY30" fmla="*/ 190397 h 225340"/>
                <a:gd name="connsiteX31" fmla="*/ 2021492 w 5579805"/>
                <a:gd name="connsiteY31" fmla="*/ 182293 h 225340"/>
                <a:gd name="connsiteX32" fmla="*/ 2114584 w 5579805"/>
                <a:gd name="connsiteY32" fmla="*/ 188416 h 225340"/>
                <a:gd name="connsiteX33" fmla="*/ 2207233 w 5579805"/>
                <a:gd name="connsiteY33" fmla="*/ 180852 h 225340"/>
                <a:gd name="connsiteX34" fmla="*/ 2300325 w 5579805"/>
                <a:gd name="connsiteY34" fmla="*/ 188055 h 225340"/>
                <a:gd name="connsiteX35" fmla="*/ 2393418 w 5579805"/>
                <a:gd name="connsiteY35" fmla="*/ 188055 h 225340"/>
                <a:gd name="connsiteX36" fmla="*/ 2486068 w 5579805"/>
                <a:gd name="connsiteY36" fmla="*/ 185714 h 225340"/>
                <a:gd name="connsiteX37" fmla="*/ 2578718 w 5579805"/>
                <a:gd name="connsiteY37" fmla="*/ 182653 h 225340"/>
                <a:gd name="connsiteX38" fmla="*/ 2671809 w 5579805"/>
                <a:gd name="connsiteY38" fmla="*/ 183733 h 225340"/>
                <a:gd name="connsiteX39" fmla="*/ 2764460 w 5579805"/>
                <a:gd name="connsiteY39" fmla="*/ 188596 h 225340"/>
                <a:gd name="connsiteX40" fmla="*/ 2857110 w 5579805"/>
                <a:gd name="connsiteY40" fmla="*/ 188596 h 225340"/>
                <a:gd name="connsiteX41" fmla="*/ 2949759 w 5579805"/>
                <a:gd name="connsiteY41" fmla="*/ 188416 h 225340"/>
                <a:gd name="connsiteX42" fmla="*/ 3042409 w 5579805"/>
                <a:gd name="connsiteY42" fmla="*/ 185894 h 225340"/>
                <a:gd name="connsiteX43" fmla="*/ 3135060 w 5579805"/>
                <a:gd name="connsiteY43" fmla="*/ 186795 h 225340"/>
                <a:gd name="connsiteX44" fmla="*/ 3227708 w 5579805"/>
                <a:gd name="connsiteY44" fmla="*/ 181032 h 225340"/>
                <a:gd name="connsiteX45" fmla="*/ 3320359 w 5579805"/>
                <a:gd name="connsiteY45" fmla="*/ 183373 h 225340"/>
                <a:gd name="connsiteX46" fmla="*/ 3413008 w 5579805"/>
                <a:gd name="connsiteY46" fmla="*/ 187335 h 225340"/>
                <a:gd name="connsiteX47" fmla="*/ 3505658 w 5579805"/>
                <a:gd name="connsiteY47" fmla="*/ 191297 h 225340"/>
                <a:gd name="connsiteX48" fmla="*/ 3598308 w 5579805"/>
                <a:gd name="connsiteY48" fmla="*/ 181032 h 225340"/>
                <a:gd name="connsiteX49" fmla="*/ 3690958 w 5579805"/>
                <a:gd name="connsiteY49" fmla="*/ 181572 h 225340"/>
                <a:gd name="connsiteX50" fmla="*/ 3783608 w 5579805"/>
                <a:gd name="connsiteY50" fmla="*/ 186255 h 225340"/>
                <a:gd name="connsiteX51" fmla="*/ 3876258 w 5579805"/>
                <a:gd name="connsiteY51" fmla="*/ 190937 h 225340"/>
                <a:gd name="connsiteX52" fmla="*/ 3968907 w 5579805"/>
                <a:gd name="connsiteY52" fmla="*/ 191477 h 225340"/>
                <a:gd name="connsiteX53" fmla="*/ 4061558 w 5579805"/>
                <a:gd name="connsiteY53" fmla="*/ 186615 h 225340"/>
                <a:gd name="connsiteX54" fmla="*/ 4154208 w 5579805"/>
                <a:gd name="connsiteY54" fmla="*/ 184274 h 225340"/>
                <a:gd name="connsiteX55" fmla="*/ 4246857 w 5579805"/>
                <a:gd name="connsiteY55" fmla="*/ 192017 h 225340"/>
                <a:gd name="connsiteX56" fmla="*/ 4339508 w 5579805"/>
                <a:gd name="connsiteY56" fmla="*/ 183193 h 225340"/>
                <a:gd name="connsiteX57" fmla="*/ 4432158 w 5579805"/>
                <a:gd name="connsiteY57" fmla="*/ 184093 h 225340"/>
                <a:gd name="connsiteX58" fmla="*/ 4524806 w 5579805"/>
                <a:gd name="connsiteY58" fmla="*/ 187335 h 225340"/>
                <a:gd name="connsiteX59" fmla="*/ 4617457 w 5579805"/>
                <a:gd name="connsiteY59" fmla="*/ 190036 h 225340"/>
                <a:gd name="connsiteX60" fmla="*/ 4710106 w 5579805"/>
                <a:gd name="connsiteY60" fmla="*/ 186435 h 225340"/>
                <a:gd name="connsiteX61" fmla="*/ 4802756 w 5579805"/>
                <a:gd name="connsiteY61" fmla="*/ 192378 h 225340"/>
                <a:gd name="connsiteX62" fmla="*/ 4895406 w 5579805"/>
                <a:gd name="connsiteY62" fmla="*/ 191657 h 225340"/>
                <a:gd name="connsiteX63" fmla="*/ 4988057 w 5579805"/>
                <a:gd name="connsiteY63" fmla="*/ 190757 h 225340"/>
                <a:gd name="connsiteX64" fmla="*/ 5080706 w 5579805"/>
                <a:gd name="connsiteY64" fmla="*/ 186074 h 225340"/>
                <a:gd name="connsiteX65" fmla="*/ 5173356 w 5579805"/>
                <a:gd name="connsiteY65" fmla="*/ 186074 h 225340"/>
                <a:gd name="connsiteX66" fmla="*/ 5266006 w 5579805"/>
                <a:gd name="connsiteY66" fmla="*/ 190036 h 225340"/>
                <a:gd name="connsiteX67" fmla="*/ 5358656 w 5579805"/>
                <a:gd name="connsiteY67" fmla="*/ 184274 h 225340"/>
                <a:gd name="connsiteX68" fmla="*/ 5440445 w 5579805"/>
                <a:gd name="connsiteY68" fmla="*/ 190073 h 225340"/>
                <a:gd name="connsiteX69" fmla="*/ 5531988 w 5579805"/>
                <a:gd name="connsiteY69" fmla="*/ 197578 h 225340"/>
                <a:gd name="connsiteX70" fmla="*/ 5579805 w 5579805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31988 w 5605806"/>
                <a:gd name="connsiteY69" fmla="*/ 197578 h 225340"/>
                <a:gd name="connsiteX70" fmla="*/ 5605806 w 5605806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14653 w 5605806"/>
                <a:gd name="connsiteY69" fmla="*/ 223580 h 225340"/>
                <a:gd name="connsiteX70" fmla="*/ 5605806 w 5605806"/>
                <a:gd name="connsiteY70" fmla="*/ 207189 h 225340"/>
                <a:gd name="connsiteX0" fmla="*/ 0 w 5566803"/>
                <a:gd name="connsiteY0" fmla="*/ 215429 h 225340"/>
                <a:gd name="connsiteX1" fmla="*/ 93313 w 5566803"/>
                <a:gd name="connsiteY1" fmla="*/ 213989 h 225340"/>
                <a:gd name="connsiteX2" fmla="*/ 186406 w 5566803"/>
                <a:gd name="connsiteY2" fmla="*/ 215069 h 225340"/>
                <a:gd name="connsiteX3" fmla="*/ 279497 w 5566803"/>
                <a:gd name="connsiteY3" fmla="*/ 214169 h 225340"/>
                <a:gd name="connsiteX4" fmla="*/ 372589 w 5566803"/>
                <a:gd name="connsiteY4" fmla="*/ 220112 h 225340"/>
                <a:gd name="connsiteX5" fmla="*/ 465681 w 5566803"/>
                <a:gd name="connsiteY5" fmla="*/ 217050 h 225340"/>
                <a:gd name="connsiteX6" fmla="*/ 558774 w 5566803"/>
                <a:gd name="connsiteY6" fmla="*/ 218671 h 225340"/>
                <a:gd name="connsiteX7" fmla="*/ 651866 w 5566803"/>
                <a:gd name="connsiteY7" fmla="*/ 214529 h 225340"/>
                <a:gd name="connsiteX8" fmla="*/ 744958 w 5566803"/>
                <a:gd name="connsiteY8" fmla="*/ 213989 h 225340"/>
                <a:gd name="connsiteX9" fmla="*/ 838049 w 5566803"/>
                <a:gd name="connsiteY9" fmla="*/ 217590 h 225340"/>
                <a:gd name="connsiteX10" fmla="*/ 931142 w 5566803"/>
                <a:gd name="connsiteY10" fmla="*/ 218491 h 225340"/>
                <a:gd name="connsiteX11" fmla="*/ 1024234 w 5566803"/>
                <a:gd name="connsiteY11" fmla="*/ 221012 h 225340"/>
                <a:gd name="connsiteX12" fmla="*/ 1117326 w 5566803"/>
                <a:gd name="connsiteY12" fmla="*/ 213629 h 225340"/>
                <a:gd name="connsiteX13" fmla="*/ 1209977 w 5566803"/>
                <a:gd name="connsiteY13" fmla="*/ 211648 h 225340"/>
                <a:gd name="connsiteX14" fmla="*/ 1299088 w 5566803"/>
                <a:gd name="connsiteY14" fmla="*/ 212728 h 225340"/>
                <a:gd name="connsiteX15" fmla="*/ 1253095 w 5566803"/>
                <a:gd name="connsiteY15" fmla="*/ 173828 h 225340"/>
                <a:gd name="connsiteX16" fmla="*/ 1196488 w 5566803"/>
                <a:gd name="connsiteY16" fmla="*/ 136729 h 225340"/>
                <a:gd name="connsiteX17" fmla="*/ 1278524 w 5566803"/>
                <a:gd name="connsiteY17" fmla="*/ 154198 h 225340"/>
                <a:gd name="connsiteX18" fmla="*/ 1358570 w 5566803"/>
                <a:gd name="connsiteY18" fmla="*/ 175089 h 225340"/>
                <a:gd name="connsiteX19" fmla="*/ 1437953 w 5566803"/>
                <a:gd name="connsiteY19" fmla="*/ 184274 h 225340"/>
                <a:gd name="connsiteX20" fmla="*/ 1400141 w 5566803"/>
                <a:gd name="connsiteY20" fmla="*/ 123943 h 225340"/>
                <a:gd name="connsiteX21" fmla="*/ 1353483 w 5566803"/>
                <a:gd name="connsiteY21" fmla="*/ 64512 h 225340"/>
                <a:gd name="connsiteX22" fmla="*/ 1300856 w 5566803"/>
                <a:gd name="connsiteY22" fmla="*/ 4001 h 225340"/>
                <a:gd name="connsiteX23" fmla="*/ 1328507 w 5566803"/>
                <a:gd name="connsiteY23" fmla="*/ 951 h 225340"/>
                <a:gd name="connsiteX24" fmla="*/ 1390853 w 5566803"/>
                <a:gd name="connsiteY24" fmla="*/ 50285 h 225340"/>
                <a:gd name="connsiteX25" fmla="*/ 1477754 w 5566803"/>
                <a:gd name="connsiteY25" fmla="*/ 94948 h 225340"/>
                <a:gd name="connsiteX26" fmla="*/ 1565982 w 5566803"/>
                <a:gd name="connsiteY26" fmla="*/ 137269 h 225340"/>
                <a:gd name="connsiteX27" fmla="*/ 1648903 w 5566803"/>
                <a:gd name="connsiteY27" fmla="*/ 186795 h 225340"/>
                <a:gd name="connsiteX28" fmla="*/ 1742216 w 5566803"/>
                <a:gd name="connsiteY28" fmla="*/ 181932 h 225340"/>
                <a:gd name="connsiteX29" fmla="*/ 1835307 w 5566803"/>
                <a:gd name="connsiteY29" fmla="*/ 190397 h 225340"/>
                <a:gd name="connsiteX30" fmla="*/ 1928399 w 5566803"/>
                <a:gd name="connsiteY30" fmla="*/ 190397 h 225340"/>
                <a:gd name="connsiteX31" fmla="*/ 2021492 w 5566803"/>
                <a:gd name="connsiteY31" fmla="*/ 182293 h 225340"/>
                <a:gd name="connsiteX32" fmla="*/ 2114584 w 5566803"/>
                <a:gd name="connsiteY32" fmla="*/ 188416 h 225340"/>
                <a:gd name="connsiteX33" fmla="*/ 2207233 w 5566803"/>
                <a:gd name="connsiteY33" fmla="*/ 180852 h 225340"/>
                <a:gd name="connsiteX34" fmla="*/ 2300325 w 5566803"/>
                <a:gd name="connsiteY34" fmla="*/ 188055 h 225340"/>
                <a:gd name="connsiteX35" fmla="*/ 2393418 w 5566803"/>
                <a:gd name="connsiteY35" fmla="*/ 188055 h 225340"/>
                <a:gd name="connsiteX36" fmla="*/ 2486068 w 5566803"/>
                <a:gd name="connsiteY36" fmla="*/ 185714 h 225340"/>
                <a:gd name="connsiteX37" fmla="*/ 2578718 w 5566803"/>
                <a:gd name="connsiteY37" fmla="*/ 182653 h 225340"/>
                <a:gd name="connsiteX38" fmla="*/ 2671809 w 5566803"/>
                <a:gd name="connsiteY38" fmla="*/ 183733 h 225340"/>
                <a:gd name="connsiteX39" fmla="*/ 2764460 w 5566803"/>
                <a:gd name="connsiteY39" fmla="*/ 188596 h 225340"/>
                <a:gd name="connsiteX40" fmla="*/ 2857110 w 5566803"/>
                <a:gd name="connsiteY40" fmla="*/ 188596 h 225340"/>
                <a:gd name="connsiteX41" fmla="*/ 2949759 w 5566803"/>
                <a:gd name="connsiteY41" fmla="*/ 188416 h 225340"/>
                <a:gd name="connsiteX42" fmla="*/ 3042409 w 5566803"/>
                <a:gd name="connsiteY42" fmla="*/ 185894 h 225340"/>
                <a:gd name="connsiteX43" fmla="*/ 3135060 w 5566803"/>
                <a:gd name="connsiteY43" fmla="*/ 186795 h 225340"/>
                <a:gd name="connsiteX44" fmla="*/ 3227708 w 5566803"/>
                <a:gd name="connsiteY44" fmla="*/ 181032 h 225340"/>
                <a:gd name="connsiteX45" fmla="*/ 3320359 w 5566803"/>
                <a:gd name="connsiteY45" fmla="*/ 183373 h 225340"/>
                <a:gd name="connsiteX46" fmla="*/ 3413008 w 5566803"/>
                <a:gd name="connsiteY46" fmla="*/ 187335 h 225340"/>
                <a:gd name="connsiteX47" fmla="*/ 3505658 w 5566803"/>
                <a:gd name="connsiteY47" fmla="*/ 191297 h 225340"/>
                <a:gd name="connsiteX48" fmla="*/ 3598308 w 5566803"/>
                <a:gd name="connsiteY48" fmla="*/ 181032 h 225340"/>
                <a:gd name="connsiteX49" fmla="*/ 3690958 w 5566803"/>
                <a:gd name="connsiteY49" fmla="*/ 181572 h 225340"/>
                <a:gd name="connsiteX50" fmla="*/ 3783608 w 5566803"/>
                <a:gd name="connsiteY50" fmla="*/ 186255 h 225340"/>
                <a:gd name="connsiteX51" fmla="*/ 3876258 w 5566803"/>
                <a:gd name="connsiteY51" fmla="*/ 190937 h 225340"/>
                <a:gd name="connsiteX52" fmla="*/ 3968907 w 5566803"/>
                <a:gd name="connsiteY52" fmla="*/ 191477 h 225340"/>
                <a:gd name="connsiteX53" fmla="*/ 4061558 w 5566803"/>
                <a:gd name="connsiteY53" fmla="*/ 186615 h 225340"/>
                <a:gd name="connsiteX54" fmla="*/ 4154208 w 5566803"/>
                <a:gd name="connsiteY54" fmla="*/ 184274 h 225340"/>
                <a:gd name="connsiteX55" fmla="*/ 4246857 w 5566803"/>
                <a:gd name="connsiteY55" fmla="*/ 192017 h 225340"/>
                <a:gd name="connsiteX56" fmla="*/ 4339508 w 5566803"/>
                <a:gd name="connsiteY56" fmla="*/ 183193 h 225340"/>
                <a:gd name="connsiteX57" fmla="*/ 4432158 w 5566803"/>
                <a:gd name="connsiteY57" fmla="*/ 184093 h 225340"/>
                <a:gd name="connsiteX58" fmla="*/ 4524806 w 5566803"/>
                <a:gd name="connsiteY58" fmla="*/ 187335 h 225340"/>
                <a:gd name="connsiteX59" fmla="*/ 4617457 w 5566803"/>
                <a:gd name="connsiteY59" fmla="*/ 190036 h 225340"/>
                <a:gd name="connsiteX60" fmla="*/ 4710106 w 5566803"/>
                <a:gd name="connsiteY60" fmla="*/ 186435 h 225340"/>
                <a:gd name="connsiteX61" fmla="*/ 4802756 w 5566803"/>
                <a:gd name="connsiteY61" fmla="*/ 192378 h 225340"/>
                <a:gd name="connsiteX62" fmla="*/ 4895406 w 5566803"/>
                <a:gd name="connsiteY62" fmla="*/ 191657 h 225340"/>
                <a:gd name="connsiteX63" fmla="*/ 4988057 w 5566803"/>
                <a:gd name="connsiteY63" fmla="*/ 190757 h 225340"/>
                <a:gd name="connsiteX64" fmla="*/ 5080706 w 5566803"/>
                <a:gd name="connsiteY64" fmla="*/ 186074 h 225340"/>
                <a:gd name="connsiteX65" fmla="*/ 5173356 w 5566803"/>
                <a:gd name="connsiteY65" fmla="*/ 186074 h 225340"/>
                <a:gd name="connsiteX66" fmla="*/ 5266006 w 5566803"/>
                <a:gd name="connsiteY66" fmla="*/ 190036 h 225340"/>
                <a:gd name="connsiteX67" fmla="*/ 5358656 w 5566803"/>
                <a:gd name="connsiteY67" fmla="*/ 184274 h 225340"/>
                <a:gd name="connsiteX68" fmla="*/ 5440445 w 5566803"/>
                <a:gd name="connsiteY68" fmla="*/ 190073 h 225340"/>
                <a:gd name="connsiteX69" fmla="*/ 5514653 w 5566803"/>
                <a:gd name="connsiteY69" fmla="*/ 223580 h 225340"/>
                <a:gd name="connsiteX70" fmla="*/ 5566803 w 5566803"/>
                <a:gd name="connsiteY70" fmla="*/ 198521 h 22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566803" h="225340">
                  <a:moveTo>
                    <a:pt x="0" y="215429"/>
                  </a:moveTo>
                  <a:cubicBezTo>
                    <a:pt x="46656" y="215429"/>
                    <a:pt x="46877" y="213989"/>
                    <a:pt x="93313" y="213989"/>
                  </a:cubicBezTo>
                  <a:cubicBezTo>
                    <a:pt x="139748" y="213989"/>
                    <a:pt x="139969" y="215069"/>
                    <a:pt x="186406" y="215069"/>
                  </a:cubicBezTo>
                  <a:lnTo>
                    <a:pt x="279497" y="214169"/>
                  </a:lnTo>
                  <a:cubicBezTo>
                    <a:pt x="325933" y="214169"/>
                    <a:pt x="325933" y="220112"/>
                    <a:pt x="372589" y="220112"/>
                  </a:cubicBezTo>
                  <a:cubicBezTo>
                    <a:pt x="419246" y="220112"/>
                    <a:pt x="419246" y="217050"/>
                    <a:pt x="465681" y="217050"/>
                  </a:cubicBezTo>
                  <a:cubicBezTo>
                    <a:pt x="512116" y="217050"/>
                    <a:pt x="512339" y="218671"/>
                    <a:pt x="558774" y="218671"/>
                  </a:cubicBezTo>
                  <a:cubicBezTo>
                    <a:pt x="605209" y="218671"/>
                    <a:pt x="605209" y="214529"/>
                    <a:pt x="651866" y="214529"/>
                  </a:cubicBezTo>
                  <a:lnTo>
                    <a:pt x="744958" y="213989"/>
                  </a:lnTo>
                  <a:cubicBezTo>
                    <a:pt x="791614" y="213989"/>
                    <a:pt x="791393" y="217590"/>
                    <a:pt x="838049" y="217590"/>
                  </a:cubicBezTo>
                  <a:lnTo>
                    <a:pt x="931142" y="218491"/>
                  </a:lnTo>
                  <a:cubicBezTo>
                    <a:pt x="977799" y="218491"/>
                    <a:pt x="977578" y="221012"/>
                    <a:pt x="1024234" y="221012"/>
                  </a:cubicBezTo>
                  <a:cubicBezTo>
                    <a:pt x="1070891" y="221012"/>
                    <a:pt x="1071112" y="213629"/>
                    <a:pt x="1117326" y="213629"/>
                  </a:cubicBezTo>
                  <a:cubicBezTo>
                    <a:pt x="1163540" y="213629"/>
                    <a:pt x="1163319" y="211648"/>
                    <a:pt x="1209977" y="211648"/>
                  </a:cubicBezTo>
                  <a:cubicBezTo>
                    <a:pt x="1256633" y="211648"/>
                    <a:pt x="1269015" y="241723"/>
                    <a:pt x="1299088" y="212728"/>
                  </a:cubicBezTo>
                  <a:cubicBezTo>
                    <a:pt x="1322084" y="190397"/>
                    <a:pt x="1279630" y="193458"/>
                    <a:pt x="1253095" y="173828"/>
                  </a:cubicBezTo>
                  <a:cubicBezTo>
                    <a:pt x="1226560" y="154198"/>
                    <a:pt x="1171058" y="156899"/>
                    <a:pt x="1196488" y="136729"/>
                  </a:cubicBezTo>
                  <a:cubicBezTo>
                    <a:pt x="1226560" y="112957"/>
                    <a:pt x="1237837" y="145914"/>
                    <a:pt x="1278524" y="154198"/>
                  </a:cubicBezTo>
                  <a:cubicBezTo>
                    <a:pt x="1319210" y="162482"/>
                    <a:pt x="1317884" y="166985"/>
                    <a:pt x="1358570" y="175089"/>
                  </a:cubicBezTo>
                  <a:cubicBezTo>
                    <a:pt x="1399257" y="183193"/>
                    <a:pt x="1414293" y="213809"/>
                    <a:pt x="1437953" y="184274"/>
                  </a:cubicBezTo>
                  <a:cubicBezTo>
                    <a:pt x="1461834" y="154738"/>
                    <a:pt x="1423359" y="153658"/>
                    <a:pt x="1400141" y="123943"/>
                  </a:cubicBezTo>
                  <a:cubicBezTo>
                    <a:pt x="1376923" y="94227"/>
                    <a:pt x="1376481" y="94227"/>
                    <a:pt x="1353483" y="64512"/>
                  </a:cubicBezTo>
                  <a:cubicBezTo>
                    <a:pt x="1330488" y="34797"/>
                    <a:pt x="1261497" y="18409"/>
                    <a:pt x="1300856" y="4001"/>
                  </a:cubicBezTo>
                  <a:cubicBezTo>
                    <a:pt x="1312521" y="-231"/>
                    <a:pt x="1321269" y="-850"/>
                    <a:pt x="1328507" y="951"/>
                  </a:cubicBezTo>
                  <a:cubicBezTo>
                    <a:pt x="1350223" y="6354"/>
                    <a:pt x="1358349" y="33536"/>
                    <a:pt x="1390853" y="50285"/>
                  </a:cubicBezTo>
                  <a:lnTo>
                    <a:pt x="1477754" y="94948"/>
                  </a:lnTo>
                  <a:cubicBezTo>
                    <a:pt x="1521094" y="117279"/>
                    <a:pt x="1522642" y="114938"/>
                    <a:pt x="1565982" y="137269"/>
                  </a:cubicBezTo>
                  <a:cubicBezTo>
                    <a:pt x="1609321" y="159601"/>
                    <a:pt x="1600034" y="174548"/>
                    <a:pt x="1648903" y="186795"/>
                  </a:cubicBezTo>
                  <a:cubicBezTo>
                    <a:pt x="1693347" y="197780"/>
                    <a:pt x="1695780" y="181932"/>
                    <a:pt x="1742216" y="181932"/>
                  </a:cubicBezTo>
                  <a:cubicBezTo>
                    <a:pt x="1788651" y="181932"/>
                    <a:pt x="1788651" y="190397"/>
                    <a:pt x="1835307" y="190397"/>
                  </a:cubicBezTo>
                  <a:lnTo>
                    <a:pt x="1928399" y="190397"/>
                  </a:lnTo>
                  <a:cubicBezTo>
                    <a:pt x="1975057" y="190397"/>
                    <a:pt x="1974836" y="182293"/>
                    <a:pt x="2021492" y="182293"/>
                  </a:cubicBezTo>
                  <a:cubicBezTo>
                    <a:pt x="2068149" y="182293"/>
                    <a:pt x="2068370" y="188416"/>
                    <a:pt x="2114584" y="188416"/>
                  </a:cubicBezTo>
                  <a:cubicBezTo>
                    <a:pt x="2160798" y="188416"/>
                    <a:pt x="2160577" y="180852"/>
                    <a:pt x="2207233" y="180852"/>
                  </a:cubicBezTo>
                  <a:cubicBezTo>
                    <a:pt x="2253890" y="180852"/>
                    <a:pt x="2253669" y="188055"/>
                    <a:pt x="2300325" y="188055"/>
                  </a:cubicBezTo>
                  <a:lnTo>
                    <a:pt x="2393418" y="188055"/>
                  </a:lnTo>
                  <a:cubicBezTo>
                    <a:pt x="2439633" y="188055"/>
                    <a:pt x="2439854" y="185714"/>
                    <a:pt x="2486068" y="185714"/>
                  </a:cubicBezTo>
                  <a:cubicBezTo>
                    <a:pt x="2532282" y="185714"/>
                    <a:pt x="2532061" y="182653"/>
                    <a:pt x="2578718" y="182653"/>
                  </a:cubicBezTo>
                  <a:cubicBezTo>
                    <a:pt x="2625374" y="182653"/>
                    <a:pt x="2625595" y="183733"/>
                    <a:pt x="2671809" y="183733"/>
                  </a:cubicBezTo>
                  <a:cubicBezTo>
                    <a:pt x="2718025" y="183733"/>
                    <a:pt x="2718025" y="188596"/>
                    <a:pt x="2764460" y="188596"/>
                  </a:cubicBezTo>
                  <a:lnTo>
                    <a:pt x="2857110" y="188596"/>
                  </a:lnTo>
                  <a:lnTo>
                    <a:pt x="2949759" y="188416"/>
                  </a:lnTo>
                  <a:cubicBezTo>
                    <a:pt x="2995973" y="188416"/>
                    <a:pt x="2996195" y="185894"/>
                    <a:pt x="3042409" y="185894"/>
                  </a:cubicBezTo>
                  <a:lnTo>
                    <a:pt x="3135060" y="186795"/>
                  </a:lnTo>
                  <a:cubicBezTo>
                    <a:pt x="3181274" y="186795"/>
                    <a:pt x="3181494" y="181032"/>
                    <a:pt x="3227708" y="181032"/>
                  </a:cubicBezTo>
                  <a:cubicBezTo>
                    <a:pt x="3273924" y="181032"/>
                    <a:pt x="3274145" y="183373"/>
                    <a:pt x="3320359" y="183373"/>
                  </a:cubicBezTo>
                  <a:cubicBezTo>
                    <a:pt x="3366573" y="183373"/>
                    <a:pt x="3366794" y="187335"/>
                    <a:pt x="3413008" y="187335"/>
                  </a:cubicBezTo>
                  <a:cubicBezTo>
                    <a:pt x="3459223" y="187335"/>
                    <a:pt x="3459444" y="191297"/>
                    <a:pt x="3505658" y="191297"/>
                  </a:cubicBezTo>
                  <a:cubicBezTo>
                    <a:pt x="3551872" y="191297"/>
                    <a:pt x="3552094" y="181032"/>
                    <a:pt x="3598308" y="181032"/>
                  </a:cubicBezTo>
                  <a:lnTo>
                    <a:pt x="3690958" y="181572"/>
                  </a:lnTo>
                  <a:cubicBezTo>
                    <a:pt x="3737173" y="181572"/>
                    <a:pt x="3737394" y="186255"/>
                    <a:pt x="3783608" y="186255"/>
                  </a:cubicBezTo>
                  <a:cubicBezTo>
                    <a:pt x="3829822" y="186255"/>
                    <a:pt x="3830043" y="190937"/>
                    <a:pt x="3876258" y="190937"/>
                  </a:cubicBezTo>
                  <a:lnTo>
                    <a:pt x="3968907" y="191477"/>
                  </a:lnTo>
                  <a:cubicBezTo>
                    <a:pt x="4015122" y="191477"/>
                    <a:pt x="4015344" y="186615"/>
                    <a:pt x="4061558" y="186615"/>
                  </a:cubicBezTo>
                  <a:cubicBezTo>
                    <a:pt x="4107772" y="186615"/>
                    <a:pt x="4107993" y="184274"/>
                    <a:pt x="4154208" y="184274"/>
                  </a:cubicBezTo>
                  <a:cubicBezTo>
                    <a:pt x="4200422" y="184274"/>
                    <a:pt x="4200643" y="192017"/>
                    <a:pt x="4246857" y="192017"/>
                  </a:cubicBezTo>
                  <a:cubicBezTo>
                    <a:pt x="4293072" y="192017"/>
                    <a:pt x="4293294" y="183193"/>
                    <a:pt x="4339508" y="183193"/>
                  </a:cubicBezTo>
                  <a:lnTo>
                    <a:pt x="4432158" y="184093"/>
                  </a:lnTo>
                  <a:cubicBezTo>
                    <a:pt x="4478372" y="184093"/>
                    <a:pt x="4478592" y="187335"/>
                    <a:pt x="4524806" y="187335"/>
                  </a:cubicBezTo>
                  <a:cubicBezTo>
                    <a:pt x="4571022" y="187335"/>
                    <a:pt x="4571243" y="190036"/>
                    <a:pt x="4617457" y="190036"/>
                  </a:cubicBezTo>
                  <a:cubicBezTo>
                    <a:pt x="4663671" y="190036"/>
                    <a:pt x="4663892" y="186435"/>
                    <a:pt x="4710106" y="186435"/>
                  </a:cubicBezTo>
                  <a:cubicBezTo>
                    <a:pt x="4756322" y="186435"/>
                    <a:pt x="4756542" y="192378"/>
                    <a:pt x="4802756" y="192378"/>
                  </a:cubicBezTo>
                  <a:lnTo>
                    <a:pt x="4895406" y="191657"/>
                  </a:lnTo>
                  <a:lnTo>
                    <a:pt x="4988057" y="190757"/>
                  </a:lnTo>
                  <a:cubicBezTo>
                    <a:pt x="5034271" y="190757"/>
                    <a:pt x="5034271" y="186074"/>
                    <a:pt x="5080706" y="186074"/>
                  </a:cubicBezTo>
                  <a:lnTo>
                    <a:pt x="5173356" y="186074"/>
                  </a:lnTo>
                  <a:cubicBezTo>
                    <a:pt x="5219570" y="186074"/>
                    <a:pt x="5219792" y="190036"/>
                    <a:pt x="5266006" y="190036"/>
                  </a:cubicBezTo>
                  <a:cubicBezTo>
                    <a:pt x="5312220" y="190036"/>
                    <a:pt x="5329584" y="184268"/>
                    <a:pt x="5358656" y="184274"/>
                  </a:cubicBezTo>
                  <a:cubicBezTo>
                    <a:pt x="5387728" y="184280"/>
                    <a:pt x="5414446" y="183522"/>
                    <a:pt x="5440445" y="190073"/>
                  </a:cubicBezTo>
                  <a:cubicBezTo>
                    <a:pt x="5466444" y="196624"/>
                    <a:pt x="5493593" y="222172"/>
                    <a:pt x="5514653" y="223580"/>
                  </a:cubicBezTo>
                  <a:cubicBezTo>
                    <a:pt x="5535713" y="224988"/>
                    <a:pt x="5563586" y="160887"/>
                    <a:pt x="5566803" y="198521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D60F05C0-0C39-FE7C-D7A6-606E1AD55BE9}"/>
                </a:ext>
              </a:extLst>
            </p:cNvPr>
            <p:cNvGrpSpPr/>
            <p:nvPr/>
          </p:nvGrpSpPr>
          <p:grpSpPr>
            <a:xfrm>
              <a:off x="8561246" y="4573527"/>
              <a:ext cx="313579" cy="386198"/>
              <a:chOff x="8569940" y="3706813"/>
              <a:chExt cx="333128" cy="50165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4D89746B-219B-1B5D-FFB2-A329496A2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940" y="3706813"/>
                <a:ext cx="154961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A0B33122-2C4C-8858-C8FF-9643E25D2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1889" y="3746500"/>
                <a:ext cx="151179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0EEBB35-B6D6-BF60-AC9A-3FBDC612662D}"/>
                </a:ext>
              </a:extLst>
            </p:cNvPr>
            <p:cNvGrpSpPr/>
            <p:nvPr/>
          </p:nvGrpSpPr>
          <p:grpSpPr>
            <a:xfrm>
              <a:off x="7415961" y="1625980"/>
              <a:ext cx="1936686" cy="2255663"/>
              <a:chOff x="8066900" y="1502265"/>
              <a:chExt cx="1672430" cy="2039469"/>
            </a:xfrm>
          </p:grpSpPr>
          <p:sp>
            <p:nvSpPr>
              <p:cNvPr id="2" name="Freeform: Shape 1">
                <a:extLst>
                  <a:ext uri="{FF2B5EF4-FFF2-40B4-BE49-F238E27FC236}">
                    <a16:creationId xmlns:a16="http://schemas.microsoft.com/office/drawing/2014/main" id="{A4B7A00F-7A8F-930F-4C5E-DD2161A71E3B}"/>
                  </a:ext>
                </a:extLst>
              </p:cNvPr>
              <p:cNvSpPr/>
              <p:nvPr/>
            </p:nvSpPr>
            <p:spPr>
              <a:xfrm rot="432125">
                <a:off x="8067874" y="1502266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solidFill>
                <a:schemeClr val="bg1"/>
              </a:solidFill>
              <a:ln w="11163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FB9987D-2F60-C7B3-B808-EC276EF8E832}"/>
                  </a:ext>
                </a:extLst>
              </p:cNvPr>
              <p:cNvSpPr/>
              <p:nvPr/>
            </p:nvSpPr>
            <p:spPr>
              <a:xfrm rot="432125">
                <a:off x="8067874" y="1502265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grpSp>
            <p:nvGrpSpPr>
              <p:cNvPr id="63" name="Graphic 6">
                <a:extLst>
                  <a:ext uri="{FF2B5EF4-FFF2-40B4-BE49-F238E27FC236}">
                    <a16:creationId xmlns:a16="http://schemas.microsoft.com/office/drawing/2014/main" id="{346B8EA7-E7E7-3A4C-C8A8-164AFB0AF065}"/>
                  </a:ext>
                </a:extLst>
              </p:cNvPr>
              <p:cNvGrpSpPr/>
              <p:nvPr/>
            </p:nvGrpSpPr>
            <p:grpSpPr>
              <a:xfrm rot="432125">
                <a:off x="8490870" y="2263324"/>
                <a:ext cx="445188" cy="226015"/>
                <a:chOff x="8570078" y="2105985"/>
                <a:chExt cx="445188" cy="226015"/>
              </a:xfrm>
              <a:noFill/>
            </p:grpSpPr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45FD88ED-9B4A-BD43-5318-D94E2EFAAD5A}"/>
                    </a:ext>
                  </a:extLst>
                </p:cNvPr>
                <p:cNvSpPr/>
                <p:nvPr/>
              </p:nvSpPr>
              <p:spPr>
                <a:xfrm>
                  <a:off x="8570078" y="2105985"/>
                  <a:ext cx="18009" cy="226015"/>
                </a:xfrm>
                <a:custGeom>
                  <a:avLst/>
                  <a:gdLst>
                    <a:gd name="connsiteX0" fmla="*/ 0 w 18009"/>
                    <a:gd name="connsiteY0" fmla="*/ 0 h 226015"/>
                    <a:gd name="connsiteX1" fmla="*/ 0 w 18009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9" h="226015">
                      <a:moveTo>
                        <a:pt x="0" y="0"/>
                      </a:moveTo>
                      <a:lnTo>
                        <a:pt x="0" y="226016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9D5A5AF-31EB-3BEA-2AC3-7CE230391883}"/>
                    </a:ext>
                  </a:extLst>
                </p:cNvPr>
                <p:cNvSpPr/>
                <p:nvPr/>
              </p:nvSpPr>
              <p:spPr>
                <a:xfrm>
                  <a:off x="9001039" y="2105985"/>
                  <a:ext cx="14227" cy="226015"/>
                </a:xfrm>
                <a:custGeom>
                  <a:avLst/>
                  <a:gdLst>
                    <a:gd name="connsiteX0" fmla="*/ 0 w 14227"/>
                    <a:gd name="connsiteY0" fmla="*/ 0 h 226015"/>
                    <a:gd name="connsiteX1" fmla="*/ 14227 w 14227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27" h="226015">
                      <a:moveTo>
                        <a:pt x="0" y="0"/>
                      </a:moveTo>
                      <a:cubicBezTo>
                        <a:pt x="0" y="112918"/>
                        <a:pt x="14227" y="112918"/>
                        <a:pt x="14227" y="226016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35303A6-374D-D660-800C-1A961F623158}"/>
                  </a:ext>
                </a:extLst>
              </p:cNvPr>
              <p:cNvSpPr/>
              <p:nvPr/>
            </p:nvSpPr>
            <p:spPr>
              <a:xfrm rot="432125">
                <a:off x="8066900" y="2687719"/>
                <a:ext cx="1422728" cy="467686"/>
              </a:xfrm>
              <a:custGeom>
                <a:avLst/>
                <a:gdLst>
                  <a:gd name="connsiteX0" fmla="*/ 0 w 1650905"/>
                  <a:gd name="connsiteY0" fmla="*/ 157401 h 593427"/>
                  <a:gd name="connsiteX1" fmla="*/ 130927 w 1650905"/>
                  <a:gd name="connsiteY1" fmla="*/ 310119 h 593427"/>
                  <a:gd name="connsiteX2" fmla="*/ 291749 w 1650905"/>
                  <a:gd name="connsiteY2" fmla="*/ 432401 h 593427"/>
                  <a:gd name="connsiteX3" fmla="*/ 467339 w 1650905"/>
                  <a:gd name="connsiteY3" fmla="*/ 533613 h 593427"/>
                  <a:gd name="connsiteX4" fmla="*/ 663280 w 1650905"/>
                  <a:gd name="connsiteY4" fmla="*/ 585840 h 593427"/>
                  <a:gd name="connsiteX5" fmla="*/ 864983 w 1650905"/>
                  <a:gd name="connsiteY5" fmla="*/ 587101 h 593427"/>
                  <a:gd name="connsiteX6" fmla="*/ 1061644 w 1650905"/>
                  <a:gd name="connsiteY6" fmla="*/ 540637 h 593427"/>
                  <a:gd name="connsiteX7" fmla="*/ 1246779 w 1650905"/>
                  <a:gd name="connsiteY7" fmla="*/ 454012 h 593427"/>
                  <a:gd name="connsiteX8" fmla="*/ 1405080 w 1650905"/>
                  <a:gd name="connsiteY8" fmla="*/ 323446 h 593427"/>
                  <a:gd name="connsiteX9" fmla="*/ 1532225 w 1650905"/>
                  <a:gd name="connsiteY9" fmla="*/ 164244 h 593427"/>
                  <a:gd name="connsiteX10" fmla="*/ 1650905 w 1650905"/>
                  <a:gd name="connsiteY10" fmla="*/ 0 h 59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905" h="593427">
                    <a:moveTo>
                      <a:pt x="0" y="157401"/>
                    </a:moveTo>
                    <a:cubicBezTo>
                      <a:pt x="61232" y="237542"/>
                      <a:pt x="42142" y="229257"/>
                      <a:pt x="130927" y="310119"/>
                    </a:cubicBezTo>
                    <a:cubicBezTo>
                      <a:pt x="175050" y="350279"/>
                      <a:pt x="229978" y="391521"/>
                      <a:pt x="291749" y="432401"/>
                    </a:cubicBezTo>
                    <a:cubicBezTo>
                      <a:pt x="345417" y="468060"/>
                      <a:pt x="402146" y="506960"/>
                      <a:pt x="467339" y="533613"/>
                    </a:cubicBezTo>
                    <a:cubicBezTo>
                      <a:pt x="528031" y="559006"/>
                      <a:pt x="594485" y="575034"/>
                      <a:pt x="663280" y="585840"/>
                    </a:cubicBezTo>
                    <a:cubicBezTo>
                      <a:pt x="727753" y="596105"/>
                      <a:pt x="794747" y="595385"/>
                      <a:pt x="864983" y="587101"/>
                    </a:cubicBezTo>
                    <a:cubicBezTo>
                      <a:pt x="928196" y="579537"/>
                      <a:pt x="994650" y="567290"/>
                      <a:pt x="1061644" y="540637"/>
                    </a:cubicBezTo>
                    <a:cubicBezTo>
                      <a:pt x="1119814" y="517045"/>
                      <a:pt x="1186808" y="495434"/>
                      <a:pt x="1246779" y="454012"/>
                    </a:cubicBezTo>
                    <a:cubicBezTo>
                      <a:pt x="1298465" y="418354"/>
                      <a:pt x="1352133" y="373871"/>
                      <a:pt x="1405080" y="323446"/>
                    </a:cubicBezTo>
                    <a:cubicBezTo>
                      <a:pt x="1450463" y="280224"/>
                      <a:pt x="1486121" y="219713"/>
                      <a:pt x="1532225" y="164244"/>
                    </a:cubicBezTo>
                    <a:cubicBezTo>
                      <a:pt x="1572385" y="115259"/>
                      <a:pt x="1610205" y="59250"/>
                      <a:pt x="1650905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8E3118D-5F96-57C3-EA4B-FBCB61A3A9E9}"/>
                </a:ext>
              </a:extLst>
            </p:cNvPr>
            <p:cNvSpPr/>
            <p:nvPr/>
          </p:nvSpPr>
          <p:spPr>
            <a:xfrm flipH="1">
              <a:off x="5700472" y="3076892"/>
              <a:ext cx="934354" cy="1334146"/>
            </a:xfrm>
            <a:custGeom>
              <a:avLst/>
              <a:gdLst>
                <a:gd name="connsiteX0" fmla="*/ 0 w 847763"/>
                <a:gd name="connsiteY0" fmla="*/ 1032906 h 1210504"/>
                <a:gd name="connsiteX1" fmla="*/ 235979 w 847763"/>
                <a:gd name="connsiteY1" fmla="*/ 1210505 h 1210504"/>
                <a:gd name="connsiteX2" fmla="*/ 648046 w 847763"/>
                <a:gd name="connsiteY2" fmla="*/ 512013 h 1210504"/>
                <a:gd name="connsiteX3" fmla="*/ 622162 w 847763"/>
                <a:gd name="connsiteY3" fmla="*/ 221620 h 1210504"/>
                <a:gd name="connsiteX4" fmla="*/ 820921 w 847763"/>
                <a:gd name="connsiteY4" fmla="*/ 0 h 1210504"/>
                <a:gd name="connsiteX5" fmla="*/ 781623 w 847763"/>
                <a:gd name="connsiteY5" fmla="*/ 152659 h 121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63" h="1210504">
                  <a:moveTo>
                    <a:pt x="0" y="1032906"/>
                  </a:moveTo>
                  <a:lnTo>
                    <a:pt x="235979" y="1210505"/>
                  </a:lnTo>
                  <a:cubicBezTo>
                    <a:pt x="235979" y="1210505"/>
                    <a:pt x="577574" y="781056"/>
                    <a:pt x="648046" y="512013"/>
                  </a:cubicBezTo>
                  <a:cubicBezTo>
                    <a:pt x="648046" y="512013"/>
                    <a:pt x="618194" y="287370"/>
                    <a:pt x="622162" y="221620"/>
                  </a:cubicBezTo>
                  <a:cubicBezTo>
                    <a:pt x="626129" y="155871"/>
                    <a:pt x="800327" y="0"/>
                    <a:pt x="820921" y="0"/>
                  </a:cubicBezTo>
                  <a:cubicBezTo>
                    <a:pt x="841515" y="0"/>
                    <a:pt x="884970" y="91255"/>
                    <a:pt x="781623" y="15265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8A0E8AE-4D36-F2CC-1511-080B5A33C757}"/>
                </a:ext>
              </a:extLst>
            </p:cNvPr>
            <p:cNvSpPr/>
            <p:nvPr/>
          </p:nvSpPr>
          <p:spPr>
            <a:xfrm flipH="1">
              <a:off x="5513078" y="3612882"/>
              <a:ext cx="1316654" cy="1284171"/>
            </a:xfrm>
            <a:custGeom>
              <a:avLst/>
              <a:gdLst>
                <a:gd name="connsiteX0" fmla="*/ 0 w 1194634"/>
                <a:gd name="connsiteY0" fmla="*/ 1070882 h 1165160"/>
                <a:gd name="connsiteX1" fmla="*/ 663161 w 1194634"/>
                <a:gd name="connsiteY1" fmla="*/ 1165161 h 1165160"/>
                <a:gd name="connsiteX2" fmla="*/ 1073149 w 1194634"/>
                <a:gd name="connsiteY2" fmla="*/ 47800 h 1165160"/>
                <a:gd name="connsiteX3" fmla="*/ 1194634 w 1194634"/>
                <a:gd name="connsiteY3" fmla="*/ 0 h 116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634" h="1165160">
                  <a:moveTo>
                    <a:pt x="0" y="1070882"/>
                  </a:moveTo>
                  <a:cubicBezTo>
                    <a:pt x="0" y="1070882"/>
                    <a:pt x="530906" y="1152691"/>
                    <a:pt x="663161" y="1165161"/>
                  </a:cubicBezTo>
                  <a:cubicBezTo>
                    <a:pt x="715307" y="956388"/>
                    <a:pt x="1073149" y="47800"/>
                    <a:pt x="1073149" y="47800"/>
                  </a:cubicBezTo>
                  <a:cubicBezTo>
                    <a:pt x="1073149" y="47800"/>
                    <a:pt x="1145133" y="50635"/>
                    <a:pt x="1194634" y="0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0DAF662-B562-B060-EEE6-34512E9873A5}"/>
                </a:ext>
              </a:extLst>
            </p:cNvPr>
            <p:cNvGrpSpPr/>
            <p:nvPr userDrawn="1"/>
          </p:nvGrpSpPr>
          <p:grpSpPr>
            <a:xfrm>
              <a:off x="9437570" y="248189"/>
              <a:ext cx="2604824" cy="1701171"/>
              <a:chOff x="9686206" y="652129"/>
              <a:chExt cx="2429364" cy="1586580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8021D8EB-4CD8-5F09-239E-AA9FFB7C0233}"/>
                  </a:ext>
                </a:extLst>
              </p:cNvPr>
              <p:cNvSpPr/>
              <p:nvPr/>
            </p:nvSpPr>
            <p:spPr>
              <a:xfrm flipH="1">
                <a:off x="10409685" y="1085263"/>
                <a:ext cx="920139" cy="950147"/>
              </a:xfrm>
              <a:custGeom>
                <a:avLst/>
                <a:gdLst>
                  <a:gd name="connsiteX0" fmla="*/ 1110910 w 1110909"/>
                  <a:gd name="connsiteY0" fmla="*/ 555455 h 1084407"/>
                  <a:gd name="connsiteX1" fmla="*/ 555455 w 1110909"/>
                  <a:gd name="connsiteY1" fmla="*/ 0 h 1084407"/>
                  <a:gd name="connsiteX2" fmla="*/ 0 w 1110909"/>
                  <a:gd name="connsiteY2" fmla="*/ 555455 h 1084407"/>
                  <a:gd name="connsiteX3" fmla="*/ 189298 w 1110909"/>
                  <a:gd name="connsiteY3" fmla="*/ 972992 h 1084407"/>
                  <a:gd name="connsiteX4" fmla="*/ 614948 w 1110909"/>
                  <a:gd name="connsiteY4" fmla="*/ 971911 h 1084407"/>
                  <a:gd name="connsiteX5" fmla="*/ 725823 w 1110909"/>
                  <a:gd name="connsiteY5" fmla="*/ 1084408 h 1084407"/>
                  <a:gd name="connsiteX6" fmla="*/ 1110910 w 1110909"/>
                  <a:gd name="connsiteY6" fmla="*/ 555455 h 108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0909" h="1084407">
                    <a:moveTo>
                      <a:pt x="1110910" y="555455"/>
                    </a:moveTo>
                    <a:cubicBezTo>
                      <a:pt x="1110910" y="248792"/>
                      <a:pt x="862118" y="0"/>
                      <a:pt x="555455" y="0"/>
                    </a:cubicBezTo>
                    <a:cubicBezTo>
                      <a:pt x="248792" y="0"/>
                      <a:pt x="0" y="248792"/>
                      <a:pt x="0" y="555455"/>
                    </a:cubicBezTo>
                    <a:cubicBezTo>
                      <a:pt x="0" y="722037"/>
                      <a:pt x="73015" y="871312"/>
                      <a:pt x="189298" y="972992"/>
                    </a:cubicBezTo>
                    <a:lnTo>
                      <a:pt x="614948" y="971911"/>
                    </a:lnTo>
                    <a:cubicBezTo>
                      <a:pt x="614948" y="971911"/>
                      <a:pt x="709057" y="1067100"/>
                      <a:pt x="725823" y="1084408"/>
                    </a:cubicBezTo>
                    <a:cubicBezTo>
                      <a:pt x="949195" y="1011934"/>
                      <a:pt x="1110910" y="802624"/>
                      <a:pt x="1110910" y="555455"/>
                    </a:cubicBezTo>
                    <a:close/>
                  </a:path>
                </a:pathLst>
              </a:custGeom>
              <a:solidFill>
                <a:srgbClr val="FEF5F6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9E89E44-6C8F-9D5E-8364-F35C6DA1B481}"/>
                  </a:ext>
                </a:extLst>
              </p:cNvPr>
              <p:cNvSpPr/>
              <p:nvPr/>
            </p:nvSpPr>
            <p:spPr>
              <a:xfrm flipH="1">
                <a:off x="9691397" y="1543989"/>
                <a:ext cx="1331116" cy="693300"/>
              </a:xfrm>
              <a:custGeom>
                <a:avLst/>
                <a:gdLst>
                  <a:gd name="connsiteX0" fmla="*/ 1281278 w 1607094"/>
                  <a:gd name="connsiteY0" fmla="*/ 424028 h 791266"/>
                  <a:gd name="connsiteX1" fmla="*/ 1144983 w 1607094"/>
                  <a:gd name="connsiteY1" fmla="*/ 372647 h 791266"/>
                  <a:gd name="connsiteX2" fmla="*/ 1144983 w 1607094"/>
                  <a:gd name="connsiteY2" fmla="*/ 372647 h 791266"/>
                  <a:gd name="connsiteX3" fmla="*/ 802624 w 1607094"/>
                  <a:gd name="connsiteY3" fmla="*/ 0 h 791266"/>
                  <a:gd name="connsiteX4" fmla="*/ 562486 w 1607094"/>
                  <a:gd name="connsiteY4" fmla="*/ 116283 h 791266"/>
                  <a:gd name="connsiteX5" fmla="*/ 366698 w 1607094"/>
                  <a:gd name="connsiteY5" fmla="*/ 23798 h 791266"/>
                  <a:gd name="connsiteX6" fmla="*/ 0 w 1607094"/>
                  <a:gd name="connsiteY6" fmla="*/ 393740 h 791266"/>
                  <a:gd name="connsiteX7" fmla="*/ 194166 w 1607094"/>
                  <a:gd name="connsiteY7" fmla="*/ 791266 h 791266"/>
                  <a:gd name="connsiteX8" fmla="*/ 222831 w 1607094"/>
                  <a:gd name="connsiteY8" fmla="*/ 790184 h 791266"/>
                  <a:gd name="connsiteX9" fmla="*/ 777204 w 1607094"/>
                  <a:gd name="connsiteY9" fmla="*/ 790184 h 791266"/>
                  <a:gd name="connsiteX10" fmla="*/ 802624 w 1607094"/>
                  <a:gd name="connsiteY10" fmla="*/ 791266 h 791266"/>
                  <a:gd name="connsiteX11" fmla="*/ 828044 w 1607094"/>
                  <a:gd name="connsiteY11" fmla="*/ 790184 h 791266"/>
                  <a:gd name="connsiteX12" fmla="*/ 1606330 w 1607094"/>
                  <a:gd name="connsiteY12" fmla="*/ 790184 h 791266"/>
                  <a:gd name="connsiteX13" fmla="*/ 1281278 w 1607094"/>
                  <a:gd name="connsiteY13" fmla="*/ 424028 h 791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7094" h="791266">
                    <a:moveTo>
                      <a:pt x="1281278" y="424028"/>
                    </a:moveTo>
                    <a:cubicBezTo>
                      <a:pt x="1277492" y="386168"/>
                      <a:pt x="1214212" y="328297"/>
                      <a:pt x="1144983" y="372647"/>
                    </a:cubicBezTo>
                    <a:lnTo>
                      <a:pt x="1144983" y="372647"/>
                    </a:lnTo>
                    <a:cubicBezTo>
                      <a:pt x="1134707" y="164960"/>
                      <a:pt x="983269" y="0"/>
                      <a:pt x="802624" y="0"/>
                    </a:cubicBezTo>
                    <a:cubicBezTo>
                      <a:pt x="709057" y="0"/>
                      <a:pt x="624143" y="44350"/>
                      <a:pt x="562486" y="116283"/>
                    </a:cubicBezTo>
                    <a:cubicBezTo>
                      <a:pt x="497043" y="55167"/>
                      <a:pt x="427814" y="27043"/>
                      <a:pt x="366698" y="23798"/>
                    </a:cubicBezTo>
                    <a:cubicBezTo>
                      <a:pt x="163337" y="9195"/>
                      <a:pt x="0" y="189298"/>
                      <a:pt x="0" y="393740"/>
                    </a:cubicBezTo>
                    <a:cubicBezTo>
                      <a:pt x="0" y="449448"/>
                      <a:pt x="10817" y="791266"/>
                      <a:pt x="194166" y="791266"/>
                    </a:cubicBezTo>
                    <a:cubicBezTo>
                      <a:pt x="203360" y="791266"/>
                      <a:pt x="213096" y="790725"/>
                      <a:pt x="222831" y="790184"/>
                    </a:cubicBezTo>
                    <a:lnTo>
                      <a:pt x="777204" y="790184"/>
                    </a:lnTo>
                    <a:cubicBezTo>
                      <a:pt x="785317" y="790725"/>
                      <a:pt x="793971" y="791266"/>
                      <a:pt x="802624" y="791266"/>
                    </a:cubicBezTo>
                    <a:cubicBezTo>
                      <a:pt x="811278" y="791266"/>
                      <a:pt x="819390" y="790725"/>
                      <a:pt x="828044" y="790184"/>
                    </a:cubicBezTo>
                    <a:lnTo>
                      <a:pt x="1606330" y="790184"/>
                    </a:lnTo>
                    <a:cubicBezTo>
                      <a:pt x="1614443" y="699862"/>
                      <a:pt x="1561439" y="471082"/>
                      <a:pt x="1281278" y="424028"/>
                    </a:cubicBezTo>
                    <a:close/>
                  </a:path>
                </a:pathLst>
              </a:custGeom>
              <a:solidFill>
                <a:srgbClr val="E1EBE5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DB0AA600-99BB-9554-AFD2-B89B8DA41B23}"/>
                  </a:ext>
                </a:extLst>
              </p:cNvPr>
              <p:cNvSpPr/>
              <p:nvPr/>
            </p:nvSpPr>
            <p:spPr>
              <a:xfrm flipH="1">
                <a:off x="9686206" y="2235393"/>
                <a:ext cx="768724" cy="3316"/>
              </a:xfrm>
              <a:custGeom>
                <a:avLst/>
                <a:gdLst>
                  <a:gd name="connsiteX0" fmla="*/ 0 w 928102"/>
                  <a:gd name="connsiteY0" fmla="*/ 0 h 3785"/>
                  <a:gd name="connsiteX1" fmla="*/ 17848 w 928102"/>
                  <a:gd name="connsiteY1" fmla="*/ 0 h 3785"/>
                  <a:gd name="connsiteX2" fmla="*/ 35697 w 928102"/>
                  <a:gd name="connsiteY2" fmla="*/ 1082 h 3785"/>
                  <a:gd name="connsiteX3" fmla="*/ 53544 w 928102"/>
                  <a:gd name="connsiteY3" fmla="*/ 1082 h 3785"/>
                  <a:gd name="connsiteX4" fmla="*/ 71393 w 928102"/>
                  <a:gd name="connsiteY4" fmla="*/ 1082 h 3785"/>
                  <a:gd name="connsiteX5" fmla="*/ 89241 w 928102"/>
                  <a:gd name="connsiteY5" fmla="*/ 541 h 3785"/>
                  <a:gd name="connsiteX6" fmla="*/ 107089 w 928102"/>
                  <a:gd name="connsiteY6" fmla="*/ 0 h 3785"/>
                  <a:gd name="connsiteX7" fmla="*/ 124937 w 928102"/>
                  <a:gd name="connsiteY7" fmla="*/ 2163 h 3785"/>
                  <a:gd name="connsiteX8" fmla="*/ 142785 w 928102"/>
                  <a:gd name="connsiteY8" fmla="*/ 1622 h 3785"/>
                  <a:gd name="connsiteX9" fmla="*/ 160633 w 928102"/>
                  <a:gd name="connsiteY9" fmla="*/ 0 h 3785"/>
                  <a:gd name="connsiteX10" fmla="*/ 178481 w 928102"/>
                  <a:gd name="connsiteY10" fmla="*/ 1622 h 3785"/>
                  <a:gd name="connsiteX11" fmla="*/ 196329 w 928102"/>
                  <a:gd name="connsiteY11" fmla="*/ 1622 h 3785"/>
                  <a:gd name="connsiteX12" fmla="*/ 214178 w 928102"/>
                  <a:gd name="connsiteY12" fmla="*/ 1622 h 3785"/>
                  <a:gd name="connsiteX13" fmla="*/ 232026 w 928102"/>
                  <a:gd name="connsiteY13" fmla="*/ 2704 h 3785"/>
                  <a:gd name="connsiteX14" fmla="*/ 249874 w 928102"/>
                  <a:gd name="connsiteY14" fmla="*/ 2704 h 3785"/>
                  <a:gd name="connsiteX15" fmla="*/ 267722 w 928102"/>
                  <a:gd name="connsiteY15" fmla="*/ 541 h 3785"/>
                  <a:gd name="connsiteX16" fmla="*/ 285570 w 928102"/>
                  <a:gd name="connsiteY16" fmla="*/ 1622 h 3785"/>
                  <a:gd name="connsiteX17" fmla="*/ 303418 w 928102"/>
                  <a:gd name="connsiteY17" fmla="*/ 541 h 3785"/>
                  <a:gd name="connsiteX18" fmla="*/ 321266 w 928102"/>
                  <a:gd name="connsiteY18" fmla="*/ 2163 h 3785"/>
                  <a:gd name="connsiteX19" fmla="*/ 339114 w 928102"/>
                  <a:gd name="connsiteY19" fmla="*/ 2704 h 3785"/>
                  <a:gd name="connsiteX20" fmla="*/ 356962 w 928102"/>
                  <a:gd name="connsiteY20" fmla="*/ 3245 h 3785"/>
                  <a:gd name="connsiteX21" fmla="*/ 374811 w 928102"/>
                  <a:gd name="connsiteY21" fmla="*/ 1082 h 3785"/>
                  <a:gd name="connsiteX22" fmla="*/ 392659 w 928102"/>
                  <a:gd name="connsiteY22" fmla="*/ 2163 h 3785"/>
                  <a:gd name="connsiteX23" fmla="*/ 410507 w 928102"/>
                  <a:gd name="connsiteY23" fmla="*/ 1622 h 3785"/>
                  <a:gd name="connsiteX24" fmla="*/ 428355 w 928102"/>
                  <a:gd name="connsiteY24" fmla="*/ 3245 h 3785"/>
                  <a:gd name="connsiteX25" fmla="*/ 446203 w 928102"/>
                  <a:gd name="connsiteY25" fmla="*/ 1082 h 3785"/>
                  <a:gd name="connsiteX26" fmla="*/ 464051 w 928102"/>
                  <a:gd name="connsiteY26" fmla="*/ 3245 h 3785"/>
                  <a:gd name="connsiteX27" fmla="*/ 481899 w 928102"/>
                  <a:gd name="connsiteY27" fmla="*/ 2704 h 3785"/>
                  <a:gd name="connsiteX28" fmla="*/ 499747 w 928102"/>
                  <a:gd name="connsiteY28" fmla="*/ 3786 h 3785"/>
                  <a:gd name="connsiteX29" fmla="*/ 517596 w 928102"/>
                  <a:gd name="connsiteY29" fmla="*/ 2704 h 3785"/>
                  <a:gd name="connsiteX30" fmla="*/ 535443 w 928102"/>
                  <a:gd name="connsiteY30" fmla="*/ 1622 h 3785"/>
                  <a:gd name="connsiteX31" fmla="*/ 553292 w 928102"/>
                  <a:gd name="connsiteY31" fmla="*/ 3786 h 3785"/>
                  <a:gd name="connsiteX32" fmla="*/ 571140 w 928102"/>
                  <a:gd name="connsiteY32" fmla="*/ 2163 h 3785"/>
                  <a:gd name="connsiteX33" fmla="*/ 588988 w 928102"/>
                  <a:gd name="connsiteY33" fmla="*/ 1622 h 3785"/>
                  <a:gd name="connsiteX34" fmla="*/ 606836 w 928102"/>
                  <a:gd name="connsiteY34" fmla="*/ 2704 h 3785"/>
                  <a:gd name="connsiteX35" fmla="*/ 624684 w 928102"/>
                  <a:gd name="connsiteY35" fmla="*/ 1622 h 3785"/>
                  <a:gd name="connsiteX36" fmla="*/ 642532 w 928102"/>
                  <a:gd name="connsiteY36" fmla="*/ 3245 h 3785"/>
                  <a:gd name="connsiteX37" fmla="*/ 660381 w 928102"/>
                  <a:gd name="connsiteY37" fmla="*/ 2163 h 3785"/>
                  <a:gd name="connsiteX38" fmla="*/ 678228 w 928102"/>
                  <a:gd name="connsiteY38" fmla="*/ 2163 h 3785"/>
                  <a:gd name="connsiteX39" fmla="*/ 696077 w 928102"/>
                  <a:gd name="connsiteY39" fmla="*/ 2163 h 3785"/>
                  <a:gd name="connsiteX40" fmla="*/ 713924 w 928102"/>
                  <a:gd name="connsiteY40" fmla="*/ 2704 h 3785"/>
                  <a:gd name="connsiteX41" fmla="*/ 731773 w 928102"/>
                  <a:gd name="connsiteY41" fmla="*/ 2704 h 3785"/>
                  <a:gd name="connsiteX42" fmla="*/ 749621 w 928102"/>
                  <a:gd name="connsiteY42" fmla="*/ 1082 h 3785"/>
                  <a:gd name="connsiteX43" fmla="*/ 767469 w 928102"/>
                  <a:gd name="connsiteY43" fmla="*/ 1082 h 3785"/>
                  <a:gd name="connsiteX44" fmla="*/ 785317 w 928102"/>
                  <a:gd name="connsiteY44" fmla="*/ 1082 h 3785"/>
                  <a:gd name="connsiteX45" fmla="*/ 803165 w 928102"/>
                  <a:gd name="connsiteY45" fmla="*/ 1622 h 3785"/>
                  <a:gd name="connsiteX46" fmla="*/ 821013 w 928102"/>
                  <a:gd name="connsiteY46" fmla="*/ 2163 h 3785"/>
                  <a:gd name="connsiteX47" fmla="*/ 838862 w 928102"/>
                  <a:gd name="connsiteY47" fmla="*/ 1082 h 3785"/>
                  <a:gd name="connsiteX48" fmla="*/ 856709 w 928102"/>
                  <a:gd name="connsiteY48" fmla="*/ 3245 h 3785"/>
                  <a:gd name="connsiteX49" fmla="*/ 874558 w 928102"/>
                  <a:gd name="connsiteY49" fmla="*/ 1622 h 3785"/>
                  <a:gd name="connsiteX50" fmla="*/ 892405 w 928102"/>
                  <a:gd name="connsiteY50" fmla="*/ 2163 h 3785"/>
                  <a:gd name="connsiteX51" fmla="*/ 910254 w 928102"/>
                  <a:gd name="connsiteY51" fmla="*/ 1622 h 3785"/>
                  <a:gd name="connsiteX52" fmla="*/ 928102 w 928102"/>
                  <a:gd name="connsiteY52" fmla="*/ 2163 h 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28102" h="3785">
                    <a:moveTo>
                      <a:pt x="0" y="0"/>
                    </a:moveTo>
                    <a:cubicBezTo>
                      <a:pt x="8654" y="0"/>
                      <a:pt x="8654" y="0"/>
                      <a:pt x="17848" y="0"/>
                    </a:cubicBezTo>
                    <a:cubicBezTo>
                      <a:pt x="26502" y="0"/>
                      <a:pt x="26502" y="1082"/>
                      <a:pt x="35697" y="1082"/>
                    </a:cubicBezTo>
                    <a:cubicBezTo>
                      <a:pt x="44350" y="1082"/>
                      <a:pt x="44350" y="1082"/>
                      <a:pt x="53544" y="1082"/>
                    </a:cubicBezTo>
                    <a:cubicBezTo>
                      <a:pt x="62198" y="1082"/>
                      <a:pt x="62198" y="1082"/>
                      <a:pt x="71393" y="1082"/>
                    </a:cubicBezTo>
                    <a:cubicBezTo>
                      <a:pt x="80046" y="1082"/>
                      <a:pt x="80046" y="541"/>
                      <a:pt x="89241" y="541"/>
                    </a:cubicBezTo>
                    <a:cubicBezTo>
                      <a:pt x="97895" y="541"/>
                      <a:pt x="97895" y="0"/>
                      <a:pt x="107089" y="0"/>
                    </a:cubicBezTo>
                    <a:cubicBezTo>
                      <a:pt x="115742" y="0"/>
                      <a:pt x="115742" y="2163"/>
                      <a:pt x="124937" y="2163"/>
                    </a:cubicBezTo>
                    <a:cubicBezTo>
                      <a:pt x="133591" y="2163"/>
                      <a:pt x="133591" y="1622"/>
                      <a:pt x="142785" y="1622"/>
                    </a:cubicBezTo>
                    <a:cubicBezTo>
                      <a:pt x="151438" y="1622"/>
                      <a:pt x="151438" y="0"/>
                      <a:pt x="160633" y="0"/>
                    </a:cubicBezTo>
                    <a:cubicBezTo>
                      <a:pt x="169287" y="0"/>
                      <a:pt x="169287" y="1622"/>
                      <a:pt x="178481" y="1622"/>
                    </a:cubicBezTo>
                    <a:cubicBezTo>
                      <a:pt x="187135" y="1622"/>
                      <a:pt x="187135" y="1622"/>
                      <a:pt x="196329" y="1622"/>
                    </a:cubicBezTo>
                    <a:cubicBezTo>
                      <a:pt x="204983" y="1622"/>
                      <a:pt x="204983" y="1622"/>
                      <a:pt x="214178" y="1622"/>
                    </a:cubicBezTo>
                    <a:cubicBezTo>
                      <a:pt x="222831" y="1622"/>
                      <a:pt x="222831" y="2704"/>
                      <a:pt x="232026" y="2704"/>
                    </a:cubicBezTo>
                    <a:cubicBezTo>
                      <a:pt x="240679" y="2704"/>
                      <a:pt x="240679" y="2704"/>
                      <a:pt x="249874" y="2704"/>
                    </a:cubicBezTo>
                    <a:cubicBezTo>
                      <a:pt x="258527" y="2704"/>
                      <a:pt x="258527" y="541"/>
                      <a:pt x="267722" y="541"/>
                    </a:cubicBezTo>
                    <a:cubicBezTo>
                      <a:pt x="276376" y="541"/>
                      <a:pt x="276376" y="1622"/>
                      <a:pt x="285570" y="1622"/>
                    </a:cubicBezTo>
                    <a:cubicBezTo>
                      <a:pt x="294224" y="1622"/>
                      <a:pt x="294224" y="541"/>
                      <a:pt x="303418" y="541"/>
                    </a:cubicBezTo>
                    <a:cubicBezTo>
                      <a:pt x="312072" y="541"/>
                      <a:pt x="312072" y="2163"/>
                      <a:pt x="321266" y="2163"/>
                    </a:cubicBezTo>
                    <a:cubicBezTo>
                      <a:pt x="329920" y="2163"/>
                      <a:pt x="329920" y="2704"/>
                      <a:pt x="339114" y="2704"/>
                    </a:cubicBezTo>
                    <a:cubicBezTo>
                      <a:pt x="347768" y="2704"/>
                      <a:pt x="347768" y="3245"/>
                      <a:pt x="356962" y="3245"/>
                    </a:cubicBezTo>
                    <a:cubicBezTo>
                      <a:pt x="365616" y="3245"/>
                      <a:pt x="365616" y="1082"/>
                      <a:pt x="374811" y="1082"/>
                    </a:cubicBezTo>
                    <a:cubicBezTo>
                      <a:pt x="383464" y="1082"/>
                      <a:pt x="383464" y="2163"/>
                      <a:pt x="392659" y="2163"/>
                    </a:cubicBezTo>
                    <a:cubicBezTo>
                      <a:pt x="401312" y="2163"/>
                      <a:pt x="401312" y="1622"/>
                      <a:pt x="410507" y="1622"/>
                    </a:cubicBezTo>
                    <a:cubicBezTo>
                      <a:pt x="419160" y="1622"/>
                      <a:pt x="419160" y="3245"/>
                      <a:pt x="428355" y="3245"/>
                    </a:cubicBezTo>
                    <a:cubicBezTo>
                      <a:pt x="437008" y="3245"/>
                      <a:pt x="437008" y="1082"/>
                      <a:pt x="446203" y="1082"/>
                    </a:cubicBezTo>
                    <a:cubicBezTo>
                      <a:pt x="454857" y="1082"/>
                      <a:pt x="454857" y="3245"/>
                      <a:pt x="464051" y="3245"/>
                    </a:cubicBezTo>
                    <a:cubicBezTo>
                      <a:pt x="472705" y="3245"/>
                      <a:pt x="472705" y="2704"/>
                      <a:pt x="481899" y="2704"/>
                    </a:cubicBezTo>
                    <a:cubicBezTo>
                      <a:pt x="490553" y="2704"/>
                      <a:pt x="490553" y="3786"/>
                      <a:pt x="499747" y="3786"/>
                    </a:cubicBezTo>
                    <a:cubicBezTo>
                      <a:pt x="508401" y="3786"/>
                      <a:pt x="508401" y="2704"/>
                      <a:pt x="517596" y="2704"/>
                    </a:cubicBezTo>
                    <a:cubicBezTo>
                      <a:pt x="526249" y="2704"/>
                      <a:pt x="526249" y="1622"/>
                      <a:pt x="535443" y="1622"/>
                    </a:cubicBezTo>
                    <a:cubicBezTo>
                      <a:pt x="544097" y="1622"/>
                      <a:pt x="544097" y="3786"/>
                      <a:pt x="553292" y="3786"/>
                    </a:cubicBezTo>
                    <a:cubicBezTo>
                      <a:pt x="561945" y="3786"/>
                      <a:pt x="561945" y="2163"/>
                      <a:pt x="571140" y="2163"/>
                    </a:cubicBezTo>
                    <a:cubicBezTo>
                      <a:pt x="579794" y="2163"/>
                      <a:pt x="579794" y="1622"/>
                      <a:pt x="588988" y="1622"/>
                    </a:cubicBezTo>
                    <a:cubicBezTo>
                      <a:pt x="597641" y="1622"/>
                      <a:pt x="597641" y="2704"/>
                      <a:pt x="606836" y="2704"/>
                    </a:cubicBezTo>
                    <a:cubicBezTo>
                      <a:pt x="616030" y="2704"/>
                      <a:pt x="615490" y="1622"/>
                      <a:pt x="624684" y="1622"/>
                    </a:cubicBezTo>
                    <a:cubicBezTo>
                      <a:pt x="633338" y="1622"/>
                      <a:pt x="633338" y="3245"/>
                      <a:pt x="642532" y="3245"/>
                    </a:cubicBezTo>
                    <a:cubicBezTo>
                      <a:pt x="651186" y="3245"/>
                      <a:pt x="651186" y="2163"/>
                      <a:pt x="660381" y="2163"/>
                    </a:cubicBezTo>
                    <a:cubicBezTo>
                      <a:pt x="669034" y="2163"/>
                      <a:pt x="669034" y="2163"/>
                      <a:pt x="678228" y="2163"/>
                    </a:cubicBezTo>
                    <a:cubicBezTo>
                      <a:pt x="686882" y="2163"/>
                      <a:pt x="686882" y="2163"/>
                      <a:pt x="696077" y="2163"/>
                    </a:cubicBezTo>
                    <a:cubicBezTo>
                      <a:pt x="704730" y="2163"/>
                      <a:pt x="704730" y="2704"/>
                      <a:pt x="713924" y="2704"/>
                    </a:cubicBezTo>
                    <a:cubicBezTo>
                      <a:pt x="722578" y="2704"/>
                      <a:pt x="722578" y="2704"/>
                      <a:pt x="731773" y="2704"/>
                    </a:cubicBezTo>
                    <a:cubicBezTo>
                      <a:pt x="740426" y="2704"/>
                      <a:pt x="740426" y="1082"/>
                      <a:pt x="749621" y="1082"/>
                    </a:cubicBezTo>
                    <a:cubicBezTo>
                      <a:pt x="758275" y="1082"/>
                      <a:pt x="758275" y="1082"/>
                      <a:pt x="767469" y="1082"/>
                    </a:cubicBezTo>
                    <a:cubicBezTo>
                      <a:pt x="776122" y="1082"/>
                      <a:pt x="776122" y="1082"/>
                      <a:pt x="785317" y="1082"/>
                    </a:cubicBezTo>
                    <a:cubicBezTo>
                      <a:pt x="793971" y="1082"/>
                      <a:pt x="793971" y="1622"/>
                      <a:pt x="803165" y="1622"/>
                    </a:cubicBezTo>
                    <a:cubicBezTo>
                      <a:pt x="811819" y="1622"/>
                      <a:pt x="811819" y="2163"/>
                      <a:pt x="821013" y="2163"/>
                    </a:cubicBezTo>
                    <a:cubicBezTo>
                      <a:pt x="829667" y="2163"/>
                      <a:pt x="829667" y="1082"/>
                      <a:pt x="838862" y="1082"/>
                    </a:cubicBezTo>
                    <a:cubicBezTo>
                      <a:pt x="847515" y="1082"/>
                      <a:pt x="847515" y="3245"/>
                      <a:pt x="856709" y="3245"/>
                    </a:cubicBezTo>
                    <a:cubicBezTo>
                      <a:pt x="865363" y="3245"/>
                      <a:pt x="865363" y="1622"/>
                      <a:pt x="874558" y="1622"/>
                    </a:cubicBezTo>
                    <a:cubicBezTo>
                      <a:pt x="883211" y="1622"/>
                      <a:pt x="883211" y="2163"/>
                      <a:pt x="892405" y="2163"/>
                    </a:cubicBezTo>
                    <a:cubicBezTo>
                      <a:pt x="901060" y="2163"/>
                      <a:pt x="901060" y="1622"/>
                      <a:pt x="910254" y="1622"/>
                    </a:cubicBezTo>
                    <a:cubicBezTo>
                      <a:pt x="919448" y="1622"/>
                      <a:pt x="918907" y="2163"/>
                      <a:pt x="928102" y="21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566C8DF-246A-DDD5-735A-31C7FB209B13}"/>
                  </a:ext>
                </a:extLst>
              </p:cNvPr>
              <p:cNvSpPr/>
              <p:nvPr/>
            </p:nvSpPr>
            <p:spPr>
              <a:xfrm flipH="1">
                <a:off x="10569163" y="1564269"/>
                <a:ext cx="453869" cy="330397"/>
              </a:xfrm>
              <a:custGeom>
                <a:avLst/>
                <a:gdLst>
                  <a:gd name="connsiteX0" fmla="*/ 547969 w 547969"/>
                  <a:gd name="connsiteY0" fmla="*/ 79616 h 377083"/>
                  <a:gd name="connsiteX1" fmla="*/ 535530 w 547969"/>
                  <a:gd name="connsiteY1" fmla="*/ 67176 h 377083"/>
                  <a:gd name="connsiteX2" fmla="*/ 520386 w 547969"/>
                  <a:gd name="connsiteY2" fmla="*/ 57981 h 377083"/>
                  <a:gd name="connsiteX3" fmla="*/ 506865 w 547969"/>
                  <a:gd name="connsiteY3" fmla="*/ 47164 h 377083"/>
                  <a:gd name="connsiteX4" fmla="*/ 491180 w 547969"/>
                  <a:gd name="connsiteY4" fmla="*/ 40133 h 377083"/>
                  <a:gd name="connsiteX5" fmla="*/ 476577 w 547969"/>
                  <a:gd name="connsiteY5" fmla="*/ 30398 h 377083"/>
                  <a:gd name="connsiteX6" fmla="*/ 460352 w 547969"/>
                  <a:gd name="connsiteY6" fmla="*/ 24449 h 377083"/>
                  <a:gd name="connsiteX7" fmla="*/ 444667 w 547969"/>
                  <a:gd name="connsiteY7" fmla="*/ 16877 h 377083"/>
                  <a:gd name="connsiteX8" fmla="*/ 427360 w 547969"/>
                  <a:gd name="connsiteY8" fmla="*/ 13632 h 377083"/>
                  <a:gd name="connsiteX9" fmla="*/ 410593 w 547969"/>
                  <a:gd name="connsiteY9" fmla="*/ 9305 h 377083"/>
                  <a:gd name="connsiteX10" fmla="*/ 393826 w 547969"/>
                  <a:gd name="connsiteY10" fmla="*/ 3356 h 377083"/>
                  <a:gd name="connsiteX11" fmla="*/ 376519 w 547969"/>
                  <a:gd name="connsiteY11" fmla="*/ 1192 h 377083"/>
                  <a:gd name="connsiteX12" fmla="*/ 359212 w 547969"/>
                  <a:gd name="connsiteY12" fmla="*/ 110 h 377083"/>
                  <a:gd name="connsiteX13" fmla="*/ 341905 w 547969"/>
                  <a:gd name="connsiteY13" fmla="*/ 1192 h 377083"/>
                  <a:gd name="connsiteX14" fmla="*/ 324057 w 547969"/>
                  <a:gd name="connsiteY14" fmla="*/ 1192 h 377083"/>
                  <a:gd name="connsiteX15" fmla="*/ 306749 w 547969"/>
                  <a:gd name="connsiteY15" fmla="*/ 2815 h 377083"/>
                  <a:gd name="connsiteX16" fmla="*/ 289442 w 547969"/>
                  <a:gd name="connsiteY16" fmla="*/ 4978 h 377083"/>
                  <a:gd name="connsiteX17" fmla="*/ 272135 w 547969"/>
                  <a:gd name="connsiteY17" fmla="*/ 7682 h 377083"/>
                  <a:gd name="connsiteX18" fmla="*/ 255369 w 547969"/>
                  <a:gd name="connsiteY18" fmla="*/ 13632 h 377083"/>
                  <a:gd name="connsiteX19" fmla="*/ 238062 w 547969"/>
                  <a:gd name="connsiteY19" fmla="*/ 17958 h 377083"/>
                  <a:gd name="connsiteX20" fmla="*/ 221836 w 547969"/>
                  <a:gd name="connsiteY20" fmla="*/ 24990 h 377083"/>
                  <a:gd name="connsiteX21" fmla="*/ 206151 w 547969"/>
                  <a:gd name="connsiteY21" fmla="*/ 32561 h 377083"/>
                  <a:gd name="connsiteX22" fmla="*/ 189385 w 547969"/>
                  <a:gd name="connsiteY22" fmla="*/ 39052 h 377083"/>
                  <a:gd name="connsiteX23" fmla="*/ 174241 w 547969"/>
                  <a:gd name="connsiteY23" fmla="*/ 48246 h 377083"/>
                  <a:gd name="connsiteX24" fmla="*/ 159638 w 547969"/>
                  <a:gd name="connsiteY24" fmla="*/ 58522 h 377083"/>
                  <a:gd name="connsiteX25" fmla="*/ 146117 w 547969"/>
                  <a:gd name="connsiteY25" fmla="*/ 69880 h 377083"/>
                  <a:gd name="connsiteX26" fmla="*/ 133136 w 547969"/>
                  <a:gd name="connsiteY26" fmla="*/ 81779 h 377083"/>
                  <a:gd name="connsiteX27" fmla="*/ 119615 w 547969"/>
                  <a:gd name="connsiteY27" fmla="*/ 92596 h 377083"/>
                  <a:gd name="connsiteX28" fmla="*/ 107716 w 547969"/>
                  <a:gd name="connsiteY28" fmla="*/ 105576 h 377083"/>
                  <a:gd name="connsiteX29" fmla="*/ 95817 w 547969"/>
                  <a:gd name="connsiteY29" fmla="*/ 118557 h 377083"/>
                  <a:gd name="connsiteX30" fmla="*/ 83378 w 547969"/>
                  <a:gd name="connsiteY30" fmla="*/ 130996 h 377083"/>
                  <a:gd name="connsiteX31" fmla="*/ 72561 w 547969"/>
                  <a:gd name="connsiteY31" fmla="*/ 145059 h 377083"/>
                  <a:gd name="connsiteX32" fmla="*/ 63907 w 547969"/>
                  <a:gd name="connsiteY32" fmla="*/ 160203 h 377083"/>
                  <a:gd name="connsiteX33" fmla="*/ 54172 w 547969"/>
                  <a:gd name="connsiteY33" fmla="*/ 174805 h 377083"/>
                  <a:gd name="connsiteX34" fmla="*/ 46059 w 547969"/>
                  <a:gd name="connsiteY34" fmla="*/ 190490 h 377083"/>
                  <a:gd name="connsiteX35" fmla="*/ 38487 w 547969"/>
                  <a:gd name="connsiteY35" fmla="*/ 206175 h 377083"/>
                  <a:gd name="connsiteX36" fmla="*/ 31456 w 547969"/>
                  <a:gd name="connsiteY36" fmla="*/ 222400 h 377083"/>
                  <a:gd name="connsiteX37" fmla="*/ 23884 w 547969"/>
                  <a:gd name="connsiteY37" fmla="*/ 238626 h 377083"/>
                  <a:gd name="connsiteX38" fmla="*/ 20098 w 547969"/>
                  <a:gd name="connsiteY38" fmla="*/ 255933 h 377083"/>
                  <a:gd name="connsiteX39" fmla="*/ 14690 w 547969"/>
                  <a:gd name="connsiteY39" fmla="*/ 272700 h 377083"/>
                  <a:gd name="connsiteX40" fmla="*/ 11445 w 547969"/>
                  <a:gd name="connsiteY40" fmla="*/ 290007 h 377083"/>
                  <a:gd name="connsiteX41" fmla="*/ 7117 w 547969"/>
                  <a:gd name="connsiteY41" fmla="*/ 307314 h 377083"/>
                  <a:gd name="connsiteX42" fmla="*/ 4955 w 547969"/>
                  <a:gd name="connsiteY42" fmla="*/ 324621 h 377083"/>
                  <a:gd name="connsiteX43" fmla="*/ 2791 w 547969"/>
                  <a:gd name="connsiteY43" fmla="*/ 341929 h 377083"/>
                  <a:gd name="connsiteX44" fmla="*/ 87 w 547969"/>
                  <a:gd name="connsiteY44" fmla="*/ 359236 h 377083"/>
                  <a:gd name="connsiteX45" fmla="*/ 1709 w 547969"/>
                  <a:gd name="connsiteY45" fmla="*/ 377084 h 377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47969" h="377083">
                    <a:moveTo>
                      <a:pt x="547969" y="79616"/>
                    </a:moveTo>
                    <a:cubicBezTo>
                      <a:pt x="543643" y="75830"/>
                      <a:pt x="540398" y="70962"/>
                      <a:pt x="535530" y="67176"/>
                    </a:cubicBezTo>
                    <a:cubicBezTo>
                      <a:pt x="531203" y="63390"/>
                      <a:pt x="525254" y="61227"/>
                      <a:pt x="520386" y="57981"/>
                    </a:cubicBezTo>
                    <a:cubicBezTo>
                      <a:pt x="515518" y="54736"/>
                      <a:pt x="511732" y="49869"/>
                      <a:pt x="506865" y="47164"/>
                    </a:cubicBezTo>
                    <a:cubicBezTo>
                      <a:pt x="501997" y="43919"/>
                      <a:pt x="496048" y="42838"/>
                      <a:pt x="491180" y="40133"/>
                    </a:cubicBezTo>
                    <a:cubicBezTo>
                      <a:pt x="486313" y="37429"/>
                      <a:pt x="481986" y="32561"/>
                      <a:pt x="476577" y="30398"/>
                    </a:cubicBezTo>
                    <a:cubicBezTo>
                      <a:pt x="471169" y="27694"/>
                      <a:pt x="465219" y="26612"/>
                      <a:pt x="460352" y="24449"/>
                    </a:cubicBezTo>
                    <a:cubicBezTo>
                      <a:pt x="454943" y="22285"/>
                      <a:pt x="450075" y="18499"/>
                      <a:pt x="444667" y="16877"/>
                    </a:cubicBezTo>
                    <a:cubicBezTo>
                      <a:pt x="439258" y="14713"/>
                      <a:pt x="432768" y="15254"/>
                      <a:pt x="427360" y="13632"/>
                    </a:cubicBezTo>
                    <a:cubicBezTo>
                      <a:pt x="421951" y="12009"/>
                      <a:pt x="416002" y="10927"/>
                      <a:pt x="410593" y="9305"/>
                    </a:cubicBezTo>
                    <a:cubicBezTo>
                      <a:pt x="405185" y="8223"/>
                      <a:pt x="399776" y="4437"/>
                      <a:pt x="393826" y="3356"/>
                    </a:cubicBezTo>
                    <a:cubicBezTo>
                      <a:pt x="387877" y="2274"/>
                      <a:pt x="382469" y="1733"/>
                      <a:pt x="376519" y="1192"/>
                    </a:cubicBezTo>
                    <a:cubicBezTo>
                      <a:pt x="370570" y="651"/>
                      <a:pt x="365162" y="110"/>
                      <a:pt x="359212" y="110"/>
                    </a:cubicBezTo>
                    <a:cubicBezTo>
                      <a:pt x="353263" y="-430"/>
                      <a:pt x="347854" y="1192"/>
                      <a:pt x="341905" y="1192"/>
                    </a:cubicBezTo>
                    <a:cubicBezTo>
                      <a:pt x="335956" y="1192"/>
                      <a:pt x="330006" y="1192"/>
                      <a:pt x="324057" y="1192"/>
                    </a:cubicBezTo>
                    <a:cubicBezTo>
                      <a:pt x="318107" y="1733"/>
                      <a:pt x="312158" y="2274"/>
                      <a:pt x="306749" y="2815"/>
                    </a:cubicBezTo>
                    <a:cubicBezTo>
                      <a:pt x="300800" y="3356"/>
                      <a:pt x="294851" y="3896"/>
                      <a:pt x="289442" y="4978"/>
                    </a:cubicBezTo>
                    <a:cubicBezTo>
                      <a:pt x="283493" y="6060"/>
                      <a:pt x="277543" y="6060"/>
                      <a:pt x="272135" y="7682"/>
                    </a:cubicBezTo>
                    <a:cubicBezTo>
                      <a:pt x="266186" y="8764"/>
                      <a:pt x="260777" y="12009"/>
                      <a:pt x="255369" y="13632"/>
                    </a:cubicBezTo>
                    <a:cubicBezTo>
                      <a:pt x="249960" y="15254"/>
                      <a:pt x="244011" y="16336"/>
                      <a:pt x="238062" y="17958"/>
                    </a:cubicBezTo>
                    <a:cubicBezTo>
                      <a:pt x="232653" y="20122"/>
                      <a:pt x="227245" y="22826"/>
                      <a:pt x="221836" y="24990"/>
                    </a:cubicBezTo>
                    <a:cubicBezTo>
                      <a:pt x="216427" y="27153"/>
                      <a:pt x="211019" y="29857"/>
                      <a:pt x="206151" y="32561"/>
                    </a:cubicBezTo>
                    <a:cubicBezTo>
                      <a:pt x="200743" y="35266"/>
                      <a:pt x="194793" y="36347"/>
                      <a:pt x="189385" y="39052"/>
                    </a:cubicBezTo>
                    <a:cubicBezTo>
                      <a:pt x="184517" y="41756"/>
                      <a:pt x="179109" y="45001"/>
                      <a:pt x="174241" y="48246"/>
                    </a:cubicBezTo>
                    <a:cubicBezTo>
                      <a:pt x="169373" y="51491"/>
                      <a:pt x="164506" y="54736"/>
                      <a:pt x="159638" y="58522"/>
                    </a:cubicBezTo>
                    <a:cubicBezTo>
                      <a:pt x="154770" y="61767"/>
                      <a:pt x="150985" y="66635"/>
                      <a:pt x="146117" y="69880"/>
                    </a:cubicBezTo>
                    <a:cubicBezTo>
                      <a:pt x="141249" y="73666"/>
                      <a:pt x="137463" y="77452"/>
                      <a:pt x="133136" y="81779"/>
                    </a:cubicBezTo>
                    <a:cubicBezTo>
                      <a:pt x="128809" y="85565"/>
                      <a:pt x="123401" y="88810"/>
                      <a:pt x="119615" y="92596"/>
                    </a:cubicBezTo>
                    <a:cubicBezTo>
                      <a:pt x="115288" y="96923"/>
                      <a:pt x="112043" y="101250"/>
                      <a:pt x="107716" y="105576"/>
                    </a:cubicBezTo>
                    <a:cubicBezTo>
                      <a:pt x="103930" y="109903"/>
                      <a:pt x="99604" y="114230"/>
                      <a:pt x="95817" y="118557"/>
                    </a:cubicBezTo>
                    <a:cubicBezTo>
                      <a:pt x="92032" y="122884"/>
                      <a:pt x="87164" y="126670"/>
                      <a:pt x="83378" y="130996"/>
                    </a:cubicBezTo>
                    <a:cubicBezTo>
                      <a:pt x="79592" y="135864"/>
                      <a:pt x="75806" y="140191"/>
                      <a:pt x="72561" y="145059"/>
                    </a:cubicBezTo>
                    <a:cubicBezTo>
                      <a:pt x="69315" y="149926"/>
                      <a:pt x="67153" y="155335"/>
                      <a:pt x="63907" y="160203"/>
                    </a:cubicBezTo>
                    <a:cubicBezTo>
                      <a:pt x="60662" y="165070"/>
                      <a:pt x="56876" y="169938"/>
                      <a:pt x="54172" y="174805"/>
                    </a:cubicBezTo>
                    <a:cubicBezTo>
                      <a:pt x="51468" y="179673"/>
                      <a:pt x="48763" y="185082"/>
                      <a:pt x="46059" y="190490"/>
                    </a:cubicBezTo>
                    <a:cubicBezTo>
                      <a:pt x="43355" y="195899"/>
                      <a:pt x="41191" y="201307"/>
                      <a:pt x="38487" y="206175"/>
                    </a:cubicBezTo>
                    <a:cubicBezTo>
                      <a:pt x="35783" y="211583"/>
                      <a:pt x="33619" y="216992"/>
                      <a:pt x="31456" y="222400"/>
                    </a:cubicBezTo>
                    <a:cubicBezTo>
                      <a:pt x="29293" y="227809"/>
                      <a:pt x="26047" y="232677"/>
                      <a:pt x="23884" y="238626"/>
                    </a:cubicBezTo>
                    <a:cubicBezTo>
                      <a:pt x="21721" y="244035"/>
                      <a:pt x="21721" y="250525"/>
                      <a:pt x="20098" y="255933"/>
                    </a:cubicBezTo>
                    <a:cubicBezTo>
                      <a:pt x="18476" y="261342"/>
                      <a:pt x="16312" y="266750"/>
                      <a:pt x="14690" y="272700"/>
                    </a:cubicBezTo>
                    <a:cubicBezTo>
                      <a:pt x="13067" y="278108"/>
                      <a:pt x="12526" y="284058"/>
                      <a:pt x="11445" y="290007"/>
                    </a:cubicBezTo>
                    <a:cubicBezTo>
                      <a:pt x="10363" y="295956"/>
                      <a:pt x="8200" y="301365"/>
                      <a:pt x="7117" y="307314"/>
                    </a:cubicBezTo>
                    <a:cubicBezTo>
                      <a:pt x="6036" y="313264"/>
                      <a:pt x="6036" y="319213"/>
                      <a:pt x="4955" y="324621"/>
                    </a:cubicBezTo>
                    <a:cubicBezTo>
                      <a:pt x="4413" y="330571"/>
                      <a:pt x="3332" y="335979"/>
                      <a:pt x="2791" y="341929"/>
                    </a:cubicBezTo>
                    <a:cubicBezTo>
                      <a:pt x="2250" y="347878"/>
                      <a:pt x="628" y="353287"/>
                      <a:pt x="87" y="359236"/>
                    </a:cubicBezTo>
                    <a:cubicBezTo>
                      <a:pt x="-454" y="365185"/>
                      <a:pt x="1709" y="371135"/>
                      <a:pt x="1709" y="377084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A01A25E-F3E5-E097-839E-A8EF01FD80CE}"/>
                  </a:ext>
                </a:extLst>
              </p:cNvPr>
              <p:cNvSpPr/>
              <p:nvPr/>
            </p:nvSpPr>
            <p:spPr>
              <a:xfrm flipH="1">
                <a:off x="10074061" y="1545884"/>
                <a:ext cx="568122" cy="335040"/>
              </a:xfrm>
              <a:custGeom>
                <a:avLst/>
                <a:gdLst>
                  <a:gd name="connsiteX0" fmla="*/ 684718 w 685910"/>
                  <a:gd name="connsiteY0" fmla="*/ 369402 h 382382"/>
                  <a:gd name="connsiteX1" fmla="*/ 685800 w 685910"/>
                  <a:gd name="connsiteY1" fmla="*/ 351554 h 382382"/>
                  <a:gd name="connsiteX2" fmla="*/ 682555 w 685910"/>
                  <a:gd name="connsiteY2" fmla="*/ 333705 h 382382"/>
                  <a:gd name="connsiteX3" fmla="*/ 682014 w 685910"/>
                  <a:gd name="connsiteY3" fmla="*/ 315857 h 382382"/>
                  <a:gd name="connsiteX4" fmla="*/ 676605 w 685910"/>
                  <a:gd name="connsiteY4" fmla="*/ 298550 h 382382"/>
                  <a:gd name="connsiteX5" fmla="*/ 672820 w 685910"/>
                  <a:gd name="connsiteY5" fmla="*/ 281243 h 382382"/>
                  <a:gd name="connsiteX6" fmla="*/ 669574 w 685910"/>
                  <a:gd name="connsiteY6" fmla="*/ 263395 h 382382"/>
                  <a:gd name="connsiteX7" fmla="*/ 664707 w 685910"/>
                  <a:gd name="connsiteY7" fmla="*/ 246088 h 382382"/>
                  <a:gd name="connsiteX8" fmla="*/ 658216 w 685910"/>
                  <a:gd name="connsiteY8" fmla="*/ 229321 h 382382"/>
                  <a:gd name="connsiteX9" fmla="*/ 651186 w 685910"/>
                  <a:gd name="connsiteY9" fmla="*/ 213096 h 382382"/>
                  <a:gd name="connsiteX10" fmla="*/ 644695 w 685910"/>
                  <a:gd name="connsiteY10" fmla="*/ 196329 h 382382"/>
                  <a:gd name="connsiteX11" fmla="*/ 635501 w 685910"/>
                  <a:gd name="connsiteY11" fmla="*/ 180644 h 382382"/>
                  <a:gd name="connsiteX12" fmla="*/ 626306 w 685910"/>
                  <a:gd name="connsiteY12" fmla="*/ 164960 h 382382"/>
                  <a:gd name="connsiteX13" fmla="*/ 616030 w 685910"/>
                  <a:gd name="connsiteY13" fmla="*/ 150357 h 382382"/>
                  <a:gd name="connsiteX14" fmla="*/ 605754 w 685910"/>
                  <a:gd name="connsiteY14" fmla="*/ 135754 h 382382"/>
                  <a:gd name="connsiteX15" fmla="*/ 593855 w 685910"/>
                  <a:gd name="connsiteY15" fmla="*/ 122232 h 382382"/>
                  <a:gd name="connsiteX16" fmla="*/ 581956 w 685910"/>
                  <a:gd name="connsiteY16" fmla="*/ 108711 h 382382"/>
                  <a:gd name="connsiteX17" fmla="*/ 568976 w 685910"/>
                  <a:gd name="connsiteY17" fmla="*/ 96272 h 382382"/>
                  <a:gd name="connsiteX18" fmla="*/ 555995 w 685910"/>
                  <a:gd name="connsiteY18" fmla="*/ 83832 h 382382"/>
                  <a:gd name="connsiteX19" fmla="*/ 541933 w 685910"/>
                  <a:gd name="connsiteY19" fmla="*/ 72474 h 382382"/>
                  <a:gd name="connsiteX20" fmla="*/ 527871 w 685910"/>
                  <a:gd name="connsiteY20" fmla="*/ 61116 h 382382"/>
                  <a:gd name="connsiteX21" fmla="*/ 513268 w 685910"/>
                  <a:gd name="connsiteY21" fmla="*/ 50840 h 382382"/>
                  <a:gd name="connsiteX22" fmla="*/ 497584 w 685910"/>
                  <a:gd name="connsiteY22" fmla="*/ 42186 h 382382"/>
                  <a:gd name="connsiteX23" fmla="*/ 482440 w 685910"/>
                  <a:gd name="connsiteY23" fmla="*/ 32451 h 382382"/>
                  <a:gd name="connsiteX24" fmla="*/ 465133 w 685910"/>
                  <a:gd name="connsiteY24" fmla="*/ 27043 h 382382"/>
                  <a:gd name="connsiteX25" fmla="*/ 448907 w 685910"/>
                  <a:gd name="connsiteY25" fmla="*/ 18389 h 382382"/>
                  <a:gd name="connsiteX26" fmla="*/ 431599 w 685910"/>
                  <a:gd name="connsiteY26" fmla="*/ 12980 h 382382"/>
                  <a:gd name="connsiteX27" fmla="*/ 414292 w 685910"/>
                  <a:gd name="connsiteY27" fmla="*/ 8113 h 382382"/>
                  <a:gd name="connsiteX28" fmla="*/ 396444 w 685910"/>
                  <a:gd name="connsiteY28" fmla="*/ 5409 h 382382"/>
                  <a:gd name="connsiteX29" fmla="*/ 378596 w 685910"/>
                  <a:gd name="connsiteY29" fmla="*/ 3786 h 382382"/>
                  <a:gd name="connsiteX30" fmla="*/ 360748 w 685910"/>
                  <a:gd name="connsiteY30" fmla="*/ 1082 h 382382"/>
                  <a:gd name="connsiteX31" fmla="*/ 342900 w 685910"/>
                  <a:gd name="connsiteY31" fmla="*/ 0 h 382382"/>
                  <a:gd name="connsiteX32" fmla="*/ 325052 w 685910"/>
                  <a:gd name="connsiteY32" fmla="*/ 2163 h 382382"/>
                  <a:gd name="connsiteX33" fmla="*/ 307203 w 685910"/>
                  <a:gd name="connsiteY33" fmla="*/ 3786 h 382382"/>
                  <a:gd name="connsiteX34" fmla="*/ 289356 w 685910"/>
                  <a:gd name="connsiteY34" fmla="*/ 4327 h 382382"/>
                  <a:gd name="connsiteX35" fmla="*/ 272048 w 685910"/>
                  <a:gd name="connsiteY35" fmla="*/ 8653 h 382382"/>
                  <a:gd name="connsiteX36" fmla="*/ 255282 w 685910"/>
                  <a:gd name="connsiteY36" fmla="*/ 14603 h 382382"/>
                  <a:gd name="connsiteX37" fmla="*/ 237975 w 685910"/>
                  <a:gd name="connsiteY37" fmla="*/ 18930 h 382382"/>
                  <a:gd name="connsiteX38" fmla="*/ 221209 w 685910"/>
                  <a:gd name="connsiteY38" fmla="*/ 24338 h 382382"/>
                  <a:gd name="connsiteX39" fmla="*/ 204983 w 685910"/>
                  <a:gd name="connsiteY39" fmla="*/ 31910 h 382382"/>
                  <a:gd name="connsiteX40" fmla="*/ 189839 w 685910"/>
                  <a:gd name="connsiteY40" fmla="*/ 41105 h 382382"/>
                  <a:gd name="connsiteX41" fmla="*/ 175236 w 685910"/>
                  <a:gd name="connsiteY41" fmla="*/ 51381 h 382382"/>
                  <a:gd name="connsiteX42" fmla="*/ 159011 w 685910"/>
                  <a:gd name="connsiteY42" fmla="*/ 59494 h 382382"/>
                  <a:gd name="connsiteX43" fmla="*/ 144948 w 685910"/>
                  <a:gd name="connsiteY43" fmla="*/ 70311 h 382382"/>
                  <a:gd name="connsiteX44" fmla="*/ 130886 w 685910"/>
                  <a:gd name="connsiteY44" fmla="*/ 81128 h 382382"/>
                  <a:gd name="connsiteX45" fmla="*/ 117905 w 685910"/>
                  <a:gd name="connsiteY45" fmla="*/ 93567 h 382382"/>
                  <a:gd name="connsiteX46" fmla="*/ 105466 w 685910"/>
                  <a:gd name="connsiteY46" fmla="*/ 106007 h 382382"/>
                  <a:gd name="connsiteX47" fmla="*/ 95190 w 685910"/>
                  <a:gd name="connsiteY47" fmla="*/ 120610 h 382382"/>
                  <a:gd name="connsiteX48" fmla="*/ 82750 w 685910"/>
                  <a:gd name="connsiteY48" fmla="*/ 133590 h 382382"/>
                  <a:gd name="connsiteX49" fmla="*/ 72474 w 685910"/>
                  <a:gd name="connsiteY49" fmla="*/ 148193 h 382382"/>
                  <a:gd name="connsiteX50" fmla="*/ 62739 w 685910"/>
                  <a:gd name="connsiteY50" fmla="*/ 163337 h 382382"/>
                  <a:gd name="connsiteX51" fmla="*/ 52462 w 685910"/>
                  <a:gd name="connsiteY51" fmla="*/ 177940 h 382382"/>
                  <a:gd name="connsiteX52" fmla="*/ 45972 w 685910"/>
                  <a:gd name="connsiteY52" fmla="*/ 194707 h 382382"/>
                  <a:gd name="connsiteX53" fmla="*/ 37860 w 685910"/>
                  <a:gd name="connsiteY53" fmla="*/ 210391 h 382382"/>
                  <a:gd name="connsiteX54" fmla="*/ 30828 w 685910"/>
                  <a:gd name="connsiteY54" fmla="*/ 226617 h 382382"/>
                  <a:gd name="connsiteX55" fmla="*/ 23256 w 685910"/>
                  <a:gd name="connsiteY55" fmla="*/ 242842 h 382382"/>
                  <a:gd name="connsiteX56" fmla="*/ 17307 w 685910"/>
                  <a:gd name="connsiteY56" fmla="*/ 259609 h 382382"/>
                  <a:gd name="connsiteX57" fmla="*/ 11898 w 685910"/>
                  <a:gd name="connsiteY57" fmla="*/ 276375 h 382382"/>
                  <a:gd name="connsiteX58" fmla="*/ 9735 w 685910"/>
                  <a:gd name="connsiteY58" fmla="*/ 294223 h 382382"/>
                  <a:gd name="connsiteX59" fmla="*/ 6490 w 685910"/>
                  <a:gd name="connsiteY59" fmla="*/ 311530 h 382382"/>
                  <a:gd name="connsiteX60" fmla="*/ 4326 w 685910"/>
                  <a:gd name="connsiteY60" fmla="*/ 328838 h 382382"/>
                  <a:gd name="connsiteX61" fmla="*/ 2704 w 685910"/>
                  <a:gd name="connsiteY61" fmla="*/ 346686 h 382382"/>
                  <a:gd name="connsiteX62" fmla="*/ 1081 w 685910"/>
                  <a:gd name="connsiteY62" fmla="*/ 364534 h 382382"/>
                  <a:gd name="connsiteX63" fmla="*/ 0 w 685910"/>
                  <a:gd name="connsiteY63" fmla="*/ 382382 h 38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685910" h="382382">
                    <a:moveTo>
                      <a:pt x="684718" y="369402"/>
                    </a:moveTo>
                    <a:cubicBezTo>
                      <a:pt x="684718" y="363452"/>
                      <a:pt x="686341" y="357503"/>
                      <a:pt x="685800" y="351554"/>
                    </a:cubicBezTo>
                    <a:cubicBezTo>
                      <a:pt x="685259" y="345604"/>
                      <a:pt x="683095" y="339655"/>
                      <a:pt x="682555" y="333705"/>
                    </a:cubicBezTo>
                    <a:cubicBezTo>
                      <a:pt x="682014" y="327756"/>
                      <a:pt x="683095" y="321266"/>
                      <a:pt x="682014" y="315857"/>
                    </a:cubicBezTo>
                    <a:cubicBezTo>
                      <a:pt x="680933" y="309908"/>
                      <a:pt x="677687" y="304499"/>
                      <a:pt x="676605" y="298550"/>
                    </a:cubicBezTo>
                    <a:cubicBezTo>
                      <a:pt x="675524" y="292601"/>
                      <a:pt x="674442" y="286651"/>
                      <a:pt x="672820" y="281243"/>
                    </a:cubicBezTo>
                    <a:cubicBezTo>
                      <a:pt x="671197" y="275294"/>
                      <a:pt x="671197" y="269344"/>
                      <a:pt x="669574" y="263395"/>
                    </a:cubicBezTo>
                    <a:cubicBezTo>
                      <a:pt x="667952" y="257445"/>
                      <a:pt x="666329" y="251496"/>
                      <a:pt x="664707" y="246088"/>
                    </a:cubicBezTo>
                    <a:cubicBezTo>
                      <a:pt x="662543" y="240138"/>
                      <a:pt x="660380" y="234730"/>
                      <a:pt x="658216" y="229321"/>
                    </a:cubicBezTo>
                    <a:cubicBezTo>
                      <a:pt x="656053" y="223913"/>
                      <a:pt x="653349" y="218504"/>
                      <a:pt x="651186" y="213096"/>
                    </a:cubicBezTo>
                    <a:cubicBezTo>
                      <a:pt x="648481" y="207687"/>
                      <a:pt x="647399" y="201738"/>
                      <a:pt x="644695" y="196329"/>
                    </a:cubicBezTo>
                    <a:cubicBezTo>
                      <a:pt x="641991" y="190921"/>
                      <a:pt x="638205" y="186053"/>
                      <a:pt x="635501" y="180644"/>
                    </a:cubicBezTo>
                    <a:cubicBezTo>
                      <a:pt x="632797" y="175236"/>
                      <a:pt x="629552" y="170368"/>
                      <a:pt x="626306" y="164960"/>
                    </a:cubicBezTo>
                    <a:cubicBezTo>
                      <a:pt x="623061" y="160092"/>
                      <a:pt x="619275" y="155224"/>
                      <a:pt x="616030" y="150357"/>
                    </a:cubicBezTo>
                    <a:cubicBezTo>
                      <a:pt x="612785" y="145489"/>
                      <a:pt x="609540" y="140081"/>
                      <a:pt x="605754" y="135754"/>
                    </a:cubicBezTo>
                    <a:cubicBezTo>
                      <a:pt x="601968" y="130886"/>
                      <a:pt x="597641" y="126559"/>
                      <a:pt x="593855" y="122232"/>
                    </a:cubicBezTo>
                    <a:cubicBezTo>
                      <a:pt x="590069" y="117365"/>
                      <a:pt x="586283" y="113038"/>
                      <a:pt x="581956" y="108711"/>
                    </a:cubicBezTo>
                    <a:cubicBezTo>
                      <a:pt x="577629" y="104384"/>
                      <a:pt x="573303" y="100598"/>
                      <a:pt x="568976" y="96272"/>
                    </a:cubicBezTo>
                    <a:cubicBezTo>
                      <a:pt x="564649" y="91945"/>
                      <a:pt x="560322" y="87618"/>
                      <a:pt x="555995" y="83832"/>
                    </a:cubicBezTo>
                    <a:cubicBezTo>
                      <a:pt x="551669" y="80046"/>
                      <a:pt x="546801" y="76260"/>
                      <a:pt x="541933" y="72474"/>
                    </a:cubicBezTo>
                    <a:cubicBezTo>
                      <a:pt x="537065" y="68688"/>
                      <a:pt x="532739" y="64902"/>
                      <a:pt x="527871" y="61116"/>
                    </a:cubicBezTo>
                    <a:cubicBezTo>
                      <a:pt x="523003" y="57871"/>
                      <a:pt x="518136" y="54085"/>
                      <a:pt x="513268" y="50840"/>
                    </a:cubicBezTo>
                    <a:cubicBezTo>
                      <a:pt x="508401" y="47595"/>
                      <a:pt x="502992" y="44891"/>
                      <a:pt x="497584" y="42186"/>
                    </a:cubicBezTo>
                    <a:cubicBezTo>
                      <a:pt x="492175" y="39482"/>
                      <a:pt x="487848" y="35155"/>
                      <a:pt x="482440" y="32451"/>
                    </a:cubicBezTo>
                    <a:cubicBezTo>
                      <a:pt x="477031" y="29747"/>
                      <a:pt x="470541" y="29206"/>
                      <a:pt x="465133" y="27043"/>
                    </a:cubicBezTo>
                    <a:cubicBezTo>
                      <a:pt x="459724" y="24879"/>
                      <a:pt x="454856" y="20552"/>
                      <a:pt x="448907" y="18389"/>
                    </a:cubicBezTo>
                    <a:cubicBezTo>
                      <a:pt x="443498" y="16226"/>
                      <a:pt x="437549" y="14603"/>
                      <a:pt x="431599" y="12980"/>
                    </a:cubicBezTo>
                    <a:cubicBezTo>
                      <a:pt x="425650" y="11358"/>
                      <a:pt x="420242" y="9194"/>
                      <a:pt x="414292" y="8113"/>
                    </a:cubicBezTo>
                    <a:cubicBezTo>
                      <a:pt x="408343" y="6490"/>
                      <a:pt x="402394" y="6490"/>
                      <a:pt x="396444" y="5409"/>
                    </a:cubicBezTo>
                    <a:cubicBezTo>
                      <a:pt x="390495" y="4327"/>
                      <a:pt x="384545" y="4327"/>
                      <a:pt x="378596" y="3786"/>
                    </a:cubicBezTo>
                    <a:cubicBezTo>
                      <a:pt x="372647" y="3245"/>
                      <a:pt x="366697" y="1082"/>
                      <a:pt x="360748" y="1082"/>
                    </a:cubicBezTo>
                    <a:cubicBezTo>
                      <a:pt x="354799" y="541"/>
                      <a:pt x="348849" y="0"/>
                      <a:pt x="342900" y="0"/>
                    </a:cubicBezTo>
                    <a:cubicBezTo>
                      <a:pt x="336950" y="0"/>
                      <a:pt x="331001" y="1622"/>
                      <a:pt x="325052" y="2163"/>
                    </a:cubicBezTo>
                    <a:cubicBezTo>
                      <a:pt x="319103" y="2704"/>
                      <a:pt x="313153" y="3245"/>
                      <a:pt x="307203" y="3786"/>
                    </a:cubicBezTo>
                    <a:cubicBezTo>
                      <a:pt x="301254" y="4327"/>
                      <a:pt x="295305" y="3245"/>
                      <a:pt x="289356" y="4327"/>
                    </a:cubicBezTo>
                    <a:cubicBezTo>
                      <a:pt x="283406" y="5409"/>
                      <a:pt x="277998" y="7031"/>
                      <a:pt x="272048" y="8653"/>
                    </a:cubicBezTo>
                    <a:cubicBezTo>
                      <a:pt x="266099" y="9735"/>
                      <a:pt x="260690" y="12980"/>
                      <a:pt x="255282" y="14603"/>
                    </a:cubicBezTo>
                    <a:cubicBezTo>
                      <a:pt x="249333" y="16226"/>
                      <a:pt x="243383" y="16766"/>
                      <a:pt x="237975" y="18930"/>
                    </a:cubicBezTo>
                    <a:cubicBezTo>
                      <a:pt x="232566" y="21093"/>
                      <a:pt x="226617" y="22175"/>
                      <a:pt x="221209" y="24338"/>
                    </a:cubicBezTo>
                    <a:cubicBezTo>
                      <a:pt x="215800" y="26502"/>
                      <a:pt x="210391" y="29206"/>
                      <a:pt x="204983" y="31910"/>
                    </a:cubicBezTo>
                    <a:cubicBezTo>
                      <a:pt x="199574" y="34614"/>
                      <a:pt x="194707" y="38400"/>
                      <a:pt x="189839" y="41105"/>
                    </a:cubicBezTo>
                    <a:cubicBezTo>
                      <a:pt x="184430" y="43809"/>
                      <a:pt x="180103" y="48136"/>
                      <a:pt x="175236" y="51381"/>
                    </a:cubicBezTo>
                    <a:cubicBezTo>
                      <a:pt x="170368" y="54626"/>
                      <a:pt x="163878" y="55708"/>
                      <a:pt x="159011" y="59494"/>
                    </a:cubicBezTo>
                    <a:cubicBezTo>
                      <a:pt x="154143" y="62739"/>
                      <a:pt x="149816" y="67066"/>
                      <a:pt x="144948" y="70311"/>
                    </a:cubicBezTo>
                    <a:cubicBezTo>
                      <a:pt x="140081" y="74097"/>
                      <a:pt x="135213" y="77342"/>
                      <a:pt x="130886" y="81128"/>
                    </a:cubicBezTo>
                    <a:cubicBezTo>
                      <a:pt x="126559" y="84914"/>
                      <a:pt x="122232" y="89241"/>
                      <a:pt x="117905" y="93567"/>
                    </a:cubicBezTo>
                    <a:cubicBezTo>
                      <a:pt x="113579" y="97894"/>
                      <a:pt x="109252" y="101680"/>
                      <a:pt x="105466" y="106007"/>
                    </a:cubicBezTo>
                    <a:cubicBezTo>
                      <a:pt x="101680" y="110334"/>
                      <a:pt x="98975" y="116283"/>
                      <a:pt x="95190" y="120610"/>
                    </a:cubicBezTo>
                    <a:cubicBezTo>
                      <a:pt x="91404" y="124937"/>
                      <a:pt x="86536" y="128723"/>
                      <a:pt x="82750" y="133590"/>
                    </a:cubicBezTo>
                    <a:cubicBezTo>
                      <a:pt x="78964" y="138458"/>
                      <a:pt x="75719" y="143326"/>
                      <a:pt x="72474" y="148193"/>
                    </a:cubicBezTo>
                    <a:cubicBezTo>
                      <a:pt x="69229" y="153061"/>
                      <a:pt x="65984" y="157929"/>
                      <a:pt x="62739" y="163337"/>
                    </a:cubicBezTo>
                    <a:cubicBezTo>
                      <a:pt x="59494" y="168205"/>
                      <a:pt x="55167" y="172532"/>
                      <a:pt x="52462" y="177940"/>
                    </a:cubicBezTo>
                    <a:cubicBezTo>
                      <a:pt x="49758" y="182808"/>
                      <a:pt x="48677" y="189298"/>
                      <a:pt x="45972" y="194707"/>
                    </a:cubicBezTo>
                    <a:cubicBezTo>
                      <a:pt x="43268" y="200115"/>
                      <a:pt x="40023" y="204983"/>
                      <a:pt x="37860" y="210391"/>
                    </a:cubicBezTo>
                    <a:cubicBezTo>
                      <a:pt x="35155" y="215800"/>
                      <a:pt x="33533" y="221208"/>
                      <a:pt x="30828" y="226617"/>
                    </a:cubicBezTo>
                    <a:cubicBezTo>
                      <a:pt x="28665" y="232025"/>
                      <a:pt x="25420" y="237434"/>
                      <a:pt x="23256" y="242842"/>
                    </a:cubicBezTo>
                    <a:cubicBezTo>
                      <a:pt x="21093" y="248251"/>
                      <a:pt x="18930" y="254200"/>
                      <a:pt x="17307" y="259609"/>
                    </a:cubicBezTo>
                    <a:cubicBezTo>
                      <a:pt x="15685" y="265017"/>
                      <a:pt x="13521" y="270967"/>
                      <a:pt x="11898" y="276375"/>
                    </a:cubicBezTo>
                    <a:cubicBezTo>
                      <a:pt x="10276" y="282325"/>
                      <a:pt x="10817" y="288274"/>
                      <a:pt x="9735" y="294223"/>
                    </a:cubicBezTo>
                    <a:cubicBezTo>
                      <a:pt x="8653" y="300173"/>
                      <a:pt x="7572" y="305581"/>
                      <a:pt x="6490" y="311530"/>
                    </a:cubicBezTo>
                    <a:cubicBezTo>
                      <a:pt x="5409" y="317480"/>
                      <a:pt x="4868" y="323429"/>
                      <a:pt x="4326" y="328838"/>
                    </a:cubicBezTo>
                    <a:cubicBezTo>
                      <a:pt x="3786" y="334787"/>
                      <a:pt x="3245" y="340737"/>
                      <a:pt x="2704" y="346686"/>
                    </a:cubicBezTo>
                    <a:cubicBezTo>
                      <a:pt x="2164" y="352635"/>
                      <a:pt x="1081" y="358585"/>
                      <a:pt x="1081" y="364534"/>
                    </a:cubicBezTo>
                    <a:cubicBezTo>
                      <a:pt x="1081" y="370483"/>
                      <a:pt x="0" y="376433"/>
                      <a:pt x="0" y="38238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3896621-DD2E-BDCC-4740-CE21AA49BB2F}"/>
                  </a:ext>
                </a:extLst>
              </p:cNvPr>
              <p:cNvSpPr/>
              <p:nvPr/>
            </p:nvSpPr>
            <p:spPr>
              <a:xfrm flipH="1">
                <a:off x="9960815" y="1855807"/>
                <a:ext cx="146039" cy="79613"/>
              </a:xfrm>
              <a:custGeom>
                <a:avLst/>
                <a:gdLst>
                  <a:gd name="connsiteX0" fmla="*/ 176318 w 176317"/>
                  <a:gd name="connsiteY0" fmla="*/ 68688 h 90863"/>
                  <a:gd name="connsiteX1" fmla="*/ 171450 w 176317"/>
                  <a:gd name="connsiteY1" fmla="*/ 52463 h 90863"/>
                  <a:gd name="connsiteX2" fmla="*/ 162796 w 176317"/>
                  <a:gd name="connsiteY2" fmla="*/ 37860 h 90863"/>
                  <a:gd name="connsiteX3" fmla="*/ 151438 w 176317"/>
                  <a:gd name="connsiteY3" fmla="*/ 25420 h 90863"/>
                  <a:gd name="connsiteX4" fmla="*/ 138458 w 176317"/>
                  <a:gd name="connsiteY4" fmla="*/ 14603 h 90863"/>
                  <a:gd name="connsiteX5" fmla="*/ 122773 w 176317"/>
                  <a:gd name="connsiteY5" fmla="*/ 8113 h 90863"/>
                  <a:gd name="connsiteX6" fmla="*/ 107088 w 176317"/>
                  <a:gd name="connsiteY6" fmla="*/ 2704 h 90863"/>
                  <a:gd name="connsiteX7" fmla="*/ 90322 w 176317"/>
                  <a:gd name="connsiteY7" fmla="*/ 0 h 90863"/>
                  <a:gd name="connsiteX8" fmla="*/ 72474 w 176317"/>
                  <a:gd name="connsiteY8" fmla="*/ 1622 h 90863"/>
                  <a:gd name="connsiteX9" fmla="*/ 55707 w 176317"/>
                  <a:gd name="connsiteY9" fmla="*/ 8654 h 90863"/>
                  <a:gd name="connsiteX10" fmla="*/ 40564 w 176317"/>
                  <a:gd name="connsiteY10" fmla="*/ 17307 h 90863"/>
                  <a:gd name="connsiteX11" fmla="*/ 25420 w 176317"/>
                  <a:gd name="connsiteY11" fmla="*/ 27043 h 90863"/>
                  <a:gd name="connsiteX12" fmla="*/ 15685 w 176317"/>
                  <a:gd name="connsiteY12" fmla="*/ 41645 h 90863"/>
                  <a:gd name="connsiteX13" fmla="*/ 5949 w 176317"/>
                  <a:gd name="connsiteY13" fmla="*/ 56249 h 90863"/>
                  <a:gd name="connsiteX14" fmla="*/ 2704 w 176317"/>
                  <a:gd name="connsiteY14" fmla="*/ 73556 h 90863"/>
                  <a:gd name="connsiteX15" fmla="*/ 0 w 176317"/>
                  <a:gd name="connsiteY15" fmla="*/ 90863 h 9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317" h="90863">
                    <a:moveTo>
                      <a:pt x="176318" y="68688"/>
                    </a:moveTo>
                    <a:cubicBezTo>
                      <a:pt x="174695" y="63280"/>
                      <a:pt x="173613" y="57871"/>
                      <a:pt x="171450" y="52463"/>
                    </a:cubicBezTo>
                    <a:cubicBezTo>
                      <a:pt x="168745" y="47595"/>
                      <a:pt x="166041" y="42727"/>
                      <a:pt x="162796" y="37860"/>
                    </a:cubicBezTo>
                    <a:cubicBezTo>
                      <a:pt x="159551" y="33533"/>
                      <a:pt x="155765" y="29206"/>
                      <a:pt x="151438" y="25420"/>
                    </a:cubicBezTo>
                    <a:cubicBezTo>
                      <a:pt x="147111" y="21634"/>
                      <a:pt x="143326" y="17848"/>
                      <a:pt x="138458" y="14603"/>
                    </a:cubicBezTo>
                    <a:cubicBezTo>
                      <a:pt x="133590" y="11358"/>
                      <a:pt x="128182" y="9735"/>
                      <a:pt x="122773" y="8113"/>
                    </a:cubicBezTo>
                    <a:cubicBezTo>
                      <a:pt x="117365" y="5949"/>
                      <a:pt x="112497" y="3786"/>
                      <a:pt x="107088" y="2704"/>
                    </a:cubicBezTo>
                    <a:cubicBezTo>
                      <a:pt x="101680" y="1622"/>
                      <a:pt x="96271" y="0"/>
                      <a:pt x="90322" y="0"/>
                    </a:cubicBezTo>
                    <a:cubicBezTo>
                      <a:pt x="84373" y="0"/>
                      <a:pt x="78424" y="541"/>
                      <a:pt x="72474" y="1622"/>
                    </a:cubicBezTo>
                    <a:cubicBezTo>
                      <a:pt x="66524" y="2704"/>
                      <a:pt x="61657" y="6490"/>
                      <a:pt x="55707" y="8654"/>
                    </a:cubicBezTo>
                    <a:cubicBezTo>
                      <a:pt x="50299" y="10817"/>
                      <a:pt x="45432" y="14062"/>
                      <a:pt x="40564" y="17307"/>
                    </a:cubicBezTo>
                    <a:cubicBezTo>
                      <a:pt x="35696" y="20552"/>
                      <a:pt x="29747" y="22716"/>
                      <a:pt x="25420" y="27043"/>
                    </a:cubicBezTo>
                    <a:cubicBezTo>
                      <a:pt x="21093" y="31369"/>
                      <a:pt x="18930" y="36778"/>
                      <a:pt x="15685" y="41645"/>
                    </a:cubicBezTo>
                    <a:cubicBezTo>
                      <a:pt x="12439" y="46513"/>
                      <a:pt x="8113" y="50840"/>
                      <a:pt x="5949" y="56249"/>
                    </a:cubicBezTo>
                    <a:cubicBezTo>
                      <a:pt x="3786" y="61657"/>
                      <a:pt x="3786" y="68147"/>
                      <a:pt x="2704" y="73556"/>
                    </a:cubicBezTo>
                    <a:cubicBezTo>
                      <a:pt x="1622" y="79505"/>
                      <a:pt x="0" y="84914"/>
                      <a:pt x="0" y="908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607040C-112C-9B52-022D-C705055BF7A2}"/>
                  </a:ext>
                </a:extLst>
              </p:cNvPr>
              <p:cNvSpPr/>
              <p:nvPr/>
            </p:nvSpPr>
            <p:spPr>
              <a:xfrm flipH="1">
                <a:off x="9690686" y="1915421"/>
                <a:ext cx="299694" cy="315706"/>
              </a:xfrm>
              <a:custGeom>
                <a:avLst/>
                <a:gdLst>
                  <a:gd name="connsiteX0" fmla="*/ 361830 w 361829"/>
                  <a:gd name="connsiteY0" fmla="*/ 360318 h 360317"/>
                  <a:gd name="connsiteX1" fmla="*/ 360748 w 361829"/>
                  <a:gd name="connsiteY1" fmla="*/ 342469 h 360317"/>
                  <a:gd name="connsiteX2" fmla="*/ 359126 w 361829"/>
                  <a:gd name="connsiteY2" fmla="*/ 324621 h 360317"/>
                  <a:gd name="connsiteX3" fmla="*/ 356421 w 361829"/>
                  <a:gd name="connsiteY3" fmla="*/ 307314 h 360317"/>
                  <a:gd name="connsiteX4" fmla="*/ 354799 w 361829"/>
                  <a:gd name="connsiteY4" fmla="*/ 289466 h 360317"/>
                  <a:gd name="connsiteX5" fmla="*/ 349390 w 361829"/>
                  <a:gd name="connsiteY5" fmla="*/ 272700 h 360317"/>
                  <a:gd name="connsiteX6" fmla="*/ 345604 w 361829"/>
                  <a:gd name="connsiteY6" fmla="*/ 255392 h 360317"/>
                  <a:gd name="connsiteX7" fmla="*/ 340196 w 361829"/>
                  <a:gd name="connsiteY7" fmla="*/ 238626 h 360317"/>
                  <a:gd name="connsiteX8" fmla="*/ 333705 w 361829"/>
                  <a:gd name="connsiteY8" fmla="*/ 221860 h 360317"/>
                  <a:gd name="connsiteX9" fmla="*/ 326133 w 361829"/>
                  <a:gd name="connsiteY9" fmla="*/ 205634 h 360317"/>
                  <a:gd name="connsiteX10" fmla="*/ 318562 w 361829"/>
                  <a:gd name="connsiteY10" fmla="*/ 189949 h 360317"/>
                  <a:gd name="connsiteX11" fmla="*/ 309367 w 361829"/>
                  <a:gd name="connsiteY11" fmla="*/ 174805 h 360317"/>
                  <a:gd name="connsiteX12" fmla="*/ 300173 w 361829"/>
                  <a:gd name="connsiteY12" fmla="*/ 159662 h 360317"/>
                  <a:gd name="connsiteX13" fmla="*/ 288815 w 361829"/>
                  <a:gd name="connsiteY13" fmla="*/ 146140 h 360317"/>
                  <a:gd name="connsiteX14" fmla="*/ 278539 w 361829"/>
                  <a:gd name="connsiteY14" fmla="*/ 131537 h 360317"/>
                  <a:gd name="connsiteX15" fmla="*/ 267181 w 361829"/>
                  <a:gd name="connsiteY15" fmla="*/ 117475 h 360317"/>
                  <a:gd name="connsiteX16" fmla="*/ 255282 w 361829"/>
                  <a:gd name="connsiteY16" fmla="*/ 104495 h 360317"/>
                  <a:gd name="connsiteX17" fmla="*/ 240679 w 361829"/>
                  <a:gd name="connsiteY17" fmla="*/ 94219 h 360317"/>
                  <a:gd name="connsiteX18" fmla="*/ 227698 w 361829"/>
                  <a:gd name="connsiteY18" fmla="*/ 82320 h 360317"/>
                  <a:gd name="connsiteX19" fmla="*/ 214177 w 361829"/>
                  <a:gd name="connsiteY19" fmla="*/ 70962 h 360317"/>
                  <a:gd name="connsiteX20" fmla="*/ 200115 w 361829"/>
                  <a:gd name="connsiteY20" fmla="*/ 60145 h 360317"/>
                  <a:gd name="connsiteX21" fmla="*/ 184971 w 361829"/>
                  <a:gd name="connsiteY21" fmla="*/ 51491 h 360317"/>
                  <a:gd name="connsiteX22" fmla="*/ 170368 w 361829"/>
                  <a:gd name="connsiteY22" fmla="*/ 41756 h 360317"/>
                  <a:gd name="connsiteX23" fmla="*/ 153602 w 361829"/>
                  <a:gd name="connsiteY23" fmla="*/ 35806 h 360317"/>
                  <a:gd name="connsiteX24" fmla="*/ 137917 w 361829"/>
                  <a:gd name="connsiteY24" fmla="*/ 27694 h 360317"/>
                  <a:gd name="connsiteX25" fmla="*/ 122232 w 361829"/>
                  <a:gd name="connsiteY25" fmla="*/ 19581 h 360317"/>
                  <a:gd name="connsiteX26" fmla="*/ 104925 w 361829"/>
                  <a:gd name="connsiteY26" fmla="*/ 15795 h 360317"/>
                  <a:gd name="connsiteX27" fmla="*/ 88158 w 361829"/>
                  <a:gd name="connsiteY27" fmla="*/ 10927 h 360317"/>
                  <a:gd name="connsiteX28" fmla="*/ 70851 w 361829"/>
                  <a:gd name="connsiteY28" fmla="*/ 8223 h 360317"/>
                  <a:gd name="connsiteX29" fmla="*/ 53544 w 361829"/>
                  <a:gd name="connsiteY29" fmla="*/ 2815 h 360317"/>
                  <a:gd name="connsiteX30" fmla="*/ 35696 w 361829"/>
                  <a:gd name="connsiteY30" fmla="*/ 651 h 360317"/>
                  <a:gd name="connsiteX31" fmla="*/ 17848 w 361829"/>
                  <a:gd name="connsiteY31" fmla="*/ 110 h 360317"/>
                  <a:gd name="connsiteX32" fmla="*/ 0 w 361829"/>
                  <a:gd name="connsiteY32" fmla="*/ 1192 h 360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1829" h="360317">
                    <a:moveTo>
                      <a:pt x="361830" y="360318"/>
                    </a:moveTo>
                    <a:cubicBezTo>
                      <a:pt x="361830" y="354368"/>
                      <a:pt x="361289" y="348419"/>
                      <a:pt x="360748" y="342469"/>
                    </a:cubicBezTo>
                    <a:cubicBezTo>
                      <a:pt x="360207" y="336520"/>
                      <a:pt x="359666" y="330571"/>
                      <a:pt x="359126" y="324621"/>
                    </a:cubicBezTo>
                    <a:cubicBezTo>
                      <a:pt x="358584" y="318672"/>
                      <a:pt x="357503" y="312723"/>
                      <a:pt x="356421" y="307314"/>
                    </a:cubicBezTo>
                    <a:cubicBezTo>
                      <a:pt x="355339" y="301365"/>
                      <a:pt x="355880" y="295415"/>
                      <a:pt x="354799" y="289466"/>
                    </a:cubicBezTo>
                    <a:cubicBezTo>
                      <a:pt x="353717" y="283517"/>
                      <a:pt x="351013" y="278108"/>
                      <a:pt x="349390" y="272700"/>
                    </a:cubicBezTo>
                    <a:cubicBezTo>
                      <a:pt x="347767" y="266750"/>
                      <a:pt x="347227" y="260801"/>
                      <a:pt x="345604" y="255392"/>
                    </a:cubicBezTo>
                    <a:cubicBezTo>
                      <a:pt x="343982" y="249984"/>
                      <a:pt x="342359" y="244034"/>
                      <a:pt x="340196" y="238626"/>
                    </a:cubicBezTo>
                    <a:cubicBezTo>
                      <a:pt x="338032" y="233217"/>
                      <a:pt x="335869" y="227268"/>
                      <a:pt x="333705" y="221860"/>
                    </a:cubicBezTo>
                    <a:cubicBezTo>
                      <a:pt x="331542" y="216451"/>
                      <a:pt x="328837" y="211043"/>
                      <a:pt x="326133" y="205634"/>
                    </a:cubicBezTo>
                    <a:cubicBezTo>
                      <a:pt x="323429" y="200226"/>
                      <a:pt x="321266" y="194817"/>
                      <a:pt x="318562" y="189949"/>
                    </a:cubicBezTo>
                    <a:cubicBezTo>
                      <a:pt x="315858" y="184541"/>
                      <a:pt x="312071" y="179673"/>
                      <a:pt x="309367" y="174805"/>
                    </a:cubicBezTo>
                    <a:cubicBezTo>
                      <a:pt x="306122" y="169938"/>
                      <a:pt x="303418" y="164529"/>
                      <a:pt x="300173" y="159662"/>
                    </a:cubicBezTo>
                    <a:cubicBezTo>
                      <a:pt x="296928" y="154794"/>
                      <a:pt x="292601" y="150467"/>
                      <a:pt x="288815" y="146140"/>
                    </a:cubicBezTo>
                    <a:cubicBezTo>
                      <a:pt x="285029" y="141273"/>
                      <a:pt x="282324" y="135864"/>
                      <a:pt x="278539" y="131537"/>
                    </a:cubicBezTo>
                    <a:cubicBezTo>
                      <a:pt x="274752" y="127211"/>
                      <a:pt x="271507" y="121802"/>
                      <a:pt x="267181" y="117475"/>
                    </a:cubicBezTo>
                    <a:cubicBezTo>
                      <a:pt x="263395" y="113148"/>
                      <a:pt x="259609" y="108281"/>
                      <a:pt x="255282" y="104495"/>
                    </a:cubicBezTo>
                    <a:cubicBezTo>
                      <a:pt x="250955" y="100168"/>
                      <a:pt x="245005" y="98004"/>
                      <a:pt x="240679" y="94219"/>
                    </a:cubicBezTo>
                    <a:cubicBezTo>
                      <a:pt x="236352" y="90433"/>
                      <a:pt x="232026" y="86106"/>
                      <a:pt x="227698" y="82320"/>
                    </a:cubicBezTo>
                    <a:cubicBezTo>
                      <a:pt x="223371" y="78534"/>
                      <a:pt x="218504" y="74748"/>
                      <a:pt x="214177" y="70962"/>
                    </a:cubicBezTo>
                    <a:cubicBezTo>
                      <a:pt x="209309" y="67176"/>
                      <a:pt x="204983" y="63390"/>
                      <a:pt x="200115" y="60145"/>
                    </a:cubicBezTo>
                    <a:cubicBezTo>
                      <a:pt x="195247" y="56900"/>
                      <a:pt x="189839" y="54196"/>
                      <a:pt x="184971" y="51491"/>
                    </a:cubicBezTo>
                    <a:cubicBezTo>
                      <a:pt x="180103" y="48246"/>
                      <a:pt x="175236" y="44460"/>
                      <a:pt x="170368" y="41756"/>
                    </a:cubicBezTo>
                    <a:cubicBezTo>
                      <a:pt x="164960" y="39052"/>
                      <a:pt x="159011" y="37970"/>
                      <a:pt x="153602" y="35806"/>
                    </a:cubicBezTo>
                    <a:cubicBezTo>
                      <a:pt x="148194" y="33102"/>
                      <a:pt x="143326" y="29857"/>
                      <a:pt x="137917" y="27694"/>
                    </a:cubicBezTo>
                    <a:cubicBezTo>
                      <a:pt x="132509" y="25530"/>
                      <a:pt x="127641" y="21744"/>
                      <a:pt x="122232" y="19581"/>
                    </a:cubicBezTo>
                    <a:cubicBezTo>
                      <a:pt x="116824" y="17418"/>
                      <a:pt x="110334" y="17418"/>
                      <a:pt x="104925" y="15795"/>
                    </a:cubicBezTo>
                    <a:cubicBezTo>
                      <a:pt x="99517" y="14172"/>
                      <a:pt x="93567" y="12009"/>
                      <a:pt x="88158" y="10927"/>
                    </a:cubicBezTo>
                    <a:cubicBezTo>
                      <a:pt x="82209" y="9305"/>
                      <a:pt x="76260" y="9305"/>
                      <a:pt x="70851" y="8223"/>
                    </a:cubicBezTo>
                    <a:cubicBezTo>
                      <a:pt x="64902" y="7141"/>
                      <a:pt x="59494" y="3896"/>
                      <a:pt x="53544" y="2815"/>
                    </a:cubicBezTo>
                    <a:cubicBezTo>
                      <a:pt x="47595" y="1733"/>
                      <a:pt x="41645" y="1192"/>
                      <a:pt x="35696" y="651"/>
                    </a:cubicBezTo>
                    <a:cubicBezTo>
                      <a:pt x="29747" y="110"/>
                      <a:pt x="23798" y="110"/>
                      <a:pt x="17848" y="110"/>
                    </a:cubicBezTo>
                    <a:cubicBezTo>
                      <a:pt x="11898" y="-430"/>
                      <a:pt x="5949" y="1192"/>
                      <a:pt x="0" y="11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793C3A0-59B3-4244-E230-490148A8E2FC}"/>
                  </a:ext>
                </a:extLst>
              </p:cNvPr>
              <p:cNvSpPr/>
              <p:nvPr/>
            </p:nvSpPr>
            <p:spPr>
              <a:xfrm flipH="1">
                <a:off x="10404309" y="1085167"/>
                <a:ext cx="922378" cy="785331"/>
              </a:xfrm>
              <a:custGeom>
                <a:avLst/>
                <a:gdLst>
                  <a:gd name="connsiteX0" fmla="*/ 112497 w 1113613"/>
                  <a:gd name="connsiteY0" fmla="*/ 896302 h 896301"/>
                  <a:gd name="connsiteX1" fmla="*/ 101140 w 1113613"/>
                  <a:gd name="connsiteY1" fmla="*/ 882240 h 896301"/>
                  <a:gd name="connsiteX2" fmla="*/ 90323 w 1113613"/>
                  <a:gd name="connsiteY2" fmla="*/ 867637 h 896301"/>
                  <a:gd name="connsiteX3" fmla="*/ 81128 w 1113613"/>
                  <a:gd name="connsiteY3" fmla="*/ 851952 h 896301"/>
                  <a:gd name="connsiteX4" fmla="*/ 73556 w 1113613"/>
                  <a:gd name="connsiteY4" fmla="*/ 835726 h 896301"/>
                  <a:gd name="connsiteX5" fmla="*/ 64902 w 1113613"/>
                  <a:gd name="connsiteY5" fmla="*/ 820042 h 896301"/>
                  <a:gd name="connsiteX6" fmla="*/ 55708 w 1113613"/>
                  <a:gd name="connsiteY6" fmla="*/ 804357 h 896301"/>
                  <a:gd name="connsiteX7" fmla="*/ 48677 w 1113613"/>
                  <a:gd name="connsiteY7" fmla="*/ 787591 h 896301"/>
                  <a:gd name="connsiteX8" fmla="*/ 42727 w 1113613"/>
                  <a:gd name="connsiteY8" fmla="*/ 770283 h 896301"/>
                  <a:gd name="connsiteX9" fmla="*/ 34074 w 1113613"/>
                  <a:gd name="connsiteY9" fmla="*/ 754058 h 896301"/>
                  <a:gd name="connsiteX10" fmla="*/ 28125 w 1113613"/>
                  <a:gd name="connsiteY10" fmla="*/ 736751 h 896301"/>
                  <a:gd name="connsiteX11" fmla="*/ 22716 w 1113613"/>
                  <a:gd name="connsiteY11" fmla="*/ 719443 h 896301"/>
                  <a:gd name="connsiteX12" fmla="*/ 19471 w 1113613"/>
                  <a:gd name="connsiteY12" fmla="*/ 701595 h 896301"/>
                  <a:gd name="connsiteX13" fmla="*/ 13521 w 1113613"/>
                  <a:gd name="connsiteY13" fmla="*/ 684288 h 896301"/>
                  <a:gd name="connsiteX14" fmla="*/ 9736 w 1113613"/>
                  <a:gd name="connsiteY14" fmla="*/ 666440 h 896301"/>
                  <a:gd name="connsiteX15" fmla="*/ 6491 w 1113613"/>
                  <a:gd name="connsiteY15" fmla="*/ 648592 h 896301"/>
                  <a:gd name="connsiteX16" fmla="*/ 4327 w 1113613"/>
                  <a:gd name="connsiteY16" fmla="*/ 630744 h 896301"/>
                  <a:gd name="connsiteX17" fmla="*/ 2704 w 1113613"/>
                  <a:gd name="connsiteY17" fmla="*/ 612895 h 896301"/>
                  <a:gd name="connsiteX18" fmla="*/ 1082 w 1113613"/>
                  <a:gd name="connsiteY18" fmla="*/ 595047 h 896301"/>
                  <a:gd name="connsiteX19" fmla="*/ 1623 w 1113613"/>
                  <a:gd name="connsiteY19" fmla="*/ 576658 h 896301"/>
                  <a:gd name="connsiteX20" fmla="*/ 0 w 1113613"/>
                  <a:gd name="connsiteY20" fmla="*/ 558810 h 896301"/>
                  <a:gd name="connsiteX21" fmla="*/ 1082 w 1113613"/>
                  <a:gd name="connsiteY21" fmla="*/ 541503 h 896301"/>
                  <a:gd name="connsiteX22" fmla="*/ 2164 w 1113613"/>
                  <a:gd name="connsiteY22" fmla="*/ 524196 h 896301"/>
                  <a:gd name="connsiteX23" fmla="*/ 4327 w 1113613"/>
                  <a:gd name="connsiteY23" fmla="*/ 506889 h 896301"/>
                  <a:gd name="connsiteX24" fmla="*/ 3786 w 1113613"/>
                  <a:gd name="connsiteY24" fmla="*/ 489040 h 896301"/>
                  <a:gd name="connsiteX25" fmla="*/ 7031 w 1113613"/>
                  <a:gd name="connsiteY25" fmla="*/ 471733 h 896301"/>
                  <a:gd name="connsiteX26" fmla="*/ 9195 w 1113613"/>
                  <a:gd name="connsiteY26" fmla="*/ 454426 h 896301"/>
                  <a:gd name="connsiteX27" fmla="*/ 12440 w 1113613"/>
                  <a:gd name="connsiteY27" fmla="*/ 437119 h 896301"/>
                  <a:gd name="connsiteX28" fmla="*/ 16226 w 1113613"/>
                  <a:gd name="connsiteY28" fmla="*/ 419811 h 896301"/>
                  <a:gd name="connsiteX29" fmla="*/ 21093 w 1113613"/>
                  <a:gd name="connsiteY29" fmla="*/ 403045 h 896301"/>
                  <a:gd name="connsiteX30" fmla="*/ 28125 w 1113613"/>
                  <a:gd name="connsiteY30" fmla="*/ 386819 h 896301"/>
                  <a:gd name="connsiteX31" fmla="*/ 32992 w 1113613"/>
                  <a:gd name="connsiteY31" fmla="*/ 370053 h 896301"/>
                  <a:gd name="connsiteX32" fmla="*/ 40023 w 1113613"/>
                  <a:gd name="connsiteY32" fmla="*/ 353827 h 896301"/>
                  <a:gd name="connsiteX33" fmla="*/ 45432 w 1113613"/>
                  <a:gd name="connsiteY33" fmla="*/ 337061 h 896301"/>
                  <a:gd name="connsiteX34" fmla="*/ 53004 w 1113613"/>
                  <a:gd name="connsiteY34" fmla="*/ 321376 h 896301"/>
                  <a:gd name="connsiteX35" fmla="*/ 61117 w 1113613"/>
                  <a:gd name="connsiteY35" fmla="*/ 305692 h 896301"/>
                  <a:gd name="connsiteX36" fmla="*/ 69229 w 1113613"/>
                  <a:gd name="connsiteY36" fmla="*/ 290007 h 896301"/>
                  <a:gd name="connsiteX37" fmla="*/ 77342 w 1113613"/>
                  <a:gd name="connsiteY37" fmla="*/ 274322 h 896301"/>
                  <a:gd name="connsiteX38" fmla="*/ 87077 w 1113613"/>
                  <a:gd name="connsiteY38" fmla="*/ 259719 h 896301"/>
                  <a:gd name="connsiteX39" fmla="*/ 96813 w 1113613"/>
                  <a:gd name="connsiteY39" fmla="*/ 245116 h 896301"/>
                  <a:gd name="connsiteX40" fmla="*/ 107630 w 1113613"/>
                  <a:gd name="connsiteY40" fmla="*/ 231054 h 896301"/>
                  <a:gd name="connsiteX41" fmla="*/ 116824 w 1113613"/>
                  <a:gd name="connsiteY41" fmla="*/ 216451 h 896301"/>
                  <a:gd name="connsiteX42" fmla="*/ 127100 w 1113613"/>
                  <a:gd name="connsiteY42" fmla="*/ 202389 h 896301"/>
                  <a:gd name="connsiteX43" fmla="*/ 138458 w 1113613"/>
                  <a:gd name="connsiteY43" fmla="*/ 189409 h 896301"/>
                  <a:gd name="connsiteX44" fmla="*/ 150357 w 1113613"/>
                  <a:gd name="connsiteY44" fmla="*/ 176428 h 896301"/>
                  <a:gd name="connsiteX45" fmla="*/ 163878 w 1113613"/>
                  <a:gd name="connsiteY45" fmla="*/ 165070 h 896301"/>
                  <a:gd name="connsiteX46" fmla="*/ 175236 w 1113613"/>
                  <a:gd name="connsiteY46" fmla="*/ 151549 h 896301"/>
                  <a:gd name="connsiteX47" fmla="*/ 189298 w 1113613"/>
                  <a:gd name="connsiteY47" fmla="*/ 140732 h 896301"/>
                  <a:gd name="connsiteX48" fmla="*/ 202819 w 1113613"/>
                  <a:gd name="connsiteY48" fmla="*/ 129374 h 896301"/>
                  <a:gd name="connsiteX49" fmla="*/ 216881 w 1113613"/>
                  <a:gd name="connsiteY49" fmla="*/ 119098 h 896301"/>
                  <a:gd name="connsiteX50" fmla="*/ 229321 w 1113613"/>
                  <a:gd name="connsiteY50" fmla="*/ 106658 h 896301"/>
                  <a:gd name="connsiteX51" fmla="*/ 243924 w 1113613"/>
                  <a:gd name="connsiteY51" fmla="*/ 96923 h 896301"/>
                  <a:gd name="connsiteX52" fmla="*/ 258527 w 1113613"/>
                  <a:gd name="connsiteY52" fmla="*/ 87188 h 896301"/>
                  <a:gd name="connsiteX53" fmla="*/ 273130 w 1113613"/>
                  <a:gd name="connsiteY53" fmla="*/ 77452 h 896301"/>
                  <a:gd name="connsiteX54" fmla="*/ 289356 w 1113613"/>
                  <a:gd name="connsiteY54" fmla="*/ 70962 h 896301"/>
                  <a:gd name="connsiteX55" fmla="*/ 303959 w 1113613"/>
                  <a:gd name="connsiteY55" fmla="*/ 60686 h 896301"/>
                  <a:gd name="connsiteX56" fmla="*/ 320185 w 1113613"/>
                  <a:gd name="connsiteY56" fmla="*/ 53655 h 896301"/>
                  <a:gd name="connsiteX57" fmla="*/ 336410 w 1113613"/>
                  <a:gd name="connsiteY57" fmla="*/ 47164 h 896301"/>
                  <a:gd name="connsiteX58" fmla="*/ 352636 w 1113613"/>
                  <a:gd name="connsiteY58" fmla="*/ 40674 h 896301"/>
                  <a:gd name="connsiteX59" fmla="*/ 368861 w 1113613"/>
                  <a:gd name="connsiteY59" fmla="*/ 34184 h 896301"/>
                  <a:gd name="connsiteX60" fmla="*/ 385087 w 1113613"/>
                  <a:gd name="connsiteY60" fmla="*/ 26612 h 896301"/>
                  <a:gd name="connsiteX61" fmla="*/ 402394 w 1113613"/>
                  <a:gd name="connsiteY61" fmla="*/ 22826 h 896301"/>
                  <a:gd name="connsiteX62" fmla="*/ 419160 w 1113613"/>
                  <a:gd name="connsiteY62" fmla="*/ 16877 h 896301"/>
                  <a:gd name="connsiteX63" fmla="*/ 436468 w 1113613"/>
                  <a:gd name="connsiteY63" fmla="*/ 12550 h 896301"/>
                  <a:gd name="connsiteX64" fmla="*/ 453775 w 1113613"/>
                  <a:gd name="connsiteY64" fmla="*/ 9305 h 896301"/>
                  <a:gd name="connsiteX65" fmla="*/ 471082 w 1113613"/>
                  <a:gd name="connsiteY65" fmla="*/ 5519 h 896301"/>
                  <a:gd name="connsiteX66" fmla="*/ 488930 w 1113613"/>
                  <a:gd name="connsiteY66" fmla="*/ 4437 h 896301"/>
                  <a:gd name="connsiteX67" fmla="*/ 506237 w 1113613"/>
                  <a:gd name="connsiteY67" fmla="*/ 2274 h 896301"/>
                  <a:gd name="connsiteX68" fmla="*/ 523545 w 1113613"/>
                  <a:gd name="connsiteY68" fmla="*/ 651 h 896301"/>
                  <a:gd name="connsiteX69" fmla="*/ 541393 w 1113613"/>
                  <a:gd name="connsiteY69" fmla="*/ 651 h 896301"/>
                  <a:gd name="connsiteX70" fmla="*/ 558700 w 1113613"/>
                  <a:gd name="connsiteY70" fmla="*/ 110 h 896301"/>
                  <a:gd name="connsiteX71" fmla="*/ 576007 w 1113613"/>
                  <a:gd name="connsiteY71" fmla="*/ 1192 h 896301"/>
                  <a:gd name="connsiteX72" fmla="*/ 593856 w 1113613"/>
                  <a:gd name="connsiteY72" fmla="*/ 110 h 896301"/>
                  <a:gd name="connsiteX73" fmla="*/ 611163 w 1113613"/>
                  <a:gd name="connsiteY73" fmla="*/ 3356 h 896301"/>
                  <a:gd name="connsiteX74" fmla="*/ 629011 w 1113613"/>
                  <a:gd name="connsiteY74" fmla="*/ 3356 h 896301"/>
                  <a:gd name="connsiteX75" fmla="*/ 646318 w 1113613"/>
                  <a:gd name="connsiteY75" fmla="*/ 6601 h 896301"/>
                  <a:gd name="connsiteX76" fmla="*/ 663626 w 1113613"/>
                  <a:gd name="connsiteY76" fmla="*/ 9846 h 896301"/>
                  <a:gd name="connsiteX77" fmla="*/ 680933 w 1113613"/>
                  <a:gd name="connsiteY77" fmla="*/ 13091 h 896301"/>
                  <a:gd name="connsiteX78" fmla="*/ 698240 w 1113613"/>
                  <a:gd name="connsiteY78" fmla="*/ 16877 h 896301"/>
                  <a:gd name="connsiteX79" fmla="*/ 715547 w 1113613"/>
                  <a:gd name="connsiteY79" fmla="*/ 20663 h 896301"/>
                  <a:gd name="connsiteX80" fmla="*/ 731773 w 1113613"/>
                  <a:gd name="connsiteY80" fmla="*/ 27694 h 896301"/>
                  <a:gd name="connsiteX81" fmla="*/ 749080 w 1113613"/>
                  <a:gd name="connsiteY81" fmla="*/ 31480 h 896301"/>
                  <a:gd name="connsiteX82" fmla="*/ 765846 w 1113613"/>
                  <a:gd name="connsiteY82" fmla="*/ 36888 h 896301"/>
                  <a:gd name="connsiteX83" fmla="*/ 782072 w 1113613"/>
                  <a:gd name="connsiteY83" fmla="*/ 44460 h 896301"/>
                  <a:gd name="connsiteX84" fmla="*/ 797756 w 1113613"/>
                  <a:gd name="connsiteY84" fmla="*/ 52573 h 896301"/>
                  <a:gd name="connsiteX85" fmla="*/ 812900 w 1113613"/>
                  <a:gd name="connsiteY85" fmla="*/ 61227 h 896301"/>
                  <a:gd name="connsiteX86" fmla="*/ 829126 w 1113613"/>
                  <a:gd name="connsiteY86" fmla="*/ 67717 h 896301"/>
                  <a:gd name="connsiteX87" fmla="*/ 844811 w 1113613"/>
                  <a:gd name="connsiteY87" fmla="*/ 75830 h 896301"/>
                  <a:gd name="connsiteX88" fmla="*/ 859414 w 1113613"/>
                  <a:gd name="connsiteY88" fmla="*/ 85024 h 896301"/>
                  <a:gd name="connsiteX89" fmla="*/ 872935 w 1113613"/>
                  <a:gd name="connsiteY89" fmla="*/ 96382 h 896301"/>
                  <a:gd name="connsiteX90" fmla="*/ 888079 w 1113613"/>
                  <a:gd name="connsiteY90" fmla="*/ 105576 h 896301"/>
                  <a:gd name="connsiteX91" fmla="*/ 902682 w 1113613"/>
                  <a:gd name="connsiteY91" fmla="*/ 115312 h 896301"/>
                  <a:gd name="connsiteX92" fmla="*/ 915662 w 1113613"/>
                  <a:gd name="connsiteY92" fmla="*/ 127211 h 896301"/>
                  <a:gd name="connsiteX93" fmla="*/ 929184 w 1113613"/>
                  <a:gd name="connsiteY93" fmla="*/ 138568 h 896301"/>
                  <a:gd name="connsiteX94" fmla="*/ 941623 w 1113613"/>
                  <a:gd name="connsiteY94" fmla="*/ 151008 h 896301"/>
                  <a:gd name="connsiteX95" fmla="*/ 955144 w 1113613"/>
                  <a:gd name="connsiteY95" fmla="*/ 162366 h 896301"/>
                  <a:gd name="connsiteX96" fmla="*/ 967584 w 1113613"/>
                  <a:gd name="connsiteY96" fmla="*/ 174806 h 896301"/>
                  <a:gd name="connsiteX97" fmla="*/ 977860 w 1113613"/>
                  <a:gd name="connsiteY97" fmla="*/ 189409 h 896301"/>
                  <a:gd name="connsiteX98" fmla="*/ 989218 w 1113613"/>
                  <a:gd name="connsiteY98" fmla="*/ 202389 h 896301"/>
                  <a:gd name="connsiteX99" fmla="*/ 1001116 w 1113613"/>
                  <a:gd name="connsiteY99" fmla="*/ 215369 h 896301"/>
                  <a:gd name="connsiteX100" fmla="*/ 1011393 w 1113613"/>
                  <a:gd name="connsiteY100" fmla="*/ 229431 h 896301"/>
                  <a:gd name="connsiteX101" fmla="*/ 1022210 w 1113613"/>
                  <a:gd name="connsiteY101" fmla="*/ 243494 h 896301"/>
                  <a:gd name="connsiteX102" fmla="*/ 1030323 w 1113613"/>
                  <a:gd name="connsiteY102" fmla="*/ 259178 h 896301"/>
                  <a:gd name="connsiteX103" fmla="*/ 1040599 w 1113613"/>
                  <a:gd name="connsiteY103" fmla="*/ 273241 h 896301"/>
                  <a:gd name="connsiteX104" fmla="*/ 1048712 w 1113613"/>
                  <a:gd name="connsiteY104" fmla="*/ 288925 h 896301"/>
                  <a:gd name="connsiteX105" fmla="*/ 1056284 w 1113613"/>
                  <a:gd name="connsiteY105" fmla="*/ 304610 h 896301"/>
                  <a:gd name="connsiteX106" fmla="*/ 1065478 w 1113613"/>
                  <a:gd name="connsiteY106" fmla="*/ 319754 h 896301"/>
                  <a:gd name="connsiteX107" fmla="*/ 1072509 w 1113613"/>
                  <a:gd name="connsiteY107" fmla="*/ 335979 h 896301"/>
                  <a:gd name="connsiteX108" fmla="*/ 1079540 w 1113613"/>
                  <a:gd name="connsiteY108" fmla="*/ 352205 h 896301"/>
                  <a:gd name="connsiteX109" fmla="*/ 1084949 w 1113613"/>
                  <a:gd name="connsiteY109" fmla="*/ 368971 h 896301"/>
                  <a:gd name="connsiteX110" fmla="*/ 1090898 w 1113613"/>
                  <a:gd name="connsiteY110" fmla="*/ 385738 h 896301"/>
                  <a:gd name="connsiteX111" fmla="*/ 1096307 w 1113613"/>
                  <a:gd name="connsiteY111" fmla="*/ 402504 h 896301"/>
                  <a:gd name="connsiteX112" fmla="*/ 1101174 w 1113613"/>
                  <a:gd name="connsiteY112" fmla="*/ 419270 h 896301"/>
                  <a:gd name="connsiteX113" fmla="*/ 1104420 w 1113613"/>
                  <a:gd name="connsiteY113" fmla="*/ 436578 h 896301"/>
                  <a:gd name="connsiteX114" fmla="*/ 1108205 w 1113613"/>
                  <a:gd name="connsiteY114" fmla="*/ 453885 h 896301"/>
                  <a:gd name="connsiteX115" fmla="*/ 1113614 w 1113613"/>
                  <a:gd name="connsiteY115" fmla="*/ 470651 h 896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113613" h="896301">
                    <a:moveTo>
                      <a:pt x="112497" y="896302"/>
                    </a:moveTo>
                    <a:cubicBezTo>
                      <a:pt x="108711" y="891434"/>
                      <a:pt x="104385" y="887107"/>
                      <a:pt x="101140" y="882240"/>
                    </a:cubicBezTo>
                    <a:cubicBezTo>
                      <a:pt x="97894" y="877372"/>
                      <a:pt x="93568" y="872504"/>
                      <a:pt x="90323" y="867637"/>
                    </a:cubicBezTo>
                    <a:cubicBezTo>
                      <a:pt x="87077" y="862769"/>
                      <a:pt x="84373" y="857360"/>
                      <a:pt x="81128" y="851952"/>
                    </a:cubicBezTo>
                    <a:cubicBezTo>
                      <a:pt x="77883" y="846543"/>
                      <a:pt x="76260" y="840594"/>
                      <a:pt x="73556" y="835726"/>
                    </a:cubicBezTo>
                    <a:cubicBezTo>
                      <a:pt x="70311" y="830318"/>
                      <a:pt x="67606" y="825450"/>
                      <a:pt x="64902" y="820042"/>
                    </a:cubicBezTo>
                    <a:cubicBezTo>
                      <a:pt x="62198" y="814633"/>
                      <a:pt x="57872" y="809766"/>
                      <a:pt x="55708" y="804357"/>
                    </a:cubicBezTo>
                    <a:cubicBezTo>
                      <a:pt x="53004" y="798948"/>
                      <a:pt x="50840" y="792999"/>
                      <a:pt x="48677" y="787591"/>
                    </a:cubicBezTo>
                    <a:cubicBezTo>
                      <a:pt x="45972" y="782182"/>
                      <a:pt x="44891" y="776233"/>
                      <a:pt x="42727" y="770283"/>
                    </a:cubicBezTo>
                    <a:cubicBezTo>
                      <a:pt x="40564" y="764875"/>
                      <a:pt x="36237" y="760007"/>
                      <a:pt x="34074" y="754058"/>
                    </a:cubicBezTo>
                    <a:cubicBezTo>
                      <a:pt x="31910" y="748649"/>
                      <a:pt x="30288" y="742700"/>
                      <a:pt x="28125" y="736751"/>
                    </a:cubicBezTo>
                    <a:cubicBezTo>
                      <a:pt x="25961" y="730801"/>
                      <a:pt x="24338" y="725393"/>
                      <a:pt x="22716" y="719443"/>
                    </a:cubicBezTo>
                    <a:cubicBezTo>
                      <a:pt x="21093" y="713494"/>
                      <a:pt x="21093" y="707544"/>
                      <a:pt x="19471" y="701595"/>
                    </a:cubicBezTo>
                    <a:cubicBezTo>
                      <a:pt x="17848" y="695646"/>
                      <a:pt x="15144" y="690237"/>
                      <a:pt x="13521" y="684288"/>
                    </a:cubicBezTo>
                    <a:cubicBezTo>
                      <a:pt x="11899" y="678338"/>
                      <a:pt x="10817" y="672389"/>
                      <a:pt x="9736" y="666440"/>
                    </a:cubicBezTo>
                    <a:cubicBezTo>
                      <a:pt x="8653" y="660490"/>
                      <a:pt x="7572" y="654541"/>
                      <a:pt x="6491" y="648592"/>
                    </a:cubicBezTo>
                    <a:cubicBezTo>
                      <a:pt x="5409" y="642642"/>
                      <a:pt x="4868" y="636693"/>
                      <a:pt x="4327" y="630744"/>
                    </a:cubicBezTo>
                    <a:cubicBezTo>
                      <a:pt x="3786" y="624794"/>
                      <a:pt x="3245" y="618845"/>
                      <a:pt x="2704" y="612895"/>
                    </a:cubicBezTo>
                    <a:cubicBezTo>
                      <a:pt x="2164" y="606946"/>
                      <a:pt x="1082" y="600997"/>
                      <a:pt x="1082" y="595047"/>
                    </a:cubicBezTo>
                    <a:cubicBezTo>
                      <a:pt x="541" y="589098"/>
                      <a:pt x="1623" y="583149"/>
                      <a:pt x="1623" y="576658"/>
                    </a:cubicBezTo>
                    <a:cubicBezTo>
                      <a:pt x="1623" y="570709"/>
                      <a:pt x="0" y="564760"/>
                      <a:pt x="0" y="558810"/>
                    </a:cubicBezTo>
                    <a:cubicBezTo>
                      <a:pt x="0" y="552861"/>
                      <a:pt x="541" y="546912"/>
                      <a:pt x="1082" y="541503"/>
                    </a:cubicBezTo>
                    <a:cubicBezTo>
                      <a:pt x="1082" y="535554"/>
                      <a:pt x="1623" y="529604"/>
                      <a:pt x="2164" y="524196"/>
                    </a:cubicBezTo>
                    <a:cubicBezTo>
                      <a:pt x="2704" y="518246"/>
                      <a:pt x="3786" y="512838"/>
                      <a:pt x="4327" y="506889"/>
                    </a:cubicBezTo>
                    <a:cubicBezTo>
                      <a:pt x="4868" y="500939"/>
                      <a:pt x="3245" y="494990"/>
                      <a:pt x="3786" y="489040"/>
                    </a:cubicBezTo>
                    <a:cubicBezTo>
                      <a:pt x="4327" y="483091"/>
                      <a:pt x="5949" y="477682"/>
                      <a:pt x="7031" y="471733"/>
                    </a:cubicBezTo>
                    <a:cubicBezTo>
                      <a:pt x="8113" y="465784"/>
                      <a:pt x="8113" y="459834"/>
                      <a:pt x="9195" y="454426"/>
                    </a:cubicBezTo>
                    <a:cubicBezTo>
                      <a:pt x="10276" y="448476"/>
                      <a:pt x="11358" y="443068"/>
                      <a:pt x="12440" y="437119"/>
                    </a:cubicBezTo>
                    <a:cubicBezTo>
                      <a:pt x="13521" y="431169"/>
                      <a:pt x="14603" y="425761"/>
                      <a:pt x="16226" y="419811"/>
                    </a:cubicBezTo>
                    <a:cubicBezTo>
                      <a:pt x="17848" y="413862"/>
                      <a:pt x="19471" y="408453"/>
                      <a:pt x="21093" y="403045"/>
                    </a:cubicBezTo>
                    <a:cubicBezTo>
                      <a:pt x="22716" y="397636"/>
                      <a:pt x="25961" y="392228"/>
                      <a:pt x="28125" y="386819"/>
                    </a:cubicBezTo>
                    <a:cubicBezTo>
                      <a:pt x="29747" y="381411"/>
                      <a:pt x="30829" y="375461"/>
                      <a:pt x="32992" y="370053"/>
                    </a:cubicBezTo>
                    <a:cubicBezTo>
                      <a:pt x="35155" y="364644"/>
                      <a:pt x="37860" y="359236"/>
                      <a:pt x="40023" y="353827"/>
                    </a:cubicBezTo>
                    <a:cubicBezTo>
                      <a:pt x="42187" y="348419"/>
                      <a:pt x="43268" y="342470"/>
                      <a:pt x="45432" y="337061"/>
                    </a:cubicBezTo>
                    <a:cubicBezTo>
                      <a:pt x="47595" y="331653"/>
                      <a:pt x="50299" y="326244"/>
                      <a:pt x="53004" y="321376"/>
                    </a:cubicBezTo>
                    <a:cubicBezTo>
                      <a:pt x="55708" y="315968"/>
                      <a:pt x="58412" y="311100"/>
                      <a:pt x="61117" y="305692"/>
                    </a:cubicBezTo>
                    <a:cubicBezTo>
                      <a:pt x="63821" y="300283"/>
                      <a:pt x="66525" y="295415"/>
                      <a:pt x="69229" y="290007"/>
                    </a:cubicBezTo>
                    <a:cubicBezTo>
                      <a:pt x="71934" y="285139"/>
                      <a:pt x="74638" y="279190"/>
                      <a:pt x="77342" y="274322"/>
                    </a:cubicBezTo>
                    <a:cubicBezTo>
                      <a:pt x="80587" y="269455"/>
                      <a:pt x="83832" y="264587"/>
                      <a:pt x="87077" y="259719"/>
                    </a:cubicBezTo>
                    <a:cubicBezTo>
                      <a:pt x="90323" y="254852"/>
                      <a:pt x="93568" y="249984"/>
                      <a:pt x="96813" y="245116"/>
                    </a:cubicBezTo>
                    <a:cubicBezTo>
                      <a:pt x="100058" y="240249"/>
                      <a:pt x="104385" y="235922"/>
                      <a:pt x="107630" y="231054"/>
                    </a:cubicBezTo>
                    <a:cubicBezTo>
                      <a:pt x="110875" y="226186"/>
                      <a:pt x="113579" y="220778"/>
                      <a:pt x="116824" y="216451"/>
                    </a:cubicBezTo>
                    <a:cubicBezTo>
                      <a:pt x="120610" y="211583"/>
                      <a:pt x="123314" y="206716"/>
                      <a:pt x="127100" y="202389"/>
                    </a:cubicBezTo>
                    <a:cubicBezTo>
                      <a:pt x="130887" y="198062"/>
                      <a:pt x="134672" y="193735"/>
                      <a:pt x="138458" y="189409"/>
                    </a:cubicBezTo>
                    <a:cubicBezTo>
                      <a:pt x="142244" y="185082"/>
                      <a:pt x="146030" y="180755"/>
                      <a:pt x="150357" y="176428"/>
                    </a:cubicBezTo>
                    <a:cubicBezTo>
                      <a:pt x="154143" y="172101"/>
                      <a:pt x="159551" y="168856"/>
                      <a:pt x="163878" y="165070"/>
                    </a:cubicBezTo>
                    <a:cubicBezTo>
                      <a:pt x="168205" y="161284"/>
                      <a:pt x="170909" y="155335"/>
                      <a:pt x="175236" y="151549"/>
                    </a:cubicBezTo>
                    <a:cubicBezTo>
                      <a:pt x="179563" y="147763"/>
                      <a:pt x="184972" y="144518"/>
                      <a:pt x="189298" y="140732"/>
                    </a:cubicBezTo>
                    <a:cubicBezTo>
                      <a:pt x="193625" y="136946"/>
                      <a:pt x="197952" y="133160"/>
                      <a:pt x="202819" y="129374"/>
                    </a:cubicBezTo>
                    <a:cubicBezTo>
                      <a:pt x="207146" y="125588"/>
                      <a:pt x="212555" y="122884"/>
                      <a:pt x="216881" y="119098"/>
                    </a:cubicBezTo>
                    <a:cubicBezTo>
                      <a:pt x="221749" y="115312"/>
                      <a:pt x="224994" y="109903"/>
                      <a:pt x="229321" y="106658"/>
                    </a:cubicBezTo>
                    <a:cubicBezTo>
                      <a:pt x="234189" y="103413"/>
                      <a:pt x="239057" y="100168"/>
                      <a:pt x="243924" y="96923"/>
                    </a:cubicBezTo>
                    <a:cubicBezTo>
                      <a:pt x="248792" y="93678"/>
                      <a:pt x="253660" y="90433"/>
                      <a:pt x="258527" y="87188"/>
                    </a:cubicBezTo>
                    <a:cubicBezTo>
                      <a:pt x="263395" y="83942"/>
                      <a:pt x="268262" y="80697"/>
                      <a:pt x="273130" y="77452"/>
                    </a:cubicBezTo>
                    <a:cubicBezTo>
                      <a:pt x="277998" y="74207"/>
                      <a:pt x="284488" y="73666"/>
                      <a:pt x="289356" y="70962"/>
                    </a:cubicBezTo>
                    <a:cubicBezTo>
                      <a:pt x="294224" y="68258"/>
                      <a:pt x="298551" y="63390"/>
                      <a:pt x="303959" y="60686"/>
                    </a:cubicBezTo>
                    <a:cubicBezTo>
                      <a:pt x="309368" y="57982"/>
                      <a:pt x="314776" y="56359"/>
                      <a:pt x="320185" y="53655"/>
                    </a:cubicBezTo>
                    <a:cubicBezTo>
                      <a:pt x="325593" y="50950"/>
                      <a:pt x="331002" y="49328"/>
                      <a:pt x="336410" y="47164"/>
                    </a:cubicBezTo>
                    <a:cubicBezTo>
                      <a:pt x="341819" y="45001"/>
                      <a:pt x="347227" y="42838"/>
                      <a:pt x="352636" y="40674"/>
                    </a:cubicBezTo>
                    <a:cubicBezTo>
                      <a:pt x="358044" y="38511"/>
                      <a:pt x="363453" y="35807"/>
                      <a:pt x="368861" y="34184"/>
                    </a:cubicBezTo>
                    <a:cubicBezTo>
                      <a:pt x="374270" y="32021"/>
                      <a:pt x="379137" y="28776"/>
                      <a:pt x="385087" y="26612"/>
                    </a:cubicBezTo>
                    <a:cubicBezTo>
                      <a:pt x="390495" y="24990"/>
                      <a:pt x="396985" y="24449"/>
                      <a:pt x="402394" y="22826"/>
                    </a:cubicBezTo>
                    <a:cubicBezTo>
                      <a:pt x="407802" y="21204"/>
                      <a:pt x="413211" y="18499"/>
                      <a:pt x="419160" y="16877"/>
                    </a:cubicBezTo>
                    <a:cubicBezTo>
                      <a:pt x="424569" y="15254"/>
                      <a:pt x="430518" y="14173"/>
                      <a:pt x="436468" y="12550"/>
                    </a:cubicBezTo>
                    <a:cubicBezTo>
                      <a:pt x="442417" y="11468"/>
                      <a:pt x="447826" y="10387"/>
                      <a:pt x="453775" y="9305"/>
                    </a:cubicBezTo>
                    <a:cubicBezTo>
                      <a:pt x="459724" y="8223"/>
                      <a:pt x="465133" y="6601"/>
                      <a:pt x="471082" y="5519"/>
                    </a:cubicBezTo>
                    <a:cubicBezTo>
                      <a:pt x="477032" y="4437"/>
                      <a:pt x="482981" y="5519"/>
                      <a:pt x="488930" y="4437"/>
                    </a:cubicBezTo>
                    <a:cubicBezTo>
                      <a:pt x="494879" y="3896"/>
                      <a:pt x="500288" y="2815"/>
                      <a:pt x="506237" y="2274"/>
                    </a:cubicBezTo>
                    <a:cubicBezTo>
                      <a:pt x="512187" y="1733"/>
                      <a:pt x="517596" y="651"/>
                      <a:pt x="523545" y="651"/>
                    </a:cubicBezTo>
                    <a:cubicBezTo>
                      <a:pt x="529494" y="110"/>
                      <a:pt x="535443" y="651"/>
                      <a:pt x="541393" y="651"/>
                    </a:cubicBezTo>
                    <a:cubicBezTo>
                      <a:pt x="547342" y="651"/>
                      <a:pt x="553292" y="110"/>
                      <a:pt x="558700" y="110"/>
                    </a:cubicBezTo>
                    <a:cubicBezTo>
                      <a:pt x="564649" y="110"/>
                      <a:pt x="570599" y="1192"/>
                      <a:pt x="576007" y="1192"/>
                    </a:cubicBezTo>
                    <a:cubicBezTo>
                      <a:pt x="581956" y="1192"/>
                      <a:pt x="587906" y="-430"/>
                      <a:pt x="593856" y="110"/>
                    </a:cubicBezTo>
                    <a:cubicBezTo>
                      <a:pt x="599805" y="651"/>
                      <a:pt x="605213" y="2815"/>
                      <a:pt x="611163" y="3356"/>
                    </a:cubicBezTo>
                    <a:cubicBezTo>
                      <a:pt x="617112" y="3896"/>
                      <a:pt x="623062" y="2815"/>
                      <a:pt x="629011" y="3356"/>
                    </a:cubicBezTo>
                    <a:cubicBezTo>
                      <a:pt x="634960" y="3896"/>
                      <a:pt x="640369" y="6060"/>
                      <a:pt x="646318" y="6601"/>
                    </a:cubicBezTo>
                    <a:cubicBezTo>
                      <a:pt x="652267" y="7682"/>
                      <a:pt x="657676" y="8764"/>
                      <a:pt x="663626" y="9846"/>
                    </a:cubicBezTo>
                    <a:cubicBezTo>
                      <a:pt x="669575" y="10927"/>
                      <a:pt x="674983" y="12009"/>
                      <a:pt x="680933" y="13091"/>
                    </a:cubicBezTo>
                    <a:cubicBezTo>
                      <a:pt x="686882" y="14173"/>
                      <a:pt x="692290" y="15254"/>
                      <a:pt x="698240" y="16877"/>
                    </a:cubicBezTo>
                    <a:cubicBezTo>
                      <a:pt x="704189" y="18499"/>
                      <a:pt x="709598" y="19040"/>
                      <a:pt x="715547" y="20663"/>
                    </a:cubicBezTo>
                    <a:cubicBezTo>
                      <a:pt x="720956" y="22285"/>
                      <a:pt x="726364" y="26071"/>
                      <a:pt x="731773" y="27694"/>
                    </a:cubicBezTo>
                    <a:cubicBezTo>
                      <a:pt x="737181" y="29316"/>
                      <a:pt x="743671" y="29857"/>
                      <a:pt x="749080" y="31480"/>
                    </a:cubicBezTo>
                    <a:cubicBezTo>
                      <a:pt x="754488" y="33643"/>
                      <a:pt x="760437" y="34725"/>
                      <a:pt x="765846" y="36888"/>
                    </a:cubicBezTo>
                    <a:cubicBezTo>
                      <a:pt x="771254" y="39052"/>
                      <a:pt x="776663" y="41756"/>
                      <a:pt x="782072" y="44460"/>
                    </a:cubicBezTo>
                    <a:cubicBezTo>
                      <a:pt x="787480" y="46624"/>
                      <a:pt x="792348" y="49869"/>
                      <a:pt x="797756" y="52573"/>
                    </a:cubicBezTo>
                    <a:cubicBezTo>
                      <a:pt x="803165" y="55277"/>
                      <a:pt x="808033" y="58522"/>
                      <a:pt x="812900" y="61227"/>
                    </a:cubicBezTo>
                    <a:cubicBezTo>
                      <a:pt x="818309" y="63931"/>
                      <a:pt x="824258" y="65013"/>
                      <a:pt x="829126" y="67717"/>
                    </a:cubicBezTo>
                    <a:cubicBezTo>
                      <a:pt x="833994" y="70421"/>
                      <a:pt x="839402" y="73125"/>
                      <a:pt x="844811" y="75830"/>
                    </a:cubicBezTo>
                    <a:cubicBezTo>
                      <a:pt x="849678" y="79075"/>
                      <a:pt x="854546" y="82320"/>
                      <a:pt x="859414" y="85024"/>
                    </a:cubicBezTo>
                    <a:cubicBezTo>
                      <a:pt x="864281" y="88269"/>
                      <a:pt x="868067" y="93137"/>
                      <a:pt x="872935" y="96382"/>
                    </a:cubicBezTo>
                    <a:cubicBezTo>
                      <a:pt x="877803" y="99627"/>
                      <a:pt x="883211" y="102331"/>
                      <a:pt x="888079" y="105576"/>
                    </a:cubicBezTo>
                    <a:cubicBezTo>
                      <a:pt x="892946" y="108822"/>
                      <a:pt x="898355" y="111526"/>
                      <a:pt x="902682" y="115312"/>
                    </a:cubicBezTo>
                    <a:cubicBezTo>
                      <a:pt x="907550" y="119098"/>
                      <a:pt x="911335" y="123425"/>
                      <a:pt x="915662" y="127211"/>
                    </a:cubicBezTo>
                    <a:cubicBezTo>
                      <a:pt x="919989" y="130996"/>
                      <a:pt x="924857" y="134242"/>
                      <a:pt x="929184" y="138568"/>
                    </a:cubicBezTo>
                    <a:cubicBezTo>
                      <a:pt x="933510" y="142354"/>
                      <a:pt x="937296" y="147222"/>
                      <a:pt x="941623" y="151008"/>
                    </a:cubicBezTo>
                    <a:cubicBezTo>
                      <a:pt x="945950" y="154794"/>
                      <a:pt x="950818" y="158039"/>
                      <a:pt x="955144" y="162366"/>
                    </a:cubicBezTo>
                    <a:cubicBezTo>
                      <a:pt x="959471" y="166693"/>
                      <a:pt x="963257" y="170479"/>
                      <a:pt x="967584" y="174806"/>
                    </a:cubicBezTo>
                    <a:cubicBezTo>
                      <a:pt x="971370" y="179132"/>
                      <a:pt x="974074" y="184541"/>
                      <a:pt x="977860" y="189409"/>
                    </a:cubicBezTo>
                    <a:cubicBezTo>
                      <a:pt x="981646" y="193735"/>
                      <a:pt x="985432" y="198062"/>
                      <a:pt x="989218" y="202389"/>
                    </a:cubicBezTo>
                    <a:cubicBezTo>
                      <a:pt x="993004" y="206716"/>
                      <a:pt x="997872" y="210502"/>
                      <a:pt x="1001116" y="215369"/>
                    </a:cubicBezTo>
                    <a:cubicBezTo>
                      <a:pt x="1004903" y="220237"/>
                      <a:pt x="1008148" y="224564"/>
                      <a:pt x="1011393" y="229431"/>
                    </a:cubicBezTo>
                    <a:cubicBezTo>
                      <a:pt x="1014638" y="234299"/>
                      <a:pt x="1018965" y="238626"/>
                      <a:pt x="1022210" y="243494"/>
                    </a:cubicBezTo>
                    <a:cubicBezTo>
                      <a:pt x="1025455" y="248361"/>
                      <a:pt x="1027078" y="254311"/>
                      <a:pt x="1030323" y="259178"/>
                    </a:cubicBezTo>
                    <a:cubicBezTo>
                      <a:pt x="1033568" y="264046"/>
                      <a:pt x="1037895" y="268373"/>
                      <a:pt x="1040599" y="273241"/>
                    </a:cubicBezTo>
                    <a:cubicBezTo>
                      <a:pt x="1043844" y="278108"/>
                      <a:pt x="1046007" y="283517"/>
                      <a:pt x="1048712" y="288925"/>
                    </a:cubicBezTo>
                    <a:cubicBezTo>
                      <a:pt x="1051416" y="293793"/>
                      <a:pt x="1053580" y="299742"/>
                      <a:pt x="1056284" y="304610"/>
                    </a:cubicBezTo>
                    <a:cubicBezTo>
                      <a:pt x="1058988" y="310018"/>
                      <a:pt x="1062774" y="314345"/>
                      <a:pt x="1065478" y="319754"/>
                    </a:cubicBezTo>
                    <a:cubicBezTo>
                      <a:pt x="1068182" y="325162"/>
                      <a:pt x="1070346" y="330571"/>
                      <a:pt x="1072509" y="335979"/>
                    </a:cubicBezTo>
                    <a:cubicBezTo>
                      <a:pt x="1074673" y="341388"/>
                      <a:pt x="1077377" y="346796"/>
                      <a:pt x="1079540" y="352205"/>
                    </a:cubicBezTo>
                    <a:cubicBezTo>
                      <a:pt x="1081704" y="357613"/>
                      <a:pt x="1082786" y="363563"/>
                      <a:pt x="1084949" y="368971"/>
                    </a:cubicBezTo>
                    <a:cubicBezTo>
                      <a:pt x="1087112" y="374380"/>
                      <a:pt x="1089276" y="379788"/>
                      <a:pt x="1090898" y="385738"/>
                    </a:cubicBezTo>
                    <a:cubicBezTo>
                      <a:pt x="1092521" y="391146"/>
                      <a:pt x="1094684" y="397096"/>
                      <a:pt x="1096307" y="402504"/>
                    </a:cubicBezTo>
                    <a:cubicBezTo>
                      <a:pt x="1097929" y="407913"/>
                      <a:pt x="1100093" y="413862"/>
                      <a:pt x="1101174" y="419270"/>
                    </a:cubicBezTo>
                    <a:cubicBezTo>
                      <a:pt x="1102797" y="424679"/>
                      <a:pt x="1102797" y="430628"/>
                      <a:pt x="1104420" y="436578"/>
                    </a:cubicBezTo>
                    <a:cubicBezTo>
                      <a:pt x="1105501" y="442527"/>
                      <a:pt x="1107124" y="447936"/>
                      <a:pt x="1108205" y="453885"/>
                    </a:cubicBezTo>
                    <a:cubicBezTo>
                      <a:pt x="1109287" y="459834"/>
                      <a:pt x="1112533" y="465243"/>
                      <a:pt x="1113614" y="47065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DDE0E98-F65D-BBBE-0DC3-7D0F1540A538}"/>
                  </a:ext>
                </a:extLst>
              </p:cNvPr>
              <p:cNvSpPr/>
              <p:nvPr/>
            </p:nvSpPr>
            <p:spPr>
              <a:xfrm flipH="1">
                <a:off x="11384925" y="1778089"/>
                <a:ext cx="77498" cy="32698"/>
              </a:xfrm>
              <a:custGeom>
                <a:avLst/>
                <a:gdLst>
                  <a:gd name="connsiteX0" fmla="*/ 93567 w 93566"/>
                  <a:gd name="connsiteY0" fmla="*/ 0 h 37318"/>
                  <a:gd name="connsiteX1" fmla="*/ 78424 w 93566"/>
                  <a:gd name="connsiteY1" fmla="*/ 7031 h 37318"/>
                  <a:gd name="connsiteX2" fmla="*/ 62739 w 93566"/>
                  <a:gd name="connsiteY2" fmla="*/ 12440 h 37318"/>
                  <a:gd name="connsiteX3" fmla="*/ 47054 w 93566"/>
                  <a:gd name="connsiteY3" fmla="*/ 18930 h 37318"/>
                  <a:gd name="connsiteX4" fmla="*/ 30828 w 93566"/>
                  <a:gd name="connsiteY4" fmla="*/ 23797 h 37318"/>
                  <a:gd name="connsiteX5" fmla="*/ 15143 w 93566"/>
                  <a:gd name="connsiteY5" fmla="*/ 29747 h 37318"/>
                  <a:gd name="connsiteX6" fmla="*/ 0 w 93566"/>
                  <a:gd name="connsiteY6" fmla="*/ 37319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566" h="37318">
                    <a:moveTo>
                      <a:pt x="93567" y="0"/>
                    </a:moveTo>
                    <a:cubicBezTo>
                      <a:pt x="85995" y="3245"/>
                      <a:pt x="85995" y="3786"/>
                      <a:pt x="78424" y="7031"/>
                    </a:cubicBezTo>
                    <a:cubicBezTo>
                      <a:pt x="70851" y="10276"/>
                      <a:pt x="70311" y="9735"/>
                      <a:pt x="62739" y="12440"/>
                    </a:cubicBezTo>
                    <a:cubicBezTo>
                      <a:pt x="55167" y="15685"/>
                      <a:pt x="55167" y="15685"/>
                      <a:pt x="47054" y="18930"/>
                    </a:cubicBezTo>
                    <a:cubicBezTo>
                      <a:pt x="39482" y="22175"/>
                      <a:pt x="38941" y="21093"/>
                      <a:pt x="30828" y="23797"/>
                    </a:cubicBezTo>
                    <a:cubicBezTo>
                      <a:pt x="23256" y="27043"/>
                      <a:pt x="23256" y="27043"/>
                      <a:pt x="15143" y="29747"/>
                    </a:cubicBezTo>
                    <a:cubicBezTo>
                      <a:pt x="7571" y="32992"/>
                      <a:pt x="8113" y="34074"/>
                      <a:pt x="0" y="37319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0117131-4E77-E40A-62BA-C93A137FCC9E}"/>
                  </a:ext>
                </a:extLst>
              </p:cNvPr>
              <p:cNvSpPr/>
              <p:nvPr/>
            </p:nvSpPr>
            <p:spPr>
              <a:xfrm flipH="1">
                <a:off x="11414938" y="1638216"/>
                <a:ext cx="325229" cy="10598"/>
              </a:xfrm>
              <a:custGeom>
                <a:avLst/>
                <a:gdLst>
                  <a:gd name="connsiteX0" fmla="*/ 392658 w 392658"/>
                  <a:gd name="connsiteY0" fmla="*/ 88 h 12096"/>
                  <a:gd name="connsiteX1" fmla="*/ 374810 w 392658"/>
                  <a:gd name="connsiteY1" fmla="*/ 1169 h 12096"/>
                  <a:gd name="connsiteX2" fmla="*/ 356962 w 392658"/>
                  <a:gd name="connsiteY2" fmla="*/ 88 h 12096"/>
                  <a:gd name="connsiteX3" fmla="*/ 339114 w 392658"/>
                  <a:gd name="connsiteY3" fmla="*/ 2792 h 12096"/>
                  <a:gd name="connsiteX4" fmla="*/ 321265 w 392658"/>
                  <a:gd name="connsiteY4" fmla="*/ 2792 h 12096"/>
                  <a:gd name="connsiteX5" fmla="*/ 303418 w 392658"/>
                  <a:gd name="connsiteY5" fmla="*/ 2792 h 12096"/>
                  <a:gd name="connsiteX6" fmla="*/ 285569 w 392658"/>
                  <a:gd name="connsiteY6" fmla="*/ 1710 h 12096"/>
                  <a:gd name="connsiteX7" fmla="*/ 267722 w 392658"/>
                  <a:gd name="connsiteY7" fmla="*/ 2251 h 12096"/>
                  <a:gd name="connsiteX8" fmla="*/ 249873 w 392658"/>
                  <a:gd name="connsiteY8" fmla="*/ 4955 h 12096"/>
                  <a:gd name="connsiteX9" fmla="*/ 232025 w 392658"/>
                  <a:gd name="connsiteY9" fmla="*/ 3873 h 12096"/>
                  <a:gd name="connsiteX10" fmla="*/ 214177 w 392658"/>
                  <a:gd name="connsiteY10" fmla="*/ 4414 h 12096"/>
                  <a:gd name="connsiteX11" fmla="*/ 196329 w 392658"/>
                  <a:gd name="connsiteY11" fmla="*/ 6037 h 12096"/>
                  <a:gd name="connsiteX12" fmla="*/ 178481 w 392658"/>
                  <a:gd name="connsiteY12" fmla="*/ 7659 h 12096"/>
                  <a:gd name="connsiteX13" fmla="*/ 160633 w 392658"/>
                  <a:gd name="connsiteY13" fmla="*/ 7659 h 12096"/>
                  <a:gd name="connsiteX14" fmla="*/ 142784 w 392658"/>
                  <a:gd name="connsiteY14" fmla="*/ 6037 h 12096"/>
                  <a:gd name="connsiteX15" fmla="*/ 124937 w 392658"/>
                  <a:gd name="connsiteY15" fmla="*/ 8200 h 12096"/>
                  <a:gd name="connsiteX16" fmla="*/ 107088 w 392658"/>
                  <a:gd name="connsiteY16" fmla="*/ 9282 h 12096"/>
                  <a:gd name="connsiteX17" fmla="*/ 89241 w 392658"/>
                  <a:gd name="connsiteY17" fmla="*/ 8200 h 12096"/>
                  <a:gd name="connsiteX18" fmla="*/ 71392 w 392658"/>
                  <a:gd name="connsiteY18" fmla="*/ 9823 h 12096"/>
                  <a:gd name="connsiteX19" fmla="*/ 53544 w 392658"/>
                  <a:gd name="connsiteY19" fmla="*/ 10364 h 12096"/>
                  <a:gd name="connsiteX20" fmla="*/ 35696 w 392658"/>
                  <a:gd name="connsiteY20" fmla="*/ 9282 h 12096"/>
                  <a:gd name="connsiteX21" fmla="*/ 17848 w 392658"/>
                  <a:gd name="connsiteY21" fmla="*/ 11986 h 12096"/>
                  <a:gd name="connsiteX22" fmla="*/ 0 w 392658"/>
                  <a:gd name="connsiteY22" fmla="*/ 10905 h 1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92658" h="12096">
                    <a:moveTo>
                      <a:pt x="392658" y="88"/>
                    </a:moveTo>
                    <a:cubicBezTo>
                      <a:pt x="383463" y="628"/>
                      <a:pt x="384005" y="628"/>
                      <a:pt x="374810" y="1169"/>
                    </a:cubicBezTo>
                    <a:cubicBezTo>
                      <a:pt x="365616" y="1710"/>
                      <a:pt x="365616" y="-453"/>
                      <a:pt x="356962" y="88"/>
                    </a:cubicBezTo>
                    <a:cubicBezTo>
                      <a:pt x="347767" y="628"/>
                      <a:pt x="348308" y="2251"/>
                      <a:pt x="339114" y="2792"/>
                    </a:cubicBezTo>
                    <a:cubicBezTo>
                      <a:pt x="329920" y="3333"/>
                      <a:pt x="329920" y="2792"/>
                      <a:pt x="321265" y="2792"/>
                    </a:cubicBezTo>
                    <a:cubicBezTo>
                      <a:pt x="312071" y="3333"/>
                      <a:pt x="312071" y="2792"/>
                      <a:pt x="303418" y="2792"/>
                    </a:cubicBezTo>
                    <a:cubicBezTo>
                      <a:pt x="294223" y="3333"/>
                      <a:pt x="294223" y="1169"/>
                      <a:pt x="285569" y="1710"/>
                    </a:cubicBezTo>
                    <a:cubicBezTo>
                      <a:pt x="276375" y="2251"/>
                      <a:pt x="276375" y="2251"/>
                      <a:pt x="267722" y="2251"/>
                    </a:cubicBezTo>
                    <a:cubicBezTo>
                      <a:pt x="258527" y="2792"/>
                      <a:pt x="259067" y="4414"/>
                      <a:pt x="249873" y="4955"/>
                    </a:cubicBezTo>
                    <a:cubicBezTo>
                      <a:pt x="240679" y="5496"/>
                      <a:pt x="240679" y="3333"/>
                      <a:pt x="232025" y="3873"/>
                    </a:cubicBezTo>
                    <a:cubicBezTo>
                      <a:pt x="222831" y="4414"/>
                      <a:pt x="222831" y="4414"/>
                      <a:pt x="214177" y="4414"/>
                    </a:cubicBezTo>
                    <a:cubicBezTo>
                      <a:pt x="204982" y="4955"/>
                      <a:pt x="205524" y="5496"/>
                      <a:pt x="196329" y="6037"/>
                    </a:cubicBezTo>
                    <a:cubicBezTo>
                      <a:pt x="187135" y="6578"/>
                      <a:pt x="187675" y="7119"/>
                      <a:pt x="178481" y="7659"/>
                    </a:cubicBezTo>
                    <a:cubicBezTo>
                      <a:pt x="169286" y="8200"/>
                      <a:pt x="169286" y="7659"/>
                      <a:pt x="160633" y="7659"/>
                    </a:cubicBezTo>
                    <a:cubicBezTo>
                      <a:pt x="151438" y="8200"/>
                      <a:pt x="151438" y="6037"/>
                      <a:pt x="142784" y="6037"/>
                    </a:cubicBezTo>
                    <a:cubicBezTo>
                      <a:pt x="133590" y="6578"/>
                      <a:pt x="134131" y="8200"/>
                      <a:pt x="124937" y="8200"/>
                    </a:cubicBezTo>
                    <a:cubicBezTo>
                      <a:pt x="115742" y="8200"/>
                      <a:pt x="115742" y="9282"/>
                      <a:pt x="107088" y="9282"/>
                    </a:cubicBezTo>
                    <a:cubicBezTo>
                      <a:pt x="97894" y="9823"/>
                      <a:pt x="97894" y="7659"/>
                      <a:pt x="89241" y="8200"/>
                    </a:cubicBezTo>
                    <a:cubicBezTo>
                      <a:pt x="80046" y="8741"/>
                      <a:pt x="80586" y="9823"/>
                      <a:pt x="71392" y="9823"/>
                    </a:cubicBezTo>
                    <a:cubicBezTo>
                      <a:pt x="62198" y="10364"/>
                      <a:pt x="62198" y="9823"/>
                      <a:pt x="53544" y="10364"/>
                    </a:cubicBezTo>
                    <a:cubicBezTo>
                      <a:pt x="44350" y="10905"/>
                      <a:pt x="44350" y="8741"/>
                      <a:pt x="35696" y="9282"/>
                    </a:cubicBezTo>
                    <a:cubicBezTo>
                      <a:pt x="26501" y="9823"/>
                      <a:pt x="27043" y="11445"/>
                      <a:pt x="17848" y="11986"/>
                    </a:cubicBezTo>
                    <a:cubicBezTo>
                      <a:pt x="8653" y="12527"/>
                      <a:pt x="8653" y="10905"/>
                      <a:pt x="0" y="10905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5BDB1AC-A5FD-2AB1-7D2D-3A6809E2C988}"/>
                  </a:ext>
                </a:extLst>
              </p:cNvPr>
              <p:cNvSpPr/>
              <p:nvPr/>
            </p:nvSpPr>
            <p:spPr>
              <a:xfrm flipH="1">
                <a:off x="11409115" y="1435468"/>
                <a:ext cx="633435" cy="32698"/>
              </a:xfrm>
              <a:custGeom>
                <a:avLst/>
                <a:gdLst>
                  <a:gd name="connsiteX0" fmla="*/ 764764 w 764764"/>
                  <a:gd name="connsiteY0" fmla="*/ 36778 h 37318"/>
                  <a:gd name="connsiteX1" fmla="*/ 747457 w 764764"/>
                  <a:gd name="connsiteY1" fmla="*/ 37319 h 37318"/>
                  <a:gd name="connsiteX2" fmla="*/ 730150 w 764764"/>
                  <a:gd name="connsiteY2" fmla="*/ 36778 h 37318"/>
                  <a:gd name="connsiteX3" fmla="*/ 712843 w 764764"/>
                  <a:gd name="connsiteY3" fmla="*/ 35696 h 37318"/>
                  <a:gd name="connsiteX4" fmla="*/ 695536 w 764764"/>
                  <a:gd name="connsiteY4" fmla="*/ 34074 h 37318"/>
                  <a:gd name="connsiteX5" fmla="*/ 678228 w 764764"/>
                  <a:gd name="connsiteY5" fmla="*/ 33533 h 37318"/>
                  <a:gd name="connsiteX6" fmla="*/ 660921 w 764764"/>
                  <a:gd name="connsiteY6" fmla="*/ 31910 h 37318"/>
                  <a:gd name="connsiteX7" fmla="*/ 643614 w 764764"/>
                  <a:gd name="connsiteY7" fmla="*/ 31910 h 37318"/>
                  <a:gd name="connsiteX8" fmla="*/ 626306 w 764764"/>
                  <a:gd name="connsiteY8" fmla="*/ 30288 h 37318"/>
                  <a:gd name="connsiteX9" fmla="*/ 608999 w 764764"/>
                  <a:gd name="connsiteY9" fmla="*/ 28665 h 37318"/>
                  <a:gd name="connsiteX10" fmla="*/ 591151 w 764764"/>
                  <a:gd name="connsiteY10" fmla="*/ 29747 h 37318"/>
                  <a:gd name="connsiteX11" fmla="*/ 573844 w 764764"/>
                  <a:gd name="connsiteY11" fmla="*/ 28665 h 37318"/>
                  <a:gd name="connsiteX12" fmla="*/ 556536 w 764764"/>
                  <a:gd name="connsiteY12" fmla="*/ 27583 h 37318"/>
                  <a:gd name="connsiteX13" fmla="*/ 539229 w 764764"/>
                  <a:gd name="connsiteY13" fmla="*/ 26502 h 37318"/>
                  <a:gd name="connsiteX14" fmla="*/ 521922 w 764764"/>
                  <a:gd name="connsiteY14" fmla="*/ 24879 h 37318"/>
                  <a:gd name="connsiteX15" fmla="*/ 504615 w 764764"/>
                  <a:gd name="connsiteY15" fmla="*/ 23257 h 37318"/>
                  <a:gd name="connsiteX16" fmla="*/ 487308 w 764764"/>
                  <a:gd name="connsiteY16" fmla="*/ 23797 h 37318"/>
                  <a:gd name="connsiteX17" fmla="*/ 470000 w 764764"/>
                  <a:gd name="connsiteY17" fmla="*/ 22175 h 37318"/>
                  <a:gd name="connsiteX18" fmla="*/ 452152 w 764764"/>
                  <a:gd name="connsiteY18" fmla="*/ 23257 h 37318"/>
                  <a:gd name="connsiteX19" fmla="*/ 434845 w 764764"/>
                  <a:gd name="connsiteY19" fmla="*/ 21093 h 37318"/>
                  <a:gd name="connsiteX20" fmla="*/ 417538 w 764764"/>
                  <a:gd name="connsiteY20" fmla="*/ 20552 h 37318"/>
                  <a:gd name="connsiteX21" fmla="*/ 400231 w 764764"/>
                  <a:gd name="connsiteY21" fmla="*/ 20012 h 37318"/>
                  <a:gd name="connsiteX22" fmla="*/ 382923 w 764764"/>
                  <a:gd name="connsiteY22" fmla="*/ 18930 h 37318"/>
                  <a:gd name="connsiteX23" fmla="*/ 365616 w 764764"/>
                  <a:gd name="connsiteY23" fmla="*/ 17307 h 37318"/>
                  <a:gd name="connsiteX24" fmla="*/ 348308 w 764764"/>
                  <a:gd name="connsiteY24" fmla="*/ 17307 h 37318"/>
                  <a:gd name="connsiteX25" fmla="*/ 331001 w 764764"/>
                  <a:gd name="connsiteY25" fmla="*/ 15144 h 37318"/>
                  <a:gd name="connsiteX26" fmla="*/ 313694 w 764764"/>
                  <a:gd name="connsiteY26" fmla="*/ 15144 h 37318"/>
                  <a:gd name="connsiteX27" fmla="*/ 296387 w 764764"/>
                  <a:gd name="connsiteY27" fmla="*/ 12440 h 37318"/>
                  <a:gd name="connsiteX28" fmla="*/ 279080 w 764764"/>
                  <a:gd name="connsiteY28" fmla="*/ 12440 h 37318"/>
                  <a:gd name="connsiteX29" fmla="*/ 261772 w 764764"/>
                  <a:gd name="connsiteY29" fmla="*/ 12440 h 37318"/>
                  <a:gd name="connsiteX30" fmla="*/ 244465 w 764764"/>
                  <a:gd name="connsiteY30" fmla="*/ 12440 h 37318"/>
                  <a:gd name="connsiteX31" fmla="*/ 227158 w 764764"/>
                  <a:gd name="connsiteY31" fmla="*/ 10817 h 37318"/>
                  <a:gd name="connsiteX32" fmla="*/ 209850 w 764764"/>
                  <a:gd name="connsiteY32" fmla="*/ 8654 h 37318"/>
                  <a:gd name="connsiteX33" fmla="*/ 192543 w 764764"/>
                  <a:gd name="connsiteY33" fmla="*/ 7572 h 37318"/>
                  <a:gd name="connsiteX34" fmla="*/ 174695 w 764764"/>
                  <a:gd name="connsiteY34" fmla="*/ 8654 h 37318"/>
                  <a:gd name="connsiteX35" fmla="*/ 157388 w 764764"/>
                  <a:gd name="connsiteY35" fmla="*/ 8654 h 37318"/>
                  <a:gd name="connsiteX36" fmla="*/ 140080 w 764764"/>
                  <a:gd name="connsiteY36" fmla="*/ 5409 h 37318"/>
                  <a:gd name="connsiteX37" fmla="*/ 122773 w 764764"/>
                  <a:gd name="connsiteY37" fmla="*/ 4868 h 37318"/>
                  <a:gd name="connsiteX38" fmla="*/ 104925 w 764764"/>
                  <a:gd name="connsiteY38" fmla="*/ 5409 h 37318"/>
                  <a:gd name="connsiteX39" fmla="*/ 87618 w 764764"/>
                  <a:gd name="connsiteY39" fmla="*/ 3786 h 37318"/>
                  <a:gd name="connsiteX40" fmla="*/ 69770 w 764764"/>
                  <a:gd name="connsiteY40" fmla="*/ 4868 h 37318"/>
                  <a:gd name="connsiteX41" fmla="*/ 52463 w 764764"/>
                  <a:gd name="connsiteY41" fmla="*/ 3786 h 37318"/>
                  <a:gd name="connsiteX42" fmla="*/ 35155 w 764764"/>
                  <a:gd name="connsiteY42" fmla="*/ 1082 h 37318"/>
                  <a:gd name="connsiteX43" fmla="*/ 17307 w 764764"/>
                  <a:gd name="connsiteY43" fmla="*/ 1623 h 37318"/>
                  <a:gd name="connsiteX44" fmla="*/ 0 w 764764"/>
                  <a:gd name="connsiteY44" fmla="*/ 0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64764" h="37318">
                    <a:moveTo>
                      <a:pt x="764764" y="36778"/>
                    </a:moveTo>
                    <a:cubicBezTo>
                      <a:pt x="756111" y="36237"/>
                      <a:pt x="756111" y="37319"/>
                      <a:pt x="747457" y="37319"/>
                    </a:cubicBezTo>
                    <a:cubicBezTo>
                      <a:pt x="738804" y="36778"/>
                      <a:pt x="738804" y="37319"/>
                      <a:pt x="730150" y="36778"/>
                    </a:cubicBezTo>
                    <a:cubicBezTo>
                      <a:pt x="721496" y="36237"/>
                      <a:pt x="721496" y="35696"/>
                      <a:pt x="712843" y="35696"/>
                    </a:cubicBezTo>
                    <a:cubicBezTo>
                      <a:pt x="704189" y="35155"/>
                      <a:pt x="704189" y="34614"/>
                      <a:pt x="695536" y="34074"/>
                    </a:cubicBezTo>
                    <a:cubicBezTo>
                      <a:pt x="686882" y="33533"/>
                      <a:pt x="686882" y="33533"/>
                      <a:pt x="678228" y="33533"/>
                    </a:cubicBezTo>
                    <a:cubicBezTo>
                      <a:pt x="669574" y="32992"/>
                      <a:pt x="669574" y="32451"/>
                      <a:pt x="660921" y="31910"/>
                    </a:cubicBezTo>
                    <a:cubicBezTo>
                      <a:pt x="652267" y="31370"/>
                      <a:pt x="652267" y="32451"/>
                      <a:pt x="643614" y="31910"/>
                    </a:cubicBezTo>
                    <a:cubicBezTo>
                      <a:pt x="634960" y="31370"/>
                      <a:pt x="634960" y="30829"/>
                      <a:pt x="626306" y="30288"/>
                    </a:cubicBezTo>
                    <a:cubicBezTo>
                      <a:pt x="617653" y="29747"/>
                      <a:pt x="617653" y="29206"/>
                      <a:pt x="608999" y="28665"/>
                    </a:cubicBezTo>
                    <a:cubicBezTo>
                      <a:pt x="600346" y="28124"/>
                      <a:pt x="600346" y="30288"/>
                      <a:pt x="591151" y="29747"/>
                    </a:cubicBezTo>
                    <a:cubicBezTo>
                      <a:pt x="582497" y="29206"/>
                      <a:pt x="582497" y="29206"/>
                      <a:pt x="573844" y="28665"/>
                    </a:cubicBezTo>
                    <a:cubicBezTo>
                      <a:pt x="565190" y="28124"/>
                      <a:pt x="565190" y="28124"/>
                      <a:pt x="556536" y="27583"/>
                    </a:cubicBezTo>
                    <a:cubicBezTo>
                      <a:pt x="547883" y="27043"/>
                      <a:pt x="547883" y="27043"/>
                      <a:pt x="539229" y="26502"/>
                    </a:cubicBezTo>
                    <a:cubicBezTo>
                      <a:pt x="530576" y="25961"/>
                      <a:pt x="530576" y="25420"/>
                      <a:pt x="521922" y="24879"/>
                    </a:cubicBezTo>
                    <a:cubicBezTo>
                      <a:pt x="513268" y="24338"/>
                      <a:pt x="513268" y="23797"/>
                      <a:pt x="504615" y="23257"/>
                    </a:cubicBezTo>
                    <a:cubicBezTo>
                      <a:pt x="495961" y="22716"/>
                      <a:pt x="495961" y="23797"/>
                      <a:pt x="487308" y="23797"/>
                    </a:cubicBezTo>
                    <a:cubicBezTo>
                      <a:pt x="478654" y="23257"/>
                      <a:pt x="478654" y="22716"/>
                      <a:pt x="470000" y="22175"/>
                    </a:cubicBezTo>
                    <a:cubicBezTo>
                      <a:pt x="461346" y="21634"/>
                      <a:pt x="461346" y="23797"/>
                      <a:pt x="452152" y="23257"/>
                    </a:cubicBezTo>
                    <a:cubicBezTo>
                      <a:pt x="443499" y="22716"/>
                      <a:pt x="443499" y="21634"/>
                      <a:pt x="434845" y="21093"/>
                    </a:cubicBezTo>
                    <a:cubicBezTo>
                      <a:pt x="426191" y="20552"/>
                      <a:pt x="426191" y="21093"/>
                      <a:pt x="417538" y="20552"/>
                    </a:cubicBezTo>
                    <a:cubicBezTo>
                      <a:pt x="408884" y="20012"/>
                      <a:pt x="408884" y="20552"/>
                      <a:pt x="400231" y="20012"/>
                    </a:cubicBezTo>
                    <a:cubicBezTo>
                      <a:pt x="391576" y="19471"/>
                      <a:pt x="391576" y="18930"/>
                      <a:pt x="382923" y="18930"/>
                    </a:cubicBezTo>
                    <a:cubicBezTo>
                      <a:pt x="374269" y="18389"/>
                      <a:pt x="374269" y="17848"/>
                      <a:pt x="365616" y="17307"/>
                    </a:cubicBezTo>
                    <a:cubicBezTo>
                      <a:pt x="356963" y="16766"/>
                      <a:pt x="356963" y="17848"/>
                      <a:pt x="348308" y="17307"/>
                    </a:cubicBezTo>
                    <a:cubicBezTo>
                      <a:pt x="339655" y="16766"/>
                      <a:pt x="339655" y="15685"/>
                      <a:pt x="331001" y="15144"/>
                    </a:cubicBezTo>
                    <a:cubicBezTo>
                      <a:pt x="322348" y="14603"/>
                      <a:pt x="322348" y="15685"/>
                      <a:pt x="313694" y="15144"/>
                    </a:cubicBezTo>
                    <a:cubicBezTo>
                      <a:pt x="305040" y="14603"/>
                      <a:pt x="305040" y="12980"/>
                      <a:pt x="296387" y="12440"/>
                    </a:cubicBezTo>
                    <a:cubicBezTo>
                      <a:pt x="287733" y="11899"/>
                      <a:pt x="287733" y="12980"/>
                      <a:pt x="279080" y="12440"/>
                    </a:cubicBezTo>
                    <a:cubicBezTo>
                      <a:pt x="270426" y="11899"/>
                      <a:pt x="270426" y="12980"/>
                      <a:pt x="261772" y="12440"/>
                    </a:cubicBezTo>
                    <a:cubicBezTo>
                      <a:pt x="253119" y="11899"/>
                      <a:pt x="253119" y="12980"/>
                      <a:pt x="244465" y="12440"/>
                    </a:cubicBezTo>
                    <a:cubicBezTo>
                      <a:pt x="235812" y="11899"/>
                      <a:pt x="235812" y="11358"/>
                      <a:pt x="227158" y="10817"/>
                    </a:cubicBezTo>
                    <a:cubicBezTo>
                      <a:pt x="218504" y="10276"/>
                      <a:pt x="218504" y="9195"/>
                      <a:pt x="209850" y="8654"/>
                    </a:cubicBezTo>
                    <a:cubicBezTo>
                      <a:pt x="201197" y="8113"/>
                      <a:pt x="201197" y="7572"/>
                      <a:pt x="192543" y="7572"/>
                    </a:cubicBezTo>
                    <a:cubicBezTo>
                      <a:pt x="183890" y="7031"/>
                      <a:pt x="183890" y="9195"/>
                      <a:pt x="174695" y="8654"/>
                    </a:cubicBezTo>
                    <a:cubicBezTo>
                      <a:pt x="166042" y="8113"/>
                      <a:pt x="166042" y="8654"/>
                      <a:pt x="157388" y="8654"/>
                    </a:cubicBezTo>
                    <a:cubicBezTo>
                      <a:pt x="148735" y="8113"/>
                      <a:pt x="148735" y="5949"/>
                      <a:pt x="140080" y="5409"/>
                    </a:cubicBezTo>
                    <a:cubicBezTo>
                      <a:pt x="131427" y="4868"/>
                      <a:pt x="131427" y="5409"/>
                      <a:pt x="122773" y="4868"/>
                    </a:cubicBezTo>
                    <a:cubicBezTo>
                      <a:pt x="114120" y="4327"/>
                      <a:pt x="114120" y="5949"/>
                      <a:pt x="104925" y="5409"/>
                    </a:cubicBezTo>
                    <a:cubicBezTo>
                      <a:pt x="96272" y="4868"/>
                      <a:pt x="96272" y="3786"/>
                      <a:pt x="87618" y="3786"/>
                    </a:cubicBezTo>
                    <a:cubicBezTo>
                      <a:pt x="78965" y="3245"/>
                      <a:pt x="78965" y="5409"/>
                      <a:pt x="69770" y="4868"/>
                    </a:cubicBezTo>
                    <a:cubicBezTo>
                      <a:pt x="61116" y="4327"/>
                      <a:pt x="61116" y="4327"/>
                      <a:pt x="52463" y="3786"/>
                    </a:cubicBezTo>
                    <a:cubicBezTo>
                      <a:pt x="43809" y="3245"/>
                      <a:pt x="43809" y="1623"/>
                      <a:pt x="35155" y="1082"/>
                    </a:cubicBezTo>
                    <a:cubicBezTo>
                      <a:pt x="26502" y="541"/>
                      <a:pt x="26502" y="1623"/>
                      <a:pt x="17307" y="1623"/>
                    </a:cubicBezTo>
                    <a:cubicBezTo>
                      <a:pt x="8654" y="1082"/>
                      <a:pt x="8654" y="54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099791C-EEA8-29B4-BA4C-40E33D672332}"/>
                  </a:ext>
                </a:extLst>
              </p:cNvPr>
              <p:cNvSpPr/>
              <p:nvPr/>
            </p:nvSpPr>
            <p:spPr>
              <a:xfrm flipH="1">
                <a:off x="11365662" y="1164403"/>
                <a:ext cx="749908" cy="161596"/>
              </a:xfrm>
              <a:custGeom>
                <a:avLst/>
                <a:gdLst>
                  <a:gd name="connsiteX0" fmla="*/ 905386 w 905385"/>
                  <a:gd name="connsiteY0" fmla="*/ 184430 h 184430"/>
                  <a:gd name="connsiteX1" fmla="*/ 888078 w 905385"/>
                  <a:gd name="connsiteY1" fmla="*/ 180104 h 184430"/>
                  <a:gd name="connsiteX2" fmla="*/ 870771 w 905385"/>
                  <a:gd name="connsiteY2" fmla="*/ 175777 h 184430"/>
                  <a:gd name="connsiteX3" fmla="*/ 853464 w 905385"/>
                  <a:gd name="connsiteY3" fmla="*/ 172532 h 184430"/>
                  <a:gd name="connsiteX4" fmla="*/ 835616 w 905385"/>
                  <a:gd name="connsiteY4" fmla="*/ 169828 h 184430"/>
                  <a:gd name="connsiteX5" fmla="*/ 818309 w 905385"/>
                  <a:gd name="connsiteY5" fmla="*/ 164960 h 184430"/>
                  <a:gd name="connsiteX6" fmla="*/ 801001 w 905385"/>
                  <a:gd name="connsiteY6" fmla="*/ 161715 h 184430"/>
                  <a:gd name="connsiteX7" fmla="*/ 783694 w 905385"/>
                  <a:gd name="connsiteY7" fmla="*/ 158470 h 184430"/>
                  <a:gd name="connsiteX8" fmla="*/ 766387 w 905385"/>
                  <a:gd name="connsiteY8" fmla="*/ 154684 h 184430"/>
                  <a:gd name="connsiteX9" fmla="*/ 748539 w 905385"/>
                  <a:gd name="connsiteY9" fmla="*/ 151979 h 184430"/>
                  <a:gd name="connsiteX10" fmla="*/ 731231 w 905385"/>
                  <a:gd name="connsiteY10" fmla="*/ 148734 h 184430"/>
                  <a:gd name="connsiteX11" fmla="*/ 713924 w 905385"/>
                  <a:gd name="connsiteY11" fmla="*/ 143867 h 184430"/>
                  <a:gd name="connsiteX12" fmla="*/ 696076 w 905385"/>
                  <a:gd name="connsiteY12" fmla="*/ 141703 h 184430"/>
                  <a:gd name="connsiteX13" fmla="*/ 678769 w 905385"/>
                  <a:gd name="connsiteY13" fmla="*/ 136836 h 184430"/>
                  <a:gd name="connsiteX14" fmla="*/ 660921 w 905385"/>
                  <a:gd name="connsiteY14" fmla="*/ 134131 h 184430"/>
                  <a:gd name="connsiteX15" fmla="*/ 643614 w 905385"/>
                  <a:gd name="connsiteY15" fmla="*/ 131427 h 184430"/>
                  <a:gd name="connsiteX16" fmla="*/ 626307 w 905385"/>
                  <a:gd name="connsiteY16" fmla="*/ 128182 h 184430"/>
                  <a:gd name="connsiteX17" fmla="*/ 608999 w 905385"/>
                  <a:gd name="connsiteY17" fmla="*/ 124396 h 184430"/>
                  <a:gd name="connsiteX18" fmla="*/ 592233 w 905385"/>
                  <a:gd name="connsiteY18" fmla="*/ 118987 h 184430"/>
                  <a:gd name="connsiteX19" fmla="*/ 574384 w 905385"/>
                  <a:gd name="connsiteY19" fmla="*/ 116824 h 184430"/>
                  <a:gd name="connsiteX20" fmla="*/ 557077 w 905385"/>
                  <a:gd name="connsiteY20" fmla="*/ 112497 h 184430"/>
                  <a:gd name="connsiteX21" fmla="*/ 539770 w 905385"/>
                  <a:gd name="connsiteY21" fmla="*/ 108711 h 184430"/>
                  <a:gd name="connsiteX22" fmla="*/ 522463 w 905385"/>
                  <a:gd name="connsiteY22" fmla="*/ 106007 h 184430"/>
                  <a:gd name="connsiteX23" fmla="*/ 505156 w 905385"/>
                  <a:gd name="connsiteY23" fmla="*/ 101139 h 184430"/>
                  <a:gd name="connsiteX24" fmla="*/ 487848 w 905385"/>
                  <a:gd name="connsiteY24" fmla="*/ 97353 h 184430"/>
                  <a:gd name="connsiteX25" fmla="*/ 470541 w 905385"/>
                  <a:gd name="connsiteY25" fmla="*/ 94649 h 184430"/>
                  <a:gd name="connsiteX26" fmla="*/ 453234 w 905385"/>
                  <a:gd name="connsiteY26" fmla="*/ 90863 h 184430"/>
                  <a:gd name="connsiteX27" fmla="*/ 435386 w 905385"/>
                  <a:gd name="connsiteY27" fmla="*/ 88700 h 184430"/>
                  <a:gd name="connsiteX28" fmla="*/ 418079 w 905385"/>
                  <a:gd name="connsiteY28" fmla="*/ 85455 h 184430"/>
                  <a:gd name="connsiteX29" fmla="*/ 400771 w 905385"/>
                  <a:gd name="connsiteY29" fmla="*/ 81669 h 184430"/>
                  <a:gd name="connsiteX30" fmla="*/ 383464 w 905385"/>
                  <a:gd name="connsiteY30" fmla="*/ 77342 h 184430"/>
                  <a:gd name="connsiteX31" fmla="*/ 366156 w 905385"/>
                  <a:gd name="connsiteY31" fmla="*/ 73556 h 184430"/>
                  <a:gd name="connsiteX32" fmla="*/ 348309 w 905385"/>
                  <a:gd name="connsiteY32" fmla="*/ 70852 h 184430"/>
                  <a:gd name="connsiteX33" fmla="*/ 331001 w 905385"/>
                  <a:gd name="connsiteY33" fmla="*/ 67606 h 184430"/>
                  <a:gd name="connsiteX34" fmla="*/ 314235 w 905385"/>
                  <a:gd name="connsiteY34" fmla="*/ 61657 h 184430"/>
                  <a:gd name="connsiteX35" fmla="*/ 296387 w 905385"/>
                  <a:gd name="connsiteY35" fmla="*/ 59494 h 184430"/>
                  <a:gd name="connsiteX36" fmla="*/ 279079 w 905385"/>
                  <a:gd name="connsiteY36" fmla="*/ 56789 h 184430"/>
                  <a:gd name="connsiteX37" fmla="*/ 261772 w 905385"/>
                  <a:gd name="connsiteY37" fmla="*/ 51922 h 184430"/>
                  <a:gd name="connsiteX38" fmla="*/ 243924 w 905385"/>
                  <a:gd name="connsiteY38" fmla="*/ 50299 h 184430"/>
                  <a:gd name="connsiteX39" fmla="*/ 227158 w 905385"/>
                  <a:gd name="connsiteY39" fmla="*/ 44891 h 184430"/>
                  <a:gd name="connsiteX40" fmla="*/ 209851 w 905385"/>
                  <a:gd name="connsiteY40" fmla="*/ 41105 h 184430"/>
                  <a:gd name="connsiteX41" fmla="*/ 192002 w 905385"/>
                  <a:gd name="connsiteY41" fmla="*/ 39482 h 184430"/>
                  <a:gd name="connsiteX42" fmla="*/ 174695 w 905385"/>
                  <a:gd name="connsiteY42" fmla="*/ 34074 h 184430"/>
                  <a:gd name="connsiteX43" fmla="*/ 156847 w 905385"/>
                  <a:gd name="connsiteY43" fmla="*/ 32451 h 184430"/>
                  <a:gd name="connsiteX44" fmla="*/ 139540 w 905385"/>
                  <a:gd name="connsiteY44" fmla="*/ 27583 h 184430"/>
                  <a:gd name="connsiteX45" fmla="*/ 121692 w 905385"/>
                  <a:gd name="connsiteY45" fmla="*/ 24879 h 184430"/>
                  <a:gd name="connsiteX46" fmla="*/ 104384 w 905385"/>
                  <a:gd name="connsiteY46" fmla="*/ 20552 h 184430"/>
                  <a:gd name="connsiteX47" fmla="*/ 87077 w 905385"/>
                  <a:gd name="connsiteY47" fmla="*/ 17307 h 184430"/>
                  <a:gd name="connsiteX48" fmla="*/ 69229 w 905385"/>
                  <a:gd name="connsiteY48" fmla="*/ 14603 h 184430"/>
                  <a:gd name="connsiteX49" fmla="*/ 51922 w 905385"/>
                  <a:gd name="connsiteY49" fmla="*/ 11899 h 184430"/>
                  <a:gd name="connsiteX50" fmla="*/ 34615 w 905385"/>
                  <a:gd name="connsiteY50" fmla="*/ 8113 h 184430"/>
                  <a:gd name="connsiteX51" fmla="*/ 17307 w 905385"/>
                  <a:gd name="connsiteY51" fmla="*/ 3786 h 184430"/>
                  <a:gd name="connsiteX52" fmla="*/ 0 w 905385"/>
                  <a:gd name="connsiteY52" fmla="*/ 0 h 18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05385" h="184430">
                    <a:moveTo>
                      <a:pt x="905386" y="184430"/>
                    </a:moveTo>
                    <a:cubicBezTo>
                      <a:pt x="896732" y="182808"/>
                      <a:pt x="896732" y="181726"/>
                      <a:pt x="888078" y="180104"/>
                    </a:cubicBezTo>
                    <a:cubicBezTo>
                      <a:pt x="879425" y="178481"/>
                      <a:pt x="879425" y="177399"/>
                      <a:pt x="870771" y="175777"/>
                    </a:cubicBezTo>
                    <a:cubicBezTo>
                      <a:pt x="862118" y="174154"/>
                      <a:pt x="862118" y="174154"/>
                      <a:pt x="853464" y="172532"/>
                    </a:cubicBezTo>
                    <a:cubicBezTo>
                      <a:pt x="844810" y="170909"/>
                      <a:pt x="844810" y="171991"/>
                      <a:pt x="835616" y="169828"/>
                    </a:cubicBezTo>
                    <a:cubicBezTo>
                      <a:pt x="826962" y="168205"/>
                      <a:pt x="826962" y="167123"/>
                      <a:pt x="818309" y="164960"/>
                    </a:cubicBezTo>
                    <a:cubicBezTo>
                      <a:pt x="809655" y="163337"/>
                      <a:pt x="809655" y="163337"/>
                      <a:pt x="801001" y="161715"/>
                    </a:cubicBezTo>
                    <a:cubicBezTo>
                      <a:pt x="792348" y="160092"/>
                      <a:pt x="792348" y="160092"/>
                      <a:pt x="783694" y="158470"/>
                    </a:cubicBezTo>
                    <a:cubicBezTo>
                      <a:pt x="775041" y="156847"/>
                      <a:pt x="775041" y="156306"/>
                      <a:pt x="766387" y="154684"/>
                    </a:cubicBezTo>
                    <a:cubicBezTo>
                      <a:pt x="757733" y="153061"/>
                      <a:pt x="757733" y="154143"/>
                      <a:pt x="748539" y="151979"/>
                    </a:cubicBezTo>
                    <a:cubicBezTo>
                      <a:pt x="739885" y="150357"/>
                      <a:pt x="739885" y="150357"/>
                      <a:pt x="731231" y="148734"/>
                    </a:cubicBezTo>
                    <a:cubicBezTo>
                      <a:pt x="722578" y="147112"/>
                      <a:pt x="722578" y="145489"/>
                      <a:pt x="713924" y="143867"/>
                    </a:cubicBezTo>
                    <a:cubicBezTo>
                      <a:pt x="705271" y="142244"/>
                      <a:pt x="704730" y="143867"/>
                      <a:pt x="696076" y="141703"/>
                    </a:cubicBezTo>
                    <a:cubicBezTo>
                      <a:pt x="687422" y="140081"/>
                      <a:pt x="687422" y="138458"/>
                      <a:pt x="678769" y="136836"/>
                    </a:cubicBezTo>
                    <a:cubicBezTo>
                      <a:pt x="670115" y="135213"/>
                      <a:pt x="670115" y="136295"/>
                      <a:pt x="660921" y="134131"/>
                    </a:cubicBezTo>
                    <a:cubicBezTo>
                      <a:pt x="652267" y="132509"/>
                      <a:pt x="652267" y="133050"/>
                      <a:pt x="643614" y="131427"/>
                    </a:cubicBezTo>
                    <a:cubicBezTo>
                      <a:pt x="634960" y="129804"/>
                      <a:pt x="634960" y="129804"/>
                      <a:pt x="626307" y="128182"/>
                    </a:cubicBezTo>
                    <a:cubicBezTo>
                      <a:pt x="617652" y="126559"/>
                      <a:pt x="617652" y="126559"/>
                      <a:pt x="608999" y="124396"/>
                    </a:cubicBezTo>
                    <a:cubicBezTo>
                      <a:pt x="600345" y="122773"/>
                      <a:pt x="600886" y="120610"/>
                      <a:pt x="592233" y="118987"/>
                    </a:cubicBezTo>
                    <a:cubicBezTo>
                      <a:pt x="583579" y="117365"/>
                      <a:pt x="583038" y="118447"/>
                      <a:pt x="574384" y="116824"/>
                    </a:cubicBezTo>
                    <a:cubicBezTo>
                      <a:pt x="565731" y="115201"/>
                      <a:pt x="565731" y="114661"/>
                      <a:pt x="557077" y="112497"/>
                    </a:cubicBezTo>
                    <a:cubicBezTo>
                      <a:pt x="548424" y="110334"/>
                      <a:pt x="548424" y="110875"/>
                      <a:pt x="539770" y="108711"/>
                    </a:cubicBezTo>
                    <a:cubicBezTo>
                      <a:pt x="531116" y="107089"/>
                      <a:pt x="531116" y="107630"/>
                      <a:pt x="522463" y="106007"/>
                    </a:cubicBezTo>
                    <a:cubicBezTo>
                      <a:pt x="513809" y="104384"/>
                      <a:pt x="513809" y="102762"/>
                      <a:pt x="505156" y="101139"/>
                    </a:cubicBezTo>
                    <a:cubicBezTo>
                      <a:pt x="496502" y="99517"/>
                      <a:pt x="496502" y="98976"/>
                      <a:pt x="487848" y="97353"/>
                    </a:cubicBezTo>
                    <a:cubicBezTo>
                      <a:pt x="479195" y="95731"/>
                      <a:pt x="479195" y="96272"/>
                      <a:pt x="470541" y="94649"/>
                    </a:cubicBezTo>
                    <a:cubicBezTo>
                      <a:pt x="461888" y="93026"/>
                      <a:pt x="461888" y="92486"/>
                      <a:pt x="453234" y="90863"/>
                    </a:cubicBezTo>
                    <a:cubicBezTo>
                      <a:pt x="444580" y="89241"/>
                      <a:pt x="444039" y="90322"/>
                      <a:pt x="435386" y="88700"/>
                    </a:cubicBezTo>
                    <a:cubicBezTo>
                      <a:pt x="426732" y="87077"/>
                      <a:pt x="426732" y="87077"/>
                      <a:pt x="418079" y="85455"/>
                    </a:cubicBezTo>
                    <a:cubicBezTo>
                      <a:pt x="409425" y="83832"/>
                      <a:pt x="409425" y="83291"/>
                      <a:pt x="400771" y="81669"/>
                    </a:cubicBezTo>
                    <a:cubicBezTo>
                      <a:pt x="392118" y="80046"/>
                      <a:pt x="392118" y="78964"/>
                      <a:pt x="383464" y="77342"/>
                    </a:cubicBezTo>
                    <a:cubicBezTo>
                      <a:pt x="374811" y="75719"/>
                      <a:pt x="374811" y="75719"/>
                      <a:pt x="366156" y="73556"/>
                    </a:cubicBezTo>
                    <a:cubicBezTo>
                      <a:pt x="357503" y="71933"/>
                      <a:pt x="357503" y="72474"/>
                      <a:pt x="348309" y="70852"/>
                    </a:cubicBezTo>
                    <a:cubicBezTo>
                      <a:pt x="339655" y="69229"/>
                      <a:pt x="339655" y="69770"/>
                      <a:pt x="331001" y="67606"/>
                    </a:cubicBezTo>
                    <a:cubicBezTo>
                      <a:pt x="322348" y="65984"/>
                      <a:pt x="322888" y="63280"/>
                      <a:pt x="314235" y="61657"/>
                    </a:cubicBezTo>
                    <a:cubicBezTo>
                      <a:pt x="305581" y="60035"/>
                      <a:pt x="305041" y="61657"/>
                      <a:pt x="296387" y="59494"/>
                    </a:cubicBezTo>
                    <a:cubicBezTo>
                      <a:pt x="287733" y="57871"/>
                      <a:pt x="287733" y="58412"/>
                      <a:pt x="279079" y="56789"/>
                    </a:cubicBezTo>
                    <a:cubicBezTo>
                      <a:pt x="270426" y="55167"/>
                      <a:pt x="270426" y="53544"/>
                      <a:pt x="261772" y="51922"/>
                    </a:cubicBezTo>
                    <a:cubicBezTo>
                      <a:pt x="253119" y="50299"/>
                      <a:pt x="252578" y="51922"/>
                      <a:pt x="243924" y="50299"/>
                    </a:cubicBezTo>
                    <a:cubicBezTo>
                      <a:pt x="235271" y="48677"/>
                      <a:pt x="235811" y="46513"/>
                      <a:pt x="227158" y="44891"/>
                    </a:cubicBezTo>
                    <a:cubicBezTo>
                      <a:pt x="218504" y="43268"/>
                      <a:pt x="218504" y="42727"/>
                      <a:pt x="209851" y="41105"/>
                    </a:cubicBezTo>
                    <a:cubicBezTo>
                      <a:pt x="201197" y="39482"/>
                      <a:pt x="200656" y="41105"/>
                      <a:pt x="192002" y="39482"/>
                    </a:cubicBezTo>
                    <a:cubicBezTo>
                      <a:pt x="183349" y="37860"/>
                      <a:pt x="183890" y="35696"/>
                      <a:pt x="174695" y="34074"/>
                    </a:cubicBezTo>
                    <a:cubicBezTo>
                      <a:pt x="166042" y="32451"/>
                      <a:pt x="165501" y="34074"/>
                      <a:pt x="156847" y="32451"/>
                    </a:cubicBezTo>
                    <a:cubicBezTo>
                      <a:pt x="148194" y="30829"/>
                      <a:pt x="148194" y="29206"/>
                      <a:pt x="139540" y="27583"/>
                    </a:cubicBezTo>
                    <a:cubicBezTo>
                      <a:pt x="130886" y="25961"/>
                      <a:pt x="130886" y="26502"/>
                      <a:pt x="121692" y="24879"/>
                    </a:cubicBezTo>
                    <a:cubicBezTo>
                      <a:pt x="112497" y="23257"/>
                      <a:pt x="113038" y="22175"/>
                      <a:pt x="104384" y="20552"/>
                    </a:cubicBezTo>
                    <a:cubicBezTo>
                      <a:pt x="95731" y="18930"/>
                      <a:pt x="95731" y="18930"/>
                      <a:pt x="87077" y="17307"/>
                    </a:cubicBezTo>
                    <a:cubicBezTo>
                      <a:pt x="78424" y="15685"/>
                      <a:pt x="78424" y="16226"/>
                      <a:pt x="69229" y="14603"/>
                    </a:cubicBezTo>
                    <a:cubicBezTo>
                      <a:pt x="60575" y="12980"/>
                      <a:pt x="60575" y="13521"/>
                      <a:pt x="51922" y="11899"/>
                    </a:cubicBezTo>
                    <a:cubicBezTo>
                      <a:pt x="43268" y="10276"/>
                      <a:pt x="43268" y="10276"/>
                      <a:pt x="34615" y="8113"/>
                    </a:cubicBezTo>
                    <a:cubicBezTo>
                      <a:pt x="25961" y="6490"/>
                      <a:pt x="25961" y="5409"/>
                      <a:pt x="17307" y="3786"/>
                    </a:cubicBezTo>
                    <a:cubicBezTo>
                      <a:pt x="8653" y="2163"/>
                      <a:pt x="8653" y="162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F5B58C7-19CC-9718-589D-1285F31ADB77}"/>
                  </a:ext>
                </a:extLst>
              </p:cNvPr>
              <p:cNvSpPr/>
              <p:nvPr/>
            </p:nvSpPr>
            <p:spPr>
              <a:xfrm flipH="1">
                <a:off x="11274724" y="652129"/>
                <a:ext cx="752148" cy="529808"/>
              </a:xfrm>
              <a:custGeom>
                <a:avLst/>
                <a:gdLst>
                  <a:gd name="connsiteX0" fmla="*/ 908090 w 908089"/>
                  <a:gd name="connsiteY0" fmla="*/ 604672 h 604672"/>
                  <a:gd name="connsiteX1" fmla="*/ 892406 w 908089"/>
                  <a:gd name="connsiteY1" fmla="*/ 596559 h 604672"/>
                  <a:gd name="connsiteX2" fmla="*/ 877802 w 908089"/>
                  <a:gd name="connsiteY2" fmla="*/ 586824 h 604672"/>
                  <a:gd name="connsiteX3" fmla="*/ 864281 w 908089"/>
                  <a:gd name="connsiteY3" fmla="*/ 575466 h 604672"/>
                  <a:gd name="connsiteX4" fmla="*/ 849678 w 908089"/>
                  <a:gd name="connsiteY4" fmla="*/ 566272 h 604672"/>
                  <a:gd name="connsiteX5" fmla="*/ 835075 w 908089"/>
                  <a:gd name="connsiteY5" fmla="*/ 557077 h 604672"/>
                  <a:gd name="connsiteX6" fmla="*/ 821013 w 908089"/>
                  <a:gd name="connsiteY6" fmla="*/ 546260 h 604672"/>
                  <a:gd name="connsiteX7" fmla="*/ 805328 w 908089"/>
                  <a:gd name="connsiteY7" fmla="*/ 538148 h 604672"/>
                  <a:gd name="connsiteX8" fmla="*/ 791266 w 908089"/>
                  <a:gd name="connsiteY8" fmla="*/ 527871 h 604672"/>
                  <a:gd name="connsiteX9" fmla="*/ 776123 w 908089"/>
                  <a:gd name="connsiteY9" fmla="*/ 518677 h 604672"/>
                  <a:gd name="connsiteX10" fmla="*/ 760979 w 908089"/>
                  <a:gd name="connsiteY10" fmla="*/ 509482 h 604672"/>
                  <a:gd name="connsiteX11" fmla="*/ 746376 w 908089"/>
                  <a:gd name="connsiteY11" fmla="*/ 499747 h 604672"/>
                  <a:gd name="connsiteX12" fmla="*/ 732313 w 908089"/>
                  <a:gd name="connsiteY12" fmla="*/ 488930 h 604672"/>
                  <a:gd name="connsiteX13" fmla="*/ 717710 w 908089"/>
                  <a:gd name="connsiteY13" fmla="*/ 479195 h 604672"/>
                  <a:gd name="connsiteX14" fmla="*/ 703108 w 908089"/>
                  <a:gd name="connsiteY14" fmla="*/ 469459 h 604672"/>
                  <a:gd name="connsiteX15" fmla="*/ 689045 w 908089"/>
                  <a:gd name="connsiteY15" fmla="*/ 458642 h 604672"/>
                  <a:gd name="connsiteX16" fmla="*/ 673902 w 908089"/>
                  <a:gd name="connsiteY16" fmla="*/ 449448 h 604672"/>
                  <a:gd name="connsiteX17" fmla="*/ 659298 w 908089"/>
                  <a:gd name="connsiteY17" fmla="*/ 439712 h 604672"/>
                  <a:gd name="connsiteX18" fmla="*/ 644695 w 908089"/>
                  <a:gd name="connsiteY18" fmla="*/ 429977 h 604672"/>
                  <a:gd name="connsiteX19" fmla="*/ 629551 w 908089"/>
                  <a:gd name="connsiteY19" fmla="*/ 421324 h 604672"/>
                  <a:gd name="connsiteX20" fmla="*/ 616030 w 908089"/>
                  <a:gd name="connsiteY20" fmla="*/ 409966 h 604672"/>
                  <a:gd name="connsiteX21" fmla="*/ 600887 w 908089"/>
                  <a:gd name="connsiteY21" fmla="*/ 400771 h 604672"/>
                  <a:gd name="connsiteX22" fmla="*/ 585742 w 908089"/>
                  <a:gd name="connsiteY22" fmla="*/ 391577 h 604672"/>
                  <a:gd name="connsiteX23" fmla="*/ 570599 w 908089"/>
                  <a:gd name="connsiteY23" fmla="*/ 382382 h 604672"/>
                  <a:gd name="connsiteX24" fmla="*/ 555996 w 908089"/>
                  <a:gd name="connsiteY24" fmla="*/ 372647 h 604672"/>
                  <a:gd name="connsiteX25" fmla="*/ 541934 w 908089"/>
                  <a:gd name="connsiteY25" fmla="*/ 361830 h 604672"/>
                  <a:gd name="connsiteX26" fmla="*/ 527331 w 908089"/>
                  <a:gd name="connsiteY26" fmla="*/ 352094 h 604672"/>
                  <a:gd name="connsiteX27" fmla="*/ 512187 w 908089"/>
                  <a:gd name="connsiteY27" fmla="*/ 342900 h 604672"/>
                  <a:gd name="connsiteX28" fmla="*/ 497584 w 908089"/>
                  <a:gd name="connsiteY28" fmla="*/ 333165 h 604672"/>
                  <a:gd name="connsiteX29" fmla="*/ 483521 w 908089"/>
                  <a:gd name="connsiteY29" fmla="*/ 322348 h 604672"/>
                  <a:gd name="connsiteX30" fmla="*/ 469459 w 908089"/>
                  <a:gd name="connsiteY30" fmla="*/ 312071 h 604672"/>
                  <a:gd name="connsiteX31" fmla="*/ 454316 w 908089"/>
                  <a:gd name="connsiteY31" fmla="*/ 302877 h 604672"/>
                  <a:gd name="connsiteX32" fmla="*/ 440253 w 908089"/>
                  <a:gd name="connsiteY32" fmla="*/ 292601 h 604672"/>
                  <a:gd name="connsiteX33" fmla="*/ 425650 w 908089"/>
                  <a:gd name="connsiteY33" fmla="*/ 282865 h 604672"/>
                  <a:gd name="connsiteX34" fmla="*/ 410506 w 908089"/>
                  <a:gd name="connsiteY34" fmla="*/ 273671 h 604672"/>
                  <a:gd name="connsiteX35" fmla="*/ 394822 w 908089"/>
                  <a:gd name="connsiteY35" fmla="*/ 265558 h 604672"/>
                  <a:gd name="connsiteX36" fmla="*/ 380219 w 908089"/>
                  <a:gd name="connsiteY36" fmla="*/ 255823 h 604672"/>
                  <a:gd name="connsiteX37" fmla="*/ 366157 w 908089"/>
                  <a:gd name="connsiteY37" fmla="*/ 245006 h 604672"/>
                  <a:gd name="connsiteX38" fmla="*/ 352095 w 908089"/>
                  <a:gd name="connsiteY38" fmla="*/ 234730 h 604672"/>
                  <a:gd name="connsiteX39" fmla="*/ 336410 w 908089"/>
                  <a:gd name="connsiteY39" fmla="*/ 226617 h 604672"/>
                  <a:gd name="connsiteX40" fmla="*/ 322348 w 908089"/>
                  <a:gd name="connsiteY40" fmla="*/ 215800 h 604672"/>
                  <a:gd name="connsiteX41" fmla="*/ 306663 w 908089"/>
                  <a:gd name="connsiteY41" fmla="*/ 207146 h 604672"/>
                  <a:gd name="connsiteX42" fmla="*/ 293142 w 908089"/>
                  <a:gd name="connsiteY42" fmla="*/ 195788 h 604672"/>
                  <a:gd name="connsiteX43" fmla="*/ 277457 w 908089"/>
                  <a:gd name="connsiteY43" fmla="*/ 187676 h 604672"/>
                  <a:gd name="connsiteX44" fmla="*/ 262313 w 908089"/>
                  <a:gd name="connsiteY44" fmla="*/ 178481 h 604672"/>
                  <a:gd name="connsiteX45" fmla="*/ 248792 w 908089"/>
                  <a:gd name="connsiteY45" fmla="*/ 167123 h 604672"/>
                  <a:gd name="connsiteX46" fmla="*/ 233648 w 908089"/>
                  <a:gd name="connsiteY46" fmla="*/ 157929 h 604672"/>
                  <a:gd name="connsiteX47" fmla="*/ 219586 w 908089"/>
                  <a:gd name="connsiteY47" fmla="*/ 147112 h 604672"/>
                  <a:gd name="connsiteX48" fmla="*/ 204983 w 908089"/>
                  <a:gd name="connsiteY48" fmla="*/ 136836 h 604672"/>
                  <a:gd name="connsiteX49" fmla="*/ 189298 w 908089"/>
                  <a:gd name="connsiteY49" fmla="*/ 128723 h 604672"/>
                  <a:gd name="connsiteX50" fmla="*/ 175236 w 908089"/>
                  <a:gd name="connsiteY50" fmla="*/ 118447 h 604672"/>
                  <a:gd name="connsiteX51" fmla="*/ 160633 w 908089"/>
                  <a:gd name="connsiteY51" fmla="*/ 108170 h 604672"/>
                  <a:gd name="connsiteX52" fmla="*/ 145489 w 908089"/>
                  <a:gd name="connsiteY52" fmla="*/ 99517 h 604672"/>
                  <a:gd name="connsiteX53" fmla="*/ 131968 w 908089"/>
                  <a:gd name="connsiteY53" fmla="*/ 88159 h 604672"/>
                  <a:gd name="connsiteX54" fmla="*/ 117365 w 908089"/>
                  <a:gd name="connsiteY54" fmla="*/ 78424 h 604672"/>
                  <a:gd name="connsiteX55" fmla="*/ 101680 w 908089"/>
                  <a:gd name="connsiteY55" fmla="*/ 69770 h 604672"/>
                  <a:gd name="connsiteX56" fmla="*/ 87077 w 908089"/>
                  <a:gd name="connsiteY56" fmla="*/ 60035 h 604672"/>
                  <a:gd name="connsiteX57" fmla="*/ 72474 w 908089"/>
                  <a:gd name="connsiteY57" fmla="*/ 50299 h 604672"/>
                  <a:gd name="connsiteX58" fmla="*/ 57871 w 908089"/>
                  <a:gd name="connsiteY58" fmla="*/ 40564 h 604672"/>
                  <a:gd name="connsiteX59" fmla="*/ 42727 w 908089"/>
                  <a:gd name="connsiteY59" fmla="*/ 31369 h 604672"/>
                  <a:gd name="connsiteX60" fmla="*/ 29206 w 908089"/>
                  <a:gd name="connsiteY60" fmla="*/ 20012 h 604672"/>
                  <a:gd name="connsiteX61" fmla="*/ 14603 w 908089"/>
                  <a:gd name="connsiteY61" fmla="*/ 9735 h 604672"/>
                  <a:gd name="connsiteX62" fmla="*/ 0 w 908089"/>
                  <a:gd name="connsiteY62" fmla="*/ 0 h 6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908089" h="604672">
                    <a:moveTo>
                      <a:pt x="908090" y="604672"/>
                    </a:moveTo>
                    <a:cubicBezTo>
                      <a:pt x="900519" y="599805"/>
                      <a:pt x="899436" y="601427"/>
                      <a:pt x="892406" y="596559"/>
                    </a:cubicBezTo>
                    <a:cubicBezTo>
                      <a:pt x="884834" y="591692"/>
                      <a:pt x="885374" y="591692"/>
                      <a:pt x="877802" y="586824"/>
                    </a:cubicBezTo>
                    <a:cubicBezTo>
                      <a:pt x="870230" y="581956"/>
                      <a:pt x="871312" y="580334"/>
                      <a:pt x="864281" y="575466"/>
                    </a:cubicBezTo>
                    <a:cubicBezTo>
                      <a:pt x="856709" y="570599"/>
                      <a:pt x="856709" y="571139"/>
                      <a:pt x="849678" y="566272"/>
                    </a:cubicBezTo>
                    <a:cubicBezTo>
                      <a:pt x="842106" y="561404"/>
                      <a:pt x="842106" y="561945"/>
                      <a:pt x="835075" y="557077"/>
                    </a:cubicBezTo>
                    <a:cubicBezTo>
                      <a:pt x="827504" y="552210"/>
                      <a:pt x="828585" y="551128"/>
                      <a:pt x="821013" y="546260"/>
                    </a:cubicBezTo>
                    <a:cubicBezTo>
                      <a:pt x="813441" y="541393"/>
                      <a:pt x="812900" y="543015"/>
                      <a:pt x="805328" y="538148"/>
                    </a:cubicBezTo>
                    <a:cubicBezTo>
                      <a:pt x="797757" y="533280"/>
                      <a:pt x="798297" y="532739"/>
                      <a:pt x="791266" y="527871"/>
                    </a:cubicBezTo>
                    <a:cubicBezTo>
                      <a:pt x="783694" y="523004"/>
                      <a:pt x="783694" y="523544"/>
                      <a:pt x="776123" y="518677"/>
                    </a:cubicBezTo>
                    <a:cubicBezTo>
                      <a:pt x="768551" y="513809"/>
                      <a:pt x="768551" y="514350"/>
                      <a:pt x="760979" y="509482"/>
                    </a:cubicBezTo>
                    <a:cubicBezTo>
                      <a:pt x="753406" y="504615"/>
                      <a:pt x="753406" y="504615"/>
                      <a:pt x="746376" y="499747"/>
                    </a:cubicBezTo>
                    <a:cubicBezTo>
                      <a:pt x="738804" y="494879"/>
                      <a:pt x="739885" y="493798"/>
                      <a:pt x="732313" y="488930"/>
                    </a:cubicBezTo>
                    <a:cubicBezTo>
                      <a:pt x="724742" y="484062"/>
                      <a:pt x="724742" y="484062"/>
                      <a:pt x="717710" y="479195"/>
                    </a:cubicBezTo>
                    <a:cubicBezTo>
                      <a:pt x="710138" y="474327"/>
                      <a:pt x="710138" y="474327"/>
                      <a:pt x="703108" y="469459"/>
                    </a:cubicBezTo>
                    <a:cubicBezTo>
                      <a:pt x="695536" y="464592"/>
                      <a:pt x="696617" y="463510"/>
                      <a:pt x="689045" y="458642"/>
                    </a:cubicBezTo>
                    <a:cubicBezTo>
                      <a:pt x="681474" y="453775"/>
                      <a:pt x="681474" y="454316"/>
                      <a:pt x="673902" y="449448"/>
                    </a:cubicBezTo>
                    <a:cubicBezTo>
                      <a:pt x="666329" y="444580"/>
                      <a:pt x="666329" y="444580"/>
                      <a:pt x="659298" y="439712"/>
                    </a:cubicBezTo>
                    <a:cubicBezTo>
                      <a:pt x="651727" y="434845"/>
                      <a:pt x="652267" y="434845"/>
                      <a:pt x="644695" y="429977"/>
                    </a:cubicBezTo>
                    <a:cubicBezTo>
                      <a:pt x="637123" y="425109"/>
                      <a:pt x="636583" y="426191"/>
                      <a:pt x="629551" y="421324"/>
                    </a:cubicBezTo>
                    <a:cubicBezTo>
                      <a:pt x="621980" y="416456"/>
                      <a:pt x="623061" y="414833"/>
                      <a:pt x="616030" y="409966"/>
                    </a:cubicBezTo>
                    <a:cubicBezTo>
                      <a:pt x="608459" y="405098"/>
                      <a:pt x="608459" y="405639"/>
                      <a:pt x="600887" y="400771"/>
                    </a:cubicBezTo>
                    <a:cubicBezTo>
                      <a:pt x="593314" y="395904"/>
                      <a:pt x="593314" y="396444"/>
                      <a:pt x="585742" y="391577"/>
                    </a:cubicBezTo>
                    <a:cubicBezTo>
                      <a:pt x="578170" y="386709"/>
                      <a:pt x="578170" y="387250"/>
                      <a:pt x="570599" y="382382"/>
                    </a:cubicBezTo>
                    <a:cubicBezTo>
                      <a:pt x="563027" y="377515"/>
                      <a:pt x="563027" y="377515"/>
                      <a:pt x="555996" y="372647"/>
                    </a:cubicBezTo>
                    <a:cubicBezTo>
                      <a:pt x="548424" y="367779"/>
                      <a:pt x="549506" y="366697"/>
                      <a:pt x="541934" y="361830"/>
                    </a:cubicBezTo>
                    <a:cubicBezTo>
                      <a:pt x="534361" y="356962"/>
                      <a:pt x="534361" y="356962"/>
                      <a:pt x="527331" y="352094"/>
                    </a:cubicBezTo>
                    <a:cubicBezTo>
                      <a:pt x="519759" y="347227"/>
                      <a:pt x="519759" y="347768"/>
                      <a:pt x="512187" y="342900"/>
                    </a:cubicBezTo>
                    <a:cubicBezTo>
                      <a:pt x="504615" y="338032"/>
                      <a:pt x="505155" y="338032"/>
                      <a:pt x="497584" y="333165"/>
                    </a:cubicBezTo>
                    <a:cubicBezTo>
                      <a:pt x="490012" y="328297"/>
                      <a:pt x="491093" y="327215"/>
                      <a:pt x="483521" y="322348"/>
                    </a:cubicBezTo>
                    <a:cubicBezTo>
                      <a:pt x="475950" y="317480"/>
                      <a:pt x="476491" y="316939"/>
                      <a:pt x="469459" y="312071"/>
                    </a:cubicBezTo>
                    <a:cubicBezTo>
                      <a:pt x="461887" y="307204"/>
                      <a:pt x="461887" y="307745"/>
                      <a:pt x="454316" y="302877"/>
                    </a:cubicBezTo>
                    <a:cubicBezTo>
                      <a:pt x="446744" y="298009"/>
                      <a:pt x="447284" y="297469"/>
                      <a:pt x="440253" y="292601"/>
                    </a:cubicBezTo>
                    <a:cubicBezTo>
                      <a:pt x="432682" y="287733"/>
                      <a:pt x="432682" y="287733"/>
                      <a:pt x="425650" y="282865"/>
                    </a:cubicBezTo>
                    <a:cubicBezTo>
                      <a:pt x="418078" y="277998"/>
                      <a:pt x="418078" y="278539"/>
                      <a:pt x="410506" y="273671"/>
                    </a:cubicBezTo>
                    <a:cubicBezTo>
                      <a:pt x="402935" y="268803"/>
                      <a:pt x="402394" y="270426"/>
                      <a:pt x="394822" y="265558"/>
                    </a:cubicBezTo>
                    <a:cubicBezTo>
                      <a:pt x="387250" y="260691"/>
                      <a:pt x="387791" y="260691"/>
                      <a:pt x="380219" y="255823"/>
                    </a:cubicBezTo>
                    <a:cubicBezTo>
                      <a:pt x="372647" y="250955"/>
                      <a:pt x="373729" y="249874"/>
                      <a:pt x="366157" y="245006"/>
                    </a:cubicBezTo>
                    <a:cubicBezTo>
                      <a:pt x="358585" y="240138"/>
                      <a:pt x="359125" y="239597"/>
                      <a:pt x="352095" y="234730"/>
                    </a:cubicBezTo>
                    <a:cubicBezTo>
                      <a:pt x="344523" y="229862"/>
                      <a:pt x="343982" y="231485"/>
                      <a:pt x="336410" y="226617"/>
                    </a:cubicBezTo>
                    <a:cubicBezTo>
                      <a:pt x="328838" y="221749"/>
                      <a:pt x="329920" y="220667"/>
                      <a:pt x="322348" y="215800"/>
                    </a:cubicBezTo>
                    <a:cubicBezTo>
                      <a:pt x="314776" y="210932"/>
                      <a:pt x="314235" y="212014"/>
                      <a:pt x="306663" y="207146"/>
                    </a:cubicBezTo>
                    <a:cubicBezTo>
                      <a:pt x="299091" y="202279"/>
                      <a:pt x="300714" y="200656"/>
                      <a:pt x="293142" y="195788"/>
                    </a:cubicBezTo>
                    <a:cubicBezTo>
                      <a:pt x="285570" y="190921"/>
                      <a:pt x="285029" y="192543"/>
                      <a:pt x="277457" y="187676"/>
                    </a:cubicBezTo>
                    <a:cubicBezTo>
                      <a:pt x="269885" y="182808"/>
                      <a:pt x="269885" y="183349"/>
                      <a:pt x="262313" y="178481"/>
                    </a:cubicBezTo>
                    <a:cubicBezTo>
                      <a:pt x="254741" y="173613"/>
                      <a:pt x="255823" y="171991"/>
                      <a:pt x="248792" y="167123"/>
                    </a:cubicBezTo>
                    <a:cubicBezTo>
                      <a:pt x="241220" y="162256"/>
                      <a:pt x="241220" y="162796"/>
                      <a:pt x="233648" y="157929"/>
                    </a:cubicBezTo>
                    <a:cubicBezTo>
                      <a:pt x="226076" y="153061"/>
                      <a:pt x="227158" y="151979"/>
                      <a:pt x="219586" y="147112"/>
                    </a:cubicBezTo>
                    <a:cubicBezTo>
                      <a:pt x="212014" y="142244"/>
                      <a:pt x="212555" y="141703"/>
                      <a:pt x="204983" y="136836"/>
                    </a:cubicBezTo>
                    <a:cubicBezTo>
                      <a:pt x="197411" y="131968"/>
                      <a:pt x="196329" y="133590"/>
                      <a:pt x="189298" y="128723"/>
                    </a:cubicBezTo>
                    <a:cubicBezTo>
                      <a:pt x="181726" y="123855"/>
                      <a:pt x="182267" y="123314"/>
                      <a:pt x="175236" y="118447"/>
                    </a:cubicBezTo>
                    <a:cubicBezTo>
                      <a:pt x="167664" y="113579"/>
                      <a:pt x="168205" y="113038"/>
                      <a:pt x="160633" y="108170"/>
                    </a:cubicBezTo>
                    <a:cubicBezTo>
                      <a:pt x="153061" y="103303"/>
                      <a:pt x="152520" y="104384"/>
                      <a:pt x="145489" y="99517"/>
                    </a:cubicBezTo>
                    <a:cubicBezTo>
                      <a:pt x="137918" y="94649"/>
                      <a:pt x="138999" y="93027"/>
                      <a:pt x="131968" y="88159"/>
                    </a:cubicBezTo>
                    <a:cubicBezTo>
                      <a:pt x="124396" y="83291"/>
                      <a:pt x="124396" y="83291"/>
                      <a:pt x="117365" y="78424"/>
                    </a:cubicBezTo>
                    <a:cubicBezTo>
                      <a:pt x="109793" y="73556"/>
                      <a:pt x="109252" y="74638"/>
                      <a:pt x="101680" y="69770"/>
                    </a:cubicBezTo>
                    <a:cubicBezTo>
                      <a:pt x="94108" y="64902"/>
                      <a:pt x="94649" y="64902"/>
                      <a:pt x="87077" y="60035"/>
                    </a:cubicBezTo>
                    <a:cubicBezTo>
                      <a:pt x="79505" y="55167"/>
                      <a:pt x="80046" y="55167"/>
                      <a:pt x="72474" y="50299"/>
                    </a:cubicBezTo>
                    <a:cubicBezTo>
                      <a:pt x="64902" y="45432"/>
                      <a:pt x="64902" y="45432"/>
                      <a:pt x="57871" y="40564"/>
                    </a:cubicBezTo>
                    <a:cubicBezTo>
                      <a:pt x="50299" y="35696"/>
                      <a:pt x="50299" y="36237"/>
                      <a:pt x="42727" y="31369"/>
                    </a:cubicBezTo>
                    <a:cubicBezTo>
                      <a:pt x="35155" y="26502"/>
                      <a:pt x="36237" y="24879"/>
                      <a:pt x="29206" y="20012"/>
                    </a:cubicBezTo>
                    <a:cubicBezTo>
                      <a:pt x="21634" y="15144"/>
                      <a:pt x="22175" y="14603"/>
                      <a:pt x="14603" y="9735"/>
                    </a:cubicBezTo>
                    <a:cubicBezTo>
                      <a:pt x="7031" y="4868"/>
                      <a:pt x="7572" y="4868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2A74EB6-1424-14C2-D3A0-A3A8E6C176AD}"/>
                  </a:ext>
                </a:extLst>
              </p:cNvPr>
              <p:cNvSpPr/>
              <p:nvPr/>
            </p:nvSpPr>
            <p:spPr>
              <a:xfrm flipH="1">
                <a:off x="11170345" y="661133"/>
                <a:ext cx="283119" cy="426026"/>
              </a:xfrm>
              <a:custGeom>
                <a:avLst/>
                <a:gdLst>
                  <a:gd name="connsiteX0" fmla="*/ 341818 w 341818"/>
                  <a:gd name="connsiteY0" fmla="*/ 486226 h 486225"/>
                  <a:gd name="connsiteX1" fmla="*/ 331542 w 341818"/>
                  <a:gd name="connsiteY1" fmla="*/ 472164 h 486225"/>
                  <a:gd name="connsiteX2" fmla="*/ 321265 w 341818"/>
                  <a:gd name="connsiteY2" fmla="*/ 458101 h 486225"/>
                  <a:gd name="connsiteX3" fmla="*/ 312071 w 341818"/>
                  <a:gd name="connsiteY3" fmla="*/ 442958 h 486225"/>
                  <a:gd name="connsiteX4" fmla="*/ 301795 w 341818"/>
                  <a:gd name="connsiteY4" fmla="*/ 428895 h 486225"/>
                  <a:gd name="connsiteX5" fmla="*/ 291519 w 341818"/>
                  <a:gd name="connsiteY5" fmla="*/ 414833 h 486225"/>
                  <a:gd name="connsiteX6" fmla="*/ 280161 w 341818"/>
                  <a:gd name="connsiteY6" fmla="*/ 401312 h 486225"/>
                  <a:gd name="connsiteX7" fmla="*/ 269885 w 341818"/>
                  <a:gd name="connsiteY7" fmla="*/ 386709 h 486225"/>
                  <a:gd name="connsiteX8" fmla="*/ 259609 w 341818"/>
                  <a:gd name="connsiteY8" fmla="*/ 372647 h 486225"/>
                  <a:gd name="connsiteX9" fmla="*/ 249333 w 341818"/>
                  <a:gd name="connsiteY9" fmla="*/ 358585 h 486225"/>
                  <a:gd name="connsiteX10" fmla="*/ 239597 w 341818"/>
                  <a:gd name="connsiteY10" fmla="*/ 343982 h 486225"/>
                  <a:gd name="connsiteX11" fmla="*/ 229321 w 341818"/>
                  <a:gd name="connsiteY11" fmla="*/ 329920 h 486225"/>
                  <a:gd name="connsiteX12" fmla="*/ 219586 w 341818"/>
                  <a:gd name="connsiteY12" fmla="*/ 315317 h 486225"/>
                  <a:gd name="connsiteX13" fmla="*/ 210932 w 341818"/>
                  <a:gd name="connsiteY13" fmla="*/ 300173 h 486225"/>
                  <a:gd name="connsiteX14" fmla="*/ 199033 w 341818"/>
                  <a:gd name="connsiteY14" fmla="*/ 287192 h 486225"/>
                  <a:gd name="connsiteX15" fmla="*/ 189298 w 341818"/>
                  <a:gd name="connsiteY15" fmla="*/ 272589 h 486225"/>
                  <a:gd name="connsiteX16" fmla="*/ 179022 w 341818"/>
                  <a:gd name="connsiteY16" fmla="*/ 258527 h 486225"/>
                  <a:gd name="connsiteX17" fmla="*/ 170368 w 341818"/>
                  <a:gd name="connsiteY17" fmla="*/ 243383 h 486225"/>
                  <a:gd name="connsiteX18" fmla="*/ 159010 w 341818"/>
                  <a:gd name="connsiteY18" fmla="*/ 229862 h 486225"/>
                  <a:gd name="connsiteX19" fmla="*/ 148734 w 341818"/>
                  <a:gd name="connsiteY19" fmla="*/ 215800 h 486225"/>
                  <a:gd name="connsiteX20" fmla="*/ 140080 w 341818"/>
                  <a:gd name="connsiteY20" fmla="*/ 200656 h 486225"/>
                  <a:gd name="connsiteX21" fmla="*/ 130345 w 341818"/>
                  <a:gd name="connsiteY21" fmla="*/ 186053 h 486225"/>
                  <a:gd name="connsiteX22" fmla="*/ 120610 w 341818"/>
                  <a:gd name="connsiteY22" fmla="*/ 171450 h 486225"/>
                  <a:gd name="connsiteX23" fmla="*/ 109252 w 341818"/>
                  <a:gd name="connsiteY23" fmla="*/ 157929 h 486225"/>
                  <a:gd name="connsiteX24" fmla="*/ 100058 w 341818"/>
                  <a:gd name="connsiteY24" fmla="*/ 143326 h 486225"/>
                  <a:gd name="connsiteX25" fmla="*/ 90322 w 341818"/>
                  <a:gd name="connsiteY25" fmla="*/ 128723 h 486225"/>
                  <a:gd name="connsiteX26" fmla="*/ 80046 w 341818"/>
                  <a:gd name="connsiteY26" fmla="*/ 114661 h 486225"/>
                  <a:gd name="connsiteX27" fmla="*/ 69229 w 341818"/>
                  <a:gd name="connsiteY27" fmla="*/ 101139 h 486225"/>
                  <a:gd name="connsiteX28" fmla="*/ 58952 w 341818"/>
                  <a:gd name="connsiteY28" fmla="*/ 87077 h 486225"/>
                  <a:gd name="connsiteX29" fmla="*/ 49758 w 341818"/>
                  <a:gd name="connsiteY29" fmla="*/ 71933 h 486225"/>
                  <a:gd name="connsiteX30" fmla="*/ 38400 w 341818"/>
                  <a:gd name="connsiteY30" fmla="*/ 58412 h 486225"/>
                  <a:gd name="connsiteX31" fmla="*/ 28665 w 341818"/>
                  <a:gd name="connsiteY31" fmla="*/ 43809 h 486225"/>
                  <a:gd name="connsiteX32" fmla="*/ 20011 w 341818"/>
                  <a:gd name="connsiteY32" fmla="*/ 28665 h 486225"/>
                  <a:gd name="connsiteX33" fmla="*/ 8113 w 341818"/>
                  <a:gd name="connsiteY33" fmla="*/ 15685 h 486225"/>
                  <a:gd name="connsiteX34" fmla="*/ 0 w 341818"/>
                  <a:gd name="connsiteY34" fmla="*/ 0 h 48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41818" h="486225">
                    <a:moveTo>
                      <a:pt x="341818" y="486226"/>
                    </a:moveTo>
                    <a:cubicBezTo>
                      <a:pt x="336950" y="479195"/>
                      <a:pt x="336410" y="479195"/>
                      <a:pt x="331542" y="472164"/>
                    </a:cubicBezTo>
                    <a:cubicBezTo>
                      <a:pt x="326674" y="465133"/>
                      <a:pt x="326133" y="465133"/>
                      <a:pt x="321265" y="458101"/>
                    </a:cubicBezTo>
                    <a:cubicBezTo>
                      <a:pt x="316398" y="451070"/>
                      <a:pt x="317480" y="449989"/>
                      <a:pt x="312071" y="442958"/>
                    </a:cubicBezTo>
                    <a:cubicBezTo>
                      <a:pt x="307203" y="435927"/>
                      <a:pt x="306663" y="435927"/>
                      <a:pt x="301795" y="428895"/>
                    </a:cubicBezTo>
                    <a:cubicBezTo>
                      <a:pt x="296927" y="421864"/>
                      <a:pt x="296386" y="421864"/>
                      <a:pt x="291519" y="414833"/>
                    </a:cubicBezTo>
                    <a:cubicBezTo>
                      <a:pt x="286651" y="407802"/>
                      <a:pt x="285029" y="408884"/>
                      <a:pt x="280161" y="401312"/>
                    </a:cubicBezTo>
                    <a:cubicBezTo>
                      <a:pt x="275293" y="394281"/>
                      <a:pt x="275293" y="394281"/>
                      <a:pt x="269885" y="386709"/>
                    </a:cubicBezTo>
                    <a:cubicBezTo>
                      <a:pt x="265017" y="379678"/>
                      <a:pt x="265017" y="379678"/>
                      <a:pt x="259609" y="372647"/>
                    </a:cubicBezTo>
                    <a:cubicBezTo>
                      <a:pt x="254741" y="365616"/>
                      <a:pt x="254741" y="365616"/>
                      <a:pt x="249333" y="358585"/>
                    </a:cubicBezTo>
                    <a:cubicBezTo>
                      <a:pt x="244465" y="351554"/>
                      <a:pt x="245005" y="351013"/>
                      <a:pt x="239597" y="343982"/>
                    </a:cubicBezTo>
                    <a:cubicBezTo>
                      <a:pt x="234729" y="336951"/>
                      <a:pt x="234729" y="336951"/>
                      <a:pt x="229321" y="329920"/>
                    </a:cubicBezTo>
                    <a:cubicBezTo>
                      <a:pt x="224453" y="322888"/>
                      <a:pt x="224453" y="322888"/>
                      <a:pt x="219586" y="315317"/>
                    </a:cubicBezTo>
                    <a:cubicBezTo>
                      <a:pt x="214718" y="308286"/>
                      <a:pt x="216341" y="307204"/>
                      <a:pt x="210932" y="300173"/>
                    </a:cubicBezTo>
                    <a:cubicBezTo>
                      <a:pt x="206064" y="293142"/>
                      <a:pt x="203901" y="294223"/>
                      <a:pt x="199033" y="287192"/>
                    </a:cubicBezTo>
                    <a:cubicBezTo>
                      <a:pt x="194165" y="280161"/>
                      <a:pt x="194165" y="280161"/>
                      <a:pt x="189298" y="272589"/>
                    </a:cubicBezTo>
                    <a:cubicBezTo>
                      <a:pt x="184430" y="265558"/>
                      <a:pt x="184430" y="265558"/>
                      <a:pt x="179022" y="258527"/>
                    </a:cubicBezTo>
                    <a:cubicBezTo>
                      <a:pt x="174154" y="251496"/>
                      <a:pt x="175235" y="250414"/>
                      <a:pt x="170368" y="243383"/>
                    </a:cubicBezTo>
                    <a:cubicBezTo>
                      <a:pt x="165501" y="236352"/>
                      <a:pt x="164418" y="236893"/>
                      <a:pt x="159010" y="229862"/>
                    </a:cubicBezTo>
                    <a:cubicBezTo>
                      <a:pt x="154143" y="222831"/>
                      <a:pt x="153601" y="222831"/>
                      <a:pt x="148734" y="215800"/>
                    </a:cubicBezTo>
                    <a:cubicBezTo>
                      <a:pt x="143866" y="208769"/>
                      <a:pt x="144948" y="207687"/>
                      <a:pt x="140080" y="200656"/>
                    </a:cubicBezTo>
                    <a:cubicBezTo>
                      <a:pt x="135213" y="193625"/>
                      <a:pt x="135213" y="193625"/>
                      <a:pt x="130345" y="186053"/>
                    </a:cubicBezTo>
                    <a:cubicBezTo>
                      <a:pt x="125477" y="179022"/>
                      <a:pt x="126018" y="178481"/>
                      <a:pt x="120610" y="171450"/>
                    </a:cubicBezTo>
                    <a:cubicBezTo>
                      <a:pt x="115742" y="164419"/>
                      <a:pt x="114660" y="164960"/>
                      <a:pt x="109252" y="157929"/>
                    </a:cubicBezTo>
                    <a:cubicBezTo>
                      <a:pt x="104384" y="150898"/>
                      <a:pt x="104925" y="150357"/>
                      <a:pt x="100058" y="143326"/>
                    </a:cubicBezTo>
                    <a:cubicBezTo>
                      <a:pt x="95190" y="136295"/>
                      <a:pt x="95190" y="135754"/>
                      <a:pt x="90322" y="128723"/>
                    </a:cubicBezTo>
                    <a:cubicBezTo>
                      <a:pt x="85454" y="121692"/>
                      <a:pt x="84913" y="121692"/>
                      <a:pt x="80046" y="114661"/>
                    </a:cubicBezTo>
                    <a:cubicBezTo>
                      <a:pt x="75178" y="107630"/>
                      <a:pt x="74096" y="108170"/>
                      <a:pt x="69229" y="101139"/>
                    </a:cubicBezTo>
                    <a:cubicBezTo>
                      <a:pt x="64361" y="94108"/>
                      <a:pt x="64361" y="94108"/>
                      <a:pt x="58952" y="87077"/>
                    </a:cubicBezTo>
                    <a:cubicBezTo>
                      <a:pt x="54085" y="80046"/>
                      <a:pt x="54626" y="79505"/>
                      <a:pt x="49758" y="71933"/>
                    </a:cubicBezTo>
                    <a:cubicBezTo>
                      <a:pt x="44890" y="64902"/>
                      <a:pt x="43809" y="65443"/>
                      <a:pt x="38400" y="58412"/>
                    </a:cubicBezTo>
                    <a:cubicBezTo>
                      <a:pt x="33533" y="51381"/>
                      <a:pt x="34073" y="50840"/>
                      <a:pt x="28665" y="43809"/>
                    </a:cubicBezTo>
                    <a:cubicBezTo>
                      <a:pt x="23797" y="36778"/>
                      <a:pt x="24879" y="35696"/>
                      <a:pt x="20011" y="28665"/>
                    </a:cubicBezTo>
                    <a:cubicBezTo>
                      <a:pt x="15143" y="21634"/>
                      <a:pt x="12980" y="22716"/>
                      <a:pt x="8113" y="15685"/>
                    </a:cubicBezTo>
                    <a:cubicBezTo>
                      <a:pt x="3245" y="8654"/>
                      <a:pt x="4867" y="703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B27E2A0-282C-B9F6-F229-672AC812BE3A}"/>
                  </a:ext>
                </a:extLst>
              </p:cNvPr>
              <p:cNvSpPr/>
              <p:nvPr/>
            </p:nvSpPr>
            <p:spPr>
              <a:xfrm flipH="1">
                <a:off x="11058351" y="687670"/>
                <a:ext cx="114233" cy="335987"/>
              </a:xfrm>
              <a:custGeom>
                <a:avLst/>
                <a:gdLst>
                  <a:gd name="connsiteX0" fmla="*/ 137917 w 137917"/>
                  <a:gd name="connsiteY0" fmla="*/ 383464 h 383463"/>
                  <a:gd name="connsiteX1" fmla="*/ 131968 w 137917"/>
                  <a:gd name="connsiteY1" fmla="*/ 366697 h 383463"/>
                  <a:gd name="connsiteX2" fmla="*/ 126019 w 137917"/>
                  <a:gd name="connsiteY2" fmla="*/ 349931 h 383463"/>
                  <a:gd name="connsiteX3" fmla="*/ 118447 w 137917"/>
                  <a:gd name="connsiteY3" fmla="*/ 333706 h 383463"/>
                  <a:gd name="connsiteX4" fmla="*/ 112497 w 137917"/>
                  <a:gd name="connsiteY4" fmla="*/ 316939 h 383463"/>
                  <a:gd name="connsiteX5" fmla="*/ 107630 w 137917"/>
                  <a:gd name="connsiteY5" fmla="*/ 299632 h 383463"/>
                  <a:gd name="connsiteX6" fmla="*/ 100598 w 137917"/>
                  <a:gd name="connsiteY6" fmla="*/ 283406 h 383463"/>
                  <a:gd name="connsiteX7" fmla="*/ 95190 w 137917"/>
                  <a:gd name="connsiteY7" fmla="*/ 266640 h 383463"/>
                  <a:gd name="connsiteX8" fmla="*/ 90863 w 137917"/>
                  <a:gd name="connsiteY8" fmla="*/ 249333 h 383463"/>
                  <a:gd name="connsiteX9" fmla="*/ 84373 w 137917"/>
                  <a:gd name="connsiteY9" fmla="*/ 233107 h 383463"/>
                  <a:gd name="connsiteX10" fmla="*/ 78424 w 137917"/>
                  <a:gd name="connsiteY10" fmla="*/ 216341 h 383463"/>
                  <a:gd name="connsiteX11" fmla="*/ 73556 w 137917"/>
                  <a:gd name="connsiteY11" fmla="*/ 199574 h 383463"/>
                  <a:gd name="connsiteX12" fmla="*/ 67066 w 137917"/>
                  <a:gd name="connsiteY12" fmla="*/ 183349 h 383463"/>
                  <a:gd name="connsiteX13" fmla="*/ 61117 w 137917"/>
                  <a:gd name="connsiteY13" fmla="*/ 166582 h 383463"/>
                  <a:gd name="connsiteX14" fmla="*/ 55167 w 137917"/>
                  <a:gd name="connsiteY14" fmla="*/ 149816 h 383463"/>
                  <a:gd name="connsiteX15" fmla="*/ 49758 w 137917"/>
                  <a:gd name="connsiteY15" fmla="*/ 133050 h 383463"/>
                  <a:gd name="connsiteX16" fmla="*/ 42727 w 137917"/>
                  <a:gd name="connsiteY16" fmla="*/ 116824 h 383463"/>
                  <a:gd name="connsiteX17" fmla="*/ 36237 w 137917"/>
                  <a:gd name="connsiteY17" fmla="*/ 100058 h 383463"/>
                  <a:gd name="connsiteX18" fmla="*/ 31910 w 137917"/>
                  <a:gd name="connsiteY18" fmla="*/ 82750 h 383463"/>
                  <a:gd name="connsiteX19" fmla="*/ 25420 w 137917"/>
                  <a:gd name="connsiteY19" fmla="*/ 65984 h 383463"/>
                  <a:gd name="connsiteX20" fmla="*/ 18930 w 137917"/>
                  <a:gd name="connsiteY20" fmla="*/ 49758 h 383463"/>
                  <a:gd name="connsiteX21" fmla="*/ 12981 w 137917"/>
                  <a:gd name="connsiteY21" fmla="*/ 32992 h 383463"/>
                  <a:gd name="connsiteX22" fmla="*/ 6490 w 137917"/>
                  <a:gd name="connsiteY22" fmla="*/ 16226 h 383463"/>
                  <a:gd name="connsiteX23" fmla="*/ 0 w 137917"/>
                  <a:gd name="connsiteY23" fmla="*/ 0 h 383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917" h="383463">
                    <a:moveTo>
                      <a:pt x="137917" y="383464"/>
                    </a:moveTo>
                    <a:cubicBezTo>
                      <a:pt x="135213" y="375351"/>
                      <a:pt x="134672" y="375351"/>
                      <a:pt x="131968" y="366697"/>
                    </a:cubicBezTo>
                    <a:cubicBezTo>
                      <a:pt x="129264" y="358585"/>
                      <a:pt x="128723" y="358585"/>
                      <a:pt x="126019" y="349931"/>
                    </a:cubicBezTo>
                    <a:cubicBezTo>
                      <a:pt x="123314" y="341818"/>
                      <a:pt x="121151" y="342359"/>
                      <a:pt x="118447" y="333706"/>
                    </a:cubicBezTo>
                    <a:cubicBezTo>
                      <a:pt x="115742" y="325593"/>
                      <a:pt x="115202" y="325593"/>
                      <a:pt x="112497" y="316939"/>
                    </a:cubicBezTo>
                    <a:cubicBezTo>
                      <a:pt x="109793" y="308826"/>
                      <a:pt x="110875" y="308286"/>
                      <a:pt x="107630" y="299632"/>
                    </a:cubicBezTo>
                    <a:cubicBezTo>
                      <a:pt x="104925" y="291519"/>
                      <a:pt x="103303" y="291519"/>
                      <a:pt x="100598" y="283406"/>
                    </a:cubicBezTo>
                    <a:cubicBezTo>
                      <a:pt x="97894" y="275294"/>
                      <a:pt x="97894" y="274753"/>
                      <a:pt x="95190" y="266640"/>
                    </a:cubicBezTo>
                    <a:cubicBezTo>
                      <a:pt x="92486" y="258527"/>
                      <a:pt x="93568" y="257986"/>
                      <a:pt x="90863" y="249333"/>
                    </a:cubicBezTo>
                    <a:cubicBezTo>
                      <a:pt x="88159" y="241220"/>
                      <a:pt x="87077" y="241220"/>
                      <a:pt x="84373" y="233107"/>
                    </a:cubicBezTo>
                    <a:cubicBezTo>
                      <a:pt x="81668" y="224994"/>
                      <a:pt x="81128" y="224994"/>
                      <a:pt x="78424" y="216341"/>
                    </a:cubicBezTo>
                    <a:cubicBezTo>
                      <a:pt x="75719" y="208228"/>
                      <a:pt x="76260" y="207687"/>
                      <a:pt x="73556" y="199574"/>
                    </a:cubicBezTo>
                    <a:cubicBezTo>
                      <a:pt x="70851" y="191462"/>
                      <a:pt x="69770" y="191462"/>
                      <a:pt x="67066" y="183349"/>
                    </a:cubicBezTo>
                    <a:cubicBezTo>
                      <a:pt x="64361" y="175236"/>
                      <a:pt x="63821" y="175236"/>
                      <a:pt x="61117" y="166582"/>
                    </a:cubicBezTo>
                    <a:cubicBezTo>
                      <a:pt x="58412" y="158470"/>
                      <a:pt x="57871" y="158470"/>
                      <a:pt x="55167" y="149816"/>
                    </a:cubicBezTo>
                    <a:cubicBezTo>
                      <a:pt x="52462" y="141703"/>
                      <a:pt x="52462" y="141162"/>
                      <a:pt x="49758" y="133050"/>
                    </a:cubicBezTo>
                    <a:cubicBezTo>
                      <a:pt x="47054" y="124937"/>
                      <a:pt x="45972" y="124937"/>
                      <a:pt x="42727" y="116824"/>
                    </a:cubicBezTo>
                    <a:cubicBezTo>
                      <a:pt x="39482" y="108711"/>
                      <a:pt x="39482" y="108711"/>
                      <a:pt x="36237" y="100058"/>
                    </a:cubicBezTo>
                    <a:cubicBezTo>
                      <a:pt x="33533" y="91945"/>
                      <a:pt x="35155" y="90863"/>
                      <a:pt x="31910" y="82750"/>
                    </a:cubicBezTo>
                    <a:cubicBezTo>
                      <a:pt x="29206" y="74638"/>
                      <a:pt x="28665" y="74638"/>
                      <a:pt x="25420" y="65984"/>
                    </a:cubicBezTo>
                    <a:cubicBezTo>
                      <a:pt x="22716" y="57871"/>
                      <a:pt x="21634" y="57871"/>
                      <a:pt x="18930" y="49758"/>
                    </a:cubicBezTo>
                    <a:cubicBezTo>
                      <a:pt x="16226" y="41646"/>
                      <a:pt x="15685" y="41646"/>
                      <a:pt x="12981" y="32992"/>
                    </a:cubicBezTo>
                    <a:cubicBezTo>
                      <a:pt x="10276" y="24879"/>
                      <a:pt x="9736" y="24879"/>
                      <a:pt x="6490" y="16226"/>
                    </a:cubicBezTo>
                    <a:cubicBezTo>
                      <a:pt x="3786" y="8113"/>
                      <a:pt x="2704" y="811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A5491C4-D7DF-82D8-E121-F3BA969850B0}"/>
                  </a:ext>
                </a:extLst>
              </p:cNvPr>
              <p:cNvSpPr/>
              <p:nvPr/>
            </p:nvSpPr>
            <p:spPr>
              <a:xfrm flipH="1">
                <a:off x="10891256" y="752119"/>
                <a:ext cx="35838" cy="239314"/>
              </a:xfrm>
              <a:custGeom>
                <a:avLst/>
                <a:gdLst>
                  <a:gd name="connsiteX0" fmla="*/ 43268 w 43268"/>
                  <a:gd name="connsiteY0" fmla="*/ 273130 h 273130"/>
                  <a:gd name="connsiteX1" fmla="*/ 41645 w 43268"/>
                  <a:gd name="connsiteY1" fmla="*/ 255823 h 273130"/>
                  <a:gd name="connsiteX2" fmla="*/ 40023 w 43268"/>
                  <a:gd name="connsiteY2" fmla="*/ 238516 h 273130"/>
                  <a:gd name="connsiteX3" fmla="*/ 36237 w 43268"/>
                  <a:gd name="connsiteY3" fmla="*/ 221749 h 273130"/>
                  <a:gd name="connsiteX4" fmla="*/ 34073 w 43268"/>
                  <a:gd name="connsiteY4" fmla="*/ 204442 h 273130"/>
                  <a:gd name="connsiteX5" fmla="*/ 30288 w 43268"/>
                  <a:gd name="connsiteY5" fmla="*/ 187676 h 273130"/>
                  <a:gd name="connsiteX6" fmla="*/ 27043 w 43268"/>
                  <a:gd name="connsiteY6" fmla="*/ 170368 h 273130"/>
                  <a:gd name="connsiteX7" fmla="*/ 27043 w 43268"/>
                  <a:gd name="connsiteY7" fmla="*/ 153061 h 273130"/>
                  <a:gd name="connsiteX8" fmla="*/ 23256 w 43268"/>
                  <a:gd name="connsiteY8" fmla="*/ 136295 h 273130"/>
                  <a:gd name="connsiteX9" fmla="*/ 21634 w 43268"/>
                  <a:gd name="connsiteY9" fmla="*/ 118987 h 273130"/>
                  <a:gd name="connsiteX10" fmla="*/ 16766 w 43268"/>
                  <a:gd name="connsiteY10" fmla="*/ 102221 h 273130"/>
                  <a:gd name="connsiteX11" fmla="*/ 13521 w 43268"/>
                  <a:gd name="connsiteY11" fmla="*/ 85455 h 273130"/>
                  <a:gd name="connsiteX12" fmla="*/ 11898 w 43268"/>
                  <a:gd name="connsiteY12" fmla="*/ 68147 h 273130"/>
                  <a:gd name="connsiteX13" fmla="*/ 10276 w 43268"/>
                  <a:gd name="connsiteY13" fmla="*/ 50840 h 273130"/>
                  <a:gd name="connsiteX14" fmla="*/ 6490 w 43268"/>
                  <a:gd name="connsiteY14" fmla="*/ 34074 h 273130"/>
                  <a:gd name="connsiteX15" fmla="*/ 4867 w 43268"/>
                  <a:gd name="connsiteY15" fmla="*/ 16766 h 273130"/>
                  <a:gd name="connsiteX16" fmla="*/ 0 w 43268"/>
                  <a:gd name="connsiteY16" fmla="*/ 0 h 273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3268" h="273130">
                    <a:moveTo>
                      <a:pt x="43268" y="273130"/>
                    </a:moveTo>
                    <a:cubicBezTo>
                      <a:pt x="42186" y="264477"/>
                      <a:pt x="42727" y="264477"/>
                      <a:pt x="41645" y="255823"/>
                    </a:cubicBezTo>
                    <a:cubicBezTo>
                      <a:pt x="40564" y="247169"/>
                      <a:pt x="41105" y="247169"/>
                      <a:pt x="40023" y="238516"/>
                    </a:cubicBezTo>
                    <a:cubicBezTo>
                      <a:pt x="38941" y="229862"/>
                      <a:pt x="37318" y="230403"/>
                      <a:pt x="36237" y="221749"/>
                    </a:cubicBezTo>
                    <a:cubicBezTo>
                      <a:pt x="35155" y="213096"/>
                      <a:pt x="35155" y="213096"/>
                      <a:pt x="34073" y="204442"/>
                    </a:cubicBezTo>
                    <a:cubicBezTo>
                      <a:pt x="32992" y="195788"/>
                      <a:pt x="31910" y="195788"/>
                      <a:pt x="30288" y="187676"/>
                    </a:cubicBezTo>
                    <a:cubicBezTo>
                      <a:pt x="29205" y="179022"/>
                      <a:pt x="28665" y="179022"/>
                      <a:pt x="27043" y="170368"/>
                    </a:cubicBezTo>
                    <a:cubicBezTo>
                      <a:pt x="25960" y="161715"/>
                      <a:pt x="28124" y="161174"/>
                      <a:pt x="27043" y="153061"/>
                    </a:cubicBezTo>
                    <a:cubicBezTo>
                      <a:pt x="25960" y="144407"/>
                      <a:pt x="24879" y="144407"/>
                      <a:pt x="23256" y="136295"/>
                    </a:cubicBezTo>
                    <a:cubicBezTo>
                      <a:pt x="22175" y="127641"/>
                      <a:pt x="22716" y="127641"/>
                      <a:pt x="21634" y="118987"/>
                    </a:cubicBezTo>
                    <a:cubicBezTo>
                      <a:pt x="20552" y="110334"/>
                      <a:pt x="18388" y="110875"/>
                      <a:pt x="16766" y="102221"/>
                    </a:cubicBezTo>
                    <a:cubicBezTo>
                      <a:pt x="15684" y="93567"/>
                      <a:pt x="15143" y="93567"/>
                      <a:pt x="13521" y="85455"/>
                    </a:cubicBezTo>
                    <a:cubicBezTo>
                      <a:pt x="12439" y="76801"/>
                      <a:pt x="12980" y="76801"/>
                      <a:pt x="11898" y="68147"/>
                    </a:cubicBezTo>
                    <a:cubicBezTo>
                      <a:pt x="10817" y="59494"/>
                      <a:pt x="11898" y="59494"/>
                      <a:pt x="10276" y="50840"/>
                    </a:cubicBezTo>
                    <a:cubicBezTo>
                      <a:pt x="9194" y="42186"/>
                      <a:pt x="8113" y="42186"/>
                      <a:pt x="6490" y="34074"/>
                    </a:cubicBezTo>
                    <a:cubicBezTo>
                      <a:pt x="5409" y="25420"/>
                      <a:pt x="5949" y="25420"/>
                      <a:pt x="4867" y="16766"/>
                    </a:cubicBezTo>
                    <a:cubicBezTo>
                      <a:pt x="3786" y="8113"/>
                      <a:pt x="1622" y="8654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044C7CB-5DC4-FE8F-892F-CC859E64EFF6}"/>
                  </a:ext>
                </a:extLst>
              </p:cNvPr>
              <p:cNvSpPr/>
              <p:nvPr/>
            </p:nvSpPr>
            <p:spPr>
              <a:xfrm flipH="1">
                <a:off x="10722819" y="854479"/>
                <a:ext cx="17023" cy="150222"/>
              </a:xfrm>
              <a:custGeom>
                <a:avLst/>
                <a:gdLst>
                  <a:gd name="connsiteX0" fmla="*/ 0 w 20552"/>
                  <a:gd name="connsiteY0" fmla="*/ 171450 h 171449"/>
                  <a:gd name="connsiteX1" fmla="*/ 3786 w 20552"/>
                  <a:gd name="connsiteY1" fmla="*/ 154684 h 171449"/>
                  <a:gd name="connsiteX2" fmla="*/ 4327 w 20552"/>
                  <a:gd name="connsiteY2" fmla="*/ 137376 h 171449"/>
                  <a:gd name="connsiteX3" fmla="*/ 8113 w 20552"/>
                  <a:gd name="connsiteY3" fmla="*/ 120610 h 171449"/>
                  <a:gd name="connsiteX4" fmla="*/ 9195 w 20552"/>
                  <a:gd name="connsiteY4" fmla="*/ 103303 h 171449"/>
                  <a:gd name="connsiteX5" fmla="*/ 9736 w 20552"/>
                  <a:gd name="connsiteY5" fmla="*/ 85995 h 171449"/>
                  <a:gd name="connsiteX6" fmla="*/ 12981 w 20552"/>
                  <a:gd name="connsiteY6" fmla="*/ 69229 h 171449"/>
                  <a:gd name="connsiteX7" fmla="*/ 14062 w 20552"/>
                  <a:gd name="connsiteY7" fmla="*/ 51922 h 171449"/>
                  <a:gd name="connsiteX8" fmla="*/ 16766 w 20552"/>
                  <a:gd name="connsiteY8" fmla="*/ 34614 h 171449"/>
                  <a:gd name="connsiteX9" fmla="*/ 18930 w 20552"/>
                  <a:gd name="connsiteY9" fmla="*/ 17307 h 171449"/>
                  <a:gd name="connsiteX10" fmla="*/ 20553 w 20552"/>
                  <a:gd name="connsiteY10" fmla="*/ 0 h 17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52" h="171449">
                    <a:moveTo>
                      <a:pt x="0" y="171450"/>
                    </a:moveTo>
                    <a:cubicBezTo>
                      <a:pt x="1082" y="162796"/>
                      <a:pt x="2704" y="163337"/>
                      <a:pt x="3786" y="154684"/>
                    </a:cubicBezTo>
                    <a:cubicBezTo>
                      <a:pt x="4868" y="146030"/>
                      <a:pt x="3245" y="146030"/>
                      <a:pt x="4327" y="137376"/>
                    </a:cubicBezTo>
                    <a:cubicBezTo>
                      <a:pt x="5409" y="128723"/>
                      <a:pt x="7031" y="128723"/>
                      <a:pt x="8113" y="120610"/>
                    </a:cubicBezTo>
                    <a:cubicBezTo>
                      <a:pt x="9195" y="112497"/>
                      <a:pt x="8113" y="111956"/>
                      <a:pt x="9195" y="103303"/>
                    </a:cubicBezTo>
                    <a:cubicBezTo>
                      <a:pt x="10276" y="94649"/>
                      <a:pt x="9195" y="94649"/>
                      <a:pt x="9736" y="85995"/>
                    </a:cubicBezTo>
                    <a:cubicBezTo>
                      <a:pt x="10817" y="77342"/>
                      <a:pt x="11899" y="77342"/>
                      <a:pt x="12981" y="69229"/>
                    </a:cubicBezTo>
                    <a:cubicBezTo>
                      <a:pt x="14062" y="60575"/>
                      <a:pt x="12981" y="60575"/>
                      <a:pt x="14062" y="51922"/>
                    </a:cubicBezTo>
                    <a:cubicBezTo>
                      <a:pt x="15144" y="43268"/>
                      <a:pt x="15685" y="43268"/>
                      <a:pt x="16766" y="34614"/>
                    </a:cubicBezTo>
                    <a:cubicBezTo>
                      <a:pt x="17848" y="25961"/>
                      <a:pt x="17848" y="25961"/>
                      <a:pt x="18930" y="17307"/>
                    </a:cubicBezTo>
                    <a:cubicBezTo>
                      <a:pt x="20012" y="8654"/>
                      <a:pt x="19471" y="8654"/>
                      <a:pt x="20553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AB1D1F3-22C6-FA8E-7395-884EF99CC736}"/>
                  </a:ext>
                </a:extLst>
              </p:cNvPr>
              <p:cNvSpPr/>
              <p:nvPr/>
            </p:nvSpPr>
            <p:spPr>
              <a:xfrm flipH="1">
                <a:off x="10548557" y="996646"/>
                <a:ext cx="50173" cy="65870"/>
              </a:xfrm>
              <a:custGeom>
                <a:avLst/>
                <a:gdLst>
                  <a:gd name="connsiteX0" fmla="*/ 0 w 60575"/>
                  <a:gd name="connsiteY0" fmla="*/ 75178 h 75178"/>
                  <a:gd name="connsiteX1" fmla="*/ 11899 w 60575"/>
                  <a:gd name="connsiteY1" fmla="*/ 60034 h 75178"/>
                  <a:gd name="connsiteX2" fmla="*/ 25420 w 60575"/>
                  <a:gd name="connsiteY2" fmla="*/ 45972 h 75178"/>
                  <a:gd name="connsiteX3" fmla="*/ 37860 w 60575"/>
                  <a:gd name="connsiteY3" fmla="*/ 31369 h 75178"/>
                  <a:gd name="connsiteX4" fmla="*/ 49217 w 60575"/>
                  <a:gd name="connsiteY4" fmla="*/ 15685 h 75178"/>
                  <a:gd name="connsiteX5" fmla="*/ 60576 w 60575"/>
                  <a:gd name="connsiteY5" fmla="*/ 0 h 75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75" h="75178">
                    <a:moveTo>
                      <a:pt x="0" y="75178"/>
                    </a:moveTo>
                    <a:cubicBezTo>
                      <a:pt x="5949" y="67606"/>
                      <a:pt x="5949" y="67606"/>
                      <a:pt x="11899" y="60034"/>
                    </a:cubicBezTo>
                    <a:cubicBezTo>
                      <a:pt x="17848" y="52463"/>
                      <a:pt x="19471" y="53544"/>
                      <a:pt x="25420" y="45972"/>
                    </a:cubicBezTo>
                    <a:cubicBezTo>
                      <a:pt x="31370" y="38400"/>
                      <a:pt x="31910" y="38941"/>
                      <a:pt x="37860" y="31369"/>
                    </a:cubicBezTo>
                    <a:cubicBezTo>
                      <a:pt x="43809" y="23797"/>
                      <a:pt x="43268" y="23257"/>
                      <a:pt x="49217" y="15685"/>
                    </a:cubicBezTo>
                    <a:cubicBezTo>
                      <a:pt x="55167" y="8113"/>
                      <a:pt x="54626" y="7572"/>
                      <a:pt x="60576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22690447-DE6E-0007-5A23-6423639E2986}"/>
                  </a:ext>
                </a:extLst>
              </p:cNvPr>
              <p:cNvSpPr/>
              <p:nvPr/>
            </p:nvSpPr>
            <p:spPr>
              <a:xfrm flipH="1">
                <a:off x="10467473" y="1105641"/>
                <a:ext cx="32702" cy="30802"/>
              </a:xfrm>
              <a:custGeom>
                <a:avLst/>
                <a:gdLst>
                  <a:gd name="connsiteX0" fmla="*/ 0 w 39482"/>
                  <a:gd name="connsiteY0" fmla="*/ 35155 h 35155"/>
                  <a:gd name="connsiteX1" fmla="*/ 12440 w 39482"/>
                  <a:gd name="connsiteY1" fmla="*/ 22716 h 35155"/>
                  <a:gd name="connsiteX2" fmla="*/ 26502 w 39482"/>
                  <a:gd name="connsiteY2" fmla="*/ 11899 h 35155"/>
                  <a:gd name="connsiteX3" fmla="*/ 39482 w 39482"/>
                  <a:gd name="connsiteY3" fmla="*/ 0 h 3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482" h="35155">
                    <a:moveTo>
                      <a:pt x="0" y="35155"/>
                    </a:moveTo>
                    <a:cubicBezTo>
                      <a:pt x="6491" y="29747"/>
                      <a:pt x="5949" y="28665"/>
                      <a:pt x="12440" y="22716"/>
                    </a:cubicBezTo>
                    <a:cubicBezTo>
                      <a:pt x="18930" y="17307"/>
                      <a:pt x="19471" y="17848"/>
                      <a:pt x="26502" y="11899"/>
                    </a:cubicBezTo>
                    <a:cubicBezTo>
                      <a:pt x="32992" y="6490"/>
                      <a:pt x="32451" y="5409"/>
                      <a:pt x="39482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A4CB00A-8C62-092D-8DA7-B2C85AB382B6}"/>
                  </a:ext>
                </a:extLst>
              </p:cNvPr>
              <p:cNvSpPr/>
              <p:nvPr/>
            </p:nvSpPr>
            <p:spPr>
              <a:xfrm flipH="1">
                <a:off x="10419988" y="1216531"/>
                <a:ext cx="10751" cy="4738"/>
              </a:xfrm>
              <a:custGeom>
                <a:avLst/>
                <a:gdLst>
                  <a:gd name="connsiteX0" fmla="*/ 0 w 12980"/>
                  <a:gd name="connsiteY0" fmla="*/ 5409 h 5408"/>
                  <a:gd name="connsiteX1" fmla="*/ 12981 w 12980"/>
                  <a:gd name="connsiteY1" fmla="*/ 0 h 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80" h="5408">
                    <a:moveTo>
                      <a:pt x="0" y="5409"/>
                    </a:moveTo>
                    <a:cubicBezTo>
                      <a:pt x="6491" y="2163"/>
                      <a:pt x="7031" y="3245"/>
                      <a:pt x="12981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F27AF4A-DD6A-B552-4FA9-15A3CC059D6D}"/>
                </a:ext>
              </a:extLst>
            </p:cNvPr>
            <p:cNvGrpSpPr/>
            <p:nvPr userDrawn="1"/>
          </p:nvGrpSpPr>
          <p:grpSpPr>
            <a:xfrm>
              <a:off x="4706909" y="1648624"/>
              <a:ext cx="1033829" cy="2106576"/>
              <a:chOff x="4887873" y="1765520"/>
              <a:chExt cx="1008816" cy="2055609"/>
            </a:xfrm>
          </p:grpSpPr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AEA94ECC-5504-8CB0-8522-F33D5D5A6302}"/>
                  </a:ext>
                </a:extLst>
              </p:cNvPr>
              <p:cNvSpPr/>
              <p:nvPr/>
            </p:nvSpPr>
            <p:spPr>
              <a:xfrm flipH="1">
                <a:off x="5103155" y="2873541"/>
                <a:ext cx="397246" cy="39623"/>
              </a:xfrm>
              <a:custGeom>
                <a:avLst/>
                <a:gdLst>
                  <a:gd name="connsiteX0" fmla="*/ 0 w 369367"/>
                  <a:gd name="connsiteY0" fmla="*/ 36842 h 36842"/>
                  <a:gd name="connsiteX1" fmla="*/ 369367 w 369367"/>
                  <a:gd name="connsiteY1" fmla="*/ 0 h 36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367" h="36842">
                    <a:moveTo>
                      <a:pt x="0" y="36842"/>
                    </a:moveTo>
                    <a:lnTo>
                      <a:pt x="369367" y="0"/>
                    </a:lnTo>
                  </a:path>
                </a:pathLst>
              </a:custGeom>
              <a:ln w="188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C017ED82-26DE-118C-2C91-F69611D35864}"/>
                  </a:ext>
                </a:extLst>
              </p:cNvPr>
              <p:cNvSpPr/>
              <p:nvPr/>
            </p:nvSpPr>
            <p:spPr>
              <a:xfrm flipH="1">
                <a:off x="4887873" y="2865885"/>
                <a:ext cx="963286" cy="955210"/>
              </a:xfrm>
              <a:custGeom>
                <a:avLst/>
                <a:gdLst>
                  <a:gd name="connsiteX0" fmla="*/ 695511 w 895684"/>
                  <a:gd name="connsiteY0" fmla="*/ 7118 h 888174"/>
                  <a:gd name="connsiteX1" fmla="*/ 763716 w 895684"/>
                  <a:gd name="connsiteY1" fmla="*/ 317 h 888174"/>
                  <a:gd name="connsiteX2" fmla="*/ 830032 w 895684"/>
                  <a:gd name="connsiteY2" fmla="*/ 54541 h 888174"/>
                  <a:gd name="connsiteX3" fmla="*/ 895026 w 895684"/>
                  <a:gd name="connsiteY3" fmla="*/ 707688 h 888174"/>
                  <a:gd name="connsiteX4" fmla="*/ 778264 w 895684"/>
                  <a:gd name="connsiteY4" fmla="*/ 850523 h 888174"/>
                  <a:gd name="connsiteX5" fmla="*/ 405874 w 895684"/>
                  <a:gd name="connsiteY5" fmla="*/ 887743 h 888174"/>
                  <a:gd name="connsiteX6" fmla="*/ 260583 w 895684"/>
                  <a:gd name="connsiteY6" fmla="*/ 767392 h 888174"/>
                  <a:gd name="connsiteX7" fmla="*/ 228464 w 895684"/>
                  <a:gd name="connsiteY7" fmla="*/ 748309 h 888174"/>
                  <a:gd name="connsiteX8" fmla="*/ 171217 w 895684"/>
                  <a:gd name="connsiteY8" fmla="*/ 758512 h 888174"/>
                  <a:gd name="connsiteX9" fmla="*/ 164415 w 895684"/>
                  <a:gd name="connsiteY9" fmla="*/ 759079 h 888174"/>
                  <a:gd name="connsiteX10" fmla="*/ 164226 w 895684"/>
                  <a:gd name="connsiteY10" fmla="*/ 759079 h 888174"/>
                  <a:gd name="connsiteX11" fmla="*/ 70703 w 895684"/>
                  <a:gd name="connsiteY11" fmla="*/ 726582 h 888174"/>
                  <a:gd name="connsiteX12" fmla="*/ 170083 w 895684"/>
                  <a:gd name="connsiteY12" fmla="*/ 682182 h 888174"/>
                  <a:gd name="connsiteX13" fmla="*/ 188410 w 895684"/>
                  <a:gd name="connsiteY13" fmla="*/ 682560 h 888174"/>
                  <a:gd name="connsiteX14" fmla="*/ 193889 w 895684"/>
                  <a:gd name="connsiteY14" fmla="*/ 681993 h 888174"/>
                  <a:gd name="connsiteX15" fmla="*/ 218639 w 895684"/>
                  <a:gd name="connsiteY15" fmla="*/ 679537 h 888174"/>
                  <a:gd name="connsiteX16" fmla="*/ 250191 w 895684"/>
                  <a:gd name="connsiteY16" fmla="*/ 640995 h 888174"/>
                  <a:gd name="connsiteX17" fmla="*/ 221663 w 895684"/>
                  <a:gd name="connsiteY17" fmla="*/ 355703 h 888174"/>
                  <a:gd name="connsiteX18" fmla="*/ 179530 w 895684"/>
                  <a:gd name="connsiteY18" fmla="*/ 321128 h 888174"/>
                  <a:gd name="connsiteX19" fmla="*/ 152701 w 895684"/>
                  <a:gd name="connsiteY19" fmla="*/ 323773 h 888174"/>
                  <a:gd name="connsiteX20" fmla="*/ 86763 w 895684"/>
                  <a:gd name="connsiteY20" fmla="*/ 372518 h 888174"/>
                  <a:gd name="connsiteX21" fmla="*/ 609 w 895684"/>
                  <a:gd name="connsiteY21" fmla="*/ 398969 h 888174"/>
                  <a:gd name="connsiteX22" fmla="*/ 120960 w 895684"/>
                  <a:gd name="connsiteY22" fmla="*/ 252734 h 888174"/>
                  <a:gd name="connsiteX23" fmla="*/ 173295 w 895684"/>
                  <a:gd name="connsiteY23" fmla="*/ 247443 h 888174"/>
                  <a:gd name="connsiteX24" fmla="*/ 206926 w 895684"/>
                  <a:gd name="connsiteY24" fmla="*/ 206256 h 888174"/>
                  <a:gd name="connsiteX25" fmla="*/ 198046 w 895684"/>
                  <a:gd name="connsiteY25" fmla="*/ 117456 h 888174"/>
                  <a:gd name="connsiteX26" fmla="*/ 252270 w 895684"/>
                  <a:gd name="connsiteY26" fmla="*/ 51140 h 888174"/>
                  <a:gd name="connsiteX27" fmla="*/ 326332 w 895684"/>
                  <a:gd name="connsiteY27" fmla="*/ 43772 h 88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895684" h="888174">
                    <a:moveTo>
                      <a:pt x="695511" y="7118"/>
                    </a:moveTo>
                    <a:lnTo>
                      <a:pt x="763716" y="317"/>
                    </a:lnTo>
                    <a:cubicBezTo>
                      <a:pt x="796968" y="-3084"/>
                      <a:pt x="826631" y="21289"/>
                      <a:pt x="830032" y="54541"/>
                    </a:cubicBezTo>
                    <a:lnTo>
                      <a:pt x="895026" y="707688"/>
                    </a:lnTo>
                    <a:cubicBezTo>
                      <a:pt x="902205" y="779484"/>
                      <a:pt x="849870" y="843344"/>
                      <a:pt x="778264" y="850523"/>
                    </a:cubicBezTo>
                    <a:lnTo>
                      <a:pt x="405874" y="887743"/>
                    </a:lnTo>
                    <a:cubicBezTo>
                      <a:pt x="342014" y="893978"/>
                      <a:pt x="278910" y="831630"/>
                      <a:pt x="260583" y="767392"/>
                    </a:cubicBezTo>
                    <a:cubicBezTo>
                      <a:pt x="256615" y="753789"/>
                      <a:pt x="242445" y="745853"/>
                      <a:pt x="228464" y="748309"/>
                    </a:cubicBezTo>
                    <a:lnTo>
                      <a:pt x="171217" y="758512"/>
                    </a:lnTo>
                    <a:lnTo>
                      <a:pt x="164415" y="759079"/>
                    </a:lnTo>
                    <a:lnTo>
                      <a:pt x="164226" y="759079"/>
                    </a:lnTo>
                    <a:cubicBezTo>
                      <a:pt x="129084" y="760779"/>
                      <a:pt x="95832" y="748309"/>
                      <a:pt x="70703" y="726582"/>
                    </a:cubicBezTo>
                    <a:cubicBezTo>
                      <a:pt x="103012" y="720158"/>
                      <a:pt x="137209" y="698053"/>
                      <a:pt x="170083" y="682182"/>
                    </a:cubicBezTo>
                    <a:cubicBezTo>
                      <a:pt x="175940" y="683127"/>
                      <a:pt x="182175" y="683127"/>
                      <a:pt x="188410" y="682560"/>
                    </a:cubicBezTo>
                    <a:lnTo>
                      <a:pt x="193889" y="681993"/>
                    </a:lnTo>
                    <a:lnTo>
                      <a:pt x="218639" y="679537"/>
                    </a:lnTo>
                    <a:cubicBezTo>
                      <a:pt x="237911" y="677648"/>
                      <a:pt x="252081" y="660455"/>
                      <a:pt x="250191" y="640995"/>
                    </a:cubicBezTo>
                    <a:lnTo>
                      <a:pt x="221663" y="355703"/>
                    </a:lnTo>
                    <a:cubicBezTo>
                      <a:pt x="219584" y="334542"/>
                      <a:pt x="200690" y="319050"/>
                      <a:pt x="179530" y="321128"/>
                    </a:cubicBezTo>
                    <a:lnTo>
                      <a:pt x="152701" y="323773"/>
                    </a:lnTo>
                    <a:cubicBezTo>
                      <a:pt x="122660" y="326796"/>
                      <a:pt x="97910" y="346256"/>
                      <a:pt x="86763" y="372518"/>
                    </a:cubicBezTo>
                    <a:cubicBezTo>
                      <a:pt x="59368" y="383288"/>
                      <a:pt x="29705" y="396702"/>
                      <a:pt x="609" y="398969"/>
                    </a:cubicBezTo>
                    <a:cubicBezTo>
                      <a:pt x="-6382" y="325851"/>
                      <a:pt x="47653" y="259913"/>
                      <a:pt x="120960" y="252734"/>
                    </a:cubicBezTo>
                    <a:lnTo>
                      <a:pt x="173295" y="247443"/>
                    </a:lnTo>
                    <a:cubicBezTo>
                      <a:pt x="193889" y="245365"/>
                      <a:pt x="209004" y="226850"/>
                      <a:pt x="206926" y="206256"/>
                    </a:cubicBezTo>
                    <a:lnTo>
                      <a:pt x="198046" y="117456"/>
                    </a:lnTo>
                    <a:cubicBezTo>
                      <a:pt x="194644" y="84204"/>
                      <a:pt x="219017" y="54541"/>
                      <a:pt x="252270" y="51140"/>
                    </a:cubicBezTo>
                    <a:lnTo>
                      <a:pt x="326332" y="43772"/>
                    </a:lnTo>
                  </a:path>
                </a:pathLst>
              </a:custGeom>
              <a:solidFill>
                <a:srgbClr val="88BCAD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ACA3E81D-A82B-3B60-4DD0-F1851B9E7C8D}"/>
                  </a:ext>
                </a:extLst>
              </p:cNvPr>
              <p:cNvSpPr/>
              <p:nvPr/>
            </p:nvSpPr>
            <p:spPr>
              <a:xfrm flipH="1">
                <a:off x="5630153" y="3250140"/>
                <a:ext cx="266536" cy="402334"/>
              </a:xfrm>
              <a:custGeom>
                <a:avLst/>
                <a:gdLst>
                  <a:gd name="connsiteX0" fmla="*/ 236225 w 247831"/>
                  <a:gd name="connsiteY0" fmla="*/ 324705 h 374099"/>
                  <a:gd name="connsiteX1" fmla="*/ 230745 w 247831"/>
                  <a:gd name="connsiteY1" fmla="*/ 325272 h 374099"/>
                  <a:gd name="connsiteX2" fmla="*/ 212419 w 247831"/>
                  <a:gd name="connsiteY2" fmla="*/ 324894 h 374099"/>
                  <a:gd name="connsiteX3" fmla="*/ 113039 w 247831"/>
                  <a:gd name="connsiteY3" fmla="*/ 369293 h 374099"/>
                  <a:gd name="connsiteX4" fmla="*/ 74118 w 247831"/>
                  <a:gd name="connsiteY4" fmla="*/ 367593 h 374099"/>
                  <a:gd name="connsiteX5" fmla="*/ 40488 w 247831"/>
                  <a:gd name="connsiteY5" fmla="*/ 42059 h 374099"/>
                  <a:gd name="connsiteX6" fmla="*/ 42755 w 247831"/>
                  <a:gd name="connsiteY6" fmla="*/ 41870 h 374099"/>
                  <a:gd name="connsiteX7" fmla="*/ 128909 w 247831"/>
                  <a:gd name="connsiteY7" fmla="*/ 15419 h 374099"/>
                  <a:gd name="connsiteX8" fmla="*/ 245482 w 247831"/>
                  <a:gd name="connsiteY8" fmla="*/ 101573 h 374099"/>
                  <a:gd name="connsiteX9" fmla="*/ 236225 w 247831"/>
                  <a:gd name="connsiteY9" fmla="*/ 324705 h 37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831" h="374099">
                    <a:moveTo>
                      <a:pt x="236225" y="324705"/>
                    </a:moveTo>
                    <a:lnTo>
                      <a:pt x="230745" y="325272"/>
                    </a:lnTo>
                    <a:cubicBezTo>
                      <a:pt x="224511" y="325839"/>
                      <a:pt x="218276" y="325839"/>
                      <a:pt x="212419" y="324894"/>
                    </a:cubicBezTo>
                    <a:cubicBezTo>
                      <a:pt x="179544" y="340764"/>
                      <a:pt x="145347" y="362870"/>
                      <a:pt x="113039" y="369293"/>
                    </a:cubicBezTo>
                    <a:cubicBezTo>
                      <a:pt x="99625" y="371939"/>
                      <a:pt x="79975" y="379496"/>
                      <a:pt x="74118" y="367593"/>
                    </a:cubicBezTo>
                    <a:cubicBezTo>
                      <a:pt x="36520" y="291075"/>
                      <a:pt x="-51334" y="84569"/>
                      <a:pt x="40488" y="42059"/>
                    </a:cubicBezTo>
                    <a:cubicBezTo>
                      <a:pt x="41244" y="42059"/>
                      <a:pt x="42000" y="41870"/>
                      <a:pt x="42755" y="41870"/>
                    </a:cubicBezTo>
                    <a:cubicBezTo>
                      <a:pt x="71851" y="39602"/>
                      <a:pt x="101514" y="26188"/>
                      <a:pt x="128909" y="15419"/>
                    </a:cubicBezTo>
                    <a:cubicBezTo>
                      <a:pt x="186724" y="-8009"/>
                      <a:pt x="234524" y="-21046"/>
                      <a:pt x="245482" y="101573"/>
                    </a:cubicBezTo>
                    <a:cubicBezTo>
                      <a:pt x="253229" y="187916"/>
                      <a:pt x="239625" y="245919"/>
                      <a:pt x="236225" y="324705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0017F50-E9DB-25BC-E0DB-B8043D3967EB}"/>
                  </a:ext>
                </a:extLst>
              </p:cNvPr>
              <p:cNvSpPr/>
              <p:nvPr/>
            </p:nvSpPr>
            <p:spPr>
              <a:xfrm rot="388799" flipH="1">
                <a:off x="4958635" y="2933159"/>
                <a:ext cx="541310" cy="814607"/>
              </a:xfrm>
              <a:custGeom>
                <a:avLst/>
                <a:gdLst>
                  <a:gd name="connsiteX0" fmla="*/ 0 w 503322"/>
                  <a:gd name="connsiteY0" fmla="*/ 0 h 757439"/>
                  <a:gd name="connsiteX1" fmla="*/ 503322 w 503322"/>
                  <a:gd name="connsiteY1" fmla="*/ 0 h 757439"/>
                  <a:gd name="connsiteX2" fmla="*/ 503322 w 503322"/>
                  <a:gd name="connsiteY2" fmla="*/ 639355 h 757439"/>
                  <a:gd name="connsiteX3" fmla="*/ 385238 w 503322"/>
                  <a:gd name="connsiteY3" fmla="*/ 757439 h 757439"/>
                  <a:gd name="connsiteX4" fmla="*/ 118273 w 503322"/>
                  <a:gd name="connsiteY4" fmla="*/ 757439 h 757439"/>
                  <a:gd name="connsiteX5" fmla="*/ 189 w 503322"/>
                  <a:gd name="connsiteY5" fmla="*/ 639355 h 757439"/>
                  <a:gd name="connsiteX6" fmla="*/ 189 w 503322"/>
                  <a:gd name="connsiteY6" fmla="*/ 0 h 757439"/>
                  <a:gd name="connsiteX7" fmla="*/ 189 w 503322"/>
                  <a:gd name="connsiteY7" fmla="*/ 0 h 75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322" h="757439">
                    <a:moveTo>
                      <a:pt x="0" y="0"/>
                    </a:moveTo>
                    <a:lnTo>
                      <a:pt x="503322" y="0"/>
                    </a:lnTo>
                    <a:lnTo>
                      <a:pt x="503322" y="639355"/>
                    </a:lnTo>
                    <a:cubicBezTo>
                      <a:pt x="503322" y="704537"/>
                      <a:pt x="450420" y="757439"/>
                      <a:pt x="385238" y="757439"/>
                    </a:cubicBezTo>
                    <a:lnTo>
                      <a:pt x="118273" y="757439"/>
                    </a:lnTo>
                    <a:cubicBezTo>
                      <a:pt x="53091" y="757439"/>
                      <a:pt x="189" y="704537"/>
                      <a:pt x="189" y="639355"/>
                    </a:cubicBez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E1EBE5">
                  <a:alpha val="30000"/>
                </a:srgbClr>
              </a:solidFill>
              <a:ln w="49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da-DK"/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354DA86F-4612-B0DB-554F-07890E454667}"/>
                  </a:ext>
                </a:extLst>
              </p:cNvPr>
              <p:cNvSpPr/>
              <p:nvPr/>
            </p:nvSpPr>
            <p:spPr>
              <a:xfrm flipH="1">
                <a:off x="5254738" y="2892437"/>
                <a:ext cx="596421" cy="928692"/>
              </a:xfrm>
              <a:custGeom>
                <a:avLst/>
                <a:gdLst>
                  <a:gd name="connsiteX0" fmla="*/ 554565 w 554565"/>
                  <a:gd name="connsiteY0" fmla="*/ 848128 h 863518"/>
                  <a:gd name="connsiteX1" fmla="*/ 405874 w 554565"/>
                  <a:gd name="connsiteY1" fmla="*/ 863054 h 863518"/>
                  <a:gd name="connsiteX2" fmla="*/ 265495 w 554565"/>
                  <a:gd name="connsiteY2" fmla="*/ 748748 h 863518"/>
                  <a:gd name="connsiteX3" fmla="*/ 233376 w 554565"/>
                  <a:gd name="connsiteY3" fmla="*/ 727588 h 863518"/>
                  <a:gd name="connsiteX4" fmla="*/ 171217 w 554565"/>
                  <a:gd name="connsiteY4" fmla="*/ 733823 h 863518"/>
                  <a:gd name="connsiteX5" fmla="*/ 164415 w 554565"/>
                  <a:gd name="connsiteY5" fmla="*/ 734389 h 863518"/>
                  <a:gd name="connsiteX6" fmla="*/ 164226 w 554565"/>
                  <a:gd name="connsiteY6" fmla="*/ 734389 h 863518"/>
                  <a:gd name="connsiteX7" fmla="*/ 70703 w 554565"/>
                  <a:gd name="connsiteY7" fmla="*/ 701893 h 863518"/>
                  <a:gd name="connsiteX8" fmla="*/ 170083 w 554565"/>
                  <a:gd name="connsiteY8" fmla="*/ 657493 h 863518"/>
                  <a:gd name="connsiteX9" fmla="*/ 188410 w 554565"/>
                  <a:gd name="connsiteY9" fmla="*/ 657871 h 863518"/>
                  <a:gd name="connsiteX10" fmla="*/ 193889 w 554565"/>
                  <a:gd name="connsiteY10" fmla="*/ 657304 h 863518"/>
                  <a:gd name="connsiteX11" fmla="*/ 218639 w 554565"/>
                  <a:gd name="connsiteY11" fmla="*/ 654848 h 863518"/>
                  <a:gd name="connsiteX12" fmla="*/ 250191 w 554565"/>
                  <a:gd name="connsiteY12" fmla="*/ 616305 h 863518"/>
                  <a:gd name="connsiteX13" fmla="*/ 221663 w 554565"/>
                  <a:gd name="connsiteY13" fmla="*/ 331014 h 863518"/>
                  <a:gd name="connsiteX14" fmla="*/ 179530 w 554565"/>
                  <a:gd name="connsiteY14" fmla="*/ 296439 h 863518"/>
                  <a:gd name="connsiteX15" fmla="*/ 152701 w 554565"/>
                  <a:gd name="connsiteY15" fmla="*/ 299084 h 863518"/>
                  <a:gd name="connsiteX16" fmla="*/ 86763 w 554565"/>
                  <a:gd name="connsiteY16" fmla="*/ 347829 h 863518"/>
                  <a:gd name="connsiteX17" fmla="*/ 609 w 554565"/>
                  <a:gd name="connsiteY17" fmla="*/ 374280 h 863518"/>
                  <a:gd name="connsiteX18" fmla="*/ 120960 w 554565"/>
                  <a:gd name="connsiteY18" fmla="*/ 228044 h 863518"/>
                  <a:gd name="connsiteX19" fmla="*/ 173295 w 554565"/>
                  <a:gd name="connsiteY19" fmla="*/ 222754 h 863518"/>
                  <a:gd name="connsiteX20" fmla="*/ 206926 w 554565"/>
                  <a:gd name="connsiteY20" fmla="*/ 181566 h 863518"/>
                  <a:gd name="connsiteX21" fmla="*/ 198234 w 554565"/>
                  <a:gd name="connsiteY21" fmla="*/ 94656 h 863518"/>
                  <a:gd name="connsiteX22" fmla="*/ 254159 w 554565"/>
                  <a:gd name="connsiteY22" fmla="*/ 26262 h 863518"/>
                  <a:gd name="connsiteX23" fmla="*/ 518101 w 554565"/>
                  <a:gd name="connsiteY23" fmla="*/ 0 h 86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4565" h="863518">
                    <a:moveTo>
                      <a:pt x="554565" y="848128"/>
                    </a:moveTo>
                    <a:lnTo>
                      <a:pt x="405874" y="863054"/>
                    </a:lnTo>
                    <a:cubicBezTo>
                      <a:pt x="342014" y="869289"/>
                      <a:pt x="282877" y="811853"/>
                      <a:pt x="265495" y="748748"/>
                    </a:cubicBezTo>
                    <a:cubicBezTo>
                      <a:pt x="261717" y="734767"/>
                      <a:pt x="247736" y="726265"/>
                      <a:pt x="233376" y="727588"/>
                    </a:cubicBezTo>
                    <a:lnTo>
                      <a:pt x="171217" y="733823"/>
                    </a:lnTo>
                    <a:lnTo>
                      <a:pt x="164415" y="734389"/>
                    </a:lnTo>
                    <a:lnTo>
                      <a:pt x="164226" y="734389"/>
                    </a:lnTo>
                    <a:cubicBezTo>
                      <a:pt x="129084" y="736090"/>
                      <a:pt x="95832" y="723620"/>
                      <a:pt x="70703" y="701893"/>
                    </a:cubicBezTo>
                    <a:cubicBezTo>
                      <a:pt x="103012" y="695469"/>
                      <a:pt x="137209" y="673363"/>
                      <a:pt x="170083" y="657493"/>
                    </a:cubicBezTo>
                    <a:cubicBezTo>
                      <a:pt x="175940" y="658438"/>
                      <a:pt x="182175" y="658438"/>
                      <a:pt x="188410" y="657871"/>
                    </a:cubicBezTo>
                    <a:lnTo>
                      <a:pt x="193889" y="657304"/>
                    </a:lnTo>
                    <a:lnTo>
                      <a:pt x="218639" y="654848"/>
                    </a:lnTo>
                    <a:cubicBezTo>
                      <a:pt x="237911" y="652959"/>
                      <a:pt x="252081" y="635765"/>
                      <a:pt x="250191" y="616305"/>
                    </a:cubicBezTo>
                    <a:lnTo>
                      <a:pt x="221663" y="331014"/>
                    </a:lnTo>
                    <a:cubicBezTo>
                      <a:pt x="219584" y="309853"/>
                      <a:pt x="200690" y="294360"/>
                      <a:pt x="179530" y="296439"/>
                    </a:cubicBezTo>
                    <a:lnTo>
                      <a:pt x="152701" y="299084"/>
                    </a:lnTo>
                    <a:cubicBezTo>
                      <a:pt x="122660" y="302107"/>
                      <a:pt x="97910" y="321567"/>
                      <a:pt x="86763" y="347829"/>
                    </a:cubicBezTo>
                    <a:cubicBezTo>
                      <a:pt x="59368" y="358598"/>
                      <a:pt x="29705" y="372013"/>
                      <a:pt x="609" y="374280"/>
                    </a:cubicBezTo>
                    <a:cubicBezTo>
                      <a:pt x="-6382" y="301162"/>
                      <a:pt x="47653" y="235224"/>
                      <a:pt x="120960" y="228044"/>
                    </a:cubicBezTo>
                    <a:lnTo>
                      <a:pt x="173295" y="222754"/>
                    </a:lnTo>
                    <a:cubicBezTo>
                      <a:pt x="193889" y="220676"/>
                      <a:pt x="209004" y="202160"/>
                      <a:pt x="206926" y="181566"/>
                    </a:cubicBezTo>
                    <a:lnTo>
                      <a:pt x="198234" y="94656"/>
                    </a:lnTo>
                    <a:cubicBezTo>
                      <a:pt x="194834" y="60270"/>
                      <a:pt x="219773" y="29663"/>
                      <a:pt x="254159" y="26262"/>
                    </a:cubicBezTo>
                    <a:lnTo>
                      <a:pt x="518101" y="0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661843D-F8AD-0B2F-533B-B08EEF40E4C4}"/>
                  </a:ext>
                </a:extLst>
              </p:cNvPr>
              <p:cNvSpPr/>
              <p:nvPr/>
            </p:nvSpPr>
            <p:spPr>
              <a:xfrm flipH="1">
                <a:off x="4887873" y="3189508"/>
                <a:ext cx="237836" cy="602269"/>
              </a:xfrm>
              <a:custGeom>
                <a:avLst/>
                <a:gdLst>
                  <a:gd name="connsiteX0" fmla="*/ 180055 w 221145"/>
                  <a:gd name="connsiteY0" fmla="*/ 0 h 560002"/>
                  <a:gd name="connsiteX1" fmla="*/ 220487 w 221145"/>
                  <a:gd name="connsiteY1" fmla="*/ 406776 h 560002"/>
                  <a:gd name="connsiteX2" fmla="*/ 103725 w 221145"/>
                  <a:gd name="connsiteY2" fmla="*/ 549611 h 560002"/>
                  <a:gd name="connsiteX3" fmla="*/ 0 w 221145"/>
                  <a:gd name="connsiteY3" fmla="*/ 560003 h 56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145" h="560002">
                    <a:moveTo>
                      <a:pt x="180055" y="0"/>
                    </a:moveTo>
                    <a:lnTo>
                      <a:pt x="220487" y="406776"/>
                    </a:lnTo>
                    <a:cubicBezTo>
                      <a:pt x="227666" y="478572"/>
                      <a:pt x="175331" y="542432"/>
                      <a:pt x="103725" y="549611"/>
                    </a:cubicBezTo>
                    <a:lnTo>
                      <a:pt x="0" y="56000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E78E68DA-2326-27DF-8BA2-E640C5FA11CC}"/>
                  </a:ext>
                </a:extLst>
              </p:cNvPr>
              <p:cNvSpPr/>
              <p:nvPr/>
            </p:nvSpPr>
            <p:spPr>
              <a:xfrm flipH="1">
                <a:off x="5131850" y="1765520"/>
                <a:ext cx="336070" cy="1038120"/>
              </a:xfrm>
              <a:custGeom>
                <a:avLst/>
                <a:gdLst>
                  <a:gd name="connsiteX0" fmla="*/ 154389 w 312485"/>
                  <a:gd name="connsiteY0" fmla="*/ 189124 h 965267"/>
                  <a:gd name="connsiteX1" fmla="*/ 236387 w 312485"/>
                  <a:gd name="connsiteY1" fmla="*/ 146235 h 965267"/>
                  <a:gd name="connsiteX2" fmla="*/ 264349 w 312485"/>
                  <a:gd name="connsiteY2" fmla="*/ 427748 h 965267"/>
                  <a:gd name="connsiteX3" fmla="*/ 129072 w 312485"/>
                  <a:gd name="connsiteY3" fmla="*/ 588532 h 965267"/>
                  <a:gd name="connsiteX4" fmla="*/ 305914 w 312485"/>
                  <a:gd name="connsiteY4" fmla="*/ 773688 h 965267"/>
                  <a:gd name="connsiteX5" fmla="*/ 131150 w 312485"/>
                  <a:gd name="connsiteY5" fmla="*/ 965268 h 965267"/>
                  <a:gd name="connsiteX6" fmla="*/ 126049 w 312485"/>
                  <a:gd name="connsiteY6" fmla="*/ 871745 h 965267"/>
                  <a:gd name="connsiteX7" fmla="*/ 221461 w 312485"/>
                  <a:gd name="connsiteY7" fmla="*/ 767075 h 965267"/>
                  <a:gd name="connsiteX8" fmla="*/ 178573 w 312485"/>
                  <a:gd name="connsiteY8" fmla="*/ 726265 h 965267"/>
                  <a:gd name="connsiteX9" fmla="*/ 32904 w 312485"/>
                  <a:gd name="connsiteY9" fmla="*/ 659760 h 965267"/>
                  <a:gd name="connsiteX10" fmla="*/ 109045 w 312485"/>
                  <a:gd name="connsiteY10" fmla="*/ 479138 h 965267"/>
                  <a:gd name="connsiteX11" fmla="*/ 229396 w 312485"/>
                  <a:gd name="connsiteY11" fmla="*/ 194036 h 965267"/>
                  <a:gd name="connsiteX12" fmla="*/ 192932 w 312485"/>
                  <a:gd name="connsiteY12" fmla="*/ 235413 h 965267"/>
                  <a:gd name="connsiteX13" fmla="*/ 24780 w 312485"/>
                  <a:gd name="connsiteY13" fmla="*/ 0 h 965267"/>
                  <a:gd name="connsiteX14" fmla="*/ 154200 w 312485"/>
                  <a:gd name="connsiteY14" fmla="*/ 188746 h 96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2485" h="965267">
                    <a:moveTo>
                      <a:pt x="154389" y="189124"/>
                    </a:moveTo>
                    <a:cubicBezTo>
                      <a:pt x="190098" y="191769"/>
                      <a:pt x="192932" y="138867"/>
                      <a:pt x="236387" y="146235"/>
                    </a:cubicBezTo>
                    <a:cubicBezTo>
                      <a:pt x="340679" y="155871"/>
                      <a:pt x="282298" y="370501"/>
                      <a:pt x="264349" y="427748"/>
                    </a:cubicBezTo>
                    <a:cubicBezTo>
                      <a:pt x="242622" y="493875"/>
                      <a:pt x="143620" y="515414"/>
                      <a:pt x="129072" y="588532"/>
                    </a:cubicBezTo>
                    <a:cubicBezTo>
                      <a:pt x="112068" y="673741"/>
                      <a:pt x="355038" y="716063"/>
                      <a:pt x="305914" y="773688"/>
                    </a:cubicBezTo>
                    <a:cubicBezTo>
                      <a:pt x="292689" y="789180"/>
                      <a:pt x="135873" y="848506"/>
                      <a:pt x="131150" y="965268"/>
                    </a:cubicBezTo>
                    <a:cubicBezTo>
                      <a:pt x="132284" y="935794"/>
                      <a:pt x="114524" y="904053"/>
                      <a:pt x="126049" y="871745"/>
                    </a:cubicBezTo>
                    <a:cubicBezTo>
                      <a:pt x="141353" y="825456"/>
                      <a:pt x="226373" y="793337"/>
                      <a:pt x="221461" y="767075"/>
                    </a:cubicBezTo>
                    <a:cubicBezTo>
                      <a:pt x="218060" y="748370"/>
                      <a:pt x="197088" y="733067"/>
                      <a:pt x="178573" y="726265"/>
                    </a:cubicBezTo>
                    <a:cubicBezTo>
                      <a:pt x="146832" y="713418"/>
                      <a:pt x="54442" y="691501"/>
                      <a:pt x="32904" y="659760"/>
                    </a:cubicBezTo>
                    <a:cubicBezTo>
                      <a:pt x="-30389" y="566237"/>
                      <a:pt x="69935" y="495009"/>
                      <a:pt x="109045" y="479138"/>
                    </a:cubicBezTo>
                    <a:cubicBezTo>
                      <a:pt x="221839" y="433605"/>
                      <a:pt x="318384" y="199326"/>
                      <a:pt x="229396" y="194036"/>
                    </a:cubicBezTo>
                    <a:cubicBezTo>
                      <a:pt x="203890" y="192524"/>
                      <a:pt x="222217" y="230311"/>
                      <a:pt x="192932" y="235413"/>
                    </a:cubicBezTo>
                    <a:cubicBezTo>
                      <a:pt x="63511" y="259596"/>
                      <a:pt x="-52306" y="131687"/>
                      <a:pt x="24780" y="0"/>
                    </a:cubicBezTo>
                    <a:cubicBezTo>
                      <a:pt x="2674" y="50257"/>
                      <a:pt x="78248" y="178921"/>
                      <a:pt x="154200" y="188746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68647DF5-57B7-D162-1541-C0F1752C6AC9}"/>
                  </a:ext>
                </a:extLst>
              </p:cNvPr>
              <p:cNvSpPr/>
              <p:nvPr/>
            </p:nvSpPr>
            <p:spPr>
              <a:xfrm flipH="1">
                <a:off x="4941006" y="2865892"/>
                <a:ext cx="272687" cy="234414"/>
              </a:xfrm>
              <a:custGeom>
                <a:avLst/>
                <a:gdLst>
                  <a:gd name="connsiteX0" fmla="*/ 0 w 253550"/>
                  <a:gd name="connsiteY0" fmla="*/ 17315 h 217963"/>
                  <a:gd name="connsiteX1" fmla="*/ 169474 w 253550"/>
                  <a:gd name="connsiteY1" fmla="*/ 310 h 217963"/>
                  <a:gd name="connsiteX2" fmla="*/ 237491 w 253550"/>
                  <a:gd name="connsiteY2" fmla="*/ 55857 h 217963"/>
                  <a:gd name="connsiteX3" fmla="*/ 253551 w 253550"/>
                  <a:gd name="connsiteY3" fmla="*/ 217963 h 2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50" h="217963">
                    <a:moveTo>
                      <a:pt x="0" y="17315"/>
                    </a:moveTo>
                    <a:lnTo>
                      <a:pt x="169474" y="310"/>
                    </a:lnTo>
                    <a:cubicBezTo>
                      <a:pt x="203672" y="-3090"/>
                      <a:pt x="234090" y="21849"/>
                      <a:pt x="237491" y="55857"/>
                    </a:cubicBezTo>
                    <a:lnTo>
                      <a:pt x="253551" y="21796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9958A61D-8B15-9302-B862-B675BE940CFE}"/>
                  </a:ext>
                </a:extLst>
              </p:cNvPr>
              <p:cNvGrpSpPr/>
              <p:nvPr userDrawn="1"/>
            </p:nvGrpSpPr>
            <p:grpSpPr>
              <a:xfrm>
                <a:off x="5079983" y="3165639"/>
                <a:ext cx="180522" cy="248934"/>
                <a:chOff x="5079983" y="3165639"/>
                <a:chExt cx="180522" cy="248934"/>
              </a:xfrm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B695D01F-D162-203B-AA17-47A7291F08E2}"/>
                    </a:ext>
                  </a:extLst>
                </p:cNvPr>
                <p:cNvSpPr/>
                <p:nvPr/>
              </p:nvSpPr>
              <p:spPr>
                <a:xfrm flipV="1">
                  <a:off x="5079983" y="3165639"/>
                  <a:ext cx="180522" cy="248934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BF019CE-D7EE-39A2-4314-4B08645A7023}"/>
                    </a:ext>
                  </a:extLst>
                </p:cNvPr>
                <p:cNvSpPr/>
                <p:nvPr/>
              </p:nvSpPr>
              <p:spPr>
                <a:xfrm rot="20676814" flipV="1">
                  <a:off x="5154147" y="3238652"/>
                  <a:ext cx="29895" cy="119580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776DEF43-65FC-9BE7-4A19-DD0CD35D0A36}"/>
                  </a:ext>
                </a:extLst>
              </p:cNvPr>
              <p:cNvGrpSpPr/>
              <p:nvPr userDrawn="1"/>
            </p:nvGrpSpPr>
            <p:grpSpPr>
              <a:xfrm>
                <a:off x="5194579" y="3422100"/>
                <a:ext cx="184018" cy="133446"/>
                <a:chOff x="5194579" y="3422100"/>
                <a:chExt cx="184018" cy="133446"/>
              </a:xfrm>
            </p:grpSpPr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C81899F8-EE00-A673-F181-8C4766B2A356}"/>
                    </a:ext>
                  </a:extLst>
                </p:cNvPr>
                <p:cNvSpPr/>
                <p:nvPr/>
              </p:nvSpPr>
              <p:spPr>
                <a:xfrm rot="13624121" flipV="1">
                  <a:off x="5219865" y="3396814"/>
                  <a:ext cx="133446" cy="184018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C25019B5-AB83-4CE6-3195-6E3655AB7B19}"/>
                    </a:ext>
                  </a:extLst>
                </p:cNvPr>
                <p:cNvSpPr/>
                <p:nvPr/>
              </p:nvSpPr>
              <p:spPr>
                <a:xfrm rot="12700935" flipV="1">
                  <a:off x="5280629" y="3441050"/>
                  <a:ext cx="22099" cy="88397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</p:grpSp>
      </p:grp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BD68BE-97FC-828D-97F6-93182C6EA588}"/>
              </a:ext>
            </a:extLst>
          </p:cNvPr>
          <p:cNvSpPr/>
          <p:nvPr userDrawn="1"/>
        </p:nvSpPr>
        <p:spPr>
          <a:xfrm>
            <a:off x="643647" y="440448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1">
              <a:alpha val="82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lvl="0" algn="ctr" rtl="0"/>
            <a:endParaRPr lang="da-DK" sz="4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25E6C4E6-41B1-330A-CDDC-8095A00DBD9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0947" y="2365827"/>
            <a:ext cx="4986812" cy="1317205"/>
          </a:xfrm>
          <a:noFill/>
        </p:spPr>
        <p:txBody>
          <a:bodyPr lIns="0" tIns="0" rIns="0" bIns="0" anchor="t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ACAFC9B-F907-F19C-5BFF-A4FDB8A1DE58}"/>
              </a:ext>
            </a:extLst>
          </p:cNvPr>
          <p:cNvGrpSpPr/>
          <p:nvPr userDrawn="1"/>
        </p:nvGrpSpPr>
        <p:grpSpPr>
          <a:xfrm>
            <a:off x="340635" y="775153"/>
            <a:ext cx="1246104" cy="1246653"/>
            <a:chOff x="340635" y="775153"/>
            <a:chExt cx="1246104" cy="1246653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2309A6A-8140-51EB-C44A-53BF20B016A8}"/>
                </a:ext>
              </a:extLst>
            </p:cNvPr>
            <p:cNvSpPr/>
            <p:nvPr/>
          </p:nvSpPr>
          <p:spPr>
            <a:xfrm>
              <a:off x="363284" y="77515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1">
                <a:alpha val="82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1A0D1E8B-DFF6-B548-43E4-87089449CD83}"/>
                </a:ext>
              </a:extLst>
            </p:cNvPr>
            <p:cNvGrpSpPr/>
            <p:nvPr userDrawn="1"/>
          </p:nvGrpSpPr>
          <p:grpSpPr>
            <a:xfrm rot="21350568">
              <a:off x="733167" y="1084709"/>
              <a:ext cx="483688" cy="595700"/>
              <a:chOff x="8865640" y="4805864"/>
              <a:chExt cx="300432" cy="370007"/>
            </a:xfrm>
            <a:solidFill>
              <a:schemeClr val="bg1"/>
            </a:solidFill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75171A68-5767-36CA-26F0-4BB3B577A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5640" y="4805864"/>
                <a:ext cx="139752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0DCD0F10-3BF2-2A18-29B1-000BE14BE6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29731" y="4835136"/>
                <a:ext cx="136341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26A2B8-D79D-8C87-58C0-CEA4D6336D93}"/>
                </a:ext>
              </a:extLst>
            </p:cNvPr>
            <p:cNvSpPr/>
            <p:nvPr/>
          </p:nvSpPr>
          <p:spPr>
            <a:xfrm>
              <a:off x="340635" y="80699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10906259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 Separato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639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56" name="Group 1455">
            <a:extLst>
              <a:ext uri="{FF2B5EF4-FFF2-40B4-BE49-F238E27FC236}">
                <a16:creationId xmlns:a16="http://schemas.microsoft.com/office/drawing/2014/main" id="{30611565-295F-2552-6B32-43210FEA514E}"/>
              </a:ext>
            </a:extLst>
          </p:cNvPr>
          <p:cNvGrpSpPr/>
          <p:nvPr userDrawn="1"/>
        </p:nvGrpSpPr>
        <p:grpSpPr>
          <a:xfrm>
            <a:off x="91059" y="174855"/>
            <a:ext cx="12192001" cy="6858002"/>
            <a:chOff x="-1" y="-1"/>
            <a:chExt cx="12192001" cy="6858002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663345F-C921-BF92-72F8-947D6E5400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EC1E4289-A5A8-E9E0-404D-A6FC14327F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3732935-C802-AB17-A3D3-836E54EDF2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47D0A59-0A79-277D-3FD3-B0128C61DF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1291" name="Rectangle 1290">
              <a:extLst>
                <a:ext uri="{FF2B5EF4-FFF2-40B4-BE49-F238E27FC236}">
                  <a16:creationId xmlns:a16="http://schemas.microsoft.com/office/drawing/2014/main" id="{ED9C2056-4C92-C903-C550-B0877A63A9EC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643647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40665" y="1813714"/>
            <a:ext cx="4122619" cy="2020156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E580FCA-85EF-06BC-9372-5158BABDE6C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57422" y="1511115"/>
            <a:ext cx="8334578" cy="491918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00CBE63-870F-908B-DE2F-4E371E1B8A02}"/>
              </a:ext>
            </a:extLst>
          </p:cNvPr>
          <p:cNvGrpSpPr/>
          <p:nvPr userDrawn="1"/>
        </p:nvGrpSpPr>
        <p:grpSpPr>
          <a:xfrm>
            <a:off x="340947" y="2775957"/>
            <a:ext cx="1245481" cy="1255184"/>
            <a:chOff x="4156082" y="-3024236"/>
            <a:chExt cx="2183420" cy="220043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C64683B-F807-7289-D7B3-ACC4EECD7A11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AD5A4A2-970A-16FE-A598-A7D2A8025FCE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47862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198548171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 Separato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529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1120395-1D7C-D511-309E-7DC34E5CF502}"/>
              </a:ext>
            </a:extLst>
          </p:cNvPr>
          <p:cNvGrpSpPr/>
          <p:nvPr userDrawn="1"/>
        </p:nvGrpSpPr>
        <p:grpSpPr>
          <a:xfrm>
            <a:off x="-1" y="0"/>
            <a:ext cx="12192001" cy="6858002"/>
            <a:chOff x="-1" y="-1"/>
            <a:chExt cx="12192001" cy="6858002"/>
          </a:xfrm>
        </p:grpSpPr>
        <p:pic>
          <p:nvPicPr>
            <p:cNvPr id="1456" name="Graphic 1455">
              <a:extLst>
                <a:ext uri="{FF2B5EF4-FFF2-40B4-BE49-F238E27FC236}">
                  <a16:creationId xmlns:a16="http://schemas.microsoft.com/office/drawing/2014/main" id="{F92AE295-C922-4A5B-2D33-F2C93FC66A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1457" name="Graphic 1456">
              <a:extLst>
                <a:ext uri="{FF2B5EF4-FFF2-40B4-BE49-F238E27FC236}">
                  <a16:creationId xmlns:a16="http://schemas.microsoft.com/office/drawing/2014/main" id="{8EB33AB6-5702-72B2-4554-C9FD279506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1458" name="Graphic 1457">
              <a:extLst>
                <a:ext uri="{FF2B5EF4-FFF2-40B4-BE49-F238E27FC236}">
                  <a16:creationId xmlns:a16="http://schemas.microsoft.com/office/drawing/2014/main" id="{A71BC8F4-47E6-3740-035D-669E4708C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1459" name="Graphic 1458">
              <a:extLst>
                <a:ext uri="{FF2B5EF4-FFF2-40B4-BE49-F238E27FC236}">
                  <a16:creationId xmlns:a16="http://schemas.microsoft.com/office/drawing/2014/main" id="{0CC6A635-BBD2-D4A4-D801-598228E0F0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1460" name="Rectangle 1459">
              <a:extLst>
                <a:ext uri="{FF2B5EF4-FFF2-40B4-BE49-F238E27FC236}">
                  <a16:creationId xmlns:a16="http://schemas.microsoft.com/office/drawing/2014/main" id="{EE7FECFF-0306-FC92-206F-225856A8B03E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/>
            </a:p>
          </p:txBody>
        </p:sp>
        <p:pic>
          <p:nvPicPr>
            <p:cNvPr id="1461" name="Picture 4">
              <a:extLst>
                <a:ext uri="{FF2B5EF4-FFF2-40B4-BE49-F238E27FC236}">
                  <a16:creationId xmlns:a16="http://schemas.microsoft.com/office/drawing/2014/main" id="{4CFCFB73-8091-D347-A600-1D2FE66D3B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40948" y="6455194"/>
              <a:ext cx="1421174" cy="227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40665" y="1813714"/>
            <a:ext cx="4122619" cy="2020156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694C723-9160-54DA-BEFC-09F2CD01DA7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4250" y="1313666"/>
            <a:ext cx="7208205" cy="5078508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2447A50-EF98-C366-5385-1EA7781C9C3E}"/>
              </a:ext>
            </a:extLst>
          </p:cNvPr>
          <p:cNvSpPr/>
          <p:nvPr userDrawn="1"/>
        </p:nvSpPr>
        <p:spPr>
          <a:xfrm>
            <a:off x="643647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da-DK" sz="14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06C95E-BF8B-30C6-77A3-FA4B633AA552}"/>
              </a:ext>
            </a:extLst>
          </p:cNvPr>
          <p:cNvGrpSpPr/>
          <p:nvPr userDrawn="1"/>
        </p:nvGrpSpPr>
        <p:grpSpPr>
          <a:xfrm>
            <a:off x="340635" y="2771334"/>
            <a:ext cx="1246104" cy="1246653"/>
            <a:chOff x="3092692" y="-1631033"/>
            <a:chExt cx="2192906" cy="2193874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17BBD81-A8FA-3669-97A8-1B678C6BEC1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7CDC73B-D19C-6BC1-212E-6ED53D47A8A5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88188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14863271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 Separato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21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95" name="Group 1494">
            <a:extLst>
              <a:ext uri="{FF2B5EF4-FFF2-40B4-BE49-F238E27FC236}">
                <a16:creationId xmlns:a16="http://schemas.microsoft.com/office/drawing/2014/main" id="{A21D7B7D-7ED3-55FD-56D8-5CB5D2656062}"/>
              </a:ext>
            </a:extLst>
          </p:cNvPr>
          <p:cNvGrpSpPr/>
          <p:nvPr userDrawn="1"/>
        </p:nvGrpSpPr>
        <p:grpSpPr>
          <a:xfrm>
            <a:off x="-1" y="-41382"/>
            <a:ext cx="12192001" cy="6858002"/>
            <a:chOff x="-1" y="-1"/>
            <a:chExt cx="12192001" cy="6858002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663345F-C921-BF92-72F8-947D6E5400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EC1E4289-A5A8-E9E0-404D-A6FC14327F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3732935-C802-AB17-A3D3-836E54EDF2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47D0A59-0A79-277D-3FD3-B0128C61DF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1291" name="Rectangle 1290">
              <a:extLst>
                <a:ext uri="{FF2B5EF4-FFF2-40B4-BE49-F238E27FC236}">
                  <a16:creationId xmlns:a16="http://schemas.microsoft.com/office/drawing/2014/main" id="{ED9C2056-4C92-C903-C550-B0877A63A9EC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/>
            </a:p>
          </p:txBody>
        </p:sp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902CDFEB-9E8C-CE14-41D4-D430F1B5CCE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40948" y="6455194"/>
              <a:ext cx="1421174" cy="227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40665" y="1813714"/>
            <a:ext cx="4122619" cy="2020156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DEF4361-1B92-52AC-0726-1CC6DD2BC8A6}"/>
              </a:ext>
            </a:extLst>
          </p:cNvPr>
          <p:cNvSpPr/>
          <p:nvPr/>
        </p:nvSpPr>
        <p:spPr>
          <a:xfrm>
            <a:off x="9987679" y="1545944"/>
            <a:ext cx="1204889" cy="669750"/>
          </a:xfrm>
          <a:custGeom>
            <a:avLst/>
            <a:gdLst>
              <a:gd name="connsiteX0" fmla="*/ 5802 w 1204889"/>
              <a:gd name="connsiteY0" fmla="*/ 669751 h 669750"/>
              <a:gd name="connsiteX1" fmla="*/ 2006 w 1204889"/>
              <a:gd name="connsiteY1" fmla="*/ 668422 h 669750"/>
              <a:gd name="connsiteX2" fmla="*/ 1436 w 1204889"/>
              <a:gd name="connsiteY2" fmla="*/ 660258 h 669750"/>
              <a:gd name="connsiteX3" fmla="*/ 31434 w 1204889"/>
              <a:gd name="connsiteY3" fmla="*/ 624754 h 669750"/>
              <a:gd name="connsiteX4" fmla="*/ 39598 w 1204889"/>
              <a:gd name="connsiteY4" fmla="*/ 623994 h 669750"/>
              <a:gd name="connsiteX5" fmla="*/ 40358 w 1204889"/>
              <a:gd name="connsiteY5" fmla="*/ 632158 h 669750"/>
              <a:gd name="connsiteX6" fmla="*/ 10169 w 1204889"/>
              <a:gd name="connsiteY6" fmla="*/ 667852 h 669750"/>
              <a:gd name="connsiteX7" fmla="*/ 5802 w 1204889"/>
              <a:gd name="connsiteY7" fmla="*/ 669751 h 669750"/>
              <a:gd name="connsiteX8" fmla="*/ 5802 w 1204889"/>
              <a:gd name="connsiteY8" fmla="*/ 669751 h 669750"/>
              <a:gd name="connsiteX9" fmla="*/ 403944 w 1204889"/>
              <a:gd name="connsiteY9" fmla="*/ 601970 h 669750"/>
              <a:gd name="connsiteX10" fmla="*/ 399957 w 1204889"/>
              <a:gd name="connsiteY10" fmla="*/ 600451 h 669750"/>
              <a:gd name="connsiteX11" fmla="*/ 365971 w 1204889"/>
              <a:gd name="connsiteY11" fmla="*/ 568554 h 669750"/>
              <a:gd name="connsiteX12" fmla="*/ 365782 w 1204889"/>
              <a:gd name="connsiteY12" fmla="*/ 560390 h 669750"/>
              <a:gd name="connsiteX13" fmla="*/ 373946 w 1204889"/>
              <a:gd name="connsiteY13" fmla="*/ 560011 h 669750"/>
              <a:gd name="connsiteX14" fmla="*/ 407931 w 1204889"/>
              <a:gd name="connsiteY14" fmla="*/ 591907 h 669750"/>
              <a:gd name="connsiteX15" fmla="*/ 408121 w 1204889"/>
              <a:gd name="connsiteY15" fmla="*/ 600071 h 669750"/>
              <a:gd name="connsiteX16" fmla="*/ 403944 w 1204889"/>
              <a:gd name="connsiteY16" fmla="*/ 601970 h 669750"/>
              <a:gd name="connsiteX17" fmla="*/ 403944 w 1204889"/>
              <a:gd name="connsiteY17" fmla="*/ 601970 h 669750"/>
              <a:gd name="connsiteX18" fmla="*/ 65040 w 1204889"/>
              <a:gd name="connsiteY18" fmla="*/ 597793 h 669750"/>
              <a:gd name="connsiteX19" fmla="*/ 61433 w 1204889"/>
              <a:gd name="connsiteY19" fmla="*/ 596464 h 669750"/>
              <a:gd name="connsiteX20" fmla="*/ 60483 w 1204889"/>
              <a:gd name="connsiteY20" fmla="*/ 588300 h 669750"/>
              <a:gd name="connsiteX21" fmla="*/ 88962 w 1204889"/>
              <a:gd name="connsiteY21" fmla="*/ 551657 h 669750"/>
              <a:gd name="connsiteX22" fmla="*/ 97126 w 1204889"/>
              <a:gd name="connsiteY22" fmla="*/ 550517 h 669750"/>
              <a:gd name="connsiteX23" fmla="*/ 98266 w 1204889"/>
              <a:gd name="connsiteY23" fmla="*/ 558682 h 669750"/>
              <a:gd name="connsiteX24" fmla="*/ 69787 w 1204889"/>
              <a:gd name="connsiteY24" fmla="*/ 595515 h 669750"/>
              <a:gd name="connsiteX25" fmla="*/ 65229 w 1204889"/>
              <a:gd name="connsiteY25" fmla="*/ 597793 h 669750"/>
              <a:gd name="connsiteX26" fmla="*/ 65229 w 1204889"/>
              <a:gd name="connsiteY26" fmla="*/ 597793 h 669750"/>
              <a:gd name="connsiteX27" fmla="*/ 428815 w 1204889"/>
              <a:gd name="connsiteY27" fmla="*/ 594755 h 669750"/>
              <a:gd name="connsiteX28" fmla="*/ 426727 w 1204889"/>
              <a:gd name="connsiteY28" fmla="*/ 594376 h 669750"/>
              <a:gd name="connsiteX29" fmla="*/ 423499 w 1204889"/>
              <a:gd name="connsiteY29" fmla="*/ 586781 h 669750"/>
              <a:gd name="connsiteX30" fmla="*/ 440207 w 1204889"/>
              <a:gd name="connsiteY30" fmla="*/ 543303 h 669750"/>
              <a:gd name="connsiteX31" fmla="*/ 447802 w 1204889"/>
              <a:gd name="connsiteY31" fmla="*/ 540075 h 669750"/>
              <a:gd name="connsiteX32" fmla="*/ 451030 w 1204889"/>
              <a:gd name="connsiteY32" fmla="*/ 547669 h 669750"/>
              <a:gd name="connsiteX33" fmla="*/ 434322 w 1204889"/>
              <a:gd name="connsiteY33" fmla="*/ 591148 h 669750"/>
              <a:gd name="connsiteX34" fmla="*/ 429006 w 1204889"/>
              <a:gd name="connsiteY34" fmla="*/ 594755 h 669750"/>
              <a:gd name="connsiteX35" fmla="*/ 429006 w 1204889"/>
              <a:gd name="connsiteY35" fmla="*/ 594755 h 669750"/>
              <a:gd name="connsiteX36" fmla="*/ 335973 w 1204889"/>
              <a:gd name="connsiteY36" fmla="*/ 538176 h 669750"/>
              <a:gd name="connsiteX37" fmla="*/ 331986 w 1204889"/>
              <a:gd name="connsiteY37" fmla="*/ 536657 h 669750"/>
              <a:gd name="connsiteX38" fmla="*/ 298001 w 1204889"/>
              <a:gd name="connsiteY38" fmla="*/ 504761 h 669750"/>
              <a:gd name="connsiteX39" fmla="*/ 297811 w 1204889"/>
              <a:gd name="connsiteY39" fmla="*/ 496597 h 669750"/>
              <a:gd name="connsiteX40" fmla="*/ 305975 w 1204889"/>
              <a:gd name="connsiteY40" fmla="*/ 496407 h 669750"/>
              <a:gd name="connsiteX41" fmla="*/ 339770 w 1204889"/>
              <a:gd name="connsiteY41" fmla="*/ 528304 h 669750"/>
              <a:gd name="connsiteX42" fmla="*/ 339960 w 1204889"/>
              <a:gd name="connsiteY42" fmla="*/ 536468 h 669750"/>
              <a:gd name="connsiteX43" fmla="*/ 335783 w 1204889"/>
              <a:gd name="connsiteY43" fmla="*/ 538366 h 669750"/>
              <a:gd name="connsiteX44" fmla="*/ 335783 w 1204889"/>
              <a:gd name="connsiteY44" fmla="*/ 538366 h 669750"/>
              <a:gd name="connsiteX45" fmla="*/ 121239 w 1204889"/>
              <a:gd name="connsiteY45" fmla="*/ 523747 h 669750"/>
              <a:gd name="connsiteX46" fmla="*/ 117822 w 1204889"/>
              <a:gd name="connsiteY46" fmla="*/ 522608 h 669750"/>
              <a:gd name="connsiteX47" fmla="*/ 116492 w 1204889"/>
              <a:gd name="connsiteY47" fmla="*/ 514444 h 669750"/>
              <a:gd name="connsiteX48" fmla="*/ 143453 w 1204889"/>
              <a:gd name="connsiteY48" fmla="*/ 476661 h 669750"/>
              <a:gd name="connsiteX49" fmla="*/ 151617 w 1204889"/>
              <a:gd name="connsiteY49" fmla="*/ 475332 h 669750"/>
              <a:gd name="connsiteX50" fmla="*/ 152946 w 1204889"/>
              <a:gd name="connsiteY50" fmla="*/ 483496 h 669750"/>
              <a:gd name="connsiteX51" fmla="*/ 125796 w 1204889"/>
              <a:gd name="connsiteY51" fmla="*/ 521468 h 669750"/>
              <a:gd name="connsiteX52" fmla="*/ 121049 w 1204889"/>
              <a:gd name="connsiteY52" fmla="*/ 523937 h 669750"/>
              <a:gd name="connsiteX53" fmla="*/ 121049 w 1204889"/>
              <a:gd name="connsiteY53" fmla="*/ 523937 h 669750"/>
              <a:gd name="connsiteX54" fmla="*/ 462421 w 1204889"/>
              <a:gd name="connsiteY54" fmla="*/ 507988 h 669750"/>
              <a:gd name="connsiteX55" fmla="*/ 460333 w 1204889"/>
              <a:gd name="connsiteY55" fmla="*/ 507609 h 669750"/>
              <a:gd name="connsiteX56" fmla="*/ 457105 w 1204889"/>
              <a:gd name="connsiteY56" fmla="*/ 500014 h 669750"/>
              <a:gd name="connsiteX57" fmla="*/ 473813 w 1204889"/>
              <a:gd name="connsiteY57" fmla="*/ 456536 h 669750"/>
              <a:gd name="connsiteX58" fmla="*/ 481408 w 1204889"/>
              <a:gd name="connsiteY58" fmla="*/ 453308 h 669750"/>
              <a:gd name="connsiteX59" fmla="*/ 484635 w 1204889"/>
              <a:gd name="connsiteY59" fmla="*/ 460902 h 669750"/>
              <a:gd name="connsiteX60" fmla="*/ 467927 w 1204889"/>
              <a:gd name="connsiteY60" fmla="*/ 504381 h 669750"/>
              <a:gd name="connsiteX61" fmla="*/ 462611 w 1204889"/>
              <a:gd name="connsiteY61" fmla="*/ 507988 h 669750"/>
              <a:gd name="connsiteX62" fmla="*/ 462611 w 1204889"/>
              <a:gd name="connsiteY62" fmla="*/ 507988 h 669750"/>
              <a:gd name="connsiteX63" fmla="*/ 268192 w 1204889"/>
              <a:gd name="connsiteY63" fmla="*/ 474193 h 669750"/>
              <a:gd name="connsiteX64" fmla="*/ 264205 w 1204889"/>
              <a:gd name="connsiteY64" fmla="*/ 472674 h 669750"/>
              <a:gd name="connsiteX65" fmla="*/ 230220 w 1204889"/>
              <a:gd name="connsiteY65" fmla="*/ 440777 h 669750"/>
              <a:gd name="connsiteX66" fmla="*/ 230030 w 1204889"/>
              <a:gd name="connsiteY66" fmla="*/ 432613 h 669750"/>
              <a:gd name="connsiteX67" fmla="*/ 238194 w 1204889"/>
              <a:gd name="connsiteY67" fmla="*/ 432423 h 669750"/>
              <a:gd name="connsiteX68" fmla="*/ 272179 w 1204889"/>
              <a:gd name="connsiteY68" fmla="*/ 464320 h 669750"/>
              <a:gd name="connsiteX69" fmla="*/ 272369 w 1204889"/>
              <a:gd name="connsiteY69" fmla="*/ 472484 h 669750"/>
              <a:gd name="connsiteX70" fmla="*/ 268192 w 1204889"/>
              <a:gd name="connsiteY70" fmla="*/ 474383 h 669750"/>
              <a:gd name="connsiteX71" fmla="*/ 268192 w 1204889"/>
              <a:gd name="connsiteY71" fmla="*/ 474383 h 669750"/>
              <a:gd name="connsiteX72" fmla="*/ 174780 w 1204889"/>
              <a:gd name="connsiteY72" fmla="*/ 447422 h 669750"/>
              <a:gd name="connsiteX73" fmla="*/ 171552 w 1204889"/>
              <a:gd name="connsiteY73" fmla="*/ 446473 h 669750"/>
              <a:gd name="connsiteX74" fmla="*/ 170034 w 1204889"/>
              <a:gd name="connsiteY74" fmla="*/ 438309 h 669750"/>
              <a:gd name="connsiteX75" fmla="*/ 194906 w 1204889"/>
              <a:gd name="connsiteY75" fmla="*/ 400526 h 669750"/>
              <a:gd name="connsiteX76" fmla="*/ 199083 w 1204889"/>
              <a:gd name="connsiteY76" fmla="*/ 398058 h 669750"/>
              <a:gd name="connsiteX77" fmla="*/ 203829 w 1204889"/>
              <a:gd name="connsiteY77" fmla="*/ 399577 h 669750"/>
              <a:gd name="connsiteX78" fmla="*/ 204588 w 1204889"/>
              <a:gd name="connsiteY78" fmla="*/ 400336 h 669750"/>
              <a:gd name="connsiteX79" fmla="*/ 204778 w 1204889"/>
              <a:gd name="connsiteY79" fmla="*/ 408500 h 669750"/>
              <a:gd name="connsiteX80" fmla="*/ 202500 w 1204889"/>
              <a:gd name="connsiteY80" fmla="*/ 410019 h 669750"/>
              <a:gd name="connsiteX81" fmla="*/ 179716 w 1204889"/>
              <a:gd name="connsiteY81" fmla="*/ 444764 h 669750"/>
              <a:gd name="connsiteX82" fmla="*/ 174970 w 1204889"/>
              <a:gd name="connsiteY82" fmla="*/ 447232 h 669750"/>
              <a:gd name="connsiteX83" fmla="*/ 174970 w 1204889"/>
              <a:gd name="connsiteY83" fmla="*/ 447232 h 669750"/>
              <a:gd name="connsiteX84" fmla="*/ 496217 w 1204889"/>
              <a:gd name="connsiteY84" fmla="*/ 421221 h 669750"/>
              <a:gd name="connsiteX85" fmla="*/ 494128 w 1204889"/>
              <a:gd name="connsiteY85" fmla="*/ 420841 h 669750"/>
              <a:gd name="connsiteX86" fmla="*/ 490901 w 1204889"/>
              <a:gd name="connsiteY86" fmla="*/ 413247 h 669750"/>
              <a:gd name="connsiteX87" fmla="*/ 507609 w 1204889"/>
              <a:gd name="connsiteY87" fmla="*/ 369769 h 669750"/>
              <a:gd name="connsiteX88" fmla="*/ 515203 w 1204889"/>
              <a:gd name="connsiteY88" fmla="*/ 366541 h 669750"/>
              <a:gd name="connsiteX89" fmla="*/ 518430 w 1204889"/>
              <a:gd name="connsiteY89" fmla="*/ 374135 h 669750"/>
              <a:gd name="connsiteX90" fmla="*/ 501723 w 1204889"/>
              <a:gd name="connsiteY90" fmla="*/ 417614 h 669750"/>
              <a:gd name="connsiteX91" fmla="*/ 496406 w 1204889"/>
              <a:gd name="connsiteY91" fmla="*/ 421221 h 669750"/>
              <a:gd name="connsiteX92" fmla="*/ 496406 w 1204889"/>
              <a:gd name="connsiteY92" fmla="*/ 421221 h 669750"/>
              <a:gd name="connsiteX93" fmla="*/ 529822 w 1204889"/>
              <a:gd name="connsiteY93" fmla="*/ 334454 h 669750"/>
              <a:gd name="connsiteX94" fmla="*/ 527734 w 1204889"/>
              <a:gd name="connsiteY94" fmla="*/ 334074 h 669750"/>
              <a:gd name="connsiteX95" fmla="*/ 524506 w 1204889"/>
              <a:gd name="connsiteY95" fmla="*/ 326480 h 669750"/>
              <a:gd name="connsiteX96" fmla="*/ 541214 w 1204889"/>
              <a:gd name="connsiteY96" fmla="*/ 283002 h 669750"/>
              <a:gd name="connsiteX97" fmla="*/ 548809 w 1204889"/>
              <a:gd name="connsiteY97" fmla="*/ 279774 h 669750"/>
              <a:gd name="connsiteX98" fmla="*/ 552036 w 1204889"/>
              <a:gd name="connsiteY98" fmla="*/ 287368 h 669750"/>
              <a:gd name="connsiteX99" fmla="*/ 535328 w 1204889"/>
              <a:gd name="connsiteY99" fmla="*/ 330847 h 669750"/>
              <a:gd name="connsiteX100" fmla="*/ 530012 w 1204889"/>
              <a:gd name="connsiteY100" fmla="*/ 334454 h 669750"/>
              <a:gd name="connsiteX101" fmla="*/ 530012 w 1204889"/>
              <a:gd name="connsiteY101" fmla="*/ 334454 h 669750"/>
              <a:gd name="connsiteX102" fmla="*/ 840437 w 1204889"/>
              <a:gd name="connsiteY102" fmla="*/ 323822 h 669750"/>
              <a:gd name="connsiteX103" fmla="*/ 837399 w 1204889"/>
              <a:gd name="connsiteY103" fmla="*/ 322873 h 669750"/>
              <a:gd name="connsiteX104" fmla="*/ 828665 w 1204889"/>
              <a:gd name="connsiteY104" fmla="*/ 316987 h 669750"/>
              <a:gd name="connsiteX105" fmla="*/ 826957 w 1204889"/>
              <a:gd name="connsiteY105" fmla="*/ 308823 h 669750"/>
              <a:gd name="connsiteX106" fmla="*/ 835121 w 1204889"/>
              <a:gd name="connsiteY106" fmla="*/ 307114 h 669750"/>
              <a:gd name="connsiteX107" fmla="*/ 840247 w 1204889"/>
              <a:gd name="connsiteY107" fmla="*/ 310532 h 669750"/>
              <a:gd name="connsiteX108" fmla="*/ 864170 w 1204889"/>
              <a:gd name="connsiteY108" fmla="*/ 289837 h 669750"/>
              <a:gd name="connsiteX109" fmla="*/ 872334 w 1204889"/>
              <a:gd name="connsiteY109" fmla="*/ 290406 h 669750"/>
              <a:gd name="connsiteX110" fmla="*/ 871764 w 1204889"/>
              <a:gd name="connsiteY110" fmla="*/ 298570 h 669750"/>
              <a:gd name="connsiteX111" fmla="*/ 844614 w 1204889"/>
              <a:gd name="connsiteY111" fmla="*/ 322303 h 669750"/>
              <a:gd name="connsiteX112" fmla="*/ 840817 w 1204889"/>
              <a:gd name="connsiteY112" fmla="*/ 323632 h 669750"/>
              <a:gd name="connsiteX113" fmla="*/ 840817 w 1204889"/>
              <a:gd name="connsiteY113" fmla="*/ 323632 h 669750"/>
              <a:gd name="connsiteX114" fmla="*/ 792782 w 1204889"/>
              <a:gd name="connsiteY114" fmla="*/ 292495 h 669750"/>
              <a:gd name="connsiteX115" fmla="*/ 789554 w 1204889"/>
              <a:gd name="connsiteY115" fmla="*/ 291545 h 669750"/>
              <a:gd name="connsiteX116" fmla="*/ 750632 w 1204889"/>
              <a:gd name="connsiteY116" fmla="*/ 265914 h 669750"/>
              <a:gd name="connsiteX117" fmla="*/ 748923 w 1204889"/>
              <a:gd name="connsiteY117" fmla="*/ 257750 h 669750"/>
              <a:gd name="connsiteX118" fmla="*/ 757087 w 1204889"/>
              <a:gd name="connsiteY118" fmla="*/ 256041 h 669750"/>
              <a:gd name="connsiteX119" fmla="*/ 796010 w 1204889"/>
              <a:gd name="connsiteY119" fmla="*/ 281672 h 669750"/>
              <a:gd name="connsiteX120" fmla="*/ 797718 w 1204889"/>
              <a:gd name="connsiteY120" fmla="*/ 289837 h 669750"/>
              <a:gd name="connsiteX121" fmla="*/ 792972 w 1204889"/>
              <a:gd name="connsiteY121" fmla="*/ 292305 h 669750"/>
              <a:gd name="connsiteX122" fmla="*/ 792972 w 1204889"/>
              <a:gd name="connsiteY122" fmla="*/ 292305 h 669750"/>
              <a:gd name="connsiteX123" fmla="*/ 902712 w 1204889"/>
              <a:gd name="connsiteY123" fmla="*/ 269711 h 669750"/>
              <a:gd name="connsiteX124" fmla="*/ 898345 w 1204889"/>
              <a:gd name="connsiteY124" fmla="*/ 267813 h 669750"/>
              <a:gd name="connsiteX125" fmla="*/ 898915 w 1204889"/>
              <a:gd name="connsiteY125" fmla="*/ 259648 h 669750"/>
              <a:gd name="connsiteX126" fmla="*/ 934039 w 1204889"/>
              <a:gd name="connsiteY126" fmla="*/ 229081 h 669750"/>
              <a:gd name="connsiteX127" fmla="*/ 942203 w 1204889"/>
              <a:gd name="connsiteY127" fmla="*/ 229650 h 669750"/>
              <a:gd name="connsiteX128" fmla="*/ 941634 w 1204889"/>
              <a:gd name="connsiteY128" fmla="*/ 237814 h 669750"/>
              <a:gd name="connsiteX129" fmla="*/ 906509 w 1204889"/>
              <a:gd name="connsiteY129" fmla="*/ 268382 h 669750"/>
              <a:gd name="connsiteX130" fmla="*/ 902712 w 1204889"/>
              <a:gd name="connsiteY130" fmla="*/ 269711 h 669750"/>
              <a:gd name="connsiteX131" fmla="*/ 902712 w 1204889"/>
              <a:gd name="connsiteY131" fmla="*/ 269711 h 669750"/>
              <a:gd name="connsiteX132" fmla="*/ 563428 w 1204889"/>
              <a:gd name="connsiteY132" fmla="*/ 247877 h 669750"/>
              <a:gd name="connsiteX133" fmla="*/ 561340 w 1204889"/>
              <a:gd name="connsiteY133" fmla="*/ 247497 h 669750"/>
              <a:gd name="connsiteX134" fmla="*/ 558112 w 1204889"/>
              <a:gd name="connsiteY134" fmla="*/ 239903 h 669750"/>
              <a:gd name="connsiteX135" fmla="*/ 574820 w 1204889"/>
              <a:gd name="connsiteY135" fmla="*/ 196424 h 669750"/>
              <a:gd name="connsiteX136" fmla="*/ 582415 w 1204889"/>
              <a:gd name="connsiteY136" fmla="*/ 193197 h 669750"/>
              <a:gd name="connsiteX137" fmla="*/ 585642 w 1204889"/>
              <a:gd name="connsiteY137" fmla="*/ 200791 h 669750"/>
              <a:gd name="connsiteX138" fmla="*/ 568934 w 1204889"/>
              <a:gd name="connsiteY138" fmla="*/ 244270 h 669750"/>
              <a:gd name="connsiteX139" fmla="*/ 563618 w 1204889"/>
              <a:gd name="connsiteY139" fmla="*/ 247877 h 669750"/>
              <a:gd name="connsiteX140" fmla="*/ 563618 w 1204889"/>
              <a:gd name="connsiteY140" fmla="*/ 247877 h 669750"/>
              <a:gd name="connsiteX141" fmla="*/ 714938 w 1204889"/>
              <a:gd name="connsiteY141" fmla="*/ 241422 h 669750"/>
              <a:gd name="connsiteX142" fmla="*/ 711711 w 1204889"/>
              <a:gd name="connsiteY142" fmla="*/ 240472 h 669750"/>
              <a:gd name="connsiteX143" fmla="*/ 672789 w 1204889"/>
              <a:gd name="connsiteY143" fmla="*/ 214841 h 669750"/>
              <a:gd name="connsiteX144" fmla="*/ 671080 w 1204889"/>
              <a:gd name="connsiteY144" fmla="*/ 206677 h 669750"/>
              <a:gd name="connsiteX145" fmla="*/ 679244 w 1204889"/>
              <a:gd name="connsiteY145" fmla="*/ 204968 h 669750"/>
              <a:gd name="connsiteX146" fmla="*/ 718166 w 1204889"/>
              <a:gd name="connsiteY146" fmla="*/ 230600 h 669750"/>
              <a:gd name="connsiteX147" fmla="*/ 719875 w 1204889"/>
              <a:gd name="connsiteY147" fmla="*/ 238764 h 669750"/>
              <a:gd name="connsiteX148" fmla="*/ 715128 w 1204889"/>
              <a:gd name="connsiteY148" fmla="*/ 241232 h 669750"/>
              <a:gd name="connsiteX149" fmla="*/ 715128 w 1204889"/>
              <a:gd name="connsiteY149" fmla="*/ 241232 h 669750"/>
              <a:gd name="connsiteX150" fmla="*/ 972771 w 1204889"/>
              <a:gd name="connsiteY150" fmla="*/ 208576 h 669750"/>
              <a:gd name="connsiteX151" fmla="*/ 968404 w 1204889"/>
              <a:gd name="connsiteY151" fmla="*/ 206677 h 669750"/>
              <a:gd name="connsiteX152" fmla="*/ 968974 w 1204889"/>
              <a:gd name="connsiteY152" fmla="*/ 198513 h 669750"/>
              <a:gd name="connsiteX153" fmla="*/ 1004098 w 1204889"/>
              <a:gd name="connsiteY153" fmla="*/ 167945 h 669750"/>
              <a:gd name="connsiteX154" fmla="*/ 1012262 w 1204889"/>
              <a:gd name="connsiteY154" fmla="*/ 168515 h 669750"/>
              <a:gd name="connsiteX155" fmla="*/ 1011693 w 1204889"/>
              <a:gd name="connsiteY155" fmla="*/ 176679 h 669750"/>
              <a:gd name="connsiteX156" fmla="*/ 976568 w 1204889"/>
              <a:gd name="connsiteY156" fmla="*/ 207246 h 669750"/>
              <a:gd name="connsiteX157" fmla="*/ 972771 w 1204889"/>
              <a:gd name="connsiteY157" fmla="*/ 208576 h 669750"/>
              <a:gd name="connsiteX158" fmla="*/ 972771 w 1204889"/>
              <a:gd name="connsiteY158" fmla="*/ 208576 h 669750"/>
              <a:gd name="connsiteX159" fmla="*/ 637094 w 1204889"/>
              <a:gd name="connsiteY159" fmla="*/ 190349 h 669750"/>
              <a:gd name="connsiteX160" fmla="*/ 634056 w 1204889"/>
              <a:gd name="connsiteY160" fmla="*/ 189399 h 669750"/>
              <a:gd name="connsiteX161" fmla="*/ 595135 w 1204889"/>
              <a:gd name="connsiteY161" fmla="*/ 163768 h 669750"/>
              <a:gd name="connsiteX162" fmla="*/ 593426 w 1204889"/>
              <a:gd name="connsiteY162" fmla="*/ 155604 h 669750"/>
              <a:gd name="connsiteX163" fmla="*/ 601590 w 1204889"/>
              <a:gd name="connsiteY163" fmla="*/ 153895 h 669750"/>
              <a:gd name="connsiteX164" fmla="*/ 640512 w 1204889"/>
              <a:gd name="connsiteY164" fmla="*/ 179527 h 669750"/>
              <a:gd name="connsiteX165" fmla="*/ 642221 w 1204889"/>
              <a:gd name="connsiteY165" fmla="*/ 187691 h 669750"/>
              <a:gd name="connsiteX166" fmla="*/ 637474 w 1204889"/>
              <a:gd name="connsiteY166" fmla="*/ 190159 h 669750"/>
              <a:gd name="connsiteX167" fmla="*/ 637474 w 1204889"/>
              <a:gd name="connsiteY167" fmla="*/ 190159 h 669750"/>
              <a:gd name="connsiteX168" fmla="*/ 1043020 w 1204889"/>
              <a:gd name="connsiteY168" fmla="*/ 147440 h 669750"/>
              <a:gd name="connsiteX169" fmla="*/ 1038653 w 1204889"/>
              <a:gd name="connsiteY169" fmla="*/ 145541 h 669750"/>
              <a:gd name="connsiteX170" fmla="*/ 1039223 w 1204889"/>
              <a:gd name="connsiteY170" fmla="*/ 137377 h 669750"/>
              <a:gd name="connsiteX171" fmla="*/ 1074347 w 1204889"/>
              <a:gd name="connsiteY171" fmla="*/ 106809 h 669750"/>
              <a:gd name="connsiteX172" fmla="*/ 1082512 w 1204889"/>
              <a:gd name="connsiteY172" fmla="*/ 107379 h 669750"/>
              <a:gd name="connsiteX173" fmla="*/ 1081942 w 1204889"/>
              <a:gd name="connsiteY173" fmla="*/ 115543 h 669750"/>
              <a:gd name="connsiteX174" fmla="*/ 1046817 w 1204889"/>
              <a:gd name="connsiteY174" fmla="*/ 146111 h 669750"/>
              <a:gd name="connsiteX175" fmla="*/ 1043020 w 1204889"/>
              <a:gd name="connsiteY175" fmla="*/ 147440 h 669750"/>
              <a:gd name="connsiteX176" fmla="*/ 1043020 w 1204889"/>
              <a:gd name="connsiteY176" fmla="*/ 147440 h 669750"/>
              <a:gd name="connsiteX177" fmla="*/ 1113269 w 1204889"/>
              <a:gd name="connsiteY177" fmla="*/ 86304 h 669750"/>
              <a:gd name="connsiteX178" fmla="*/ 1108902 w 1204889"/>
              <a:gd name="connsiteY178" fmla="*/ 84406 h 669750"/>
              <a:gd name="connsiteX179" fmla="*/ 1109472 w 1204889"/>
              <a:gd name="connsiteY179" fmla="*/ 76242 h 669750"/>
              <a:gd name="connsiteX180" fmla="*/ 1144596 w 1204889"/>
              <a:gd name="connsiteY180" fmla="*/ 45674 h 669750"/>
              <a:gd name="connsiteX181" fmla="*/ 1152760 w 1204889"/>
              <a:gd name="connsiteY181" fmla="*/ 46243 h 669750"/>
              <a:gd name="connsiteX182" fmla="*/ 1152191 w 1204889"/>
              <a:gd name="connsiteY182" fmla="*/ 54407 h 669750"/>
              <a:gd name="connsiteX183" fmla="*/ 1117066 w 1204889"/>
              <a:gd name="connsiteY183" fmla="*/ 84975 h 669750"/>
              <a:gd name="connsiteX184" fmla="*/ 1113269 w 1204889"/>
              <a:gd name="connsiteY184" fmla="*/ 86304 h 669750"/>
              <a:gd name="connsiteX185" fmla="*/ 1113269 w 1204889"/>
              <a:gd name="connsiteY185" fmla="*/ 86304 h 669750"/>
              <a:gd name="connsiteX186" fmla="*/ 1183518 w 1204889"/>
              <a:gd name="connsiteY186" fmla="*/ 25169 h 669750"/>
              <a:gd name="connsiteX187" fmla="*/ 1179151 w 1204889"/>
              <a:gd name="connsiteY187" fmla="*/ 23270 h 669750"/>
              <a:gd name="connsiteX188" fmla="*/ 1179721 w 1204889"/>
              <a:gd name="connsiteY188" fmla="*/ 15106 h 669750"/>
              <a:gd name="connsiteX189" fmla="*/ 1195290 w 1204889"/>
              <a:gd name="connsiteY189" fmla="*/ 1436 h 669750"/>
              <a:gd name="connsiteX190" fmla="*/ 1203454 w 1204889"/>
              <a:gd name="connsiteY190" fmla="*/ 2005 h 669750"/>
              <a:gd name="connsiteX191" fmla="*/ 1202884 w 1204889"/>
              <a:gd name="connsiteY191" fmla="*/ 10169 h 669750"/>
              <a:gd name="connsiteX192" fmla="*/ 1187315 w 1204889"/>
              <a:gd name="connsiteY192" fmla="*/ 23840 h 669750"/>
              <a:gd name="connsiteX193" fmla="*/ 1183518 w 1204889"/>
              <a:gd name="connsiteY193" fmla="*/ 25169 h 669750"/>
              <a:gd name="connsiteX194" fmla="*/ 1183518 w 1204889"/>
              <a:gd name="connsiteY194" fmla="*/ 25169 h 66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204889" h="669750">
                <a:moveTo>
                  <a:pt x="5802" y="669751"/>
                </a:moveTo>
                <a:cubicBezTo>
                  <a:pt x="4474" y="669751"/>
                  <a:pt x="3145" y="669371"/>
                  <a:pt x="2006" y="668422"/>
                </a:cubicBezTo>
                <a:cubicBezTo>
                  <a:pt x="-463" y="666333"/>
                  <a:pt x="-653" y="662536"/>
                  <a:pt x="1436" y="660258"/>
                </a:cubicBezTo>
                <a:cubicBezTo>
                  <a:pt x="11499" y="648676"/>
                  <a:pt x="21561" y="636715"/>
                  <a:pt x="31434" y="624754"/>
                </a:cubicBezTo>
                <a:cubicBezTo>
                  <a:pt x="33333" y="622285"/>
                  <a:pt x="37130" y="621906"/>
                  <a:pt x="39598" y="623994"/>
                </a:cubicBezTo>
                <a:cubicBezTo>
                  <a:pt x="42066" y="625893"/>
                  <a:pt x="42446" y="629690"/>
                  <a:pt x="40358" y="632158"/>
                </a:cubicBezTo>
                <a:cubicBezTo>
                  <a:pt x="30485" y="644120"/>
                  <a:pt x="20232" y="656081"/>
                  <a:pt x="10169" y="667852"/>
                </a:cubicBezTo>
                <a:cubicBezTo>
                  <a:pt x="9030" y="669181"/>
                  <a:pt x="7322" y="669751"/>
                  <a:pt x="5802" y="669751"/>
                </a:cubicBezTo>
                <a:lnTo>
                  <a:pt x="5802" y="669751"/>
                </a:lnTo>
                <a:close/>
                <a:moveTo>
                  <a:pt x="403944" y="601970"/>
                </a:moveTo>
                <a:cubicBezTo>
                  <a:pt x="402615" y="601970"/>
                  <a:pt x="401096" y="601401"/>
                  <a:pt x="399957" y="600451"/>
                </a:cubicBezTo>
                <a:lnTo>
                  <a:pt x="365971" y="568554"/>
                </a:lnTo>
                <a:cubicBezTo>
                  <a:pt x="363693" y="566276"/>
                  <a:pt x="363503" y="562669"/>
                  <a:pt x="365782" y="560390"/>
                </a:cubicBezTo>
                <a:cubicBezTo>
                  <a:pt x="368060" y="558112"/>
                  <a:pt x="371667" y="557922"/>
                  <a:pt x="373946" y="560011"/>
                </a:cubicBezTo>
                <a:lnTo>
                  <a:pt x="407931" y="591907"/>
                </a:lnTo>
                <a:cubicBezTo>
                  <a:pt x="410209" y="594186"/>
                  <a:pt x="410399" y="597793"/>
                  <a:pt x="408121" y="600071"/>
                </a:cubicBezTo>
                <a:cubicBezTo>
                  <a:pt x="406981" y="601401"/>
                  <a:pt x="405463" y="601970"/>
                  <a:pt x="403944" y="601970"/>
                </a:cubicBezTo>
                <a:lnTo>
                  <a:pt x="403944" y="601970"/>
                </a:lnTo>
                <a:close/>
                <a:moveTo>
                  <a:pt x="65040" y="597793"/>
                </a:moveTo>
                <a:cubicBezTo>
                  <a:pt x="63711" y="597793"/>
                  <a:pt x="62572" y="597413"/>
                  <a:pt x="61433" y="596464"/>
                </a:cubicBezTo>
                <a:cubicBezTo>
                  <a:pt x="58964" y="594565"/>
                  <a:pt x="58395" y="590768"/>
                  <a:pt x="60483" y="588300"/>
                </a:cubicBezTo>
                <a:cubicBezTo>
                  <a:pt x="69976" y="576149"/>
                  <a:pt x="79659" y="563808"/>
                  <a:pt x="88962" y="551657"/>
                </a:cubicBezTo>
                <a:cubicBezTo>
                  <a:pt x="90861" y="549188"/>
                  <a:pt x="94468" y="548619"/>
                  <a:pt x="97126" y="550517"/>
                </a:cubicBezTo>
                <a:cubicBezTo>
                  <a:pt x="99784" y="552416"/>
                  <a:pt x="100164" y="556023"/>
                  <a:pt x="98266" y="558682"/>
                </a:cubicBezTo>
                <a:cubicBezTo>
                  <a:pt x="88962" y="571023"/>
                  <a:pt x="79280" y="583364"/>
                  <a:pt x="69787" y="595515"/>
                </a:cubicBezTo>
                <a:cubicBezTo>
                  <a:pt x="68647" y="596844"/>
                  <a:pt x="66938" y="597793"/>
                  <a:pt x="65229" y="597793"/>
                </a:cubicBezTo>
                <a:lnTo>
                  <a:pt x="65229" y="597793"/>
                </a:lnTo>
                <a:close/>
                <a:moveTo>
                  <a:pt x="428815" y="594755"/>
                </a:moveTo>
                <a:cubicBezTo>
                  <a:pt x="428815" y="594755"/>
                  <a:pt x="427487" y="594755"/>
                  <a:pt x="426727" y="594376"/>
                </a:cubicBezTo>
                <a:cubicBezTo>
                  <a:pt x="423689" y="593236"/>
                  <a:pt x="422171" y="589819"/>
                  <a:pt x="423499" y="586781"/>
                </a:cubicBezTo>
                <a:lnTo>
                  <a:pt x="440207" y="543303"/>
                </a:lnTo>
                <a:cubicBezTo>
                  <a:pt x="441346" y="540265"/>
                  <a:pt x="444764" y="538746"/>
                  <a:pt x="447802" y="540075"/>
                </a:cubicBezTo>
                <a:cubicBezTo>
                  <a:pt x="450840" y="541214"/>
                  <a:pt x="452359" y="544632"/>
                  <a:pt x="451030" y="547669"/>
                </a:cubicBezTo>
                <a:lnTo>
                  <a:pt x="434322" y="591148"/>
                </a:lnTo>
                <a:cubicBezTo>
                  <a:pt x="433562" y="593426"/>
                  <a:pt x="431284" y="594755"/>
                  <a:pt x="429006" y="594755"/>
                </a:cubicBezTo>
                <a:lnTo>
                  <a:pt x="429006" y="594755"/>
                </a:lnTo>
                <a:close/>
                <a:moveTo>
                  <a:pt x="335973" y="538176"/>
                </a:moveTo>
                <a:cubicBezTo>
                  <a:pt x="334644" y="538176"/>
                  <a:pt x="333125" y="537607"/>
                  <a:pt x="331986" y="536657"/>
                </a:cubicBezTo>
                <a:lnTo>
                  <a:pt x="298001" y="504761"/>
                </a:lnTo>
                <a:cubicBezTo>
                  <a:pt x="295722" y="502482"/>
                  <a:pt x="295532" y="498875"/>
                  <a:pt x="297811" y="496597"/>
                </a:cubicBezTo>
                <a:cubicBezTo>
                  <a:pt x="300089" y="494128"/>
                  <a:pt x="303696" y="494128"/>
                  <a:pt x="305975" y="496407"/>
                </a:cubicBezTo>
                <a:lnTo>
                  <a:pt x="339770" y="528304"/>
                </a:lnTo>
                <a:cubicBezTo>
                  <a:pt x="342049" y="530582"/>
                  <a:pt x="342238" y="534189"/>
                  <a:pt x="339960" y="536468"/>
                </a:cubicBezTo>
                <a:cubicBezTo>
                  <a:pt x="338821" y="537797"/>
                  <a:pt x="337302" y="538366"/>
                  <a:pt x="335783" y="538366"/>
                </a:cubicBezTo>
                <a:lnTo>
                  <a:pt x="335783" y="538366"/>
                </a:lnTo>
                <a:close/>
                <a:moveTo>
                  <a:pt x="121239" y="523747"/>
                </a:moveTo>
                <a:cubicBezTo>
                  <a:pt x="120100" y="523747"/>
                  <a:pt x="118771" y="523367"/>
                  <a:pt x="117822" y="522608"/>
                </a:cubicBezTo>
                <a:cubicBezTo>
                  <a:pt x="115353" y="520709"/>
                  <a:pt x="114784" y="517102"/>
                  <a:pt x="116492" y="514444"/>
                </a:cubicBezTo>
                <a:cubicBezTo>
                  <a:pt x="125605" y="501913"/>
                  <a:pt x="134719" y="489382"/>
                  <a:pt x="143453" y="476661"/>
                </a:cubicBezTo>
                <a:cubicBezTo>
                  <a:pt x="145351" y="474003"/>
                  <a:pt x="148769" y="473433"/>
                  <a:pt x="151617" y="475332"/>
                </a:cubicBezTo>
                <a:cubicBezTo>
                  <a:pt x="154275" y="477231"/>
                  <a:pt x="154844" y="480838"/>
                  <a:pt x="152946" y="483496"/>
                </a:cubicBezTo>
                <a:cubicBezTo>
                  <a:pt x="144212" y="496217"/>
                  <a:pt x="135099" y="508938"/>
                  <a:pt x="125796" y="521468"/>
                </a:cubicBezTo>
                <a:cubicBezTo>
                  <a:pt x="124656" y="522987"/>
                  <a:pt x="122948" y="523937"/>
                  <a:pt x="121049" y="523937"/>
                </a:cubicBezTo>
                <a:lnTo>
                  <a:pt x="121049" y="523937"/>
                </a:lnTo>
                <a:close/>
                <a:moveTo>
                  <a:pt x="462421" y="507988"/>
                </a:moveTo>
                <a:cubicBezTo>
                  <a:pt x="462421" y="507988"/>
                  <a:pt x="461092" y="507988"/>
                  <a:pt x="460333" y="507609"/>
                </a:cubicBezTo>
                <a:cubicBezTo>
                  <a:pt x="457295" y="506469"/>
                  <a:pt x="455776" y="503052"/>
                  <a:pt x="457105" y="500014"/>
                </a:cubicBezTo>
                <a:lnTo>
                  <a:pt x="473813" y="456536"/>
                </a:lnTo>
                <a:cubicBezTo>
                  <a:pt x="474952" y="453498"/>
                  <a:pt x="478370" y="451979"/>
                  <a:pt x="481408" y="453308"/>
                </a:cubicBezTo>
                <a:cubicBezTo>
                  <a:pt x="484446" y="454447"/>
                  <a:pt x="485964" y="457865"/>
                  <a:pt x="484635" y="460902"/>
                </a:cubicBezTo>
                <a:lnTo>
                  <a:pt x="467927" y="504381"/>
                </a:lnTo>
                <a:cubicBezTo>
                  <a:pt x="467168" y="506659"/>
                  <a:pt x="464890" y="507988"/>
                  <a:pt x="462611" y="507988"/>
                </a:cubicBezTo>
                <a:lnTo>
                  <a:pt x="462611" y="507988"/>
                </a:lnTo>
                <a:close/>
                <a:moveTo>
                  <a:pt x="268192" y="474193"/>
                </a:moveTo>
                <a:cubicBezTo>
                  <a:pt x="266863" y="474193"/>
                  <a:pt x="265344" y="473623"/>
                  <a:pt x="264205" y="472674"/>
                </a:cubicBezTo>
                <a:lnTo>
                  <a:pt x="230220" y="440777"/>
                </a:lnTo>
                <a:cubicBezTo>
                  <a:pt x="227941" y="438499"/>
                  <a:pt x="227751" y="434891"/>
                  <a:pt x="230030" y="432613"/>
                </a:cubicBezTo>
                <a:cubicBezTo>
                  <a:pt x="232309" y="430335"/>
                  <a:pt x="235916" y="430145"/>
                  <a:pt x="238194" y="432423"/>
                </a:cubicBezTo>
                <a:lnTo>
                  <a:pt x="272179" y="464320"/>
                </a:lnTo>
                <a:cubicBezTo>
                  <a:pt x="274458" y="466598"/>
                  <a:pt x="274647" y="470206"/>
                  <a:pt x="272369" y="472484"/>
                </a:cubicBezTo>
                <a:cubicBezTo>
                  <a:pt x="271230" y="473813"/>
                  <a:pt x="269711" y="474383"/>
                  <a:pt x="268192" y="474383"/>
                </a:cubicBezTo>
                <a:lnTo>
                  <a:pt x="268192" y="474383"/>
                </a:lnTo>
                <a:close/>
                <a:moveTo>
                  <a:pt x="174780" y="447422"/>
                </a:moveTo>
                <a:cubicBezTo>
                  <a:pt x="173641" y="447422"/>
                  <a:pt x="172501" y="447232"/>
                  <a:pt x="171552" y="446473"/>
                </a:cubicBezTo>
                <a:cubicBezTo>
                  <a:pt x="168894" y="444574"/>
                  <a:pt x="168135" y="441157"/>
                  <a:pt x="170034" y="438309"/>
                </a:cubicBezTo>
                <a:cubicBezTo>
                  <a:pt x="178387" y="425778"/>
                  <a:pt x="186741" y="413057"/>
                  <a:pt x="194906" y="400526"/>
                </a:cubicBezTo>
                <a:cubicBezTo>
                  <a:pt x="195855" y="399197"/>
                  <a:pt x="197373" y="398058"/>
                  <a:pt x="199083" y="398058"/>
                </a:cubicBezTo>
                <a:cubicBezTo>
                  <a:pt x="200791" y="397678"/>
                  <a:pt x="202500" y="398248"/>
                  <a:pt x="203829" y="399577"/>
                </a:cubicBezTo>
                <a:lnTo>
                  <a:pt x="204588" y="400336"/>
                </a:lnTo>
                <a:cubicBezTo>
                  <a:pt x="206866" y="402615"/>
                  <a:pt x="207057" y="406222"/>
                  <a:pt x="204778" y="408500"/>
                </a:cubicBezTo>
                <a:cubicBezTo>
                  <a:pt x="204019" y="409260"/>
                  <a:pt x="203449" y="409640"/>
                  <a:pt x="202500" y="410019"/>
                </a:cubicBezTo>
                <a:cubicBezTo>
                  <a:pt x="194906" y="421601"/>
                  <a:pt x="187311" y="433372"/>
                  <a:pt x="179716" y="444764"/>
                </a:cubicBezTo>
                <a:cubicBezTo>
                  <a:pt x="178577" y="446473"/>
                  <a:pt x="176678" y="447232"/>
                  <a:pt x="174970" y="447232"/>
                </a:cubicBezTo>
                <a:lnTo>
                  <a:pt x="174970" y="447232"/>
                </a:lnTo>
                <a:close/>
                <a:moveTo>
                  <a:pt x="496217" y="421221"/>
                </a:moveTo>
                <a:cubicBezTo>
                  <a:pt x="496217" y="421221"/>
                  <a:pt x="494888" y="421221"/>
                  <a:pt x="494128" y="420841"/>
                </a:cubicBezTo>
                <a:cubicBezTo>
                  <a:pt x="491090" y="419702"/>
                  <a:pt x="489572" y="416285"/>
                  <a:pt x="490901" y="413247"/>
                </a:cubicBezTo>
                <a:lnTo>
                  <a:pt x="507609" y="369769"/>
                </a:lnTo>
                <a:cubicBezTo>
                  <a:pt x="508748" y="366731"/>
                  <a:pt x="512165" y="365212"/>
                  <a:pt x="515203" y="366541"/>
                </a:cubicBezTo>
                <a:cubicBezTo>
                  <a:pt x="518241" y="367680"/>
                  <a:pt x="519760" y="371098"/>
                  <a:pt x="518430" y="374135"/>
                </a:cubicBezTo>
                <a:lnTo>
                  <a:pt x="501723" y="417614"/>
                </a:lnTo>
                <a:cubicBezTo>
                  <a:pt x="500963" y="419892"/>
                  <a:pt x="498685" y="421221"/>
                  <a:pt x="496406" y="421221"/>
                </a:cubicBezTo>
                <a:lnTo>
                  <a:pt x="496406" y="421221"/>
                </a:lnTo>
                <a:close/>
                <a:moveTo>
                  <a:pt x="529822" y="334454"/>
                </a:moveTo>
                <a:cubicBezTo>
                  <a:pt x="529822" y="334454"/>
                  <a:pt x="528493" y="334454"/>
                  <a:pt x="527734" y="334074"/>
                </a:cubicBezTo>
                <a:cubicBezTo>
                  <a:pt x="524696" y="332935"/>
                  <a:pt x="523177" y="329518"/>
                  <a:pt x="524506" y="326480"/>
                </a:cubicBezTo>
                <a:lnTo>
                  <a:pt x="541214" y="283002"/>
                </a:lnTo>
                <a:cubicBezTo>
                  <a:pt x="542353" y="279964"/>
                  <a:pt x="545771" y="278445"/>
                  <a:pt x="548809" y="279774"/>
                </a:cubicBezTo>
                <a:cubicBezTo>
                  <a:pt x="551846" y="280913"/>
                  <a:pt x="553365" y="284331"/>
                  <a:pt x="552036" y="287368"/>
                </a:cubicBezTo>
                <a:lnTo>
                  <a:pt x="535328" y="330847"/>
                </a:lnTo>
                <a:cubicBezTo>
                  <a:pt x="534569" y="333125"/>
                  <a:pt x="532291" y="334454"/>
                  <a:pt x="530012" y="334454"/>
                </a:cubicBezTo>
                <a:lnTo>
                  <a:pt x="530012" y="334454"/>
                </a:lnTo>
                <a:close/>
                <a:moveTo>
                  <a:pt x="840437" y="323822"/>
                </a:moveTo>
                <a:cubicBezTo>
                  <a:pt x="839298" y="323822"/>
                  <a:pt x="838158" y="323442"/>
                  <a:pt x="837399" y="322873"/>
                </a:cubicBezTo>
                <a:lnTo>
                  <a:pt x="828665" y="316987"/>
                </a:lnTo>
                <a:cubicBezTo>
                  <a:pt x="826007" y="315278"/>
                  <a:pt x="825248" y="311671"/>
                  <a:pt x="826957" y="308823"/>
                </a:cubicBezTo>
                <a:cubicBezTo>
                  <a:pt x="828665" y="306165"/>
                  <a:pt x="832273" y="305405"/>
                  <a:pt x="835121" y="307114"/>
                </a:cubicBezTo>
                <a:lnTo>
                  <a:pt x="840247" y="310532"/>
                </a:lnTo>
                <a:lnTo>
                  <a:pt x="864170" y="289837"/>
                </a:lnTo>
                <a:cubicBezTo>
                  <a:pt x="866638" y="287748"/>
                  <a:pt x="870245" y="287938"/>
                  <a:pt x="872334" y="290406"/>
                </a:cubicBezTo>
                <a:cubicBezTo>
                  <a:pt x="874422" y="292874"/>
                  <a:pt x="874233" y="296482"/>
                  <a:pt x="871764" y="298570"/>
                </a:cubicBezTo>
                <a:lnTo>
                  <a:pt x="844614" y="322303"/>
                </a:lnTo>
                <a:cubicBezTo>
                  <a:pt x="843475" y="323252"/>
                  <a:pt x="842146" y="323632"/>
                  <a:pt x="840817" y="323632"/>
                </a:cubicBezTo>
                <a:lnTo>
                  <a:pt x="840817" y="323632"/>
                </a:lnTo>
                <a:close/>
                <a:moveTo>
                  <a:pt x="792782" y="292495"/>
                </a:moveTo>
                <a:cubicBezTo>
                  <a:pt x="791642" y="292495"/>
                  <a:pt x="790503" y="292305"/>
                  <a:pt x="789554" y="291545"/>
                </a:cubicBezTo>
                <a:lnTo>
                  <a:pt x="750632" y="265914"/>
                </a:lnTo>
                <a:cubicBezTo>
                  <a:pt x="747974" y="264205"/>
                  <a:pt x="747215" y="260598"/>
                  <a:pt x="748923" y="257750"/>
                </a:cubicBezTo>
                <a:cubicBezTo>
                  <a:pt x="750632" y="254902"/>
                  <a:pt x="754240" y="254332"/>
                  <a:pt x="757087" y="256041"/>
                </a:cubicBezTo>
                <a:lnTo>
                  <a:pt x="796010" y="281672"/>
                </a:lnTo>
                <a:cubicBezTo>
                  <a:pt x="798667" y="283381"/>
                  <a:pt x="799427" y="286989"/>
                  <a:pt x="797718" y="289837"/>
                </a:cubicBezTo>
                <a:cubicBezTo>
                  <a:pt x="796579" y="291545"/>
                  <a:pt x="794680" y="292305"/>
                  <a:pt x="792972" y="292305"/>
                </a:cubicBezTo>
                <a:lnTo>
                  <a:pt x="792972" y="292305"/>
                </a:lnTo>
                <a:close/>
                <a:moveTo>
                  <a:pt x="902712" y="269711"/>
                </a:moveTo>
                <a:cubicBezTo>
                  <a:pt x="901193" y="269711"/>
                  <a:pt x="899484" y="268952"/>
                  <a:pt x="898345" y="267813"/>
                </a:cubicBezTo>
                <a:cubicBezTo>
                  <a:pt x="896257" y="265344"/>
                  <a:pt x="896446" y="261737"/>
                  <a:pt x="898915" y="259648"/>
                </a:cubicBezTo>
                <a:lnTo>
                  <a:pt x="934039" y="229081"/>
                </a:lnTo>
                <a:cubicBezTo>
                  <a:pt x="936507" y="226992"/>
                  <a:pt x="940115" y="227182"/>
                  <a:pt x="942203" y="229650"/>
                </a:cubicBezTo>
                <a:cubicBezTo>
                  <a:pt x="944292" y="232118"/>
                  <a:pt x="944102" y="235726"/>
                  <a:pt x="941634" y="237814"/>
                </a:cubicBezTo>
                <a:lnTo>
                  <a:pt x="906509" y="268382"/>
                </a:lnTo>
                <a:cubicBezTo>
                  <a:pt x="905370" y="269331"/>
                  <a:pt x="904041" y="269711"/>
                  <a:pt x="902712" y="269711"/>
                </a:cubicBezTo>
                <a:lnTo>
                  <a:pt x="902712" y="269711"/>
                </a:lnTo>
                <a:close/>
                <a:moveTo>
                  <a:pt x="563428" y="247877"/>
                </a:moveTo>
                <a:cubicBezTo>
                  <a:pt x="563428" y="247877"/>
                  <a:pt x="562099" y="247877"/>
                  <a:pt x="561340" y="247497"/>
                </a:cubicBezTo>
                <a:cubicBezTo>
                  <a:pt x="558302" y="246358"/>
                  <a:pt x="556783" y="242941"/>
                  <a:pt x="558112" y="239903"/>
                </a:cubicBezTo>
                <a:lnTo>
                  <a:pt x="574820" y="196424"/>
                </a:lnTo>
                <a:cubicBezTo>
                  <a:pt x="575959" y="193387"/>
                  <a:pt x="579377" y="191868"/>
                  <a:pt x="582415" y="193197"/>
                </a:cubicBezTo>
                <a:cubicBezTo>
                  <a:pt x="585452" y="194336"/>
                  <a:pt x="586971" y="197753"/>
                  <a:pt x="585642" y="200791"/>
                </a:cubicBezTo>
                <a:lnTo>
                  <a:pt x="568934" y="244270"/>
                </a:lnTo>
                <a:cubicBezTo>
                  <a:pt x="568175" y="246548"/>
                  <a:pt x="565896" y="247877"/>
                  <a:pt x="563618" y="247877"/>
                </a:cubicBezTo>
                <a:lnTo>
                  <a:pt x="563618" y="247877"/>
                </a:lnTo>
                <a:close/>
                <a:moveTo>
                  <a:pt x="714938" y="241422"/>
                </a:moveTo>
                <a:cubicBezTo>
                  <a:pt x="713799" y="241422"/>
                  <a:pt x="712660" y="241042"/>
                  <a:pt x="711711" y="240472"/>
                </a:cubicBezTo>
                <a:lnTo>
                  <a:pt x="672789" y="214841"/>
                </a:lnTo>
                <a:cubicBezTo>
                  <a:pt x="670131" y="213132"/>
                  <a:pt x="669371" y="209525"/>
                  <a:pt x="671080" y="206677"/>
                </a:cubicBezTo>
                <a:cubicBezTo>
                  <a:pt x="672789" y="204019"/>
                  <a:pt x="676396" y="203259"/>
                  <a:pt x="679244" y="204968"/>
                </a:cubicBezTo>
                <a:lnTo>
                  <a:pt x="718166" y="230600"/>
                </a:lnTo>
                <a:cubicBezTo>
                  <a:pt x="720824" y="232308"/>
                  <a:pt x="721583" y="235916"/>
                  <a:pt x="719875" y="238764"/>
                </a:cubicBezTo>
                <a:cubicBezTo>
                  <a:pt x="718735" y="240472"/>
                  <a:pt x="716837" y="241232"/>
                  <a:pt x="715128" y="241232"/>
                </a:cubicBezTo>
                <a:lnTo>
                  <a:pt x="715128" y="241232"/>
                </a:lnTo>
                <a:close/>
                <a:moveTo>
                  <a:pt x="972771" y="208576"/>
                </a:moveTo>
                <a:cubicBezTo>
                  <a:pt x="971252" y="208576"/>
                  <a:pt x="969543" y="207816"/>
                  <a:pt x="968404" y="206677"/>
                </a:cubicBezTo>
                <a:cubicBezTo>
                  <a:pt x="966315" y="204209"/>
                  <a:pt x="966505" y="200601"/>
                  <a:pt x="968974" y="198513"/>
                </a:cubicBezTo>
                <a:lnTo>
                  <a:pt x="1004098" y="167945"/>
                </a:lnTo>
                <a:cubicBezTo>
                  <a:pt x="1006567" y="165857"/>
                  <a:pt x="1010174" y="166046"/>
                  <a:pt x="1012262" y="168515"/>
                </a:cubicBezTo>
                <a:cubicBezTo>
                  <a:pt x="1014351" y="170983"/>
                  <a:pt x="1014161" y="174590"/>
                  <a:pt x="1011693" y="176679"/>
                </a:cubicBezTo>
                <a:lnTo>
                  <a:pt x="976568" y="207246"/>
                </a:lnTo>
                <a:cubicBezTo>
                  <a:pt x="975429" y="208196"/>
                  <a:pt x="974100" y="208576"/>
                  <a:pt x="972771" y="208576"/>
                </a:cubicBezTo>
                <a:lnTo>
                  <a:pt x="972771" y="208576"/>
                </a:lnTo>
                <a:close/>
                <a:moveTo>
                  <a:pt x="637094" y="190349"/>
                </a:moveTo>
                <a:cubicBezTo>
                  <a:pt x="635955" y="190349"/>
                  <a:pt x="634816" y="189969"/>
                  <a:pt x="634056" y="189399"/>
                </a:cubicBezTo>
                <a:lnTo>
                  <a:pt x="595135" y="163768"/>
                </a:lnTo>
                <a:cubicBezTo>
                  <a:pt x="592477" y="162059"/>
                  <a:pt x="591718" y="158452"/>
                  <a:pt x="593426" y="155604"/>
                </a:cubicBezTo>
                <a:cubicBezTo>
                  <a:pt x="595135" y="152946"/>
                  <a:pt x="598742" y="152186"/>
                  <a:pt x="601590" y="153895"/>
                </a:cubicBezTo>
                <a:lnTo>
                  <a:pt x="640512" y="179527"/>
                </a:lnTo>
                <a:cubicBezTo>
                  <a:pt x="643170" y="181235"/>
                  <a:pt x="643930" y="184843"/>
                  <a:pt x="642221" y="187691"/>
                </a:cubicBezTo>
                <a:cubicBezTo>
                  <a:pt x="641082" y="189399"/>
                  <a:pt x="639183" y="190159"/>
                  <a:pt x="637474" y="190159"/>
                </a:cubicBezTo>
                <a:lnTo>
                  <a:pt x="637474" y="190159"/>
                </a:lnTo>
                <a:close/>
                <a:moveTo>
                  <a:pt x="1043020" y="147440"/>
                </a:moveTo>
                <a:cubicBezTo>
                  <a:pt x="1041501" y="147440"/>
                  <a:pt x="1039793" y="146680"/>
                  <a:pt x="1038653" y="145541"/>
                </a:cubicBezTo>
                <a:cubicBezTo>
                  <a:pt x="1036565" y="143073"/>
                  <a:pt x="1036755" y="139466"/>
                  <a:pt x="1039223" y="137377"/>
                </a:cubicBezTo>
                <a:lnTo>
                  <a:pt x="1074347" y="106809"/>
                </a:lnTo>
                <a:cubicBezTo>
                  <a:pt x="1076815" y="104721"/>
                  <a:pt x="1080423" y="104911"/>
                  <a:pt x="1082512" y="107379"/>
                </a:cubicBezTo>
                <a:cubicBezTo>
                  <a:pt x="1084600" y="109847"/>
                  <a:pt x="1084410" y="113455"/>
                  <a:pt x="1081942" y="115543"/>
                </a:cubicBezTo>
                <a:lnTo>
                  <a:pt x="1046817" y="146111"/>
                </a:lnTo>
                <a:cubicBezTo>
                  <a:pt x="1045678" y="147060"/>
                  <a:pt x="1044349" y="147440"/>
                  <a:pt x="1043020" y="147440"/>
                </a:cubicBezTo>
                <a:lnTo>
                  <a:pt x="1043020" y="147440"/>
                </a:lnTo>
                <a:close/>
                <a:moveTo>
                  <a:pt x="1113269" y="86304"/>
                </a:moveTo>
                <a:cubicBezTo>
                  <a:pt x="1111750" y="86304"/>
                  <a:pt x="1110041" y="85545"/>
                  <a:pt x="1108902" y="84406"/>
                </a:cubicBezTo>
                <a:cubicBezTo>
                  <a:pt x="1106814" y="81937"/>
                  <a:pt x="1107003" y="78330"/>
                  <a:pt x="1109472" y="76242"/>
                </a:cubicBezTo>
                <a:lnTo>
                  <a:pt x="1144596" y="45674"/>
                </a:lnTo>
                <a:cubicBezTo>
                  <a:pt x="1147065" y="43585"/>
                  <a:pt x="1150672" y="43775"/>
                  <a:pt x="1152760" y="46243"/>
                </a:cubicBezTo>
                <a:cubicBezTo>
                  <a:pt x="1154849" y="48712"/>
                  <a:pt x="1154659" y="52319"/>
                  <a:pt x="1152191" y="54407"/>
                </a:cubicBezTo>
                <a:lnTo>
                  <a:pt x="1117066" y="84975"/>
                </a:lnTo>
                <a:cubicBezTo>
                  <a:pt x="1115927" y="85925"/>
                  <a:pt x="1114598" y="86304"/>
                  <a:pt x="1113269" y="86304"/>
                </a:cubicBezTo>
                <a:lnTo>
                  <a:pt x="1113269" y="86304"/>
                </a:lnTo>
                <a:close/>
                <a:moveTo>
                  <a:pt x="1183518" y="25169"/>
                </a:moveTo>
                <a:cubicBezTo>
                  <a:pt x="1181999" y="25169"/>
                  <a:pt x="1180290" y="24409"/>
                  <a:pt x="1179151" y="23270"/>
                </a:cubicBezTo>
                <a:cubicBezTo>
                  <a:pt x="1177063" y="20802"/>
                  <a:pt x="1177253" y="17194"/>
                  <a:pt x="1179721" y="15106"/>
                </a:cubicBezTo>
                <a:lnTo>
                  <a:pt x="1195290" y="1436"/>
                </a:lnTo>
                <a:cubicBezTo>
                  <a:pt x="1197757" y="-653"/>
                  <a:pt x="1201365" y="-463"/>
                  <a:pt x="1203454" y="2005"/>
                </a:cubicBezTo>
                <a:cubicBezTo>
                  <a:pt x="1205542" y="4474"/>
                  <a:pt x="1205352" y="8081"/>
                  <a:pt x="1202884" y="10169"/>
                </a:cubicBezTo>
                <a:lnTo>
                  <a:pt x="1187315" y="23840"/>
                </a:lnTo>
                <a:cubicBezTo>
                  <a:pt x="1186176" y="24789"/>
                  <a:pt x="1184847" y="25169"/>
                  <a:pt x="1183518" y="25169"/>
                </a:cubicBezTo>
                <a:lnTo>
                  <a:pt x="1183518" y="25169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grpSp>
        <p:nvGrpSpPr>
          <p:cNvPr id="2065" name="Group 2064">
            <a:extLst>
              <a:ext uri="{FF2B5EF4-FFF2-40B4-BE49-F238E27FC236}">
                <a16:creationId xmlns:a16="http://schemas.microsoft.com/office/drawing/2014/main" id="{2BC5AFBE-E60D-0D8A-809E-5B0C887EA51B}"/>
              </a:ext>
            </a:extLst>
          </p:cNvPr>
          <p:cNvGrpSpPr/>
          <p:nvPr userDrawn="1"/>
        </p:nvGrpSpPr>
        <p:grpSpPr>
          <a:xfrm>
            <a:off x="11215255" y="1003300"/>
            <a:ext cx="754074" cy="725328"/>
            <a:chOff x="11215255" y="1003300"/>
            <a:chExt cx="754074" cy="72532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2BF153-0609-B4CE-5469-80D91D8F9C4F}"/>
                </a:ext>
              </a:extLst>
            </p:cNvPr>
            <p:cNvSpPr/>
            <p:nvPr/>
          </p:nvSpPr>
          <p:spPr>
            <a:xfrm>
              <a:off x="11222035" y="1016244"/>
              <a:ext cx="729019" cy="705160"/>
            </a:xfrm>
            <a:custGeom>
              <a:avLst/>
              <a:gdLst>
                <a:gd name="connsiteX0" fmla="*/ 458227 w 536449"/>
                <a:gd name="connsiteY0" fmla="*/ 215304 h 518893"/>
                <a:gd name="connsiteX1" fmla="*/ 436962 w 536449"/>
                <a:gd name="connsiteY1" fmla="*/ 143346 h 518893"/>
                <a:gd name="connsiteX2" fmla="*/ 481960 w 536449"/>
                <a:gd name="connsiteY2" fmla="*/ 78413 h 518893"/>
                <a:gd name="connsiteX3" fmla="*/ 371080 w 536449"/>
                <a:gd name="connsiteY3" fmla="*/ 0 h 518893"/>
                <a:gd name="connsiteX4" fmla="*/ 328171 w 536449"/>
                <a:gd name="connsiteY4" fmla="*/ 71388 h 518893"/>
                <a:gd name="connsiteX5" fmla="*/ 325323 w 536449"/>
                <a:gd name="connsiteY5" fmla="*/ 74806 h 518893"/>
                <a:gd name="connsiteX6" fmla="*/ 319627 w 536449"/>
                <a:gd name="connsiteY6" fmla="*/ 75945 h 518893"/>
                <a:gd name="connsiteX7" fmla="*/ 245581 w 536449"/>
                <a:gd name="connsiteY7" fmla="*/ 74616 h 518893"/>
                <a:gd name="connsiteX8" fmla="*/ 208368 w 536449"/>
                <a:gd name="connsiteY8" fmla="*/ 7215 h 518893"/>
                <a:gd name="connsiteX9" fmla="*/ 204191 w 536449"/>
                <a:gd name="connsiteY9" fmla="*/ 3228 h 518893"/>
                <a:gd name="connsiteX10" fmla="*/ 198685 w 536449"/>
                <a:gd name="connsiteY10" fmla="*/ 4936 h 518893"/>
                <a:gd name="connsiteX11" fmla="*/ 110779 w 536449"/>
                <a:gd name="connsiteY11" fmla="*/ 58857 h 518893"/>
                <a:gd name="connsiteX12" fmla="*/ 108880 w 536449"/>
                <a:gd name="connsiteY12" fmla="*/ 60566 h 518893"/>
                <a:gd name="connsiteX13" fmla="*/ 109830 w 536449"/>
                <a:gd name="connsiteY13" fmla="*/ 67021 h 518893"/>
                <a:gd name="connsiteX14" fmla="*/ 149131 w 536449"/>
                <a:gd name="connsiteY14" fmla="*/ 122841 h 518893"/>
                <a:gd name="connsiteX15" fmla="*/ 106602 w 536449"/>
                <a:gd name="connsiteY15" fmla="*/ 193090 h 518893"/>
                <a:gd name="connsiteX16" fmla="*/ 92742 w 536449"/>
                <a:gd name="connsiteY16" fmla="*/ 205811 h 518893"/>
                <a:gd name="connsiteX17" fmla="*/ 77173 w 536449"/>
                <a:gd name="connsiteY17" fmla="*/ 204482 h 518893"/>
                <a:gd name="connsiteX18" fmla="*/ 15848 w 536449"/>
                <a:gd name="connsiteY18" fmla="*/ 184166 h 518893"/>
                <a:gd name="connsiteX19" fmla="*/ 6544 w 536449"/>
                <a:gd name="connsiteY19" fmla="*/ 316690 h 518893"/>
                <a:gd name="connsiteX20" fmla="*/ 84768 w 536449"/>
                <a:gd name="connsiteY20" fmla="*/ 308906 h 518893"/>
                <a:gd name="connsiteX21" fmla="*/ 130335 w 536449"/>
                <a:gd name="connsiteY21" fmla="*/ 389787 h 518893"/>
                <a:gd name="connsiteX22" fmla="*/ 93691 w 536449"/>
                <a:gd name="connsiteY22" fmla="*/ 451302 h 518893"/>
                <a:gd name="connsiteX23" fmla="*/ 177610 w 536449"/>
                <a:gd name="connsiteY23" fmla="*/ 513767 h 518893"/>
                <a:gd name="connsiteX24" fmla="*/ 221279 w 536449"/>
                <a:gd name="connsiteY24" fmla="*/ 448644 h 518893"/>
                <a:gd name="connsiteX25" fmla="*/ 298363 w 536449"/>
                <a:gd name="connsiteY25" fmla="*/ 450163 h 518893"/>
                <a:gd name="connsiteX26" fmla="*/ 327981 w 536449"/>
                <a:gd name="connsiteY26" fmla="*/ 518893 h 518893"/>
                <a:gd name="connsiteX27" fmla="*/ 442848 w 536449"/>
                <a:gd name="connsiteY27" fmla="*/ 478453 h 518893"/>
                <a:gd name="connsiteX28" fmla="*/ 414938 w 536449"/>
                <a:gd name="connsiteY28" fmla="*/ 408014 h 518893"/>
                <a:gd name="connsiteX29" fmla="*/ 456138 w 536449"/>
                <a:gd name="connsiteY29" fmla="*/ 339664 h 518893"/>
                <a:gd name="connsiteX30" fmla="*/ 533982 w 536449"/>
                <a:gd name="connsiteY30" fmla="*/ 333208 h 518893"/>
                <a:gd name="connsiteX31" fmla="*/ 536450 w 536449"/>
                <a:gd name="connsiteY31" fmla="*/ 236378 h 518893"/>
                <a:gd name="connsiteX32" fmla="*/ 458227 w 536449"/>
                <a:gd name="connsiteY32" fmla="*/ 215304 h 518893"/>
                <a:gd name="connsiteX33" fmla="*/ 458227 w 536449"/>
                <a:gd name="connsiteY33" fmla="*/ 215304 h 518893"/>
                <a:gd name="connsiteX34" fmla="*/ 325893 w 536449"/>
                <a:gd name="connsiteY34" fmla="*/ 251947 h 518893"/>
                <a:gd name="connsiteX35" fmla="*/ 322475 w 536449"/>
                <a:gd name="connsiteY35" fmla="*/ 265238 h 518893"/>
                <a:gd name="connsiteX36" fmla="*/ 318678 w 536449"/>
                <a:gd name="connsiteY36" fmla="*/ 272832 h 518893"/>
                <a:gd name="connsiteX37" fmla="*/ 308236 w 536449"/>
                <a:gd name="connsiteY37" fmla="*/ 285553 h 518893"/>
                <a:gd name="connsiteX38" fmla="*/ 280326 w 536449"/>
                <a:gd name="connsiteY38" fmla="*/ 302830 h 518893"/>
                <a:gd name="connsiteX39" fmla="*/ 267035 w 536449"/>
                <a:gd name="connsiteY39" fmla="*/ 306248 h 518893"/>
                <a:gd name="connsiteX40" fmla="*/ 255454 w 536449"/>
                <a:gd name="connsiteY40" fmla="*/ 306817 h 518893"/>
                <a:gd name="connsiteX41" fmla="*/ 248049 w 536449"/>
                <a:gd name="connsiteY41" fmla="*/ 305678 h 518893"/>
                <a:gd name="connsiteX42" fmla="*/ 244822 w 536449"/>
                <a:gd name="connsiteY42" fmla="*/ 304919 h 518893"/>
                <a:gd name="connsiteX43" fmla="*/ 215773 w 536449"/>
                <a:gd name="connsiteY43" fmla="*/ 280616 h 518893"/>
                <a:gd name="connsiteX44" fmla="*/ 208938 w 536449"/>
                <a:gd name="connsiteY44" fmla="*/ 258972 h 518893"/>
                <a:gd name="connsiteX45" fmla="*/ 213115 w 536449"/>
                <a:gd name="connsiteY45" fmla="*/ 238847 h 518893"/>
                <a:gd name="connsiteX46" fmla="*/ 226595 w 536449"/>
                <a:gd name="connsiteY46" fmla="*/ 212646 h 518893"/>
                <a:gd name="connsiteX47" fmla="*/ 250328 w 536449"/>
                <a:gd name="connsiteY47" fmla="*/ 189293 h 518893"/>
                <a:gd name="connsiteX48" fmla="*/ 280516 w 536449"/>
                <a:gd name="connsiteY48" fmla="*/ 187204 h 518893"/>
                <a:gd name="connsiteX49" fmla="*/ 292857 w 536449"/>
                <a:gd name="connsiteY49" fmla="*/ 186255 h 518893"/>
                <a:gd name="connsiteX50" fmla="*/ 311084 w 536449"/>
                <a:gd name="connsiteY50" fmla="*/ 198596 h 518893"/>
                <a:gd name="connsiteX51" fmla="*/ 322096 w 536449"/>
                <a:gd name="connsiteY51" fmla="*/ 217582 h 518893"/>
                <a:gd name="connsiteX52" fmla="*/ 324184 w 536449"/>
                <a:gd name="connsiteY52" fmla="*/ 224607 h 518893"/>
                <a:gd name="connsiteX53" fmla="*/ 324944 w 536449"/>
                <a:gd name="connsiteY53" fmla="*/ 228784 h 518893"/>
                <a:gd name="connsiteX54" fmla="*/ 325703 w 536449"/>
                <a:gd name="connsiteY54" fmla="*/ 235239 h 518893"/>
                <a:gd name="connsiteX55" fmla="*/ 325703 w 536449"/>
                <a:gd name="connsiteY55" fmla="*/ 233910 h 518893"/>
                <a:gd name="connsiteX56" fmla="*/ 325703 w 536449"/>
                <a:gd name="connsiteY56" fmla="*/ 233720 h 518893"/>
                <a:gd name="connsiteX57" fmla="*/ 326462 w 536449"/>
                <a:gd name="connsiteY57" fmla="*/ 240176 h 518893"/>
                <a:gd name="connsiteX58" fmla="*/ 326462 w 536449"/>
                <a:gd name="connsiteY58" fmla="*/ 243403 h 518893"/>
                <a:gd name="connsiteX59" fmla="*/ 325513 w 536449"/>
                <a:gd name="connsiteY59" fmla="*/ 251567 h 518893"/>
                <a:gd name="connsiteX60" fmla="*/ 325513 w 536449"/>
                <a:gd name="connsiteY60" fmla="*/ 251947 h 51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36449" h="518893">
                  <a:moveTo>
                    <a:pt x="458227" y="215304"/>
                  </a:moveTo>
                  <a:lnTo>
                    <a:pt x="436962" y="143346"/>
                  </a:lnTo>
                  <a:lnTo>
                    <a:pt x="481960" y="78413"/>
                  </a:lnTo>
                  <a:lnTo>
                    <a:pt x="371080" y="0"/>
                  </a:lnTo>
                  <a:cubicBezTo>
                    <a:pt x="356650" y="23923"/>
                    <a:pt x="342601" y="47655"/>
                    <a:pt x="328171" y="71388"/>
                  </a:cubicBezTo>
                  <a:cubicBezTo>
                    <a:pt x="327412" y="72717"/>
                    <a:pt x="326652" y="73856"/>
                    <a:pt x="325323" y="74806"/>
                  </a:cubicBezTo>
                  <a:cubicBezTo>
                    <a:pt x="323614" y="75945"/>
                    <a:pt x="321716" y="75945"/>
                    <a:pt x="319627" y="75945"/>
                  </a:cubicBezTo>
                  <a:cubicBezTo>
                    <a:pt x="294945" y="75755"/>
                    <a:pt x="270263" y="75185"/>
                    <a:pt x="245581" y="74616"/>
                  </a:cubicBezTo>
                  <a:cubicBezTo>
                    <a:pt x="233430" y="51073"/>
                    <a:pt x="221658" y="28669"/>
                    <a:pt x="208368" y="7215"/>
                  </a:cubicBezTo>
                  <a:cubicBezTo>
                    <a:pt x="207419" y="5506"/>
                    <a:pt x="206090" y="3607"/>
                    <a:pt x="204191" y="3228"/>
                  </a:cubicBezTo>
                  <a:cubicBezTo>
                    <a:pt x="202292" y="2848"/>
                    <a:pt x="200394" y="3797"/>
                    <a:pt x="198685" y="4936"/>
                  </a:cubicBezTo>
                  <a:cubicBezTo>
                    <a:pt x="169446" y="22973"/>
                    <a:pt x="140018" y="40820"/>
                    <a:pt x="110779" y="58857"/>
                  </a:cubicBezTo>
                  <a:cubicBezTo>
                    <a:pt x="110019" y="59237"/>
                    <a:pt x="109260" y="59807"/>
                    <a:pt x="108880" y="60566"/>
                  </a:cubicBezTo>
                  <a:cubicBezTo>
                    <a:pt x="107551" y="62465"/>
                    <a:pt x="108880" y="64933"/>
                    <a:pt x="109830" y="67021"/>
                  </a:cubicBezTo>
                  <a:cubicBezTo>
                    <a:pt x="120842" y="86957"/>
                    <a:pt x="134132" y="105753"/>
                    <a:pt x="149131" y="122841"/>
                  </a:cubicBezTo>
                  <a:cubicBezTo>
                    <a:pt x="135841" y="147903"/>
                    <a:pt x="121981" y="171066"/>
                    <a:pt x="106602" y="193090"/>
                  </a:cubicBezTo>
                  <a:cubicBezTo>
                    <a:pt x="102995" y="198406"/>
                    <a:pt x="98818" y="204102"/>
                    <a:pt x="92742" y="205811"/>
                  </a:cubicBezTo>
                  <a:cubicBezTo>
                    <a:pt x="87616" y="207330"/>
                    <a:pt x="82299" y="205811"/>
                    <a:pt x="77173" y="204482"/>
                  </a:cubicBezTo>
                  <a:cubicBezTo>
                    <a:pt x="56478" y="198596"/>
                    <a:pt x="36163" y="191761"/>
                    <a:pt x="15848" y="184166"/>
                  </a:cubicBezTo>
                  <a:cubicBezTo>
                    <a:pt x="-1430" y="225556"/>
                    <a:pt x="-4657" y="273022"/>
                    <a:pt x="6544" y="316690"/>
                  </a:cubicBezTo>
                  <a:cubicBezTo>
                    <a:pt x="8253" y="320108"/>
                    <a:pt x="84768" y="308906"/>
                    <a:pt x="84768" y="308906"/>
                  </a:cubicBezTo>
                  <a:lnTo>
                    <a:pt x="130335" y="389787"/>
                  </a:lnTo>
                  <a:lnTo>
                    <a:pt x="93691" y="451302"/>
                  </a:lnTo>
                  <a:lnTo>
                    <a:pt x="177610" y="513767"/>
                  </a:lnTo>
                  <a:lnTo>
                    <a:pt x="221279" y="448644"/>
                  </a:lnTo>
                  <a:lnTo>
                    <a:pt x="298363" y="450163"/>
                  </a:lnTo>
                  <a:lnTo>
                    <a:pt x="327981" y="518893"/>
                  </a:lnTo>
                  <a:lnTo>
                    <a:pt x="442848" y="478453"/>
                  </a:lnTo>
                  <a:lnTo>
                    <a:pt x="414938" y="408014"/>
                  </a:lnTo>
                  <a:lnTo>
                    <a:pt x="456138" y="339664"/>
                  </a:lnTo>
                  <a:lnTo>
                    <a:pt x="533982" y="333208"/>
                  </a:lnTo>
                  <a:lnTo>
                    <a:pt x="536450" y="236378"/>
                  </a:lnTo>
                  <a:lnTo>
                    <a:pt x="458227" y="215304"/>
                  </a:lnTo>
                  <a:lnTo>
                    <a:pt x="458227" y="215304"/>
                  </a:lnTo>
                  <a:close/>
                  <a:moveTo>
                    <a:pt x="325893" y="251947"/>
                  </a:moveTo>
                  <a:cubicBezTo>
                    <a:pt x="326652" y="255365"/>
                    <a:pt x="323804" y="262010"/>
                    <a:pt x="322475" y="265238"/>
                  </a:cubicBezTo>
                  <a:cubicBezTo>
                    <a:pt x="321336" y="267896"/>
                    <a:pt x="320197" y="270554"/>
                    <a:pt x="318678" y="272832"/>
                  </a:cubicBezTo>
                  <a:cubicBezTo>
                    <a:pt x="315830" y="277389"/>
                    <a:pt x="312033" y="281755"/>
                    <a:pt x="308236" y="285553"/>
                  </a:cubicBezTo>
                  <a:cubicBezTo>
                    <a:pt x="300071" y="293337"/>
                    <a:pt x="290958" y="299033"/>
                    <a:pt x="280326" y="302830"/>
                  </a:cubicBezTo>
                  <a:cubicBezTo>
                    <a:pt x="276149" y="304349"/>
                    <a:pt x="271592" y="305488"/>
                    <a:pt x="267035" y="306248"/>
                  </a:cubicBezTo>
                  <a:cubicBezTo>
                    <a:pt x="263048" y="307007"/>
                    <a:pt x="259441" y="307197"/>
                    <a:pt x="255454" y="306817"/>
                  </a:cubicBezTo>
                  <a:cubicBezTo>
                    <a:pt x="252986" y="306628"/>
                    <a:pt x="250517" y="305868"/>
                    <a:pt x="248049" y="305678"/>
                  </a:cubicBezTo>
                  <a:cubicBezTo>
                    <a:pt x="254884" y="305678"/>
                    <a:pt x="247480" y="305678"/>
                    <a:pt x="244822" y="304919"/>
                  </a:cubicBezTo>
                  <a:cubicBezTo>
                    <a:pt x="233050" y="301501"/>
                    <a:pt x="221469" y="291628"/>
                    <a:pt x="215773" y="280616"/>
                  </a:cubicBezTo>
                  <a:cubicBezTo>
                    <a:pt x="212355" y="273971"/>
                    <a:pt x="209317" y="266567"/>
                    <a:pt x="208938" y="258972"/>
                  </a:cubicBezTo>
                  <a:cubicBezTo>
                    <a:pt x="208748" y="252137"/>
                    <a:pt x="210456" y="245112"/>
                    <a:pt x="213115" y="238847"/>
                  </a:cubicBezTo>
                  <a:cubicBezTo>
                    <a:pt x="216722" y="229923"/>
                    <a:pt x="221089" y="220810"/>
                    <a:pt x="226595" y="212646"/>
                  </a:cubicBezTo>
                  <a:cubicBezTo>
                    <a:pt x="232670" y="203532"/>
                    <a:pt x="240455" y="194229"/>
                    <a:pt x="250328" y="189293"/>
                  </a:cubicBezTo>
                  <a:cubicBezTo>
                    <a:pt x="260200" y="184166"/>
                    <a:pt x="271023" y="183407"/>
                    <a:pt x="280516" y="187204"/>
                  </a:cubicBezTo>
                  <a:cubicBezTo>
                    <a:pt x="284503" y="185305"/>
                    <a:pt x="289060" y="184736"/>
                    <a:pt x="292857" y="186255"/>
                  </a:cubicBezTo>
                  <a:cubicBezTo>
                    <a:pt x="300071" y="188913"/>
                    <a:pt x="306147" y="192520"/>
                    <a:pt x="311084" y="198596"/>
                  </a:cubicBezTo>
                  <a:cubicBezTo>
                    <a:pt x="316020" y="204482"/>
                    <a:pt x="319248" y="210367"/>
                    <a:pt x="322096" y="217582"/>
                  </a:cubicBezTo>
                  <a:cubicBezTo>
                    <a:pt x="322855" y="219860"/>
                    <a:pt x="323614" y="222139"/>
                    <a:pt x="324184" y="224607"/>
                  </a:cubicBezTo>
                  <a:cubicBezTo>
                    <a:pt x="324374" y="225936"/>
                    <a:pt x="324754" y="227265"/>
                    <a:pt x="324944" y="228784"/>
                  </a:cubicBezTo>
                  <a:cubicBezTo>
                    <a:pt x="325133" y="230872"/>
                    <a:pt x="325513" y="232961"/>
                    <a:pt x="325703" y="235239"/>
                  </a:cubicBezTo>
                  <a:lnTo>
                    <a:pt x="325703" y="233910"/>
                  </a:lnTo>
                  <a:cubicBezTo>
                    <a:pt x="325703" y="232012"/>
                    <a:pt x="325703" y="232012"/>
                    <a:pt x="325703" y="233720"/>
                  </a:cubicBezTo>
                  <a:cubicBezTo>
                    <a:pt x="325893" y="235809"/>
                    <a:pt x="326273" y="238087"/>
                    <a:pt x="326462" y="240176"/>
                  </a:cubicBezTo>
                  <a:cubicBezTo>
                    <a:pt x="326462" y="241315"/>
                    <a:pt x="326462" y="242454"/>
                    <a:pt x="326462" y="243403"/>
                  </a:cubicBezTo>
                  <a:cubicBezTo>
                    <a:pt x="326462" y="246061"/>
                    <a:pt x="326273" y="249099"/>
                    <a:pt x="325513" y="251567"/>
                  </a:cubicBezTo>
                  <a:lnTo>
                    <a:pt x="325513" y="251947"/>
                  </a:lnTo>
                  <a:close/>
                </a:path>
              </a:pathLst>
            </a:custGeom>
            <a:solidFill>
              <a:srgbClr val="B6C2D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0FCE03F-A1C8-40B2-E74E-80EF65603DEF}"/>
                </a:ext>
              </a:extLst>
            </p:cNvPr>
            <p:cNvSpPr/>
            <p:nvPr/>
          </p:nvSpPr>
          <p:spPr>
            <a:xfrm>
              <a:off x="11383626" y="1111807"/>
              <a:ext cx="109513" cy="313393"/>
            </a:xfrm>
            <a:custGeom>
              <a:avLst/>
              <a:gdLst>
                <a:gd name="connsiteX0" fmla="*/ 1935 w 80585"/>
                <a:gd name="connsiteY0" fmla="*/ 230612 h 230611"/>
                <a:gd name="connsiteX1" fmla="*/ 1365 w 80585"/>
                <a:gd name="connsiteY1" fmla="*/ 230612 h 230611"/>
                <a:gd name="connsiteX2" fmla="*/ 36 w 80585"/>
                <a:gd name="connsiteY2" fmla="*/ 228144 h 230611"/>
                <a:gd name="connsiteX3" fmla="*/ 76931 w 80585"/>
                <a:gd name="connsiteY3" fmla="*/ 1258 h 230611"/>
                <a:gd name="connsiteX4" fmla="*/ 79399 w 80585"/>
                <a:gd name="connsiteY4" fmla="*/ 119 h 230611"/>
                <a:gd name="connsiteX5" fmla="*/ 80538 w 80585"/>
                <a:gd name="connsiteY5" fmla="*/ 2587 h 230611"/>
                <a:gd name="connsiteX6" fmla="*/ 3834 w 80585"/>
                <a:gd name="connsiteY6" fmla="*/ 229093 h 230611"/>
                <a:gd name="connsiteX7" fmla="*/ 1935 w 80585"/>
                <a:gd name="connsiteY7" fmla="*/ 230422 h 230611"/>
                <a:gd name="connsiteX8" fmla="*/ 1935 w 80585"/>
                <a:gd name="connsiteY8" fmla="*/ 230422 h 230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585" h="230611">
                  <a:moveTo>
                    <a:pt x="1935" y="230612"/>
                  </a:moveTo>
                  <a:lnTo>
                    <a:pt x="1365" y="230612"/>
                  </a:lnTo>
                  <a:cubicBezTo>
                    <a:pt x="416" y="230422"/>
                    <a:pt x="-153" y="229283"/>
                    <a:pt x="36" y="228144"/>
                  </a:cubicBezTo>
                  <a:cubicBezTo>
                    <a:pt x="21871" y="151629"/>
                    <a:pt x="47692" y="75114"/>
                    <a:pt x="76931" y="1258"/>
                  </a:cubicBezTo>
                  <a:cubicBezTo>
                    <a:pt x="77310" y="309"/>
                    <a:pt x="78450" y="-261"/>
                    <a:pt x="79399" y="119"/>
                  </a:cubicBezTo>
                  <a:cubicBezTo>
                    <a:pt x="80348" y="499"/>
                    <a:pt x="80728" y="1638"/>
                    <a:pt x="80538" y="2587"/>
                  </a:cubicBezTo>
                  <a:cubicBezTo>
                    <a:pt x="51489" y="76444"/>
                    <a:pt x="25478" y="152768"/>
                    <a:pt x="3834" y="229093"/>
                  </a:cubicBezTo>
                  <a:cubicBezTo>
                    <a:pt x="3644" y="229852"/>
                    <a:pt x="2884" y="230422"/>
                    <a:pt x="1935" y="230422"/>
                  </a:cubicBezTo>
                  <a:lnTo>
                    <a:pt x="1935" y="23042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852ECE4-F961-B33F-2AB3-7853D6FE5232}"/>
                </a:ext>
              </a:extLst>
            </p:cNvPr>
            <p:cNvSpPr/>
            <p:nvPr/>
          </p:nvSpPr>
          <p:spPr>
            <a:xfrm>
              <a:off x="11429467" y="1151081"/>
              <a:ext cx="112736" cy="290890"/>
            </a:xfrm>
            <a:custGeom>
              <a:avLst/>
              <a:gdLst>
                <a:gd name="connsiteX0" fmla="*/ 1998 w 82957"/>
                <a:gd name="connsiteY0" fmla="*/ 214053 h 214052"/>
                <a:gd name="connsiteX1" fmla="*/ 1429 w 82957"/>
                <a:gd name="connsiteY1" fmla="*/ 214053 h 214052"/>
                <a:gd name="connsiteX2" fmla="*/ 100 w 82957"/>
                <a:gd name="connsiteY2" fmla="*/ 211584 h 214052"/>
                <a:gd name="connsiteX3" fmla="*/ 79462 w 82957"/>
                <a:gd name="connsiteY3" fmla="*/ 1027 h 214052"/>
                <a:gd name="connsiteX4" fmla="*/ 81930 w 82957"/>
                <a:gd name="connsiteY4" fmla="*/ 268 h 214052"/>
                <a:gd name="connsiteX5" fmla="*/ 82690 w 82957"/>
                <a:gd name="connsiteY5" fmla="*/ 2736 h 214052"/>
                <a:gd name="connsiteX6" fmla="*/ 3328 w 82957"/>
                <a:gd name="connsiteY6" fmla="*/ 212723 h 214052"/>
                <a:gd name="connsiteX7" fmla="*/ 1429 w 82957"/>
                <a:gd name="connsiteY7" fmla="*/ 214053 h 214052"/>
                <a:gd name="connsiteX8" fmla="*/ 1429 w 82957"/>
                <a:gd name="connsiteY8" fmla="*/ 214053 h 21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957" h="214052">
                  <a:moveTo>
                    <a:pt x="1998" y="214053"/>
                  </a:moveTo>
                  <a:lnTo>
                    <a:pt x="1429" y="214053"/>
                  </a:lnTo>
                  <a:cubicBezTo>
                    <a:pt x="480" y="213673"/>
                    <a:pt x="-280" y="212723"/>
                    <a:pt x="100" y="211584"/>
                  </a:cubicBezTo>
                  <a:cubicBezTo>
                    <a:pt x="20225" y="139247"/>
                    <a:pt x="47186" y="68428"/>
                    <a:pt x="79462" y="1027"/>
                  </a:cubicBezTo>
                  <a:cubicBezTo>
                    <a:pt x="79842" y="78"/>
                    <a:pt x="80981" y="-302"/>
                    <a:pt x="81930" y="268"/>
                  </a:cubicBezTo>
                  <a:cubicBezTo>
                    <a:pt x="82880" y="647"/>
                    <a:pt x="83259" y="1787"/>
                    <a:pt x="82690" y="2736"/>
                  </a:cubicBezTo>
                  <a:cubicBezTo>
                    <a:pt x="50224" y="69947"/>
                    <a:pt x="23643" y="140576"/>
                    <a:pt x="3328" y="212723"/>
                  </a:cubicBezTo>
                  <a:cubicBezTo>
                    <a:pt x="3138" y="213483"/>
                    <a:pt x="2378" y="214053"/>
                    <a:pt x="1429" y="214053"/>
                  </a:cubicBezTo>
                  <a:lnTo>
                    <a:pt x="1429" y="21405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A26EAF6-8564-EDB5-C3F0-47978AABFB43}"/>
                </a:ext>
              </a:extLst>
            </p:cNvPr>
            <p:cNvSpPr/>
            <p:nvPr/>
          </p:nvSpPr>
          <p:spPr>
            <a:xfrm>
              <a:off x="11412251" y="1438937"/>
              <a:ext cx="80629" cy="191904"/>
            </a:xfrm>
            <a:custGeom>
              <a:avLst/>
              <a:gdLst>
                <a:gd name="connsiteX0" fmla="*/ 1946 w 59331"/>
                <a:gd name="connsiteY0" fmla="*/ 140833 h 141213"/>
                <a:gd name="connsiteX1" fmla="*/ 1187 w 59331"/>
                <a:gd name="connsiteY1" fmla="*/ 140833 h 141213"/>
                <a:gd name="connsiteX2" fmla="*/ 47 w 59331"/>
                <a:gd name="connsiteY2" fmla="*/ 138365 h 141213"/>
                <a:gd name="connsiteX3" fmla="*/ 55677 w 59331"/>
                <a:gd name="connsiteY3" fmla="*/ 1095 h 141213"/>
                <a:gd name="connsiteX4" fmla="*/ 58145 w 59331"/>
                <a:gd name="connsiteY4" fmla="*/ 146 h 141213"/>
                <a:gd name="connsiteX5" fmla="*/ 59284 w 59331"/>
                <a:gd name="connsiteY5" fmla="*/ 2614 h 141213"/>
                <a:gd name="connsiteX6" fmla="*/ 3655 w 59331"/>
                <a:gd name="connsiteY6" fmla="*/ 139884 h 141213"/>
                <a:gd name="connsiteX7" fmla="*/ 1756 w 59331"/>
                <a:gd name="connsiteY7" fmla="*/ 141213 h 141213"/>
                <a:gd name="connsiteX8" fmla="*/ 1756 w 59331"/>
                <a:gd name="connsiteY8" fmla="*/ 141213 h 14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331" h="141213">
                  <a:moveTo>
                    <a:pt x="1946" y="140833"/>
                  </a:moveTo>
                  <a:cubicBezTo>
                    <a:pt x="1946" y="140833"/>
                    <a:pt x="1566" y="140833"/>
                    <a:pt x="1187" y="140833"/>
                  </a:cubicBezTo>
                  <a:cubicBezTo>
                    <a:pt x="237" y="140454"/>
                    <a:pt x="-142" y="139315"/>
                    <a:pt x="47" y="138365"/>
                  </a:cubicBezTo>
                  <a:lnTo>
                    <a:pt x="55677" y="1095"/>
                  </a:lnTo>
                  <a:cubicBezTo>
                    <a:pt x="56057" y="146"/>
                    <a:pt x="57196" y="-234"/>
                    <a:pt x="58145" y="146"/>
                  </a:cubicBezTo>
                  <a:cubicBezTo>
                    <a:pt x="59095" y="525"/>
                    <a:pt x="59474" y="1664"/>
                    <a:pt x="59284" y="2614"/>
                  </a:cubicBezTo>
                  <a:lnTo>
                    <a:pt x="3655" y="139884"/>
                  </a:lnTo>
                  <a:cubicBezTo>
                    <a:pt x="3655" y="139884"/>
                    <a:pt x="2705" y="141213"/>
                    <a:pt x="1756" y="141213"/>
                  </a:cubicBezTo>
                  <a:lnTo>
                    <a:pt x="1756" y="14121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052AB3B-B137-9CBC-4540-B357551B24D7}"/>
                </a:ext>
              </a:extLst>
            </p:cNvPr>
            <p:cNvSpPr/>
            <p:nvPr/>
          </p:nvSpPr>
          <p:spPr>
            <a:xfrm>
              <a:off x="11511845" y="1478190"/>
              <a:ext cx="47345" cy="112398"/>
            </a:xfrm>
            <a:custGeom>
              <a:avLst/>
              <a:gdLst>
                <a:gd name="connsiteX0" fmla="*/ 1946 w 34839"/>
                <a:gd name="connsiteY0" fmla="*/ 82519 h 82708"/>
                <a:gd name="connsiteX1" fmla="*/ 1187 w 34839"/>
                <a:gd name="connsiteY1" fmla="*/ 82519 h 82708"/>
                <a:gd name="connsiteX2" fmla="*/ 47 w 34839"/>
                <a:gd name="connsiteY2" fmla="*/ 80051 h 82708"/>
                <a:gd name="connsiteX3" fmla="*/ 31185 w 34839"/>
                <a:gd name="connsiteY3" fmla="*/ 1258 h 82708"/>
                <a:gd name="connsiteX4" fmla="*/ 33653 w 34839"/>
                <a:gd name="connsiteY4" fmla="*/ 119 h 82708"/>
                <a:gd name="connsiteX5" fmla="*/ 34792 w 34839"/>
                <a:gd name="connsiteY5" fmla="*/ 2587 h 82708"/>
                <a:gd name="connsiteX6" fmla="*/ 3655 w 34839"/>
                <a:gd name="connsiteY6" fmla="*/ 81380 h 82708"/>
                <a:gd name="connsiteX7" fmla="*/ 1756 w 34839"/>
                <a:gd name="connsiteY7" fmla="*/ 82709 h 82708"/>
                <a:gd name="connsiteX8" fmla="*/ 1756 w 34839"/>
                <a:gd name="connsiteY8" fmla="*/ 82709 h 8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39" h="82708">
                  <a:moveTo>
                    <a:pt x="1946" y="82519"/>
                  </a:moveTo>
                  <a:lnTo>
                    <a:pt x="1187" y="82519"/>
                  </a:lnTo>
                  <a:cubicBezTo>
                    <a:pt x="237" y="82139"/>
                    <a:pt x="-142" y="81000"/>
                    <a:pt x="47" y="80051"/>
                  </a:cubicBezTo>
                  <a:lnTo>
                    <a:pt x="31185" y="1258"/>
                  </a:lnTo>
                  <a:cubicBezTo>
                    <a:pt x="31565" y="309"/>
                    <a:pt x="32704" y="-261"/>
                    <a:pt x="33653" y="119"/>
                  </a:cubicBezTo>
                  <a:cubicBezTo>
                    <a:pt x="34602" y="499"/>
                    <a:pt x="34982" y="1638"/>
                    <a:pt x="34792" y="2587"/>
                  </a:cubicBezTo>
                  <a:lnTo>
                    <a:pt x="3655" y="81380"/>
                  </a:lnTo>
                  <a:cubicBezTo>
                    <a:pt x="3655" y="81380"/>
                    <a:pt x="2705" y="82709"/>
                    <a:pt x="1756" y="82709"/>
                  </a:cubicBezTo>
                  <a:lnTo>
                    <a:pt x="1756" y="8270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CF054B9-DABF-5DC1-265E-EB40CCC0A442}"/>
                </a:ext>
              </a:extLst>
            </p:cNvPr>
            <p:cNvSpPr/>
            <p:nvPr/>
          </p:nvSpPr>
          <p:spPr>
            <a:xfrm>
              <a:off x="11590813" y="1166102"/>
              <a:ext cx="25384" cy="71003"/>
            </a:xfrm>
            <a:custGeom>
              <a:avLst/>
              <a:gdLst>
                <a:gd name="connsiteX0" fmla="*/ 1935 w 18679"/>
                <a:gd name="connsiteY0" fmla="*/ 52249 h 52248"/>
                <a:gd name="connsiteX1" fmla="*/ 1365 w 18679"/>
                <a:gd name="connsiteY1" fmla="*/ 52249 h 52248"/>
                <a:gd name="connsiteX2" fmla="*/ 36 w 18679"/>
                <a:gd name="connsiteY2" fmla="*/ 49780 h 52248"/>
                <a:gd name="connsiteX3" fmla="*/ 14846 w 18679"/>
                <a:gd name="connsiteY3" fmla="*/ 1365 h 52248"/>
                <a:gd name="connsiteX4" fmla="*/ 17314 w 18679"/>
                <a:gd name="connsiteY4" fmla="*/ 36 h 52248"/>
                <a:gd name="connsiteX5" fmla="*/ 18643 w 18679"/>
                <a:gd name="connsiteY5" fmla="*/ 2505 h 52248"/>
                <a:gd name="connsiteX6" fmla="*/ 3834 w 18679"/>
                <a:gd name="connsiteY6" fmla="*/ 50919 h 52248"/>
                <a:gd name="connsiteX7" fmla="*/ 1935 w 18679"/>
                <a:gd name="connsiteY7" fmla="*/ 52249 h 52248"/>
                <a:gd name="connsiteX8" fmla="*/ 1935 w 18679"/>
                <a:gd name="connsiteY8" fmla="*/ 52249 h 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79" h="52248">
                  <a:moveTo>
                    <a:pt x="1935" y="52249"/>
                  </a:moveTo>
                  <a:lnTo>
                    <a:pt x="1365" y="52249"/>
                  </a:lnTo>
                  <a:cubicBezTo>
                    <a:pt x="416" y="52059"/>
                    <a:pt x="-154" y="50919"/>
                    <a:pt x="36" y="49780"/>
                  </a:cubicBezTo>
                  <a:lnTo>
                    <a:pt x="14846" y="1365"/>
                  </a:lnTo>
                  <a:cubicBezTo>
                    <a:pt x="15035" y="416"/>
                    <a:pt x="16175" y="-154"/>
                    <a:pt x="17314" y="36"/>
                  </a:cubicBezTo>
                  <a:cubicBezTo>
                    <a:pt x="18263" y="226"/>
                    <a:pt x="18833" y="1365"/>
                    <a:pt x="18643" y="2505"/>
                  </a:cubicBezTo>
                  <a:lnTo>
                    <a:pt x="3834" y="50919"/>
                  </a:lnTo>
                  <a:cubicBezTo>
                    <a:pt x="3834" y="50919"/>
                    <a:pt x="2884" y="52249"/>
                    <a:pt x="1935" y="52249"/>
                  </a:cubicBezTo>
                  <a:lnTo>
                    <a:pt x="1935" y="5224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EAC3417-E1C1-4EF3-EE7E-400D902EFA7F}"/>
                </a:ext>
              </a:extLst>
            </p:cNvPr>
            <p:cNvSpPr/>
            <p:nvPr/>
          </p:nvSpPr>
          <p:spPr>
            <a:xfrm>
              <a:off x="11670429" y="1083739"/>
              <a:ext cx="75350" cy="171170"/>
            </a:xfrm>
            <a:custGeom>
              <a:avLst/>
              <a:gdLst>
                <a:gd name="connsiteX0" fmla="*/ 2018 w 55446"/>
                <a:gd name="connsiteY0" fmla="*/ 125577 h 125956"/>
                <a:gd name="connsiteX1" fmla="*/ 1258 w 55446"/>
                <a:gd name="connsiteY1" fmla="*/ 125577 h 125956"/>
                <a:gd name="connsiteX2" fmla="*/ 119 w 55446"/>
                <a:gd name="connsiteY2" fmla="*/ 123108 h 125956"/>
                <a:gd name="connsiteX3" fmla="*/ 51951 w 55446"/>
                <a:gd name="connsiteY3" fmla="*/ 1027 h 125956"/>
                <a:gd name="connsiteX4" fmla="*/ 54420 w 55446"/>
                <a:gd name="connsiteY4" fmla="*/ 268 h 125956"/>
                <a:gd name="connsiteX5" fmla="*/ 55179 w 55446"/>
                <a:gd name="connsiteY5" fmla="*/ 2736 h 125956"/>
                <a:gd name="connsiteX6" fmla="*/ 3536 w 55446"/>
                <a:gd name="connsiteY6" fmla="*/ 124627 h 125956"/>
                <a:gd name="connsiteX7" fmla="*/ 1638 w 55446"/>
                <a:gd name="connsiteY7" fmla="*/ 125956 h 125956"/>
                <a:gd name="connsiteX8" fmla="*/ 1638 w 55446"/>
                <a:gd name="connsiteY8" fmla="*/ 125956 h 12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446" h="125956">
                  <a:moveTo>
                    <a:pt x="2018" y="125577"/>
                  </a:moveTo>
                  <a:lnTo>
                    <a:pt x="1258" y="125577"/>
                  </a:lnTo>
                  <a:cubicBezTo>
                    <a:pt x="309" y="125197"/>
                    <a:pt x="-261" y="124248"/>
                    <a:pt x="119" y="123108"/>
                  </a:cubicBezTo>
                  <a:cubicBezTo>
                    <a:pt x="15308" y="81719"/>
                    <a:pt x="32775" y="40518"/>
                    <a:pt x="51951" y="1027"/>
                  </a:cubicBezTo>
                  <a:cubicBezTo>
                    <a:pt x="52331" y="78"/>
                    <a:pt x="53470" y="-302"/>
                    <a:pt x="54420" y="268"/>
                  </a:cubicBezTo>
                  <a:cubicBezTo>
                    <a:pt x="55369" y="647"/>
                    <a:pt x="55749" y="1787"/>
                    <a:pt x="55179" y="2736"/>
                  </a:cubicBezTo>
                  <a:cubicBezTo>
                    <a:pt x="36003" y="42227"/>
                    <a:pt x="18725" y="83237"/>
                    <a:pt x="3536" y="124627"/>
                  </a:cubicBezTo>
                  <a:cubicBezTo>
                    <a:pt x="3347" y="125387"/>
                    <a:pt x="2587" y="125956"/>
                    <a:pt x="1638" y="125956"/>
                  </a:cubicBezTo>
                  <a:lnTo>
                    <a:pt x="1638" y="12595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98650D5-C0DE-5AEE-B5F5-71F540C98981}"/>
                </a:ext>
              </a:extLst>
            </p:cNvPr>
            <p:cNvSpPr/>
            <p:nvPr/>
          </p:nvSpPr>
          <p:spPr>
            <a:xfrm>
              <a:off x="11590665" y="1170340"/>
              <a:ext cx="197261" cy="421280"/>
            </a:xfrm>
            <a:custGeom>
              <a:avLst/>
              <a:gdLst>
                <a:gd name="connsiteX0" fmla="*/ 1854 w 145155"/>
                <a:gd name="connsiteY0" fmla="*/ 309811 h 310000"/>
                <a:gd name="connsiteX1" fmla="*/ 1095 w 145155"/>
                <a:gd name="connsiteY1" fmla="*/ 309811 h 310000"/>
                <a:gd name="connsiteX2" fmla="*/ 146 w 145155"/>
                <a:gd name="connsiteY2" fmla="*/ 307343 h 310000"/>
                <a:gd name="connsiteX3" fmla="*/ 141593 w 145155"/>
                <a:gd name="connsiteY3" fmla="*/ 1095 h 310000"/>
                <a:gd name="connsiteX4" fmla="*/ 144061 w 145155"/>
                <a:gd name="connsiteY4" fmla="*/ 145 h 310000"/>
                <a:gd name="connsiteX5" fmla="*/ 145010 w 145155"/>
                <a:gd name="connsiteY5" fmla="*/ 2614 h 310000"/>
                <a:gd name="connsiteX6" fmla="*/ 3563 w 145155"/>
                <a:gd name="connsiteY6" fmla="*/ 308862 h 310000"/>
                <a:gd name="connsiteX7" fmla="*/ 1854 w 145155"/>
                <a:gd name="connsiteY7" fmla="*/ 310001 h 310000"/>
                <a:gd name="connsiteX8" fmla="*/ 1854 w 145155"/>
                <a:gd name="connsiteY8" fmla="*/ 310001 h 3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155" h="310000">
                  <a:moveTo>
                    <a:pt x="1854" y="309811"/>
                  </a:moveTo>
                  <a:cubicBezTo>
                    <a:pt x="1854" y="309811"/>
                    <a:pt x="1285" y="309811"/>
                    <a:pt x="1095" y="309811"/>
                  </a:cubicBezTo>
                  <a:cubicBezTo>
                    <a:pt x="146" y="309431"/>
                    <a:pt x="-234" y="308292"/>
                    <a:pt x="146" y="307343"/>
                  </a:cubicBezTo>
                  <a:lnTo>
                    <a:pt x="141593" y="1095"/>
                  </a:lnTo>
                  <a:cubicBezTo>
                    <a:pt x="141973" y="145"/>
                    <a:pt x="143112" y="-234"/>
                    <a:pt x="144061" y="145"/>
                  </a:cubicBezTo>
                  <a:cubicBezTo>
                    <a:pt x="145010" y="525"/>
                    <a:pt x="145390" y="1664"/>
                    <a:pt x="145010" y="2614"/>
                  </a:cubicBezTo>
                  <a:lnTo>
                    <a:pt x="3563" y="308862"/>
                  </a:lnTo>
                  <a:cubicBezTo>
                    <a:pt x="3563" y="308862"/>
                    <a:pt x="2614" y="310001"/>
                    <a:pt x="1854" y="310001"/>
                  </a:cubicBezTo>
                  <a:lnTo>
                    <a:pt x="1854" y="310001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2F0AB-7F30-3EC6-2064-345BA74E9F8F}"/>
                </a:ext>
              </a:extLst>
            </p:cNvPr>
            <p:cNvSpPr/>
            <p:nvPr/>
          </p:nvSpPr>
          <p:spPr>
            <a:xfrm>
              <a:off x="11667813" y="1320248"/>
              <a:ext cx="134048" cy="288144"/>
            </a:xfrm>
            <a:custGeom>
              <a:avLst/>
              <a:gdLst>
                <a:gd name="connsiteX0" fmla="*/ 1854 w 98639"/>
                <a:gd name="connsiteY0" fmla="*/ 211842 h 212031"/>
                <a:gd name="connsiteX1" fmla="*/ 1095 w 98639"/>
                <a:gd name="connsiteY1" fmla="*/ 211842 h 212031"/>
                <a:gd name="connsiteX2" fmla="*/ 146 w 98639"/>
                <a:gd name="connsiteY2" fmla="*/ 209374 h 212031"/>
                <a:gd name="connsiteX3" fmla="*/ 95077 w 98639"/>
                <a:gd name="connsiteY3" fmla="*/ 1095 h 212031"/>
                <a:gd name="connsiteX4" fmla="*/ 97545 w 98639"/>
                <a:gd name="connsiteY4" fmla="*/ 146 h 212031"/>
                <a:gd name="connsiteX5" fmla="*/ 98494 w 98639"/>
                <a:gd name="connsiteY5" fmla="*/ 2614 h 212031"/>
                <a:gd name="connsiteX6" fmla="*/ 3563 w 98639"/>
                <a:gd name="connsiteY6" fmla="*/ 210893 h 212031"/>
                <a:gd name="connsiteX7" fmla="*/ 1854 w 98639"/>
                <a:gd name="connsiteY7" fmla="*/ 212032 h 212031"/>
                <a:gd name="connsiteX8" fmla="*/ 1854 w 98639"/>
                <a:gd name="connsiteY8" fmla="*/ 212032 h 2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39" h="212031">
                  <a:moveTo>
                    <a:pt x="1854" y="211842"/>
                  </a:moveTo>
                  <a:cubicBezTo>
                    <a:pt x="1854" y="211842"/>
                    <a:pt x="1285" y="211842"/>
                    <a:pt x="1095" y="211842"/>
                  </a:cubicBezTo>
                  <a:cubicBezTo>
                    <a:pt x="146" y="211462"/>
                    <a:pt x="-234" y="210323"/>
                    <a:pt x="146" y="209374"/>
                  </a:cubicBezTo>
                  <a:lnTo>
                    <a:pt x="95077" y="1095"/>
                  </a:lnTo>
                  <a:cubicBezTo>
                    <a:pt x="95456" y="146"/>
                    <a:pt x="96596" y="-234"/>
                    <a:pt x="97545" y="146"/>
                  </a:cubicBezTo>
                  <a:cubicBezTo>
                    <a:pt x="98494" y="525"/>
                    <a:pt x="98874" y="1664"/>
                    <a:pt x="98494" y="2614"/>
                  </a:cubicBezTo>
                  <a:lnTo>
                    <a:pt x="3563" y="210893"/>
                  </a:lnTo>
                  <a:cubicBezTo>
                    <a:pt x="3563" y="210893"/>
                    <a:pt x="2614" y="212032"/>
                    <a:pt x="1854" y="212032"/>
                  </a:cubicBezTo>
                  <a:lnTo>
                    <a:pt x="1854" y="21203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2C741FD-6C32-2CCF-237F-A34170F3B83D}"/>
                </a:ext>
              </a:extLst>
            </p:cNvPr>
            <p:cNvSpPr/>
            <p:nvPr/>
          </p:nvSpPr>
          <p:spPr>
            <a:xfrm>
              <a:off x="11805169" y="1355689"/>
              <a:ext cx="61877" cy="110794"/>
            </a:xfrm>
            <a:custGeom>
              <a:avLst/>
              <a:gdLst>
                <a:gd name="connsiteX0" fmla="*/ 1786 w 45532"/>
                <a:gd name="connsiteY0" fmla="*/ 81529 h 81528"/>
                <a:gd name="connsiteX1" fmla="*/ 1027 w 45532"/>
                <a:gd name="connsiteY1" fmla="*/ 81149 h 81528"/>
                <a:gd name="connsiteX2" fmla="*/ 268 w 45532"/>
                <a:gd name="connsiteY2" fmla="*/ 78491 h 81528"/>
                <a:gd name="connsiteX3" fmla="*/ 42037 w 45532"/>
                <a:gd name="connsiteY3" fmla="*/ 1027 h 81528"/>
                <a:gd name="connsiteX4" fmla="*/ 44505 w 45532"/>
                <a:gd name="connsiteY4" fmla="*/ 268 h 81528"/>
                <a:gd name="connsiteX5" fmla="*/ 45265 w 45532"/>
                <a:gd name="connsiteY5" fmla="*/ 2926 h 81528"/>
                <a:gd name="connsiteX6" fmla="*/ 3495 w 45532"/>
                <a:gd name="connsiteY6" fmla="*/ 80389 h 81528"/>
                <a:gd name="connsiteX7" fmla="*/ 1786 w 45532"/>
                <a:gd name="connsiteY7" fmla="*/ 81339 h 81528"/>
                <a:gd name="connsiteX8" fmla="*/ 1786 w 45532"/>
                <a:gd name="connsiteY8" fmla="*/ 81339 h 8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32" h="81528">
                  <a:moveTo>
                    <a:pt x="1786" y="81529"/>
                  </a:moveTo>
                  <a:cubicBezTo>
                    <a:pt x="1786" y="81529"/>
                    <a:pt x="1217" y="81529"/>
                    <a:pt x="1027" y="81149"/>
                  </a:cubicBezTo>
                  <a:cubicBezTo>
                    <a:pt x="78" y="80579"/>
                    <a:pt x="-302" y="79440"/>
                    <a:pt x="268" y="78491"/>
                  </a:cubicBezTo>
                  <a:lnTo>
                    <a:pt x="42037" y="1027"/>
                  </a:lnTo>
                  <a:cubicBezTo>
                    <a:pt x="42607" y="78"/>
                    <a:pt x="43746" y="-302"/>
                    <a:pt x="44505" y="268"/>
                  </a:cubicBezTo>
                  <a:cubicBezTo>
                    <a:pt x="45455" y="837"/>
                    <a:pt x="45835" y="1976"/>
                    <a:pt x="45265" y="2926"/>
                  </a:cubicBezTo>
                  <a:lnTo>
                    <a:pt x="3495" y="80389"/>
                  </a:lnTo>
                  <a:cubicBezTo>
                    <a:pt x="3495" y="80389"/>
                    <a:pt x="2546" y="81339"/>
                    <a:pt x="1786" y="81339"/>
                  </a:cubicBezTo>
                  <a:lnTo>
                    <a:pt x="1786" y="8133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14E3D01-BCC2-E8F2-E259-185D8F6C9899}"/>
                </a:ext>
              </a:extLst>
            </p:cNvPr>
            <p:cNvSpPr/>
            <p:nvPr/>
          </p:nvSpPr>
          <p:spPr>
            <a:xfrm>
              <a:off x="11710219" y="1608287"/>
              <a:ext cx="30915" cy="57900"/>
            </a:xfrm>
            <a:custGeom>
              <a:avLst/>
              <a:gdLst>
                <a:gd name="connsiteX0" fmla="*/ 1786 w 22749"/>
                <a:gd name="connsiteY0" fmla="*/ 42227 h 42606"/>
                <a:gd name="connsiteX1" fmla="*/ 1027 w 22749"/>
                <a:gd name="connsiteY1" fmla="*/ 42227 h 42606"/>
                <a:gd name="connsiteX2" fmla="*/ 268 w 22749"/>
                <a:gd name="connsiteY2" fmla="*/ 39759 h 42606"/>
                <a:gd name="connsiteX3" fmla="*/ 19254 w 22749"/>
                <a:gd name="connsiteY3" fmla="*/ 1027 h 42606"/>
                <a:gd name="connsiteX4" fmla="*/ 21722 w 22749"/>
                <a:gd name="connsiteY4" fmla="*/ 268 h 42606"/>
                <a:gd name="connsiteX5" fmla="*/ 22482 w 22749"/>
                <a:gd name="connsiteY5" fmla="*/ 2736 h 42606"/>
                <a:gd name="connsiteX6" fmla="*/ 3495 w 22749"/>
                <a:gd name="connsiteY6" fmla="*/ 41468 h 42606"/>
                <a:gd name="connsiteX7" fmla="*/ 1786 w 22749"/>
                <a:gd name="connsiteY7" fmla="*/ 42607 h 42606"/>
                <a:gd name="connsiteX8" fmla="*/ 1786 w 22749"/>
                <a:gd name="connsiteY8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9" h="42606">
                  <a:moveTo>
                    <a:pt x="1786" y="42227"/>
                  </a:moveTo>
                  <a:cubicBezTo>
                    <a:pt x="1786" y="42227"/>
                    <a:pt x="1217" y="42227"/>
                    <a:pt x="1027" y="42227"/>
                  </a:cubicBezTo>
                  <a:cubicBezTo>
                    <a:pt x="78" y="41847"/>
                    <a:pt x="-302" y="40708"/>
                    <a:pt x="268" y="39759"/>
                  </a:cubicBezTo>
                  <a:lnTo>
                    <a:pt x="19254" y="1027"/>
                  </a:lnTo>
                  <a:cubicBezTo>
                    <a:pt x="19634" y="78"/>
                    <a:pt x="20773" y="-302"/>
                    <a:pt x="21722" y="268"/>
                  </a:cubicBezTo>
                  <a:cubicBezTo>
                    <a:pt x="22671" y="647"/>
                    <a:pt x="23051" y="1787"/>
                    <a:pt x="22482" y="2736"/>
                  </a:cubicBezTo>
                  <a:lnTo>
                    <a:pt x="3495" y="41468"/>
                  </a:lnTo>
                  <a:cubicBezTo>
                    <a:pt x="3495" y="41468"/>
                    <a:pt x="2546" y="42607"/>
                    <a:pt x="1786" y="42607"/>
                  </a:cubicBezTo>
                  <a:lnTo>
                    <a:pt x="1786" y="42607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E0C7D16-4BFC-0F93-CA77-4DFF6A457DFB}"/>
                </a:ext>
              </a:extLst>
            </p:cNvPr>
            <p:cNvSpPr/>
            <p:nvPr/>
          </p:nvSpPr>
          <p:spPr>
            <a:xfrm>
              <a:off x="11275977" y="1322662"/>
              <a:ext cx="39946" cy="78542"/>
            </a:xfrm>
            <a:custGeom>
              <a:avLst/>
              <a:gdLst>
                <a:gd name="connsiteX0" fmla="*/ 1787 w 29394"/>
                <a:gd name="connsiteY0" fmla="*/ 57416 h 57795"/>
                <a:gd name="connsiteX1" fmla="*/ 1027 w 29394"/>
                <a:gd name="connsiteY1" fmla="*/ 57416 h 57795"/>
                <a:gd name="connsiteX2" fmla="*/ 268 w 29394"/>
                <a:gd name="connsiteY2" fmla="*/ 54948 h 57795"/>
                <a:gd name="connsiteX3" fmla="*/ 25899 w 29394"/>
                <a:gd name="connsiteY3" fmla="*/ 1027 h 57795"/>
                <a:gd name="connsiteX4" fmla="*/ 28367 w 29394"/>
                <a:gd name="connsiteY4" fmla="*/ 268 h 57795"/>
                <a:gd name="connsiteX5" fmla="*/ 29127 w 29394"/>
                <a:gd name="connsiteY5" fmla="*/ 2736 h 57795"/>
                <a:gd name="connsiteX6" fmla="*/ 3495 w 29394"/>
                <a:gd name="connsiteY6" fmla="*/ 56657 h 57795"/>
                <a:gd name="connsiteX7" fmla="*/ 1787 w 29394"/>
                <a:gd name="connsiteY7" fmla="*/ 57796 h 57795"/>
                <a:gd name="connsiteX8" fmla="*/ 1787 w 29394"/>
                <a:gd name="connsiteY8" fmla="*/ 57796 h 5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57795">
                  <a:moveTo>
                    <a:pt x="1787" y="57416"/>
                  </a:moveTo>
                  <a:cubicBezTo>
                    <a:pt x="1787" y="57416"/>
                    <a:pt x="1217" y="57416"/>
                    <a:pt x="1027" y="57416"/>
                  </a:cubicBezTo>
                  <a:cubicBezTo>
                    <a:pt x="78" y="57036"/>
                    <a:pt x="-302" y="55897"/>
                    <a:pt x="268" y="54948"/>
                  </a:cubicBezTo>
                  <a:lnTo>
                    <a:pt x="25899" y="1027"/>
                  </a:lnTo>
                  <a:cubicBezTo>
                    <a:pt x="26279" y="78"/>
                    <a:pt x="27418" y="-302"/>
                    <a:pt x="28367" y="268"/>
                  </a:cubicBezTo>
                  <a:cubicBezTo>
                    <a:pt x="29317" y="647"/>
                    <a:pt x="29696" y="1787"/>
                    <a:pt x="29127" y="2736"/>
                  </a:cubicBezTo>
                  <a:lnTo>
                    <a:pt x="3495" y="56657"/>
                  </a:lnTo>
                  <a:cubicBezTo>
                    <a:pt x="3495" y="56657"/>
                    <a:pt x="2546" y="57796"/>
                    <a:pt x="1787" y="57796"/>
                  </a:cubicBezTo>
                  <a:lnTo>
                    <a:pt x="1787" y="5779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46D2E13-3AE6-92D8-9DE0-4A54070ACBBE}"/>
                </a:ext>
              </a:extLst>
            </p:cNvPr>
            <p:cNvSpPr/>
            <p:nvPr/>
          </p:nvSpPr>
          <p:spPr>
            <a:xfrm>
              <a:off x="11422272" y="1072128"/>
              <a:ext cx="31172" cy="52224"/>
            </a:xfrm>
            <a:custGeom>
              <a:avLst/>
              <a:gdLst>
                <a:gd name="connsiteX0" fmla="*/ 1976 w 22938"/>
                <a:gd name="connsiteY0" fmla="*/ 38430 h 38429"/>
                <a:gd name="connsiteX1" fmla="*/ 1027 w 22938"/>
                <a:gd name="connsiteY1" fmla="*/ 38240 h 38429"/>
                <a:gd name="connsiteX2" fmla="*/ 268 w 22938"/>
                <a:gd name="connsiteY2" fmla="*/ 35582 h 38429"/>
                <a:gd name="connsiteX3" fmla="*/ 19254 w 22938"/>
                <a:gd name="connsiteY3" fmla="*/ 1027 h 38429"/>
                <a:gd name="connsiteX4" fmla="*/ 21912 w 22938"/>
                <a:gd name="connsiteY4" fmla="*/ 268 h 38429"/>
                <a:gd name="connsiteX5" fmla="*/ 22671 w 22938"/>
                <a:gd name="connsiteY5" fmla="*/ 2926 h 38429"/>
                <a:gd name="connsiteX6" fmla="*/ 3685 w 22938"/>
                <a:gd name="connsiteY6" fmla="*/ 37481 h 38429"/>
                <a:gd name="connsiteX7" fmla="*/ 1976 w 22938"/>
                <a:gd name="connsiteY7" fmla="*/ 38430 h 38429"/>
                <a:gd name="connsiteX8" fmla="*/ 1976 w 22938"/>
                <a:gd name="connsiteY8" fmla="*/ 38430 h 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38" h="38429">
                  <a:moveTo>
                    <a:pt x="1976" y="38430"/>
                  </a:moveTo>
                  <a:cubicBezTo>
                    <a:pt x="1976" y="38430"/>
                    <a:pt x="1407" y="38430"/>
                    <a:pt x="1027" y="38240"/>
                  </a:cubicBezTo>
                  <a:cubicBezTo>
                    <a:pt x="78" y="37670"/>
                    <a:pt x="-302" y="36531"/>
                    <a:pt x="268" y="35582"/>
                  </a:cubicBezTo>
                  <a:lnTo>
                    <a:pt x="19254" y="1027"/>
                  </a:lnTo>
                  <a:cubicBezTo>
                    <a:pt x="19823" y="78"/>
                    <a:pt x="20963" y="-302"/>
                    <a:pt x="21912" y="268"/>
                  </a:cubicBezTo>
                  <a:cubicBezTo>
                    <a:pt x="22861" y="837"/>
                    <a:pt x="23241" y="1976"/>
                    <a:pt x="22671" y="2926"/>
                  </a:cubicBezTo>
                  <a:lnTo>
                    <a:pt x="3685" y="37481"/>
                  </a:lnTo>
                  <a:cubicBezTo>
                    <a:pt x="3685" y="37481"/>
                    <a:pt x="2736" y="38430"/>
                    <a:pt x="1976" y="38430"/>
                  </a:cubicBezTo>
                  <a:lnTo>
                    <a:pt x="1976" y="38430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A0151F-A250-5BA4-C06D-7DEBB7D40BC1}"/>
                </a:ext>
              </a:extLst>
            </p:cNvPr>
            <p:cNvSpPr/>
            <p:nvPr/>
          </p:nvSpPr>
          <p:spPr>
            <a:xfrm>
              <a:off x="11215255" y="1003300"/>
              <a:ext cx="754074" cy="725328"/>
            </a:xfrm>
            <a:custGeom>
              <a:avLst/>
              <a:gdLst>
                <a:gd name="connsiteX0" fmla="*/ 332022 w 554886"/>
                <a:gd name="connsiteY0" fmla="*/ 533355 h 533734"/>
                <a:gd name="connsiteX1" fmla="*/ 326705 w 554886"/>
                <a:gd name="connsiteY1" fmla="*/ 529748 h 533734"/>
                <a:gd name="connsiteX2" fmla="*/ 296327 w 554886"/>
                <a:gd name="connsiteY2" fmla="*/ 465005 h 533734"/>
                <a:gd name="connsiteX3" fmla="*/ 222091 w 554886"/>
                <a:gd name="connsiteY3" fmla="*/ 464245 h 533734"/>
                <a:gd name="connsiteX4" fmla="*/ 201017 w 554886"/>
                <a:gd name="connsiteY4" fmla="*/ 503927 h 533734"/>
                <a:gd name="connsiteX5" fmla="*/ 188865 w 554886"/>
                <a:gd name="connsiteY5" fmla="*/ 527280 h 533734"/>
                <a:gd name="connsiteX6" fmla="*/ 181651 w 554886"/>
                <a:gd name="connsiteY6" fmla="*/ 529938 h 533734"/>
                <a:gd name="connsiteX7" fmla="*/ 89188 w 554886"/>
                <a:gd name="connsiteY7" fmla="*/ 461777 h 533734"/>
                <a:gd name="connsiteX8" fmla="*/ 89188 w 554886"/>
                <a:gd name="connsiteY8" fmla="*/ 454752 h 533734"/>
                <a:gd name="connsiteX9" fmla="*/ 129818 w 554886"/>
                <a:gd name="connsiteY9" fmla="*/ 394756 h 533734"/>
                <a:gd name="connsiteX10" fmla="*/ 88238 w 554886"/>
                <a:gd name="connsiteY10" fmla="*/ 321279 h 533734"/>
                <a:gd name="connsiteX11" fmla="*/ 69632 w 554886"/>
                <a:gd name="connsiteY11" fmla="*/ 325076 h 533734"/>
                <a:gd name="connsiteX12" fmla="*/ 13053 w 554886"/>
                <a:gd name="connsiteY12" fmla="*/ 335709 h 533734"/>
                <a:gd name="connsiteX13" fmla="*/ 6598 w 554886"/>
                <a:gd name="connsiteY13" fmla="*/ 331532 h 533734"/>
                <a:gd name="connsiteX14" fmla="*/ 15901 w 554886"/>
                <a:gd name="connsiteY14" fmla="*/ 190654 h 533734"/>
                <a:gd name="connsiteX15" fmla="*/ 22926 w 554886"/>
                <a:gd name="connsiteY15" fmla="*/ 186857 h 533734"/>
                <a:gd name="connsiteX16" fmla="*/ 103427 w 554886"/>
                <a:gd name="connsiteY16" fmla="*/ 206982 h 533734"/>
                <a:gd name="connsiteX17" fmla="*/ 143868 w 554886"/>
                <a:gd name="connsiteY17" fmla="*/ 135784 h 533734"/>
                <a:gd name="connsiteX18" fmla="*/ 104187 w 554886"/>
                <a:gd name="connsiteY18" fmla="*/ 75597 h 533734"/>
                <a:gd name="connsiteX19" fmla="*/ 105326 w 554886"/>
                <a:gd name="connsiteY19" fmla="*/ 68573 h 533734"/>
                <a:gd name="connsiteX20" fmla="*/ 208041 w 554886"/>
                <a:gd name="connsiteY20" fmla="*/ 3640 h 533734"/>
                <a:gd name="connsiteX21" fmla="*/ 215446 w 554886"/>
                <a:gd name="connsiteY21" fmla="*/ 6108 h 533734"/>
                <a:gd name="connsiteX22" fmla="*/ 250001 w 554886"/>
                <a:gd name="connsiteY22" fmla="*/ 77496 h 533734"/>
                <a:gd name="connsiteX23" fmla="*/ 331452 w 554886"/>
                <a:gd name="connsiteY23" fmla="*/ 74458 h 533734"/>
                <a:gd name="connsiteX24" fmla="*/ 371513 w 554886"/>
                <a:gd name="connsiteY24" fmla="*/ 2690 h 533734"/>
                <a:gd name="connsiteX25" fmla="*/ 379107 w 554886"/>
                <a:gd name="connsiteY25" fmla="*/ 602 h 533734"/>
                <a:gd name="connsiteX26" fmla="*/ 463026 w 554886"/>
                <a:gd name="connsiteY26" fmla="*/ 56991 h 533734"/>
                <a:gd name="connsiteX27" fmla="*/ 483721 w 554886"/>
                <a:gd name="connsiteY27" fmla="*/ 75218 h 533734"/>
                <a:gd name="connsiteX28" fmla="*/ 491885 w 554886"/>
                <a:gd name="connsiteY28" fmla="*/ 86230 h 533734"/>
                <a:gd name="connsiteX29" fmla="*/ 491126 w 554886"/>
                <a:gd name="connsiteY29" fmla="*/ 90976 h 533734"/>
                <a:gd name="connsiteX30" fmla="*/ 472899 w 554886"/>
                <a:gd name="connsiteY30" fmla="*/ 117557 h 533734"/>
                <a:gd name="connsiteX31" fmla="*/ 445939 w 554886"/>
                <a:gd name="connsiteY31" fmla="*/ 157238 h 533734"/>
                <a:gd name="connsiteX32" fmla="*/ 469672 w 554886"/>
                <a:gd name="connsiteY32" fmla="*/ 218943 h 533734"/>
                <a:gd name="connsiteX33" fmla="*/ 550743 w 554886"/>
                <a:gd name="connsiteY33" fmla="*/ 237740 h 533734"/>
                <a:gd name="connsiteX34" fmla="*/ 554350 w 554886"/>
                <a:gd name="connsiteY34" fmla="*/ 242676 h 533734"/>
                <a:gd name="connsiteX35" fmla="*/ 538782 w 554886"/>
                <a:gd name="connsiteY35" fmla="*/ 351087 h 533734"/>
                <a:gd name="connsiteX36" fmla="*/ 533086 w 554886"/>
                <a:gd name="connsiteY36" fmla="*/ 354885 h 533734"/>
                <a:gd name="connsiteX37" fmla="*/ 524542 w 554886"/>
                <a:gd name="connsiteY37" fmla="*/ 354885 h 533734"/>
                <a:gd name="connsiteX38" fmla="*/ 461508 w 554886"/>
                <a:gd name="connsiteY38" fmla="*/ 354885 h 533734"/>
                <a:gd name="connsiteX39" fmla="*/ 421636 w 554886"/>
                <a:gd name="connsiteY39" fmla="*/ 419438 h 533734"/>
                <a:gd name="connsiteX40" fmla="*/ 455812 w 554886"/>
                <a:gd name="connsiteY40" fmla="*/ 487219 h 533734"/>
                <a:gd name="connsiteX41" fmla="*/ 453343 w 554886"/>
                <a:gd name="connsiteY41" fmla="*/ 494623 h 533734"/>
                <a:gd name="connsiteX42" fmla="*/ 333351 w 554886"/>
                <a:gd name="connsiteY42" fmla="*/ 533355 h 533734"/>
                <a:gd name="connsiteX43" fmla="*/ 332781 w 554886"/>
                <a:gd name="connsiteY43" fmla="*/ 533355 h 533734"/>
                <a:gd name="connsiteX44" fmla="*/ 332401 w 554886"/>
                <a:gd name="connsiteY44" fmla="*/ 533735 h 533734"/>
                <a:gd name="connsiteX45" fmla="*/ 298985 w 554886"/>
                <a:gd name="connsiteY45" fmla="*/ 452854 h 533734"/>
                <a:gd name="connsiteX46" fmla="*/ 303732 w 554886"/>
                <a:gd name="connsiteY46" fmla="*/ 455512 h 533734"/>
                <a:gd name="connsiteX47" fmla="*/ 335629 w 554886"/>
                <a:gd name="connsiteY47" fmla="*/ 521204 h 533734"/>
                <a:gd name="connsiteX48" fmla="*/ 442142 w 554886"/>
                <a:gd name="connsiteY48" fmla="*/ 486649 h 533734"/>
                <a:gd name="connsiteX49" fmla="*/ 408536 w 554886"/>
                <a:gd name="connsiteY49" fmla="*/ 421526 h 533734"/>
                <a:gd name="connsiteX50" fmla="*/ 409106 w 554886"/>
                <a:gd name="connsiteY50" fmla="*/ 415071 h 533734"/>
                <a:gd name="connsiteX51" fmla="*/ 450875 w 554886"/>
                <a:gd name="connsiteY51" fmla="*/ 347480 h 533734"/>
                <a:gd name="connsiteX52" fmla="*/ 455622 w 554886"/>
                <a:gd name="connsiteY52" fmla="*/ 343873 h 533734"/>
                <a:gd name="connsiteX53" fmla="*/ 523592 w 554886"/>
                <a:gd name="connsiteY53" fmla="*/ 343303 h 533734"/>
                <a:gd name="connsiteX54" fmla="*/ 527959 w 554886"/>
                <a:gd name="connsiteY54" fmla="*/ 343303 h 533734"/>
                <a:gd name="connsiteX55" fmla="*/ 541629 w 554886"/>
                <a:gd name="connsiteY55" fmla="*/ 247423 h 533734"/>
                <a:gd name="connsiteX56" fmla="*/ 463786 w 554886"/>
                <a:gd name="connsiteY56" fmla="*/ 230525 h 533734"/>
                <a:gd name="connsiteX57" fmla="*/ 458849 w 554886"/>
                <a:gd name="connsiteY57" fmla="*/ 226728 h 533734"/>
                <a:gd name="connsiteX58" fmla="*/ 433028 w 554886"/>
                <a:gd name="connsiteY58" fmla="*/ 159327 h 533734"/>
                <a:gd name="connsiteX59" fmla="*/ 433408 w 554886"/>
                <a:gd name="connsiteY59" fmla="*/ 153821 h 533734"/>
                <a:gd name="connsiteX60" fmla="*/ 462267 w 554886"/>
                <a:gd name="connsiteY60" fmla="*/ 111292 h 533734"/>
                <a:gd name="connsiteX61" fmla="*/ 478405 w 554886"/>
                <a:gd name="connsiteY61" fmla="*/ 87749 h 533734"/>
                <a:gd name="connsiteX62" fmla="*/ 474798 w 554886"/>
                <a:gd name="connsiteY62" fmla="*/ 84141 h 533734"/>
                <a:gd name="connsiteX63" fmla="*/ 454483 w 554886"/>
                <a:gd name="connsiteY63" fmla="*/ 66294 h 533734"/>
                <a:gd name="connsiteX64" fmla="*/ 377399 w 554886"/>
                <a:gd name="connsiteY64" fmla="*/ 13702 h 533734"/>
                <a:gd name="connsiteX65" fmla="*/ 338856 w 554886"/>
                <a:gd name="connsiteY65" fmla="*/ 83382 h 533734"/>
                <a:gd name="connsiteX66" fmla="*/ 332971 w 554886"/>
                <a:gd name="connsiteY66" fmla="*/ 86419 h 533734"/>
                <a:gd name="connsiteX67" fmla="*/ 246204 w 554886"/>
                <a:gd name="connsiteY67" fmla="*/ 89647 h 533734"/>
                <a:gd name="connsiteX68" fmla="*/ 239748 w 554886"/>
                <a:gd name="connsiteY68" fmla="*/ 86040 h 533734"/>
                <a:gd name="connsiteX69" fmla="*/ 206712 w 554886"/>
                <a:gd name="connsiteY69" fmla="*/ 16360 h 533734"/>
                <a:gd name="connsiteX70" fmla="*/ 115389 w 554886"/>
                <a:gd name="connsiteY70" fmla="*/ 74079 h 533734"/>
                <a:gd name="connsiteX71" fmla="*/ 154310 w 554886"/>
                <a:gd name="connsiteY71" fmla="*/ 131986 h 533734"/>
                <a:gd name="connsiteX72" fmla="*/ 154500 w 554886"/>
                <a:gd name="connsiteY72" fmla="*/ 138442 h 533734"/>
                <a:gd name="connsiteX73" fmla="*/ 110832 w 554886"/>
                <a:gd name="connsiteY73" fmla="*/ 215906 h 533734"/>
                <a:gd name="connsiteX74" fmla="*/ 104187 w 554886"/>
                <a:gd name="connsiteY74" fmla="*/ 219133 h 533734"/>
                <a:gd name="connsiteX75" fmla="*/ 24255 w 554886"/>
                <a:gd name="connsiteY75" fmla="*/ 199198 h 533734"/>
                <a:gd name="connsiteX76" fmla="*/ 15521 w 554886"/>
                <a:gd name="connsiteY76" fmla="*/ 323178 h 533734"/>
                <a:gd name="connsiteX77" fmla="*/ 66025 w 554886"/>
                <a:gd name="connsiteY77" fmla="*/ 313495 h 533734"/>
                <a:gd name="connsiteX78" fmla="*/ 89378 w 554886"/>
                <a:gd name="connsiteY78" fmla="*/ 308748 h 533734"/>
                <a:gd name="connsiteX79" fmla="*/ 95833 w 554886"/>
                <a:gd name="connsiteY79" fmla="*/ 312356 h 533734"/>
                <a:gd name="connsiteX80" fmla="*/ 140071 w 554886"/>
                <a:gd name="connsiteY80" fmla="*/ 390579 h 533734"/>
                <a:gd name="connsiteX81" fmla="*/ 140450 w 554886"/>
                <a:gd name="connsiteY81" fmla="*/ 397224 h 533734"/>
                <a:gd name="connsiteX82" fmla="*/ 99820 w 554886"/>
                <a:gd name="connsiteY82" fmla="*/ 457790 h 533734"/>
                <a:gd name="connsiteX83" fmla="*/ 179942 w 554886"/>
                <a:gd name="connsiteY83" fmla="*/ 517027 h 533734"/>
                <a:gd name="connsiteX84" fmla="*/ 189815 w 554886"/>
                <a:gd name="connsiteY84" fmla="*/ 498421 h 533734"/>
                <a:gd name="connsiteX85" fmla="*/ 212978 w 554886"/>
                <a:gd name="connsiteY85" fmla="*/ 455132 h 533734"/>
                <a:gd name="connsiteX86" fmla="*/ 218674 w 554886"/>
                <a:gd name="connsiteY86" fmla="*/ 452094 h 533734"/>
                <a:gd name="connsiteX87" fmla="*/ 297656 w 554886"/>
                <a:gd name="connsiteY87" fmla="*/ 452854 h 533734"/>
                <a:gd name="connsiteX88" fmla="*/ 298416 w 554886"/>
                <a:gd name="connsiteY88" fmla="*/ 452854 h 533734"/>
                <a:gd name="connsiteX89" fmla="*/ 298416 w 554886"/>
                <a:gd name="connsiteY89" fmla="*/ 452854 h 53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54886" h="533734">
                  <a:moveTo>
                    <a:pt x="332022" y="533355"/>
                  </a:moveTo>
                  <a:cubicBezTo>
                    <a:pt x="329553" y="533355"/>
                    <a:pt x="327465" y="532026"/>
                    <a:pt x="326705" y="529748"/>
                  </a:cubicBezTo>
                  <a:cubicBezTo>
                    <a:pt x="318351" y="508483"/>
                    <a:pt x="309618" y="486649"/>
                    <a:pt x="296327" y="465005"/>
                  </a:cubicBezTo>
                  <a:cubicBezTo>
                    <a:pt x="271266" y="468232"/>
                    <a:pt x="245824" y="466714"/>
                    <a:pt x="222091" y="464245"/>
                  </a:cubicBezTo>
                  <a:cubicBezTo>
                    <a:pt x="215066" y="476966"/>
                    <a:pt x="208231" y="490067"/>
                    <a:pt x="201017" y="503927"/>
                  </a:cubicBezTo>
                  <a:cubicBezTo>
                    <a:pt x="197029" y="511521"/>
                    <a:pt x="193042" y="519305"/>
                    <a:pt x="188865" y="527280"/>
                  </a:cubicBezTo>
                  <a:cubicBezTo>
                    <a:pt x="187536" y="529748"/>
                    <a:pt x="184309" y="531077"/>
                    <a:pt x="181651" y="529938"/>
                  </a:cubicBezTo>
                  <a:cubicBezTo>
                    <a:pt x="144817" y="515508"/>
                    <a:pt x="112921" y="491965"/>
                    <a:pt x="89188" y="461777"/>
                  </a:cubicBezTo>
                  <a:cubicBezTo>
                    <a:pt x="87669" y="459879"/>
                    <a:pt x="87479" y="457031"/>
                    <a:pt x="89188" y="454752"/>
                  </a:cubicBezTo>
                  <a:cubicBezTo>
                    <a:pt x="102098" y="436336"/>
                    <a:pt x="115389" y="417729"/>
                    <a:pt x="129818" y="394756"/>
                  </a:cubicBezTo>
                  <a:cubicBezTo>
                    <a:pt x="114439" y="374820"/>
                    <a:pt x="100769" y="350708"/>
                    <a:pt x="88238" y="321279"/>
                  </a:cubicBezTo>
                  <a:cubicBezTo>
                    <a:pt x="81973" y="322608"/>
                    <a:pt x="75897" y="323747"/>
                    <a:pt x="69632" y="325076"/>
                  </a:cubicBezTo>
                  <a:cubicBezTo>
                    <a:pt x="51785" y="328874"/>
                    <a:pt x="33178" y="332861"/>
                    <a:pt x="13053" y="335709"/>
                  </a:cubicBezTo>
                  <a:cubicBezTo>
                    <a:pt x="10015" y="336088"/>
                    <a:pt x="7357" y="334380"/>
                    <a:pt x="6598" y="331532"/>
                  </a:cubicBezTo>
                  <a:cubicBezTo>
                    <a:pt x="-4604" y="289572"/>
                    <a:pt x="-1567" y="242296"/>
                    <a:pt x="15901" y="190654"/>
                  </a:cubicBezTo>
                  <a:cubicBezTo>
                    <a:pt x="16850" y="187806"/>
                    <a:pt x="19888" y="186097"/>
                    <a:pt x="22926" y="186857"/>
                  </a:cubicBezTo>
                  <a:cubicBezTo>
                    <a:pt x="48747" y="193312"/>
                    <a:pt x="75518" y="200147"/>
                    <a:pt x="103427" y="206982"/>
                  </a:cubicBezTo>
                  <a:cubicBezTo>
                    <a:pt x="114629" y="182490"/>
                    <a:pt x="128869" y="159706"/>
                    <a:pt x="143868" y="135784"/>
                  </a:cubicBezTo>
                  <a:cubicBezTo>
                    <a:pt x="131147" y="118696"/>
                    <a:pt x="116908" y="98950"/>
                    <a:pt x="104187" y="75597"/>
                  </a:cubicBezTo>
                  <a:cubicBezTo>
                    <a:pt x="102858" y="73129"/>
                    <a:pt x="103427" y="70281"/>
                    <a:pt x="105326" y="68573"/>
                  </a:cubicBezTo>
                  <a:cubicBezTo>
                    <a:pt x="132666" y="43511"/>
                    <a:pt x="167221" y="21677"/>
                    <a:pt x="208041" y="3640"/>
                  </a:cubicBezTo>
                  <a:cubicBezTo>
                    <a:pt x="210699" y="2311"/>
                    <a:pt x="213927" y="3640"/>
                    <a:pt x="215446" y="6108"/>
                  </a:cubicBezTo>
                  <a:cubicBezTo>
                    <a:pt x="228357" y="29081"/>
                    <a:pt x="239938" y="53194"/>
                    <a:pt x="250001" y="77496"/>
                  </a:cubicBezTo>
                  <a:cubicBezTo>
                    <a:pt x="276772" y="73129"/>
                    <a:pt x="304302" y="72180"/>
                    <a:pt x="331452" y="74458"/>
                  </a:cubicBezTo>
                  <a:cubicBezTo>
                    <a:pt x="343413" y="51485"/>
                    <a:pt x="355944" y="27562"/>
                    <a:pt x="371513" y="2690"/>
                  </a:cubicBezTo>
                  <a:cubicBezTo>
                    <a:pt x="373032" y="222"/>
                    <a:pt x="376449" y="-727"/>
                    <a:pt x="379107" y="602"/>
                  </a:cubicBezTo>
                  <a:cubicBezTo>
                    <a:pt x="408916" y="16171"/>
                    <a:pt x="437205" y="35157"/>
                    <a:pt x="463026" y="56991"/>
                  </a:cubicBezTo>
                  <a:cubicBezTo>
                    <a:pt x="470051" y="62877"/>
                    <a:pt x="476886" y="69142"/>
                    <a:pt x="483721" y="75218"/>
                  </a:cubicBezTo>
                  <a:cubicBezTo>
                    <a:pt x="486949" y="78255"/>
                    <a:pt x="490746" y="81483"/>
                    <a:pt x="491885" y="86230"/>
                  </a:cubicBezTo>
                  <a:cubicBezTo>
                    <a:pt x="492265" y="87749"/>
                    <a:pt x="491885" y="89457"/>
                    <a:pt x="491126" y="90976"/>
                  </a:cubicBezTo>
                  <a:cubicBezTo>
                    <a:pt x="485240" y="99710"/>
                    <a:pt x="479165" y="108444"/>
                    <a:pt x="472899" y="117557"/>
                  </a:cubicBezTo>
                  <a:cubicBezTo>
                    <a:pt x="464166" y="130088"/>
                    <a:pt x="455242" y="142999"/>
                    <a:pt x="445939" y="157238"/>
                  </a:cubicBezTo>
                  <a:cubicBezTo>
                    <a:pt x="454103" y="177553"/>
                    <a:pt x="462267" y="198248"/>
                    <a:pt x="469672" y="218943"/>
                  </a:cubicBezTo>
                  <a:cubicBezTo>
                    <a:pt x="491696" y="220842"/>
                    <a:pt x="520175" y="225209"/>
                    <a:pt x="550743" y="237740"/>
                  </a:cubicBezTo>
                  <a:cubicBezTo>
                    <a:pt x="552641" y="238499"/>
                    <a:pt x="554160" y="240588"/>
                    <a:pt x="554350" y="242676"/>
                  </a:cubicBezTo>
                  <a:cubicBezTo>
                    <a:pt x="556629" y="281408"/>
                    <a:pt x="551692" y="316912"/>
                    <a:pt x="538782" y="351087"/>
                  </a:cubicBezTo>
                  <a:cubicBezTo>
                    <a:pt x="538022" y="353556"/>
                    <a:pt x="535554" y="354885"/>
                    <a:pt x="533086" y="354885"/>
                  </a:cubicBezTo>
                  <a:lnTo>
                    <a:pt x="524542" y="354885"/>
                  </a:lnTo>
                  <a:cubicBezTo>
                    <a:pt x="504416" y="353746"/>
                    <a:pt x="483721" y="352986"/>
                    <a:pt x="461508" y="354885"/>
                  </a:cubicBezTo>
                  <a:cubicBezTo>
                    <a:pt x="453343" y="375390"/>
                    <a:pt x="440433" y="396085"/>
                    <a:pt x="421636" y="419438"/>
                  </a:cubicBezTo>
                  <a:cubicBezTo>
                    <a:pt x="433408" y="440133"/>
                    <a:pt x="445369" y="461777"/>
                    <a:pt x="455812" y="487219"/>
                  </a:cubicBezTo>
                  <a:cubicBezTo>
                    <a:pt x="456951" y="489877"/>
                    <a:pt x="455812" y="493104"/>
                    <a:pt x="453343" y="494623"/>
                  </a:cubicBezTo>
                  <a:cubicBezTo>
                    <a:pt x="414042" y="516078"/>
                    <a:pt x="373791" y="529178"/>
                    <a:pt x="333351" y="533355"/>
                  </a:cubicBezTo>
                  <a:lnTo>
                    <a:pt x="332781" y="533355"/>
                  </a:lnTo>
                  <a:lnTo>
                    <a:pt x="332401" y="533735"/>
                  </a:lnTo>
                  <a:close/>
                  <a:moveTo>
                    <a:pt x="298985" y="452854"/>
                  </a:moveTo>
                  <a:cubicBezTo>
                    <a:pt x="300884" y="452854"/>
                    <a:pt x="302783" y="453803"/>
                    <a:pt x="303732" y="455512"/>
                  </a:cubicBezTo>
                  <a:cubicBezTo>
                    <a:pt x="317972" y="477536"/>
                    <a:pt x="327085" y="499750"/>
                    <a:pt x="335629" y="521204"/>
                  </a:cubicBezTo>
                  <a:cubicBezTo>
                    <a:pt x="371513" y="516837"/>
                    <a:pt x="407017" y="505066"/>
                    <a:pt x="442142" y="486649"/>
                  </a:cubicBezTo>
                  <a:cubicBezTo>
                    <a:pt x="431699" y="462537"/>
                    <a:pt x="420118" y="441842"/>
                    <a:pt x="408536" y="421526"/>
                  </a:cubicBezTo>
                  <a:cubicBezTo>
                    <a:pt x="407397" y="419438"/>
                    <a:pt x="407587" y="416780"/>
                    <a:pt x="409106" y="415071"/>
                  </a:cubicBezTo>
                  <a:cubicBezTo>
                    <a:pt x="429611" y="390199"/>
                    <a:pt x="442711" y="368745"/>
                    <a:pt x="450875" y="347480"/>
                  </a:cubicBezTo>
                  <a:cubicBezTo>
                    <a:pt x="451635" y="345392"/>
                    <a:pt x="453533" y="343873"/>
                    <a:pt x="455622" y="343873"/>
                  </a:cubicBezTo>
                  <a:cubicBezTo>
                    <a:pt x="479924" y="341594"/>
                    <a:pt x="502138" y="342544"/>
                    <a:pt x="523592" y="343303"/>
                  </a:cubicBezTo>
                  <a:lnTo>
                    <a:pt x="527959" y="343303"/>
                  </a:lnTo>
                  <a:cubicBezTo>
                    <a:pt x="538782" y="313115"/>
                    <a:pt x="543148" y="281788"/>
                    <a:pt x="541629" y="247423"/>
                  </a:cubicBezTo>
                  <a:cubicBezTo>
                    <a:pt x="512011" y="235841"/>
                    <a:pt x="484671" y="232234"/>
                    <a:pt x="463786" y="230525"/>
                  </a:cubicBezTo>
                  <a:cubicBezTo>
                    <a:pt x="461508" y="230525"/>
                    <a:pt x="459609" y="228816"/>
                    <a:pt x="458849" y="226728"/>
                  </a:cubicBezTo>
                  <a:cubicBezTo>
                    <a:pt x="450875" y="204324"/>
                    <a:pt x="441762" y="181351"/>
                    <a:pt x="433028" y="159327"/>
                  </a:cubicBezTo>
                  <a:cubicBezTo>
                    <a:pt x="432269" y="157618"/>
                    <a:pt x="432459" y="155340"/>
                    <a:pt x="433408" y="153821"/>
                  </a:cubicBezTo>
                  <a:cubicBezTo>
                    <a:pt x="443281" y="138252"/>
                    <a:pt x="452964" y="124582"/>
                    <a:pt x="462267" y="111292"/>
                  </a:cubicBezTo>
                  <a:cubicBezTo>
                    <a:pt x="467773" y="103127"/>
                    <a:pt x="473279" y="95533"/>
                    <a:pt x="478405" y="87749"/>
                  </a:cubicBezTo>
                  <a:cubicBezTo>
                    <a:pt x="477456" y="86609"/>
                    <a:pt x="476127" y="85280"/>
                    <a:pt x="474798" y="84141"/>
                  </a:cubicBezTo>
                  <a:cubicBezTo>
                    <a:pt x="468153" y="78255"/>
                    <a:pt x="461318" y="71990"/>
                    <a:pt x="454483" y="66294"/>
                  </a:cubicBezTo>
                  <a:cubicBezTo>
                    <a:pt x="430560" y="46169"/>
                    <a:pt x="404739" y="28512"/>
                    <a:pt x="377399" y="13702"/>
                  </a:cubicBezTo>
                  <a:cubicBezTo>
                    <a:pt x="362589" y="37625"/>
                    <a:pt x="350628" y="60978"/>
                    <a:pt x="338856" y="83382"/>
                  </a:cubicBezTo>
                  <a:cubicBezTo>
                    <a:pt x="337717" y="85470"/>
                    <a:pt x="335439" y="86799"/>
                    <a:pt x="332971" y="86419"/>
                  </a:cubicBezTo>
                  <a:cubicBezTo>
                    <a:pt x="304112" y="83382"/>
                    <a:pt x="274873" y="84521"/>
                    <a:pt x="246204" y="89647"/>
                  </a:cubicBezTo>
                  <a:cubicBezTo>
                    <a:pt x="243546" y="90027"/>
                    <a:pt x="240888" y="88698"/>
                    <a:pt x="239748" y="86040"/>
                  </a:cubicBezTo>
                  <a:cubicBezTo>
                    <a:pt x="230065" y="62117"/>
                    <a:pt x="219053" y="38764"/>
                    <a:pt x="206712" y="16360"/>
                  </a:cubicBezTo>
                  <a:cubicBezTo>
                    <a:pt x="170828" y="32689"/>
                    <a:pt x="140261" y="52054"/>
                    <a:pt x="115389" y="74079"/>
                  </a:cubicBezTo>
                  <a:cubicBezTo>
                    <a:pt x="127920" y="96292"/>
                    <a:pt x="141969" y="115658"/>
                    <a:pt x="154310" y="131986"/>
                  </a:cubicBezTo>
                  <a:cubicBezTo>
                    <a:pt x="155640" y="133885"/>
                    <a:pt x="155829" y="136543"/>
                    <a:pt x="154500" y="138442"/>
                  </a:cubicBezTo>
                  <a:cubicBezTo>
                    <a:pt x="138172" y="164643"/>
                    <a:pt x="122603" y="189515"/>
                    <a:pt x="110832" y="215906"/>
                  </a:cubicBezTo>
                  <a:cubicBezTo>
                    <a:pt x="109693" y="218374"/>
                    <a:pt x="106845" y="219893"/>
                    <a:pt x="104187" y="219133"/>
                  </a:cubicBezTo>
                  <a:cubicBezTo>
                    <a:pt x="76467" y="212298"/>
                    <a:pt x="49886" y="205653"/>
                    <a:pt x="24255" y="199198"/>
                  </a:cubicBezTo>
                  <a:cubicBezTo>
                    <a:pt x="9635" y="244575"/>
                    <a:pt x="6787" y="286155"/>
                    <a:pt x="15521" y="323178"/>
                  </a:cubicBezTo>
                  <a:cubicBezTo>
                    <a:pt x="33178" y="320520"/>
                    <a:pt x="49886" y="316912"/>
                    <a:pt x="66025" y="313495"/>
                  </a:cubicBezTo>
                  <a:cubicBezTo>
                    <a:pt x="73809" y="311786"/>
                    <a:pt x="81593" y="310267"/>
                    <a:pt x="89378" y="308748"/>
                  </a:cubicBezTo>
                  <a:cubicBezTo>
                    <a:pt x="92036" y="308179"/>
                    <a:pt x="94694" y="309508"/>
                    <a:pt x="95833" y="312356"/>
                  </a:cubicBezTo>
                  <a:cubicBezTo>
                    <a:pt x="109123" y="344442"/>
                    <a:pt x="123553" y="370074"/>
                    <a:pt x="140071" y="390579"/>
                  </a:cubicBezTo>
                  <a:cubicBezTo>
                    <a:pt x="141590" y="392477"/>
                    <a:pt x="141780" y="395136"/>
                    <a:pt x="140450" y="397224"/>
                  </a:cubicBezTo>
                  <a:cubicBezTo>
                    <a:pt x="126021" y="420577"/>
                    <a:pt x="112731" y="439563"/>
                    <a:pt x="99820" y="457790"/>
                  </a:cubicBezTo>
                  <a:cubicBezTo>
                    <a:pt x="120895" y="483421"/>
                    <a:pt x="148425" y="503737"/>
                    <a:pt x="179942" y="517027"/>
                  </a:cubicBezTo>
                  <a:cubicBezTo>
                    <a:pt x="183359" y="510572"/>
                    <a:pt x="186397" y="504496"/>
                    <a:pt x="189815" y="498421"/>
                  </a:cubicBezTo>
                  <a:cubicBezTo>
                    <a:pt x="197599" y="483421"/>
                    <a:pt x="205194" y="469182"/>
                    <a:pt x="212978" y="455132"/>
                  </a:cubicBezTo>
                  <a:cubicBezTo>
                    <a:pt x="214117" y="453233"/>
                    <a:pt x="216395" y="452094"/>
                    <a:pt x="218674" y="452094"/>
                  </a:cubicBezTo>
                  <a:cubicBezTo>
                    <a:pt x="244115" y="454752"/>
                    <a:pt x="271266" y="456651"/>
                    <a:pt x="297656" y="452854"/>
                  </a:cubicBezTo>
                  <a:lnTo>
                    <a:pt x="298416" y="452854"/>
                  </a:lnTo>
                  <a:lnTo>
                    <a:pt x="298416" y="452854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777BB40-3420-7B1B-9CEB-85E9F5EED94A}"/>
                </a:ext>
              </a:extLst>
            </p:cNvPr>
            <p:cNvSpPr/>
            <p:nvPr/>
          </p:nvSpPr>
          <p:spPr>
            <a:xfrm>
              <a:off x="11500083" y="1254732"/>
              <a:ext cx="166509" cy="176661"/>
            </a:xfrm>
            <a:custGeom>
              <a:avLst/>
              <a:gdLst>
                <a:gd name="connsiteX0" fmla="*/ 54080 w 122526"/>
                <a:gd name="connsiteY0" fmla="*/ 129996 h 129996"/>
                <a:gd name="connsiteX1" fmla="*/ 24462 w 122526"/>
                <a:gd name="connsiteY1" fmla="*/ 123731 h 129996"/>
                <a:gd name="connsiteX2" fmla="*/ 7184 w 122526"/>
                <a:gd name="connsiteY2" fmla="*/ 110440 h 129996"/>
                <a:gd name="connsiteX3" fmla="*/ 349 w 122526"/>
                <a:gd name="connsiteY3" fmla="*/ 87277 h 129996"/>
                <a:gd name="connsiteX4" fmla="*/ 17057 w 122526"/>
                <a:gd name="connsiteY4" fmla="*/ 23483 h 129996"/>
                <a:gd name="connsiteX5" fmla="*/ 78382 w 122526"/>
                <a:gd name="connsiteY5" fmla="*/ 2409 h 129996"/>
                <a:gd name="connsiteX6" fmla="*/ 81230 w 122526"/>
                <a:gd name="connsiteY6" fmla="*/ 4497 h 129996"/>
                <a:gd name="connsiteX7" fmla="*/ 82559 w 122526"/>
                <a:gd name="connsiteY7" fmla="*/ 4877 h 129996"/>
                <a:gd name="connsiteX8" fmla="*/ 122430 w 122526"/>
                <a:gd name="connsiteY8" fmla="*/ 59178 h 129996"/>
                <a:gd name="connsiteX9" fmla="*/ 91103 w 122526"/>
                <a:gd name="connsiteY9" fmla="*/ 119174 h 129996"/>
                <a:gd name="connsiteX10" fmla="*/ 54080 w 122526"/>
                <a:gd name="connsiteY10" fmla="*/ 129617 h 129996"/>
                <a:gd name="connsiteX11" fmla="*/ 54080 w 122526"/>
                <a:gd name="connsiteY11" fmla="*/ 129617 h 129996"/>
                <a:gd name="connsiteX12" fmla="*/ 63383 w 122526"/>
                <a:gd name="connsiteY12" fmla="*/ 11902 h 129996"/>
                <a:gd name="connsiteX13" fmla="*/ 26360 w 122526"/>
                <a:gd name="connsiteY13" fmla="*/ 30888 h 129996"/>
                <a:gd name="connsiteX14" fmla="*/ 12120 w 122526"/>
                <a:gd name="connsiteY14" fmla="*/ 86518 h 129996"/>
                <a:gd name="connsiteX15" fmla="*/ 16867 w 122526"/>
                <a:gd name="connsiteY15" fmla="*/ 103795 h 129996"/>
                <a:gd name="connsiteX16" fmla="*/ 29398 w 122526"/>
                <a:gd name="connsiteY16" fmla="*/ 113098 h 129996"/>
                <a:gd name="connsiteX17" fmla="*/ 85028 w 122526"/>
                <a:gd name="connsiteY17" fmla="*/ 109681 h 129996"/>
                <a:gd name="connsiteX18" fmla="*/ 110849 w 122526"/>
                <a:gd name="connsiteY18" fmla="*/ 60127 h 129996"/>
                <a:gd name="connsiteX19" fmla="*/ 78762 w 122526"/>
                <a:gd name="connsiteY19" fmla="*/ 16269 h 129996"/>
                <a:gd name="connsiteX20" fmla="*/ 76864 w 122526"/>
                <a:gd name="connsiteY20" fmla="*/ 15699 h 129996"/>
                <a:gd name="connsiteX21" fmla="*/ 70978 w 122526"/>
                <a:gd name="connsiteY21" fmla="*/ 12661 h 129996"/>
                <a:gd name="connsiteX22" fmla="*/ 63383 w 122526"/>
                <a:gd name="connsiteY22" fmla="*/ 11902 h 129996"/>
                <a:gd name="connsiteX23" fmla="*/ 63383 w 122526"/>
                <a:gd name="connsiteY23" fmla="*/ 11902 h 129996"/>
                <a:gd name="connsiteX24" fmla="*/ 76674 w 122526"/>
                <a:gd name="connsiteY24" fmla="*/ 8295 h 129996"/>
                <a:gd name="connsiteX25" fmla="*/ 77813 w 122526"/>
                <a:gd name="connsiteY25" fmla="*/ 13990 h 129996"/>
                <a:gd name="connsiteX26" fmla="*/ 77813 w 122526"/>
                <a:gd name="connsiteY26" fmla="*/ 13990 h 129996"/>
                <a:gd name="connsiteX27" fmla="*/ 76484 w 122526"/>
                <a:gd name="connsiteY27" fmla="*/ 8295 h 129996"/>
                <a:gd name="connsiteX28" fmla="*/ 76484 w 122526"/>
                <a:gd name="connsiteY28" fmla="*/ 8295 h 12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2526" h="129996">
                  <a:moveTo>
                    <a:pt x="54080" y="129996"/>
                  </a:moveTo>
                  <a:cubicBezTo>
                    <a:pt x="44017" y="129996"/>
                    <a:pt x="33955" y="127908"/>
                    <a:pt x="24462" y="123731"/>
                  </a:cubicBezTo>
                  <a:cubicBezTo>
                    <a:pt x="16487" y="120123"/>
                    <a:pt x="10791" y="115946"/>
                    <a:pt x="7184" y="110440"/>
                  </a:cubicBezTo>
                  <a:cubicBezTo>
                    <a:pt x="2058" y="103226"/>
                    <a:pt x="729" y="94302"/>
                    <a:pt x="349" y="87277"/>
                  </a:cubicBezTo>
                  <a:cubicBezTo>
                    <a:pt x="-1550" y="62405"/>
                    <a:pt x="4336" y="39622"/>
                    <a:pt x="17057" y="23483"/>
                  </a:cubicBezTo>
                  <a:cubicBezTo>
                    <a:pt x="32246" y="4118"/>
                    <a:pt x="57498" y="-4616"/>
                    <a:pt x="78382" y="2409"/>
                  </a:cubicBezTo>
                  <a:cubicBezTo>
                    <a:pt x="79711" y="2789"/>
                    <a:pt x="80661" y="3548"/>
                    <a:pt x="81230" y="4497"/>
                  </a:cubicBezTo>
                  <a:cubicBezTo>
                    <a:pt x="81610" y="4497"/>
                    <a:pt x="81990" y="4687"/>
                    <a:pt x="82559" y="4877"/>
                  </a:cubicBezTo>
                  <a:cubicBezTo>
                    <a:pt x="104773" y="12472"/>
                    <a:pt x="121291" y="34685"/>
                    <a:pt x="122430" y="59178"/>
                  </a:cubicBezTo>
                  <a:cubicBezTo>
                    <a:pt x="123760" y="82531"/>
                    <a:pt x="111229" y="106643"/>
                    <a:pt x="91103" y="119174"/>
                  </a:cubicBezTo>
                  <a:cubicBezTo>
                    <a:pt x="80091" y="126199"/>
                    <a:pt x="67181" y="129617"/>
                    <a:pt x="54080" y="129617"/>
                  </a:cubicBezTo>
                  <a:lnTo>
                    <a:pt x="54080" y="129617"/>
                  </a:lnTo>
                  <a:close/>
                  <a:moveTo>
                    <a:pt x="63383" y="11902"/>
                  </a:moveTo>
                  <a:cubicBezTo>
                    <a:pt x="49903" y="11902"/>
                    <a:pt x="35663" y="18927"/>
                    <a:pt x="26360" y="30888"/>
                  </a:cubicBezTo>
                  <a:cubicBezTo>
                    <a:pt x="15538" y="44748"/>
                    <a:pt x="10412" y="64494"/>
                    <a:pt x="12120" y="86518"/>
                  </a:cubicBezTo>
                  <a:cubicBezTo>
                    <a:pt x="12500" y="91834"/>
                    <a:pt x="13449" y="98859"/>
                    <a:pt x="16867" y="103795"/>
                  </a:cubicBezTo>
                  <a:cubicBezTo>
                    <a:pt x="19335" y="107403"/>
                    <a:pt x="23322" y="110440"/>
                    <a:pt x="29398" y="113098"/>
                  </a:cubicBezTo>
                  <a:cubicBezTo>
                    <a:pt x="47625" y="121263"/>
                    <a:pt x="68889" y="119933"/>
                    <a:pt x="85028" y="109681"/>
                  </a:cubicBezTo>
                  <a:cubicBezTo>
                    <a:pt x="101735" y="99239"/>
                    <a:pt x="111988" y="79493"/>
                    <a:pt x="110849" y="60127"/>
                  </a:cubicBezTo>
                  <a:cubicBezTo>
                    <a:pt x="109710" y="40571"/>
                    <a:pt x="96229" y="22154"/>
                    <a:pt x="78762" y="16269"/>
                  </a:cubicBezTo>
                  <a:cubicBezTo>
                    <a:pt x="78003" y="15889"/>
                    <a:pt x="77433" y="15889"/>
                    <a:pt x="76864" y="15699"/>
                  </a:cubicBezTo>
                  <a:cubicBezTo>
                    <a:pt x="74965" y="15130"/>
                    <a:pt x="72497" y="14370"/>
                    <a:pt x="70978" y="12661"/>
                  </a:cubicBezTo>
                  <a:cubicBezTo>
                    <a:pt x="68510" y="12092"/>
                    <a:pt x="66041" y="11902"/>
                    <a:pt x="63383" y="11902"/>
                  </a:cubicBezTo>
                  <a:lnTo>
                    <a:pt x="63383" y="11902"/>
                  </a:lnTo>
                  <a:close/>
                  <a:moveTo>
                    <a:pt x="76674" y="8295"/>
                  </a:moveTo>
                  <a:lnTo>
                    <a:pt x="77813" y="13990"/>
                  </a:lnTo>
                  <a:lnTo>
                    <a:pt x="77813" y="13990"/>
                  </a:lnTo>
                  <a:lnTo>
                    <a:pt x="76484" y="8295"/>
                  </a:lnTo>
                  <a:lnTo>
                    <a:pt x="76484" y="8295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FD37716-EDEB-388F-A8AA-27D0A5ABAE9D}"/>
                </a:ext>
              </a:extLst>
            </p:cNvPr>
            <p:cNvSpPr/>
            <p:nvPr/>
          </p:nvSpPr>
          <p:spPr>
            <a:xfrm>
              <a:off x="11383626" y="1111807"/>
              <a:ext cx="109513" cy="313393"/>
            </a:xfrm>
            <a:custGeom>
              <a:avLst/>
              <a:gdLst>
                <a:gd name="connsiteX0" fmla="*/ 1935 w 80585"/>
                <a:gd name="connsiteY0" fmla="*/ 230612 h 230611"/>
                <a:gd name="connsiteX1" fmla="*/ 1365 w 80585"/>
                <a:gd name="connsiteY1" fmla="*/ 230612 h 230611"/>
                <a:gd name="connsiteX2" fmla="*/ 36 w 80585"/>
                <a:gd name="connsiteY2" fmla="*/ 228144 h 230611"/>
                <a:gd name="connsiteX3" fmla="*/ 76931 w 80585"/>
                <a:gd name="connsiteY3" fmla="*/ 1258 h 230611"/>
                <a:gd name="connsiteX4" fmla="*/ 79399 w 80585"/>
                <a:gd name="connsiteY4" fmla="*/ 119 h 230611"/>
                <a:gd name="connsiteX5" fmla="*/ 80538 w 80585"/>
                <a:gd name="connsiteY5" fmla="*/ 2587 h 230611"/>
                <a:gd name="connsiteX6" fmla="*/ 3834 w 80585"/>
                <a:gd name="connsiteY6" fmla="*/ 229093 h 230611"/>
                <a:gd name="connsiteX7" fmla="*/ 1935 w 80585"/>
                <a:gd name="connsiteY7" fmla="*/ 230422 h 230611"/>
                <a:gd name="connsiteX8" fmla="*/ 1935 w 80585"/>
                <a:gd name="connsiteY8" fmla="*/ 230422 h 230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585" h="230611">
                  <a:moveTo>
                    <a:pt x="1935" y="230612"/>
                  </a:moveTo>
                  <a:lnTo>
                    <a:pt x="1365" y="230612"/>
                  </a:lnTo>
                  <a:cubicBezTo>
                    <a:pt x="416" y="230422"/>
                    <a:pt x="-153" y="229283"/>
                    <a:pt x="36" y="228144"/>
                  </a:cubicBezTo>
                  <a:cubicBezTo>
                    <a:pt x="21871" y="151629"/>
                    <a:pt x="47692" y="75114"/>
                    <a:pt x="76931" y="1258"/>
                  </a:cubicBezTo>
                  <a:cubicBezTo>
                    <a:pt x="77310" y="309"/>
                    <a:pt x="78450" y="-261"/>
                    <a:pt x="79399" y="119"/>
                  </a:cubicBezTo>
                  <a:cubicBezTo>
                    <a:pt x="80348" y="499"/>
                    <a:pt x="80728" y="1638"/>
                    <a:pt x="80538" y="2587"/>
                  </a:cubicBezTo>
                  <a:cubicBezTo>
                    <a:pt x="51489" y="76444"/>
                    <a:pt x="25478" y="152768"/>
                    <a:pt x="3834" y="229093"/>
                  </a:cubicBezTo>
                  <a:cubicBezTo>
                    <a:pt x="3644" y="229852"/>
                    <a:pt x="2884" y="230422"/>
                    <a:pt x="1935" y="230422"/>
                  </a:cubicBezTo>
                  <a:lnTo>
                    <a:pt x="1935" y="23042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CD8B20B-AE6E-31F7-40CF-6F29DCAACA54}"/>
                </a:ext>
              </a:extLst>
            </p:cNvPr>
            <p:cNvSpPr/>
            <p:nvPr/>
          </p:nvSpPr>
          <p:spPr>
            <a:xfrm>
              <a:off x="11429467" y="1151081"/>
              <a:ext cx="112736" cy="290890"/>
            </a:xfrm>
            <a:custGeom>
              <a:avLst/>
              <a:gdLst>
                <a:gd name="connsiteX0" fmla="*/ 1998 w 82957"/>
                <a:gd name="connsiteY0" fmla="*/ 214053 h 214052"/>
                <a:gd name="connsiteX1" fmla="*/ 1429 w 82957"/>
                <a:gd name="connsiteY1" fmla="*/ 214053 h 214052"/>
                <a:gd name="connsiteX2" fmla="*/ 100 w 82957"/>
                <a:gd name="connsiteY2" fmla="*/ 211584 h 214052"/>
                <a:gd name="connsiteX3" fmla="*/ 79462 w 82957"/>
                <a:gd name="connsiteY3" fmla="*/ 1027 h 214052"/>
                <a:gd name="connsiteX4" fmla="*/ 81930 w 82957"/>
                <a:gd name="connsiteY4" fmla="*/ 268 h 214052"/>
                <a:gd name="connsiteX5" fmla="*/ 82690 w 82957"/>
                <a:gd name="connsiteY5" fmla="*/ 2736 h 214052"/>
                <a:gd name="connsiteX6" fmla="*/ 3328 w 82957"/>
                <a:gd name="connsiteY6" fmla="*/ 212723 h 214052"/>
                <a:gd name="connsiteX7" fmla="*/ 1429 w 82957"/>
                <a:gd name="connsiteY7" fmla="*/ 214053 h 214052"/>
                <a:gd name="connsiteX8" fmla="*/ 1429 w 82957"/>
                <a:gd name="connsiteY8" fmla="*/ 214053 h 21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957" h="214052">
                  <a:moveTo>
                    <a:pt x="1998" y="214053"/>
                  </a:moveTo>
                  <a:lnTo>
                    <a:pt x="1429" y="214053"/>
                  </a:lnTo>
                  <a:cubicBezTo>
                    <a:pt x="480" y="213673"/>
                    <a:pt x="-280" y="212723"/>
                    <a:pt x="100" y="211584"/>
                  </a:cubicBezTo>
                  <a:cubicBezTo>
                    <a:pt x="20225" y="139247"/>
                    <a:pt x="47186" y="68428"/>
                    <a:pt x="79462" y="1027"/>
                  </a:cubicBezTo>
                  <a:cubicBezTo>
                    <a:pt x="79842" y="78"/>
                    <a:pt x="80981" y="-302"/>
                    <a:pt x="81930" y="268"/>
                  </a:cubicBezTo>
                  <a:cubicBezTo>
                    <a:pt x="82880" y="647"/>
                    <a:pt x="83259" y="1787"/>
                    <a:pt x="82690" y="2736"/>
                  </a:cubicBezTo>
                  <a:cubicBezTo>
                    <a:pt x="50224" y="69947"/>
                    <a:pt x="23643" y="140576"/>
                    <a:pt x="3328" y="212723"/>
                  </a:cubicBezTo>
                  <a:cubicBezTo>
                    <a:pt x="3138" y="213483"/>
                    <a:pt x="2378" y="214053"/>
                    <a:pt x="1429" y="214053"/>
                  </a:cubicBezTo>
                  <a:lnTo>
                    <a:pt x="1429" y="21405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7E7F2B1-B706-EDF3-2F84-1198A3191FA1}"/>
                </a:ext>
              </a:extLst>
            </p:cNvPr>
            <p:cNvSpPr/>
            <p:nvPr/>
          </p:nvSpPr>
          <p:spPr>
            <a:xfrm>
              <a:off x="11412251" y="1438937"/>
              <a:ext cx="80629" cy="191904"/>
            </a:xfrm>
            <a:custGeom>
              <a:avLst/>
              <a:gdLst>
                <a:gd name="connsiteX0" fmla="*/ 1946 w 59331"/>
                <a:gd name="connsiteY0" fmla="*/ 140833 h 141213"/>
                <a:gd name="connsiteX1" fmla="*/ 1187 w 59331"/>
                <a:gd name="connsiteY1" fmla="*/ 140833 h 141213"/>
                <a:gd name="connsiteX2" fmla="*/ 47 w 59331"/>
                <a:gd name="connsiteY2" fmla="*/ 138365 h 141213"/>
                <a:gd name="connsiteX3" fmla="*/ 55677 w 59331"/>
                <a:gd name="connsiteY3" fmla="*/ 1095 h 141213"/>
                <a:gd name="connsiteX4" fmla="*/ 58145 w 59331"/>
                <a:gd name="connsiteY4" fmla="*/ 146 h 141213"/>
                <a:gd name="connsiteX5" fmla="*/ 59284 w 59331"/>
                <a:gd name="connsiteY5" fmla="*/ 2614 h 141213"/>
                <a:gd name="connsiteX6" fmla="*/ 3655 w 59331"/>
                <a:gd name="connsiteY6" fmla="*/ 139884 h 141213"/>
                <a:gd name="connsiteX7" fmla="*/ 1756 w 59331"/>
                <a:gd name="connsiteY7" fmla="*/ 141213 h 141213"/>
                <a:gd name="connsiteX8" fmla="*/ 1756 w 59331"/>
                <a:gd name="connsiteY8" fmla="*/ 141213 h 14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331" h="141213">
                  <a:moveTo>
                    <a:pt x="1946" y="140833"/>
                  </a:moveTo>
                  <a:cubicBezTo>
                    <a:pt x="1946" y="140833"/>
                    <a:pt x="1566" y="140833"/>
                    <a:pt x="1187" y="140833"/>
                  </a:cubicBezTo>
                  <a:cubicBezTo>
                    <a:pt x="237" y="140454"/>
                    <a:pt x="-142" y="139315"/>
                    <a:pt x="47" y="138365"/>
                  </a:cubicBezTo>
                  <a:lnTo>
                    <a:pt x="55677" y="1095"/>
                  </a:lnTo>
                  <a:cubicBezTo>
                    <a:pt x="56057" y="146"/>
                    <a:pt x="57196" y="-234"/>
                    <a:pt x="58145" y="146"/>
                  </a:cubicBezTo>
                  <a:cubicBezTo>
                    <a:pt x="59095" y="525"/>
                    <a:pt x="59474" y="1664"/>
                    <a:pt x="59284" y="2614"/>
                  </a:cubicBezTo>
                  <a:lnTo>
                    <a:pt x="3655" y="139884"/>
                  </a:lnTo>
                  <a:cubicBezTo>
                    <a:pt x="3655" y="139884"/>
                    <a:pt x="2705" y="141213"/>
                    <a:pt x="1756" y="141213"/>
                  </a:cubicBezTo>
                  <a:lnTo>
                    <a:pt x="1756" y="14121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0417BEF-1F45-6058-F435-C56C0467A5F8}"/>
                </a:ext>
              </a:extLst>
            </p:cNvPr>
            <p:cNvSpPr/>
            <p:nvPr/>
          </p:nvSpPr>
          <p:spPr>
            <a:xfrm>
              <a:off x="11511845" y="1478190"/>
              <a:ext cx="47345" cy="112398"/>
            </a:xfrm>
            <a:custGeom>
              <a:avLst/>
              <a:gdLst>
                <a:gd name="connsiteX0" fmla="*/ 1946 w 34839"/>
                <a:gd name="connsiteY0" fmla="*/ 82519 h 82708"/>
                <a:gd name="connsiteX1" fmla="*/ 1187 w 34839"/>
                <a:gd name="connsiteY1" fmla="*/ 82519 h 82708"/>
                <a:gd name="connsiteX2" fmla="*/ 47 w 34839"/>
                <a:gd name="connsiteY2" fmla="*/ 80051 h 82708"/>
                <a:gd name="connsiteX3" fmla="*/ 31185 w 34839"/>
                <a:gd name="connsiteY3" fmla="*/ 1258 h 82708"/>
                <a:gd name="connsiteX4" fmla="*/ 33653 w 34839"/>
                <a:gd name="connsiteY4" fmla="*/ 119 h 82708"/>
                <a:gd name="connsiteX5" fmla="*/ 34792 w 34839"/>
                <a:gd name="connsiteY5" fmla="*/ 2587 h 82708"/>
                <a:gd name="connsiteX6" fmla="*/ 3655 w 34839"/>
                <a:gd name="connsiteY6" fmla="*/ 81380 h 82708"/>
                <a:gd name="connsiteX7" fmla="*/ 1756 w 34839"/>
                <a:gd name="connsiteY7" fmla="*/ 82709 h 82708"/>
                <a:gd name="connsiteX8" fmla="*/ 1756 w 34839"/>
                <a:gd name="connsiteY8" fmla="*/ 82709 h 8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39" h="82708">
                  <a:moveTo>
                    <a:pt x="1946" y="82519"/>
                  </a:moveTo>
                  <a:lnTo>
                    <a:pt x="1187" y="82519"/>
                  </a:lnTo>
                  <a:cubicBezTo>
                    <a:pt x="237" y="82139"/>
                    <a:pt x="-142" y="81000"/>
                    <a:pt x="47" y="80051"/>
                  </a:cubicBezTo>
                  <a:lnTo>
                    <a:pt x="31185" y="1258"/>
                  </a:lnTo>
                  <a:cubicBezTo>
                    <a:pt x="31565" y="309"/>
                    <a:pt x="32704" y="-261"/>
                    <a:pt x="33653" y="119"/>
                  </a:cubicBezTo>
                  <a:cubicBezTo>
                    <a:pt x="34602" y="499"/>
                    <a:pt x="34982" y="1638"/>
                    <a:pt x="34792" y="2587"/>
                  </a:cubicBezTo>
                  <a:lnTo>
                    <a:pt x="3655" y="81380"/>
                  </a:lnTo>
                  <a:cubicBezTo>
                    <a:pt x="3655" y="81380"/>
                    <a:pt x="2705" y="82709"/>
                    <a:pt x="1756" y="82709"/>
                  </a:cubicBezTo>
                  <a:lnTo>
                    <a:pt x="1756" y="8270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5A27387-D0EA-6112-CAF0-3D4DAD6025F1}"/>
                </a:ext>
              </a:extLst>
            </p:cNvPr>
            <p:cNvSpPr/>
            <p:nvPr/>
          </p:nvSpPr>
          <p:spPr>
            <a:xfrm>
              <a:off x="11590813" y="1166102"/>
              <a:ext cx="25384" cy="71003"/>
            </a:xfrm>
            <a:custGeom>
              <a:avLst/>
              <a:gdLst>
                <a:gd name="connsiteX0" fmla="*/ 1935 w 18679"/>
                <a:gd name="connsiteY0" fmla="*/ 52249 h 52248"/>
                <a:gd name="connsiteX1" fmla="*/ 1365 w 18679"/>
                <a:gd name="connsiteY1" fmla="*/ 52249 h 52248"/>
                <a:gd name="connsiteX2" fmla="*/ 36 w 18679"/>
                <a:gd name="connsiteY2" fmla="*/ 49780 h 52248"/>
                <a:gd name="connsiteX3" fmla="*/ 14846 w 18679"/>
                <a:gd name="connsiteY3" fmla="*/ 1365 h 52248"/>
                <a:gd name="connsiteX4" fmla="*/ 17314 w 18679"/>
                <a:gd name="connsiteY4" fmla="*/ 36 h 52248"/>
                <a:gd name="connsiteX5" fmla="*/ 18643 w 18679"/>
                <a:gd name="connsiteY5" fmla="*/ 2505 h 52248"/>
                <a:gd name="connsiteX6" fmla="*/ 3834 w 18679"/>
                <a:gd name="connsiteY6" fmla="*/ 50919 h 52248"/>
                <a:gd name="connsiteX7" fmla="*/ 1935 w 18679"/>
                <a:gd name="connsiteY7" fmla="*/ 52249 h 52248"/>
                <a:gd name="connsiteX8" fmla="*/ 1935 w 18679"/>
                <a:gd name="connsiteY8" fmla="*/ 52249 h 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79" h="52248">
                  <a:moveTo>
                    <a:pt x="1935" y="52249"/>
                  </a:moveTo>
                  <a:lnTo>
                    <a:pt x="1365" y="52249"/>
                  </a:lnTo>
                  <a:cubicBezTo>
                    <a:pt x="416" y="52059"/>
                    <a:pt x="-154" y="50919"/>
                    <a:pt x="36" y="49780"/>
                  </a:cubicBezTo>
                  <a:lnTo>
                    <a:pt x="14846" y="1365"/>
                  </a:lnTo>
                  <a:cubicBezTo>
                    <a:pt x="15035" y="416"/>
                    <a:pt x="16175" y="-154"/>
                    <a:pt x="17314" y="36"/>
                  </a:cubicBezTo>
                  <a:cubicBezTo>
                    <a:pt x="18263" y="226"/>
                    <a:pt x="18833" y="1365"/>
                    <a:pt x="18643" y="2505"/>
                  </a:cubicBezTo>
                  <a:lnTo>
                    <a:pt x="3834" y="50919"/>
                  </a:lnTo>
                  <a:cubicBezTo>
                    <a:pt x="3834" y="50919"/>
                    <a:pt x="2884" y="52249"/>
                    <a:pt x="1935" y="52249"/>
                  </a:cubicBezTo>
                  <a:lnTo>
                    <a:pt x="1935" y="5224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3B39FAF-AA61-AC21-B314-89EBCF52B262}"/>
                </a:ext>
              </a:extLst>
            </p:cNvPr>
            <p:cNvSpPr/>
            <p:nvPr/>
          </p:nvSpPr>
          <p:spPr>
            <a:xfrm>
              <a:off x="11670429" y="1083739"/>
              <a:ext cx="75350" cy="171170"/>
            </a:xfrm>
            <a:custGeom>
              <a:avLst/>
              <a:gdLst>
                <a:gd name="connsiteX0" fmla="*/ 2018 w 55446"/>
                <a:gd name="connsiteY0" fmla="*/ 125577 h 125956"/>
                <a:gd name="connsiteX1" fmla="*/ 1258 w 55446"/>
                <a:gd name="connsiteY1" fmla="*/ 125577 h 125956"/>
                <a:gd name="connsiteX2" fmla="*/ 119 w 55446"/>
                <a:gd name="connsiteY2" fmla="*/ 123108 h 125956"/>
                <a:gd name="connsiteX3" fmla="*/ 51951 w 55446"/>
                <a:gd name="connsiteY3" fmla="*/ 1027 h 125956"/>
                <a:gd name="connsiteX4" fmla="*/ 54420 w 55446"/>
                <a:gd name="connsiteY4" fmla="*/ 268 h 125956"/>
                <a:gd name="connsiteX5" fmla="*/ 55179 w 55446"/>
                <a:gd name="connsiteY5" fmla="*/ 2736 h 125956"/>
                <a:gd name="connsiteX6" fmla="*/ 3536 w 55446"/>
                <a:gd name="connsiteY6" fmla="*/ 124627 h 125956"/>
                <a:gd name="connsiteX7" fmla="*/ 1638 w 55446"/>
                <a:gd name="connsiteY7" fmla="*/ 125956 h 125956"/>
                <a:gd name="connsiteX8" fmla="*/ 1638 w 55446"/>
                <a:gd name="connsiteY8" fmla="*/ 125956 h 12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446" h="125956">
                  <a:moveTo>
                    <a:pt x="2018" y="125577"/>
                  </a:moveTo>
                  <a:lnTo>
                    <a:pt x="1258" y="125577"/>
                  </a:lnTo>
                  <a:cubicBezTo>
                    <a:pt x="309" y="125197"/>
                    <a:pt x="-261" y="124248"/>
                    <a:pt x="119" y="123108"/>
                  </a:cubicBezTo>
                  <a:cubicBezTo>
                    <a:pt x="15308" y="81719"/>
                    <a:pt x="32775" y="40518"/>
                    <a:pt x="51951" y="1027"/>
                  </a:cubicBezTo>
                  <a:cubicBezTo>
                    <a:pt x="52331" y="78"/>
                    <a:pt x="53470" y="-302"/>
                    <a:pt x="54420" y="268"/>
                  </a:cubicBezTo>
                  <a:cubicBezTo>
                    <a:pt x="55369" y="647"/>
                    <a:pt x="55749" y="1787"/>
                    <a:pt x="55179" y="2736"/>
                  </a:cubicBezTo>
                  <a:cubicBezTo>
                    <a:pt x="36003" y="42227"/>
                    <a:pt x="18725" y="83237"/>
                    <a:pt x="3536" y="124627"/>
                  </a:cubicBezTo>
                  <a:cubicBezTo>
                    <a:pt x="3347" y="125387"/>
                    <a:pt x="2587" y="125956"/>
                    <a:pt x="1638" y="125956"/>
                  </a:cubicBezTo>
                  <a:lnTo>
                    <a:pt x="1638" y="12595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E18074D-696B-FCA9-56DD-0720000FBD52}"/>
                </a:ext>
              </a:extLst>
            </p:cNvPr>
            <p:cNvSpPr/>
            <p:nvPr/>
          </p:nvSpPr>
          <p:spPr>
            <a:xfrm>
              <a:off x="11590665" y="1170340"/>
              <a:ext cx="197261" cy="421280"/>
            </a:xfrm>
            <a:custGeom>
              <a:avLst/>
              <a:gdLst>
                <a:gd name="connsiteX0" fmla="*/ 1854 w 145155"/>
                <a:gd name="connsiteY0" fmla="*/ 309811 h 310000"/>
                <a:gd name="connsiteX1" fmla="*/ 1095 w 145155"/>
                <a:gd name="connsiteY1" fmla="*/ 309811 h 310000"/>
                <a:gd name="connsiteX2" fmla="*/ 146 w 145155"/>
                <a:gd name="connsiteY2" fmla="*/ 307343 h 310000"/>
                <a:gd name="connsiteX3" fmla="*/ 141593 w 145155"/>
                <a:gd name="connsiteY3" fmla="*/ 1095 h 310000"/>
                <a:gd name="connsiteX4" fmla="*/ 144061 w 145155"/>
                <a:gd name="connsiteY4" fmla="*/ 145 h 310000"/>
                <a:gd name="connsiteX5" fmla="*/ 145010 w 145155"/>
                <a:gd name="connsiteY5" fmla="*/ 2614 h 310000"/>
                <a:gd name="connsiteX6" fmla="*/ 3563 w 145155"/>
                <a:gd name="connsiteY6" fmla="*/ 308862 h 310000"/>
                <a:gd name="connsiteX7" fmla="*/ 1854 w 145155"/>
                <a:gd name="connsiteY7" fmla="*/ 310001 h 310000"/>
                <a:gd name="connsiteX8" fmla="*/ 1854 w 145155"/>
                <a:gd name="connsiteY8" fmla="*/ 310001 h 3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155" h="310000">
                  <a:moveTo>
                    <a:pt x="1854" y="309811"/>
                  </a:moveTo>
                  <a:cubicBezTo>
                    <a:pt x="1854" y="309811"/>
                    <a:pt x="1285" y="309811"/>
                    <a:pt x="1095" y="309811"/>
                  </a:cubicBezTo>
                  <a:cubicBezTo>
                    <a:pt x="146" y="309431"/>
                    <a:pt x="-234" y="308292"/>
                    <a:pt x="146" y="307343"/>
                  </a:cubicBezTo>
                  <a:lnTo>
                    <a:pt x="141593" y="1095"/>
                  </a:lnTo>
                  <a:cubicBezTo>
                    <a:pt x="141973" y="145"/>
                    <a:pt x="143112" y="-234"/>
                    <a:pt x="144061" y="145"/>
                  </a:cubicBezTo>
                  <a:cubicBezTo>
                    <a:pt x="145010" y="525"/>
                    <a:pt x="145390" y="1664"/>
                    <a:pt x="145010" y="2614"/>
                  </a:cubicBezTo>
                  <a:lnTo>
                    <a:pt x="3563" y="308862"/>
                  </a:lnTo>
                  <a:cubicBezTo>
                    <a:pt x="3563" y="308862"/>
                    <a:pt x="2614" y="310001"/>
                    <a:pt x="1854" y="310001"/>
                  </a:cubicBezTo>
                  <a:lnTo>
                    <a:pt x="1854" y="310001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4762C70-5297-0757-EE98-5ADD26513ADB}"/>
                </a:ext>
              </a:extLst>
            </p:cNvPr>
            <p:cNvSpPr/>
            <p:nvPr/>
          </p:nvSpPr>
          <p:spPr>
            <a:xfrm>
              <a:off x="11667813" y="1320248"/>
              <a:ext cx="134048" cy="288144"/>
            </a:xfrm>
            <a:custGeom>
              <a:avLst/>
              <a:gdLst>
                <a:gd name="connsiteX0" fmla="*/ 1854 w 98639"/>
                <a:gd name="connsiteY0" fmla="*/ 211842 h 212031"/>
                <a:gd name="connsiteX1" fmla="*/ 1095 w 98639"/>
                <a:gd name="connsiteY1" fmla="*/ 211842 h 212031"/>
                <a:gd name="connsiteX2" fmla="*/ 146 w 98639"/>
                <a:gd name="connsiteY2" fmla="*/ 209374 h 212031"/>
                <a:gd name="connsiteX3" fmla="*/ 95077 w 98639"/>
                <a:gd name="connsiteY3" fmla="*/ 1095 h 212031"/>
                <a:gd name="connsiteX4" fmla="*/ 97545 w 98639"/>
                <a:gd name="connsiteY4" fmla="*/ 146 h 212031"/>
                <a:gd name="connsiteX5" fmla="*/ 98494 w 98639"/>
                <a:gd name="connsiteY5" fmla="*/ 2614 h 212031"/>
                <a:gd name="connsiteX6" fmla="*/ 3563 w 98639"/>
                <a:gd name="connsiteY6" fmla="*/ 210893 h 212031"/>
                <a:gd name="connsiteX7" fmla="*/ 1854 w 98639"/>
                <a:gd name="connsiteY7" fmla="*/ 212032 h 212031"/>
                <a:gd name="connsiteX8" fmla="*/ 1854 w 98639"/>
                <a:gd name="connsiteY8" fmla="*/ 212032 h 2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39" h="212031">
                  <a:moveTo>
                    <a:pt x="1854" y="211842"/>
                  </a:moveTo>
                  <a:cubicBezTo>
                    <a:pt x="1854" y="211842"/>
                    <a:pt x="1285" y="211842"/>
                    <a:pt x="1095" y="211842"/>
                  </a:cubicBezTo>
                  <a:cubicBezTo>
                    <a:pt x="146" y="211462"/>
                    <a:pt x="-234" y="210323"/>
                    <a:pt x="146" y="209374"/>
                  </a:cubicBezTo>
                  <a:lnTo>
                    <a:pt x="95077" y="1095"/>
                  </a:lnTo>
                  <a:cubicBezTo>
                    <a:pt x="95456" y="146"/>
                    <a:pt x="96596" y="-234"/>
                    <a:pt x="97545" y="146"/>
                  </a:cubicBezTo>
                  <a:cubicBezTo>
                    <a:pt x="98494" y="525"/>
                    <a:pt x="98874" y="1664"/>
                    <a:pt x="98494" y="2614"/>
                  </a:cubicBezTo>
                  <a:lnTo>
                    <a:pt x="3563" y="210893"/>
                  </a:lnTo>
                  <a:cubicBezTo>
                    <a:pt x="3563" y="210893"/>
                    <a:pt x="2614" y="212032"/>
                    <a:pt x="1854" y="212032"/>
                  </a:cubicBezTo>
                  <a:lnTo>
                    <a:pt x="1854" y="21203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F2F9C2A-2B00-2E52-B551-E05FE66E0461}"/>
                </a:ext>
              </a:extLst>
            </p:cNvPr>
            <p:cNvSpPr/>
            <p:nvPr/>
          </p:nvSpPr>
          <p:spPr>
            <a:xfrm>
              <a:off x="11805169" y="1355689"/>
              <a:ext cx="61877" cy="110794"/>
            </a:xfrm>
            <a:custGeom>
              <a:avLst/>
              <a:gdLst>
                <a:gd name="connsiteX0" fmla="*/ 1786 w 45532"/>
                <a:gd name="connsiteY0" fmla="*/ 81529 h 81528"/>
                <a:gd name="connsiteX1" fmla="*/ 1027 w 45532"/>
                <a:gd name="connsiteY1" fmla="*/ 81149 h 81528"/>
                <a:gd name="connsiteX2" fmla="*/ 268 w 45532"/>
                <a:gd name="connsiteY2" fmla="*/ 78491 h 81528"/>
                <a:gd name="connsiteX3" fmla="*/ 42037 w 45532"/>
                <a:gd name="connsiteY3" fmla="*/ 1027 h 81528"/>
                <a:gd name="connsiteX4" fmla="*/ 44505 w 45532"/>
                <a:gd name="connsiteY4" fmla="*/ 268 h 81528"/>
                <a:gd name="connsiteX5" fmla="*/ 45265 w 45532"/>
                <a:gd name="connsiteY5" fmla="*/ 2926 h 81528"/>
                <a:gd name="connsiteX6" fmla="*/ 3495 w 45532"/>
                <a:gd name="connsiteY6" fmla="*/ 80389 h 81528"/>
                <a:gd name="connsiteX7" fmla="*/ 1786 w 45532"/>
                <a:gd name="connsiteY7" fmla="*/ 81339 h 81528"/>
                <a:gd name="connsiteX8" fmla="*/ 1786 w 45532"/>
                <a:gd name="connsiteY8" fmla="*/ 81339 h 8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32" h="81528">
                  <a:moveTo>
                    <a:pt x="1786" y="81529"/>
                  </a:moveTo>
                  <a:cubicBezTo>
                    <a:pt x="1786" y="81529"/>
                    <a:pt x="1217" y="81529"/>
                    <a:pt x="1027" y="81149"/>
                  </a:cubicBezTo>
                  <a:cubicBezTo>
                    <a:pt x="78" y="80579"/>
                    <a:pt x="-302" y="79440"/>
                    <a:pt x="268" y="78491"/>
                  </a:cubicBezTo>
                  <a:lnTo>
                    <a:pt x="42037" y="1027"/>
                  </a:lnTo>
                  <a:cubicBezTo>
                    <a:pt x="42607" y="78"/>
                    <a:pt x="43746" y="-302"/>
                    <a:pt x="44505" y="268"/>
                  </a:cubicBezTo>
                  <a:cubicBezTo>
                    <a:pt x="45455" y="837"/>
                    <a:pt x="45835" y="1976"/>
                    <a:pt x="45265" y="2926"/>
                  </a:cubicBezTo>
                  <a:lnTo>
                    <a:pt x="3495" y="80389"/>
                  </a:lnTo>
                  <a:cubicBezTo>
                    <a:pt x="3495" y="80389"/>
                    <a:pt x="2546" y="81339"/>
                    <a:pt x="1786" y="81339"/>
                  </a:cubicBezTo>
                  <a:lnTo>
                    <a:pt x="1786" y="8133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9223D9D-00DD-4FC3-8FD6-7011D85FCB02}"/>
                </a:ext>
              </a:extLst>
            </p:cNvPr>
            <p:cNvSpPr/>
            <p:nvPr/>
          </p:nvSpPr>
          <p:spPr>
            <a:xfrm>
              <a:off x="11710219" y="1608287"/>
              <a:ext cx="30915" cy="57900"/>
            </a:xfrm>
            <a:custGeom>
              <a:avLst/>
              <a:gdLst>
                <a:gd name="connsiteX0" fmla="*/ 1786 w 22749"/>
                <a:gd name="connsiteY0" fmla="*/ 42227 h 42606"/>
                <a:gd name="connsiteX1" fmla="*/ 1027 w 22749"/>
                <a:gd name="connsiteY1" fmla="*/ 42227 h 42606"/>
                <a:gd name="connsiteX2" fmla="*/ 268 w 22749"/>
                <a:gd name="connsiteY2" fmla="*/ 39759 h 42606"/>
                <a:gd name="connsiteX3" fmla="*/ 19254 w 22749"/>
                <a:gd name="connsiteY3" fmla="*/ 1027 h 42606"/>
                <a:gd name="connsiteX4" fmla="*/ 21722 w 22749"/>
                <a:gd name="connsiteY4" fmla="*/ 268 h 42606"/>
                <a:gd name="connsiteX5" fmla="*/ 22482 w 22749"/>
                <a:gd name="connsiteY5" fmla="*/ 2736 h 42606"/>
                <a:gd name="connsiteX6" fmla="*/ 3495 w 22749"/>
                <a:gd name="connsiteY6" fmla="*/ 41468 h 42606"/>
                <a:gd name="connsiteX7" fmla="*/ 1786 w 22749"/>
                <a:gd name="connsiteY7" fmla="*/ 42607 h 42606"/>
                <a:gd name="connsiteX8" fmla="*/ 1786 w 22749"/>
                <a:gd name="connsiteY8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9" h="42606">
                  <a:moveTo>
                    <a:pt x="1786" y="42227"/>
                  </a:moveTo>
                  <a:cubicBezTo>
                    <a:pt x="1786" y="42227"/>
                    <a:pt x="1217" y="42227"/>
                    <a:pt x="1027" y="42227"/>
                  </a:cubicBezTo>
                  <a:cubicBezTo>
                    <a:pt x="78" y="41847"/>
                    <a:pt x="-302" y="40708"/>
                    <a:pt x="268" y="39759"/>
                  </a:cubicBezTo>
                  <a:lnTo>
                    <a:pt x="19254" y="1027"/>
                  </a:lnTo>
                  <a:cubicBezTo>
                    <a:pt x="19634" y="78"/>
                    <a:pt x="20773" y="-302"/>
                    <a:pt x="21722" y="268"/>
                  </a:cubicBezTo>
                  <a:cubicBezTo>
                    <a:pt x="22671" y="647"/>
                    <a:pt x="23051" y="1787"/>
                    <a:pt x="22482" y="2736"/>
                  </a:cubicBezTo>
                  <a:lnTo>
                    <a:pt x="3495" y="41468"/>
                  </a:lnTo>
                  <a:cubicBezTo>
                    <a:pt x="3495" y="41468"/>
                    <a:pt x="2546" y="42607"/>
                    <a:pt x="1786" y="42607"/>
                  </a:cubicBezTo>
                  <a:lnTo>
                    <a:pt x="1786" y="42607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0947F18-9185-CF04-5828-59E0E85148E0}"/>
                </a:ext>
              </a:extLst>
            </p:cNvPr>
            <p:cNvSpPr/>
            <p:nvPr/>
          </p:nvSpPr>
          <p:spPr>
            <a:xfrm>
              <a:off x="11275977" y="1322662"/>
              <a:ext cx="39946" cy="78542"/>
            </a:xfrm>
            <a:custGeom>
              <a:avLst/>
              <a:gdLst>
                <a:gd name="connsiteX0" fmla="*/ 1787 w 29394"/>
                <a:gd name="connsiteY0" fmla="*/ 57416 h 57795"/>
                <a:gd name="connsiteX1" fmla="*/ 1027 w 29394"/>
                <a:gd name="connsiteY1" fmla="*/ 57416 h 57795"/>
                <a:gd name="connsiteX2" fmla="*/ 268 w 29394"/>
                <a:gd name="connsiteY2" fmla="*/ 54948 h 57795"/>
                <a:gd name="connsiteX3" fmla="*/ 25899 w 29394"/>
                <a:gd name="connsiteY3" fmla="*/ 1027 h 57795"/>
                <a:gd name="connsiteX4" fmla="*/ 28367 w 29394"/>
                <a:gd name="connsiteY4" fmla="*/ 268 h 57795"/>
                <a:gd name="connsiteX5" fmla="*/ 29127 w 29394"/>
                <a:gd name="connsiteY5" fmla="*/ 2736 h 57795"/>
                <a:gd name="connsiteX6" fmla="*/ 3495 w 29394"/>
                <a:gd name="connsiteY6" fmla="*/ 56657 h 57795"/>
                <a:gd name="connsiteX7" fmla="*/ 1787 w 29394"/>
                <a:gd name="connsiteY7" fmla="*/ 57796 h 57795"/>
                <a:gd name="connsiteX8" fmla="*/ 1787 w 29394"/>
                <a:gd name="connsiteY8" fmla="*/ 57796 h 5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57795">
                  <a:moveTo>
                    <a:pt x="1787" y="57416"/>
                  </a:moveTo>
                  <a:cubicBezTo>
                    <a:pt x="1787" y="57416"/>
                    <a:pt x="1217" y="57416"/>
                    <a:pt x="1027" y="57416"/>
                  </a:cubicBezTo>
                  <a:cubicBezTo>
                    <a:pt x="78" y="57036"/>
                    <a:pt x="-302" y="55897"/>
                    <a:pt x="268" y="54948"/>
                  </a:cubicBezTo>
                  <a:lnTo>
                    <a:pt x="25899" y="1027"/>
                  </a:lnTo>
                  <a:cubicBezTo>
                    <a:pt x="26279" y="78"/>
                    <a:pt x="27418" y="-302"/>
                    <a:pt x="28367" y="268"/>
                  </a:cubicBezTo>
                  <a:cubicBezTo>
                    <a:pt x="29317" y="647"/>
                    <a:pt x="29696" y="1787"/>
                    <a:pt x="29127" y="2736"/>
                  </a:cubicBezTo>
                  <a:lnTo>
                    <a:pt x="3495" y="56657"/>
                  </a:lnTo>
                  <a:cubicBezTo>
                    <a:pt x="3495" y="56657"/>
                    <a:pt x="2546" y="57796"/>
                    <a:pt x="1787" y="57796"/>
                  </a:cubicBezTo>
                  <a:lnTo>
                    <a:pt x="1787" y="5779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019DCDA-0001-100A-0B97-BDF41E89DE15}"/>
                </a:ext>
              </a:extLst>
            </p:cNvPr>
            <p:cNvSpPr/>
            <p:nvPr/>
          </p:nvSpPr>
          <p:spPr>
            <a:xfrm>
              <a:off x="11422272" y="1072128"/>
              <a:ext cx="31172" cy="52224"/>
            </a:xfrm>
            <a:custGeom>
              <a:avLst/>
              <a:gdLst>
                <a:gd name="connsiteX0" fmla="*/ 1976 w 22938"/>
                <a:gd name="connsiteY0" fmla="*/ 38430 h 38429"/>
                <a:gd name="connsiteX1" fmla="*/ 1027 w 22938"/>
                <a:gd name="connsiteY1" fmla="*/ 38240 h 38429"/>
                <a:gd name="connsiteX2" fmla="*/ 268 w 22938"/>
                <a:gd name="connsiteY2" fmla="*/ 35582 h 38429"/>
                <a:gd name="connsiteX3" fmla="*/ 19254 w 22938"/>
                <a:gd name="connsiteY3" fmla="*/ 1027 h 38429"/>
                <a:gd name="connsiteX4" fmla="*/ 21912 w 22938"/>
                <a:gd name="connsiteY4" fmla="*/ 268 h 38429"/>
                <a:gd name="connsiteX5" fmla="*/ 22671 w 22938"/>
                <a:gd name="connsiteY5" fmla="*/ 2926 h 38429"/>
                <a:gd name="connsiteX6" fmla="*/ 3685 w 22938"/>
                <a:gd name="connsiteY6" fmla="*/ 37481 h 38429"/>
                <a:gd name="connsiteX7" fmla="*/ 1976 w 22938"/>
                <a:gd name="connsiteY7" fmla="*/ 38430 h 38429"/>
                <a:gd name="connsiteX8" fmla="*/ 1976 w 22938"/>
                <a:gd name="connsiteY8" fmla="*/ 38430 h 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38" h="38429">
                  <a:moveTo>
                    <a:pt x="1976" y="38430"/>
                  </a:moveTo>
                  <a:cubicBezTo>
                    <a:pt x="1976" y="38430"/>
                    <a:pt x="1407" y="38430"/>
                    <a:pt x="1027" y="38240"/>
                  </a:cubicBezTo>
                  <a:cubicBezTo>
                    <a:pt x="78" y="37670"/>
                    <a:pt x="-302" y="36531"/>
                    <a:pt x="268" y="35582"/>
                  </a:cubicBezTo>
                  <a:lnTo>
                    <a:pt x="19254" y="1027"/>
                  </a:lnTo>
                  <a:cubicBezTo>
                    <a:pt x="19823" y="78"/>
                    <a:pt x="20963" y="-302"/>
                    <a:pt x="21912" y="268"/>
                  </a:cubicBezTo>
                  <a:cubicBezTo>
                    <a:pt x="22861" y="837"/>
                    <a:pt x="23241" y="1976"/>
                    <a:pt x="22671" y="2926"/>
                  </a:cubicBezTo>
                  <a:lnTo>
                    <a:pt x="3685" y="37481"/>
                  </a:lnTo>
                  <a:cubicBezTo>
                    <a:pt x="3685" y="37481"/>
                    <a:pt x="2736" y="38430"/>
                    <a:pt x="1976" y="38430"/>
                  </a:cubicBezTo>
                  <a:lnTo>
                    <a:pt x="1976" y="38430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E54536A-7AB5-9571-E462-3F0794013FBB}"/>
                </a:ext>
              </a:extLst>
            </p:cNvPr>
            <p:cNvSpPr/>
            <p:nvPr/>
          </p:nvSpPr>
          <p:spPr>
            <a:xfrm>
              <a:off x="11500083" y="1254732"/>
              <a:ext cx="166509" cy="176661"/>
            </a:xfrm>
            <a:custGeom>
              <a:avLst/>
              <a:gdLst>
                <a:gd name="connsiteX0" fmla="*/ 54080 w 122526"/>
                <a:gd name="connsiteY0" fmla="*/ 129996 h 129996"/>
                <a:gd name="connsiteX1" fmla="*/ 24462 w 122526"/>
                <a:gd name="connsiteY1" fmla="*/ 123731 h 129996"/>
                <a:gd name="connsiteX2" fmla="*/ 7184 w 122526"/>
                <a:gd name="connsiteY2" fmla="*/ 110440 h 129996"/>
                <a:gd name="connsiteX3" fmla="*/ 349 w 122526"/>
                <a:gd name="connsiteY3" fmla="*/ 87277 h 129996"/>
                <a:gd name="connsiteX4" fmla="*/ 17057 w 122526"/>
                <a:gd name="connsiteY4" fmla="*/ 23483 h 129996"/>
                <a:gd name="connsiteX5" fmla="*/ 78382 w 122526"/>
                <a:gd name="connsiteY5" fmla="*/ 2409 h 129996"/>
                <a:gd name="connsiteX6" fmla="*/ 81230 w 122526"/>
                <a:gd name="connsiteY6" fmla="*/ 4497 h 129996"/>
                <a:gd name="connsiteX7" fmla="*/ 82559 w 122526"/>
                <a:gd name="connsiteY7" fmla="*/ 4877 h 129996"/>
                <a:gd name="connsiteX8" fmla="*/ 122430 w 122526"/>
                <a:gd name="connsiteY8" fmla="*/ 59178 h 129996"/>
                <a:gd name="connsiteX9" fmla="*/ 91103 w 122526"/>
                <a:gd name="connsiteY9" fmla="*/ 119174 h 129996"/>
                <a:gd name="connsiteX10" fmla="*/ 54080 w 122526"/>
                <a:gd name="connsiteY10" fmla="*/ 129617 h 129996"/>
                <a:gd name="connsiteX11" fmla="*/ 54080 w 122526"/>
                <a:gd name="connsiteY11" fmla="*/ 129617 h 129996"/>
                <a:gd name="connsiteX12" fmla="*/ 63383 w 122526"/>
                <a:gd name="connsiteY12" fmla="*/ 11902 h 129996"/>
                <a:gd name="connsiteX13" fmla="*/ 26360 w 122526"/>
                <a:gd name="connsiteY13" fmla="*/ 30888 h 129996"/>
                <a:gd name="connsiteX14" fmla="*/ 12120 w 122526"/>
                <a:gd name="connsiteY14" fmla="*/ 86518 h 129996"/>
                <a:gd name="connsiteX15" fmla="*/ 16867 w 122526"/>
                <a:gd name="connsiteY15" fmla="*/ 103795 h 129996"/>
                <a:gd name="connsiteX16" fmla="*/ 29398 w 122526"/>
                <a:gd name="connsiteY16" fmla="*/ 113098 h 129996"/>
                <a:gd name="connsiteX17" fmla="*/ 85028 w 122526"/>
                <a:gd name="connsiteY17" fmla="*/ 109681 h 129996"/>
                <a:gd name="connsiteX18" fmla="*/ 110849 w 122526"/>
                <a:gd name="connsiteY18" fmla="*/ 60127 h 129996"/>
                <a:gd name="connsiteX19" fmla="*/ 78762 w 122526"/>
                <a:gd name="connsiteY19" fmla="*/ 16269 h 129996"/>
                <a:gd name="connsiteX20" fmla="*/ 76864 w 122526"/>
                <a:gd name="connsiteY20" fmla="*/ 15699 h 129996"/>
                <a:gd name="connsiteX21" fmla="*/ 70978 w 122526"/>
                <a:gd name="connsiteY21" fmla="*/ 12661 h 129996"/>
                <a:gd name="connsiteX22" fmla="*/ 63383 w 122526"/>
                <a:gd name="connsiteY22" fmla="*/ 11902 h 129996"/>
                <a:gd name="connsiteX23" fmla="*/ 63383 w 122526"/>
                <a:gd name="connsiteY23" fmla="*/ 11902 h 129996"/>
                <a:gd name="connsiteX24" fmla="*/ 76674 w 122526"/>
                <a:gd name="connsiteY24" fmla="*/ 8295 h 129996"/>
                <a:gd name="connsiteX25" fmla="*/ 77813 w 122526"/>
                <a:gd name="connsiteY25" fmla="*/ 13990 h 129996"/>
                <a:gd name="connsiteX26" fmla="*/ 77813 w 122526"/>
                <a:gd name="connsiteY26" fmla="*/ 13990 h 129996"/>
                <a:gd name="connsiteX27" fmla="*/ 76484 w 122526"/>
                <a:gd name="connsiteY27" fmla="*/ 8295 h 129996"/>
                <a:gd name="connsiteX28" fmla="*/ 76484 w 122526"/>
                <a:gd name="connsiteY28" fmla="*/ 8295 h 12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2526" h="129996">
                  <a:moveTo>
                    <a:pt x="54080" y="129996"/>
                  </a:moveTo>
                  <a:cubicBezTo>
                    <a:pt x="44017" y="129996"/>
                    <a:pt x="33955" y="127908"/>
                    <a:pt x="24462" y="123731"/>
                  </a:cubicBezTo>
                  <a:cubicBezTo>
                    <a:pt x="16487" y="120123"/>
                    <a:pt x="10791" y="115946"/>
                    <a:pt x="7184" y="110440"/>
                  </a:cubicBezTo>
                  <a:cubicBezTo>
                    <a:pt x="2058" y="103226"/>
                    <a:pt x="729" y="94302"/>
                    <a:pt x="349" y="87277"/>
                  </a:cubicBezTo>
                  <a:cubicBezTo>
                    <a:pt x="-1550" y="62405"/>
                    <a:pt x="4336" y="39622"/>
                    <a:pt x="17057" y="23483"/>
                  </a:cubicBezTo>
                  <a:cubicBezTo>
                    <a:pt x="32246" y="4118"/>
                    <a:pt x="57498" y="-4616"/>
                    <a:pt x="78382" y="2409"/>
                  </a:cubicBezTo>
                  <a:cubicBezTo>
                    <a:pt x="79711" y="2789"/>
                    <a:pt x="80661" y="3548"/>
                    <a:pt x="81230" y="4497"/>
                  </a:cubicBezTo>
                  <a:cubicBezTo>
                    <a:pt x="81610" y="4497"/>
                    <a:pt x="81990" y="4687"/>
                    <a:pt x="82559" y="4877"/>
                  </a:cubicBezTo>
                  <a:cubicBezTo>
                    <a:pt x="104773" y="12472"/>
                    <a:pt x="121291" y="34685"/>
                    <a:pt x="122430" y="59178"/>
                  </a:cubicBezTo>
                  <a:cubicBezTo>
                    <a:pt x="123760" y="82531"/>
                    <a:pt x="111229" y="106643"/>
                    <a:pt x="91103" y="119174"/>
                  </a:cubicBezTo>
                  <a:cubicBezTo>
                    <a:pt x="80091" y="126199"/>
                    <a:pt x="67181" y="129617"/>
                    <a:pt x="54080" y="129617"/>
                  </a:cubicBezTo>
                  <a:lnTo>
                    <a:pt x="54080" y="129617"/>
                  </a:lnTo>
                  <a:close/>
                  <a:moveTo>
                    <a:pt x="63383" y="11902"/>
                  </a:moveTo>
                  <a:cubicBezTo>
                    <a:pt x="49903" y="11902"/>
                    <a:pt x="35663" y="18927"/>
                    <a:pt x="26360" y="30888"/>
                  </a:cubicBezTo>
                  <a:cubicBezTo>
                    <a:pt x="15538" y="44748"/>
                    <a:pt x="10412" y="64494"/>
                    <a:pt x="12120" y="86518"/>
                  </a:cubicBezTo>
                  <a:cubicBezTo>
                    <a:pt x="12500" y="91834"/>
                    <a:pt x="13449" y="98859"/>
                    <a:pt x="16867" y="103795"/>
                  </a:cubicBezTo>
                  <a:cubicBezTo>
                    <a:pt x="19335" y="107403"/>
                    <a:pt x="23322" y="110440"/>
                    <a:pt x="29398" y="113098"/>
                  </a:cubicBezTo>
                  <a:cubicBezTo>
                    <a:pt x="47625" y="121263"/>
                    <a:pt x="68889" y="119933"/>
                    <a:pt x="85028" y="109681"/>
                  </a:cubicBezTo>
                  <a:cubicBezTo>
                    <a:pt x="101735" y="99239"/>
                    <a:pt x="111988" y="79493"/>
                    <a:pt x="110849" y="60127"/>
                  </a:cubicBezTo>
                  <a:cubicBezTo>
                    <a:pt x="109710" y="40571"/>
                    <a:pt x="96229" y="22154"/>
                    <a:pt x="78762" y="16269"/>
                  </a:cubicBezTo>
                  <a:cubicBezTo>
                    <a:pt x="78003" y="15889"/>
                    <a:pt x="77433" y="15889"/>
                    <a:pt x="76864" y="15699"/>
                  </a:cubicBezTo>
                  <a:cubicBezTo>
                    <a:pt x="74965" y="15130"/>
                    <a:pt x="72497" y="14370"/>
                    <a:pt x="70978" y="12661"/>
                  </a:cubicBezTo>
                  <a:cubicBezTo>
                    <a:pt x="68510" y="12092"/>
                    <a:pt x="66041" y="11902"/>
                    <a:pt x="63383" y="11902"/>
                  </a:cubicBezTo>
                  <a:lnTo>
                    <a:pt x="63383" y="11902"/>
                  </a:lnTo>
                  <a:close/>
                  <a:moveTo>
                    <a:pt x="76674" y="8295"/>
                  </a:moveTo>
                  <a:lnTo>
                    <a:pt x="77813" y="13990"/>
                  </a:lnTo>
                  <a:lnTo>
                    <a:pt x="77813" y="13990"/>
                  </a:lnTo>
                  <a:lnTo>
                    <a:pt x="76484" y="8295"/>
                  </a:lnTo>
                  <a:lnTo>
                    <a:pt x="76484" y="8295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83AB0B-6C4D-C13C-A93F-F2823A27C237}"/>
              </a:ext>
            </a:extLst>
          </p:cNvPr>
          <p:cNvSpPr/>
          <p:nvPr/>
        </p:nvSpPr>
        <p:spPr>
          <a:xfrm>
            <a:off x="5448046" y="5929065"/>
            <a:ext cx="222666" cy="329674"/>
          </a:xfrm>
          <a:custGeom>
            <a:avLst/>
            <a:gdLst>
              <a:gd name="connsiteX0" fmla="*/ 0 w 278527"/>
              <a:gd name="connsiteY0" fmla="*/ 0 h 412380"/>
              <a:gd name="connsiteX1" fmla="*/ 278528 w 278527"/>
              <a:gd name="connsiteY1" fmla="*/ 0 h 412380"/>
              <a:gd name="connsiteX2" fmla="*/ 278528 w 278527"/>
              <a:gd name="connsiteY2" fmla="*/ 412381 h 412380"/>
              <a:gd name="connsiteX3" fmla="*/ 0 w 278527"/>
              <a:gd name="connsiteY3" fmla="*/ 412381 h 412380"/>
              <a:gd name="connsiteX4" fmla="*/ 0 w 278527"/>
              <a:gd name="connsiteY4" fmla="*/ 0 h 412380"/>
              <a:gd name="connsiteX5" fmla="*/ 0 w 278527"/>
              <a:gd name="connsiteY5" fmla="*/ 0 h 412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527" h="412380">
                <a:moveTo>
                  <a:pt x="0" y="0"/>
                </a:moveTo>
                <a:lnTo>
                  <a:pt x="278528" y="0"/>
                </a:lnTo>
                <a:lnTo>
                  <a:pt x="278528" y="412381"/>
                </a:lnTo>
                <a:lnTo>
                  <a:pt x="0" y="41238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AF0F529-3915-0102-E4FE-E275DC342CFD}"/>
              </a:ext>
            </a:extLst>
          </p:cNvPr>
          <p:cNvSpPr/>
          <p:nvPr/>
        </p:nvSpPr>
        <p:spPr>
          <a:xfrm>
            <a:off x="5443341" y="5924360"/>
            <a:ext cx="232077" cy="339085"/>
          </a:xfrm>
          <a:custGeom>
            <a:avLst/>
            <a:gdLst>
              <a:gd name="connsiteX0" fmla="*/ 284414 w 290299"/>
              <a:gd name="connsiteY0" fmla="*/ 424152 h 424152"/>
              <a:gd name="connsiteX1" fmla="*/ 5886 w 290299"/>
              <a:gd name="connsiteY1" fmla="*/ 424152 h 424152"/>
              <a:gd name="connsiteX2" fmla="*/ 0 w 290299"/>
              <a:gd name="connsiteY2" fmla="*/ 418266 h 424152"/>
              <a:gd name="connsiteX3" fmla="*/ 0 w 290299"/>
              <a:gd name="connsiteY3" fmla="*/ 5886 h 424152"/>
              <a:gd name="connsiteX4" fmla="*/ 5886 w 290299"/>
              <a:gd name="connsiteY4" fmla="*/ 0 h 424152"/>
              <a:gd name="connsiteX5" fmla="*/ 284414 w 290299"/>
              <a:gd name="connsiteY5" fmla="*/ 0 h 424152"/>
              <a:gd name="connsiteX6" fmla="*/ 290299 w 290299"/>
              <a:gd name="connsiteY6" fmla="*/ 5886 h 424152"/>
              <a:gd name="connsiteX7" fmla="*/ 290299 w 290299"/>
              <a:gd name="connsiteY7" fmla="*/ 418266 h 424152"/>
              <a:gd name="connsiteX8" fmla="*/ 284414 w 290299"/>
              <a:gd name="connsiteY8" fmla="*/ 424152 h 424152"/>
              <a:gd name="connsiteX9" fmla="*/ 284414 w 290299"/>
              <a:gd name="connsiteY9" fmla="*/ 424152 h 424152"/>
              <a:gd name="connsiteX10" fmla="*/ 11582 w 290299"/>
              <a:gd name="connsiteY10" fmla="*/ 412571 h 424152"/>
              <a:gd name="connsiteX11" fmla="*/ 278528 w 290299"/>
              <a:gd name="connsiteY11" fmla="*/ 412571 h 424152"/>
              <a:gd name="connsiteX12" fmla="*/ 278528 w 290299"/>
              <a:gd name="connsiteY12" fmla="*/ 11771 h 424152"/>
              <a:gd name="connsiteX13" fmla="*/ 11582 w 290299"/>
              <a:gd name="connsiteY13" fmla="*/ 11771 h 424152"/>
              <a:gd name="connsiteX14" fmla="*/ 11582 w 290299"/>
              <a:gd name="connsiteY14" fmla="*/ 412571 h 424152"/>
              <a:gd name="connsiteX15" fmla="*/ 11582 w 290299"/>
              <a:gd name="connsiteY15" fmla="*/ 412571 h 42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0299" h="424152">
                <a:moveTo>
                  <a:pt x="284414" y="424152"/>
                </a:moveTo>
                <a:lnTo>
                  <a:pt x="5886" y="424152"/>
                </a:lnTo>
                <a:cubicBezTo>
                  <a:pt x="2658" y="424152"/>
                  <a:pt x="0" y="421684"/>
                  <a:pt x="0" y="418266"/>
                </a:cubicBezTo>
                <a:lnTo>
                  <a:pt x="0" y="5886"/>
                </a:lnTo>
                <a:cubicBezTo>
                  <a:pt x="0" y="2658"/>
                  <a:pt x="2468" y="0"/>
                  <a:pt x="5886" y="0"/>
                </a:cubicBezTo>
                <a:lnTo>
                  <a:pt x="284414" y="0"/>
                </a:lnTo>
                <a:cubicBezTo>
                  <a:pt x="287641" y="0"/>
                  <a:pt x="290299" y="2468"/>
                  <a:pt x="290299" y="5886"/>
                </a:cubicBezTo>
                <a:lnTo>
                  <a:pt x="290299" y="418266"/>
                </a:lnTo>
                <a:cubicBezTo>
                  <a:pt x="290299" y="421494"/>
                  <a:pt x="287831" y="424152"/>
                  <a:pt x="284414" y="424152"/>
                </a:cubicBezTo>
                <a:lnTo>
                  <a:pt x="284414" y="424152"/>
                </a:lnTo>
                <a:close/>
                <a:moveTo>
                  <a:pt x="11582" y="412571"/>
                </a:moveTo>
                <a:lnTo>
                  <a:pt x="278528" y="412571"/>
                </a:lnTo>
                <a:lnTo>
                  <a:pt x="278528" y="11771"/>
                </a:lnTo>
                <a:lnTo>
                  <a:pt x="11582" y="11771"/>
                </a:lnTo>
                <a:lnTo>
                  <a:pt x="11582" y="412571"/>
                </a:lnTo>
                <a:lnTo>
                  <a:pt x="11582" y="412571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5627D9F9-8418-8DF7-D85B-3EEAEB7355CA}"/>
              </a:ext>
            </a:extLst>
          </p:cNvPr>
          <p:cNvSpPr/>
          <p:nvPr/>
        </p:nvSpPr>
        <p:spPr>
          <a:xfrm>
            <a:off x="5773926" y="5733416"/>
            <a:ext cx="222818" cy="525324"/>
          </a:xfrm>
          <a:custGeom>
            <a:avLst/>
            <a:gdLst>
              <a:gd name="connsiteX0" fmla="*/ 0 w 278717"/>
              <a:gd name="connsiteY0" fmla="*/ 0 h 657113"/>
              <a:gd name="connsiteX1" fmla="*/ 278718 w 278717"/>
              <a:gd name="connsiteY1" fmla="*/ 0 h 657113"/>
              <a:gd name="connsiteX2" fmla="*/ 278718 w 278717"/>
              <a:gd name="connsiteY2" fmla="*/ 657113 h 657113"/>
              <a:gd name="connsiteX3" fmla="*/ 0 w 278717"/>
              <a:gd name="connsiteY3" fmla="*/ 657113 h 657113"/>
              <a:gd name="connsiteX4" fmla="*/ 0 w 278717"/>
              <a:gd name="connsiteY4" fmla="*/ 0 h 657113"/>
              <a:gd name="connsiteX5" fmla="*/ 0 w 278717"/>
              <a:gd name="connsiteY5" fmla="*/ 0 h 65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717" h="657113">
                <a:moveTo>
                  <a:pt x="0" y="0"/>
                </a:moveTo>
                <a:lnTo>
                  <a:pt x="278718" y="0"/>
                </a:lnTo>
                <a:lnTo>
                  <a:pt x="278718" y="657113"/>
                </a:lnTo>
                <a:lnTo>
                  <a:pt x="0" y="657113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D5A0835-73C7-8ECE-F781-A87D56DFE880}"/>
              </a:ext>
            </a:extLst>
          </p:cNvPr>
          <p:cNvSpPr/>
          <p:nvPr/>
        </p:nvSpPr>
        <p:spPr>
          <a:xfrm>
            <a:off x="5769221" y="5728710"/>
            <a:ext cx="232077" cy="534734"/>
          </a:xfrm>
          <a:custGeom>
            <a:avLst/>
            <a:gdLst>
              <a:gd name="connsiteX0" fmla="*/ 284414 w 290299"/>
              <a:gd name="connsiteY0" fmla="*/ 668885 h 668884"/>
              <a:gd name="connsiteX1" fmla="*/ 5886 w 290299"/>
              <a:gd name="connsiteY1" fmla="*/ 668885 h 668884"/>
              <a:gd name="connsiteX2" fmla="*/ 0 w 290299"/>
              <a:gd name="connsiteY2" fmla="*/ 662999 h 668884"/>
              <a:gd name="connsiteX3" fmla="*/ 0 w 290299"/>
              <a:gd name="connsiteY3" fmla="*/ 5886 h 668884"/>
              <a:gd name="connsiteX4" fmla="*/ 5886 w 290299"/>
              <a:gd name="connsiteY4" fmla="*/ 0 h 668884"/>
              <a:gd name="connsiteX5" fmla="*/ 284414 w 290299"/>
              <a:gd name="connsiteY5" fmla="*/ 0 h 668884"/>
              <a:gd name="connsiteX6" fmla="*/ 290299 w 290299"/>
              <a:gd name="connsiteY6" fmla="*/ 5886 h 668884"/>
              <a:gd name="connsiteX7" fmla="*/ 290299 w 290299"/>
              <a:gd name="connsiteY7" fmla="*/ 662999 h 668884"/>
              <a:gd name="connsiteX8" fmla="*/ 284414 w 290299"/>
              <a:gd name="connsiteY8" fmla="*/ 668885 h 668884"/>
              <a:gd name="connsiteX9" fmla="*/ 284414 w 290299"/>
              <a:gd name="connsiteY9" fmla="*/ 668885 h 668884"/>
              <a:gd name="connsiteX10" fmla="*/ 11582 w 290299"/>
              <a:gd name="connsiteY10" fmla="*/ 657303 h 668884"/>
              <a:gd name="connsiteX11" fmla="*/ 278528 w 290299"/>
              <a:gd name="connsiteY11" fmla="*/ 657303 h 668884"/>
              <a:gd name="connsiteX12" fmla="*/ 278528 w 290299"/>
              <a:gd name="connsiteY12" fmla="*/ 11771 h 668884"/>
              <a:gd name="connsiteX13" fmla="*/ 11582 w 290299"/>
              <a:gd name="connsiteY13" fmla="*/ 11771 h 668884"/>
              <a:gd name="connsiteX14" fmla="*/ 11582 w 290299"/>
              <a:gd name="connsiteY14" fmla="*/ 657303 h 668884"/>
              <a:gd name="connsiteX15" fmla="*/ 11582 w 290299"/>
              <a:gd name="connsiteY15" fmla="*/ 657303 h 66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0299" h="668884">
                <a:moveTo>
                  <a:pt x="284414" y="668885"/>
                </a:moveTo>
                <a:lnTo>
                  <a:pt x="5886" y="668885"/>
                </a:lnTo>
                <a:cubicBezTo>
                  <a:pt x="2658" y="668885"/>
                  <a:pt x="0" y="666416"/>
                  <a:pt x="0" y="662999"/>
                </a:cubicBezTo>
                <a:lnTo>
                  <a:pt x="0" y="5886"/>
                </a:lnTo>
                <a:cubicBezTo>
                  <a:pt x="0" y="2658"/>
                  <a:pt x="2468" y="0"/>
                  <a:pt x="5886" y="0"/>
                </a:cubicBezTo>
                <a:lnTo>
                  <a:pt x="284414" y="0"/>
                </a:lnTo>
                <a:cubicBezTo>
                  <a:pt x="287641" y="0"/>
                  <a:pt x="290299" y="2468"/>
                  <a:pt x="290299" y="5886"/>
                </a:cubicBezTo>
                <a:lnTo>
                  <a:pt x="290299" y="662999"/>
                </a:lnTo>
                <a:cubicBezTo>
                  <a:pt x="290299" y="666226"/>
                  <a:pt x="287831" y="668885"/>
                  <a:pt x="284414" y="668885"/>
                </a:cubicBezTo>
                <a:lnTo>
                  <a:pt x="284414" y="668885"/>
                </a:lnTo>
                <a:close/>
                <a:moveTo>
                  <a:pt x="11582" y="657303"/>
                </a:moveTo>
                <a:lnTo>
                  <a:pt x="278528" y="657303"/>
                </a:lnTo>
                <a:lnTo>
                  <a:pt x="278528" y="11771"/>
                </a:lnTo>
                <a:lnTo>
                  <a:pt x="11582" y="11771"/>
                </a:lnTo>
                <a:lnTo>
                  <a:pt x="11582" y="657303"/>
                </a:lnTo>
                <a:lnTo>
                  <a:pt x="11582" y="657303"/>
                </a:lnTo>
                <a:close/>
              </a:path>
            </a:pathLst>
          </a:custGeom>
          <a:solidFill>
            <a:schemeClr val="accent6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96754BC7-A9F8-1FEB-736E-CFB6AC07542A}"/>
              </a:ext>
            </a:extLst>
          </p:cNvPr>
          <p:cNvSpPr/>
          <p:nvPr userDrawn="1"/>
        </p:nvSpPr>
        <p:spPr>
          <a:xfrm>
            <a:off x="6634061" y="2805819"/>
            <a:ext cx="2556436" cy="1972256"/>
          </a:xfrm>
          <a:custGeom>
            <a:avLst/>
            <a:gdLst>
              <a:gd name="connsiteX0" fmla="*/ 2553265 w 2556436"/>
              <a:gd name="connsiteY0" fmla="*/ 8701 h 1972256"/>
              <a:gd name="connsiteX1" fmla="*/ 2547570 w 2556436"/>
              <a:gd name="connsiteY1" fmla="*/ 2815 h 1972256"/>
              <a:gd name="connsiteX2" fmla="*/ 802546 w 2556436"/>
              <a:gd name="connsiteY2" fmla="*/ 5473 h 1972256"/>
              <a:gd name="connsiteX3" fmla="*/ 17655 w 2556436"/>
              <a:gd name="connsiteY3" fmla="*/ 9460 h 1972256"/>
              <a:gd name="connsiteX4" fmla="*/ 11769 w 2556436"/>
              <a:gd name="connsiteY4" fmla="*/ 15156 h 1972256"/>
              <a:gd name="connsiteX5" fmla="*/ 8542 w 2556436"/>
              <a:gd name="connsiteY5" fmla="*/ 1962193 h 1972256"/>
              <a:gd name="connsiteX6" fmla="*/ 14238 w 2556436"/>
              <a:gd name="connsiteY6" fmla="*/ 1967889 h 1972256"/>
              <a:gd name="connsiteX7" fmla="*/ 653884 w 2556436"/>
              <a:gd name="connsiteY7" fmla="*/ 1972256 h 1972256"/>
              <a:gd name="connsiteX8" fmla="*/ 1067404 w 2556436"/>
              <a:gd name="connsiteY8" fmla="*/ 1971876 h 1972256"/>
              <a:gd name="connsiteX9" fmla="*/ 2199362 w 2556436"/>
              <a:gd name="connsiteY9" fmla="*/ 1970927 h 1972256"/>
              <a:gd name="connsiteX10" fmla="*/ 2195375 w 2556436"/>
              <a:gd name="connsiteY10" fmla="*/ 1964851 h 1972256"/>
              <a:gd name="connsiteX11" fmla="*/ 2191957 w 2556436"/>
              <a:gd name="connsiteY11" fmla="*/ 1959156 h 1972256"/>
              <a:gd name="connsiteX12" fmla="*/ 1067404 w 2556436"/>
              <a:gd name="connsiteY12" fmla="*/ 1960105 h 1972256"/>
              <a:gd name="connsiteX13" fmla="*/ 19934 w 2556436"/>
              <a:gd name="connsiteY13" fmla="*/ 1956308 h 1972256"/>
              <a:gd name="connsiteX14" fmla="*/ 22971 w 2556436"/>
              <a:gd name="connsiteY14" fmla="*/ 21232 h 1972256"/>
              <a:gd name="connsiteX15" fmla="*/ 802356 w 2556436"/>
              <a:gd name="connsiteY15" fmla="*/ 17245 h 1972256"/>
              <a:gd name="connsiteX16" fmla="*/ 2541494 w 2556436"/>
              <a:gd name="connsiteY16" fmla="*/ 14587 h 1972256"/>
              <a:gd name="connsiteX17" fmla="*/ 2543582 w 2556436"/>
              <a:gd name="connsiteY17" fmla="*/ 1199327 h 1972256"/>
              <a:gd name="connsiteX18" fmla="*/ 2549468 w 2556436"/>
              <a:gd name="connsiteY18" fmla="*/ 1198188 h 1972256"/>
              <a:gd name="connsiteX19" fmla="*/ 2555164 w 2556436"/>
              <a:gd name="connsiteY19" fmla="*/ 1197428 h 1972256"/>
              <a:gd name="connsiteX20" fmla="*/ 2553265 w 2556436"/>
              <a:gd name="connsiteY20" fmla="*/ 8701 h 1972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556436" h="1972256">
                <a:moveTo>
                  <a:pt x="2553265" y="8701"/>
                </a:moveTo>
                <a:cubicBezTo>
                  <a:pt x="2553265" y="5473"/>
                  <a:pt x="2550607" y="2815"/>
                  <a:pt x="2547570" y="2815"/>
                </a:cubicBezTo>
                <a:cubicBezTo>
                  <a:pt x="2024879" y="-3071"/>
                  <a:pt x="1375550" y="1486"/>
                  <a:pt x="802546" y="5473"/>
                </a:cubicBezTo>
                <a:cubicBezTo>
                  <a:pt x="507500" y="7372"/>
                  <a:pt x="228782" y="9460"/>
                  <a:pt x="17655" y="9460"/>
                </a:cubicBezTo>
                <a:cubicBezTo>
                  <a:pt x="14428" y="9460"/>
                  <a:pt x="11769" y="11929"/>
                  <a:pt x="11769" y="15156"/>
                </a:cubicBezTo>
                <a:cubicBezTo>
                  <a:pt x="-7786" y="648916"/>
                  <a:pt x="1327" y="1507094"/>
                  <a:pt x="8542" y="1962193"/>
                </a:cubicBezTo>
                <a:cubicBezTo>
                  <a:pt x="8542" y="1965231"/>
                  <a:pt x="11010" y="1967889"/>
                  <a:pt x="14238" y="1967889"/>
                </a:cubicBezTo>
                <a:cubicBezTo>
                  <a:pt x="264286" y="1971307"/>
                  <a:pt x="411429" y="1972256"/>
                  <a:pt x="653884" y="1972256"/>
                </a:cubicBezTo>
                <a:cubicBezTo>
                  <a:pt x="765143" y="1972256"/>
                  <a:pt x="896528" y="1972066"/>
                  <a:pt x="1067404" y="1971876"/>
                </a:cubicBezTo>
                <a:cubicBezTo>
                  <a:pt x="1335679" y="1971496"/>
                  <a:pt x="1685595" y="1970927"/>
                  <a:pt x="2199362" y="1970927"/>
                </a:cubicBezTo>
                <a:cubicBezTo>
                  <a:pt x="2198033" y="1969028"/>
                  <a:pt x="2196704" y="1966940"/>
                  <a:pt x="2195375" y="1964851"/>
                </a:cubicBezTo>
                <a:cubicBezTo>
                  <a:pt x="2194236" y="1962953"/>
                  <a:pt x="2193097" y="1961054"/>
                  <a:pt x="2191957" y="1959156"/>
                </a:cubicBezTo>
                <a:cubicBezTo>
                  <a:pt x="1681987" y="1959156"/>
                  <a:pt x="1334160" y="1959725"/>
                  <a:pt x="1067404" y="1960105"/>
                </a:cubicBezTo>
                <a:cubicBezTo>
                  <a:pt x="527815" y="1961054"/>
                  <a:pt x="380672" y="1961244"/>
                  <a:pt x="19934" y="1956308"/>
                </a:cubicBezTo>
                <a:cubicBezTo>
                  <a:pt x="12719" y="1501208"/>
                  <a:pt x="3795" y="651574"/>
                  <a:pt x="22971" y="21232"/>
                </a:cubicBezTo>
                <a:cubicBezTo>
                  <a:pt x="233339" y="21232"/>
                  <a:pt x="509968" y="19143"/>
                  <a:pt x="802356" y="17245"/>
                </a:cubicBezTo>
                <a:cubicBezTo>
                  <a:pt x="1373272" y="13258"/>
                  <a:pt x="2019942" y="8701"/>
                  <a:pt x="2541494" y="14587"/>
                </a:cubicBezTo>
                <a:cubicBezTo>
                  <a:pt x="2546050" y="405893"/>
                  <a:pt x="2544911" y="807831"/>
                  <a:pt x="2543582" y="1199327"/>
                </a:cubicBezTo>
                <a:cubicBezTo>
                  <a:pt x="2545481" y="1198757"/>
                  <a:pt x="2547380" y="1198568"/>
                  <a:pt x="2549468" y="1198188"/>
                </a:cubicBezTo>
                <a:cubicBezTo>
                  <a:pt x="2551366" y="1197998"/>
                  <a:pt x="2553265" y="1197618"/>
                  <a:pt x="2555164" y="1197428"/>
                </a:cubicBezTo>
                <a:cubicBezTo>
                  <a:pt x="2556683" y="804603"/>
                  <a:pt x="2557632" y="401336"/>
                  <a:pt x="2553265" y="8701"/>
                </a:cubicBez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689880BC-373F-542D-8842-802F2624BB05}"/>
              </a:ext>
            </a:extLst>
          </p:cNvPr>
          <p:cNvSpPr/>
          <p:nvPr userDrawn="1"/>
        </p:nvSpPr>
        <p:spPr>
          <a:xfrm>
            <a:off x="6642603" y="3019381"/>
            <a:ext cx="2546812" cy="26770"/>
          </a:xfrm>
          <a:custGeom>
            <a:avLst/>
            <a:gdLst>
              <a:gd name="connsiteX0" fmla="*/ 2540926 w 2546812"/>
              <a:gd name="connsiteY0" fmla="*/ 26771 h 26770"/>
              <a:gd name="connsiteX1" fmla="*/ 2540926 w 2546812"/>
              <a:gd name="connsiteY1" fmla="*/ 26771 h 26770"/>
              <a:gd name="connsiteX2" fmla="*/ 89805 w 2546812"/>
              <a:gd name="connsiteY2" fmla="*/ 11772 h 26770"/>
              <a:gd name="connsiteX3" fmla="*/ 5886 w 2546812"/>
              <a:gd name="connsiteY3" fmla="*/ 11772 h 26770"/>
              <a:gd name="connsiteX4" fmla="*/ 0 w 2546812"/>
              <a:gd name="connsiteY4" fmla="*/ 5886 h 26770"/>
              <a:gd name="connsiteX5" fmla="*/ 5886 w 2546812"/>
              <a:gd name="connsiteY5" fmla="*/ 0 h 26770"/>
              <a:gd name="connsiteX6" fmla="*/ 89805 w 2546812"/>
              <a:gd name="connsiteY6" fmla="*/ 0 h 26770"/>
              <a:gd name="connsiteX7" fmla="*/ 2541116 w 2546812"/>
              <a:gd name="connsiteY7" fmla="*/ 14999 h 26770"/>
              <a:gd name="connsiteX8" fmla="*/ 2546812 w 2546812"/>
              <a:gd name="connsiteY8" fmla="*/ 20885 h 26770"/>
              <a:gd name="connsiteX9" fmla="*/ 2540926 w 2546812"/>
              <a:gd name="connsiteY9" fmla="*/ 26581 h 26770"/>
              <a:gd name="connsiteX10" fmla="*/ 2540926 w 2546812"/>
              <a:gd name="connsiteY10" fmla="*/ 26581 h 26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46812" h="26770">
                <a:moveTo>
                  <a:pt x="2540926" y="26771"/>
                </a:moveTo>
                <a:lnTo>
                  <a:pt x="2540926" y="26771"/>
                </a:lnTo>
                <a:cubicBezTo>
                  <a:pt x="1946278" y="11582"/>
                  <a:pt x="784131" y="11772"/>
                  <a:pt x="89805" y="11772"/>
                </a:cubicBezTo>
                <a:lnTo>
                  <a:pt x="5886" y="11772"/>
                </a:lnTo>
                <a:cubicBezTo>
                  <a:pt x="2658" y="11772"/>
                  <a:pt x="0" y="9303"/>
                  <a:pt x="0" y="5886"/>
                </a:cubicBezTo>
                <a:cubicBezTo>
                  <a:pt x="0" y="2468"/>
                  <a:pt x="2468" y="0"/>
                  <a:pt x="5886" y="0"/>
                </a:cubicBezTo>
                <a:lnTo>
                  <a:pt x="89805" y="0"/>
                </a:lnTo>
                <a:cubicBezTo>
                  <a:pt x="784131" y="0"/>
                  <a:pt x="1946278" y="0"/>
                  <a:pt x="2541116" y="14999"/>
                </a:cubicBezTo>
                <a:cubicBezTo>
                  <a:pt x="2544344" y="14999"/>
                  <a:pt x="2546812" y="17657"/>
                  <a:pt x="2546812" y="20885"/>
                </a:cubicBezTo>
                <a:cubicBezTo>
                  <a:pt x="2546812" y="24113"/>
                  <a:pt x="2544154" y="26581"/>
                  <a:pt x="2540926" y="26581"/>
                </a:cubicBezTo>
                <a:lnTo>
                  <a:pt x="2540926" y="26581"/>
                </a:ln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28315397-9C91-B9BA-2323-11E73B40B3CC}"/>
              </a:ext>
            </a:extLst>
          </p:cNvPr>
          <p:cNvSpPr>
            <a:spLocks/>
          </p:cNvSpPr>
          <p:nvPr userDrawn="1"/>
        </p:nvSpPr>
        <p:spPr>
          <a:xfrm>
            <a:off x="8980377" y="2864644"/>
            <a:ext cx="123790" cy="123411"/>
          </a:xfrm>
          <a:custGeom>
            <a:avLst/>
            <a:gdLst>
              <a:gd name="connsiteX0" fmla="*/ 61895 w 123789"/>
              <a:gd name="connsiteY0" fmla="*/ 123410 h 123410"/>
              <a:gd name="connsiteX1" fmla="*/ 0 w 123789"/>
              <a:gd name="connsiteY1" fmla="*/ 61705 h 123410"/>
              <a:gd name="connsiteX2" fmla="*/ 61895 w 123789"/>
              <a:gd name="connsiteY2" fmla="*/ 0 h 123410"/>
              <a:gd name="connsiteX3" fmla="*/ 123790 w 123789"/>
              <a:gd name="connsiteY3" fmla="*/ 61705 h 123410"/>
              <a:gd name="connsiteX4" fmla="*/ 61895 w 123789"/>
              <a:gd name="connsiteY4" fmla="*/ 123410 h 123410"/>
              <a:gd name="connsiteX5" fmla="*/ 61895 w 123789"/>
              <a:gd name="connsiteY5" fmla="*/ 123410 h 123410"/>
              <a:gd name="connsiteX6" fmla="*/ 61895 w 123789"/>
              <a:gd name="connsiteY6" fmla="*/ 11392 h 123410"/>
              <a:gd name="connsiteX7" fmla="*/ 11771 w 123789"/>
              <a:gd name="connsiteY7" fmla="*/ 61515 h 123410"/>
              <a:gd name="connsiteX8" fmla="*/ 61895 w 123789"/>
              <a:gd name="connsiteY8" fmla="*/ 111639 h 123410"/>
              <a:gd name="connsiteX9" fmla="*/ 112019 w 123789"/>
              <a:gd name="connsiteY9" fmla="*/ 61515 h 123410"/>
              <a:gd name="connsiteX10" fmla="*/ 61895 w 123789"/>
              <a:gd name="connsiteY10" fmla="*/ 11392 h 123410"/>
              <a:gd name="connsiteX11" fmla="*/ 61895 w 123789"/>
              <a:gd name="connsiteY11" fmla="*/ 11392 h 123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3789" h="123410">
                <a:moveTo>
                  <a:pt x="61895" y="123410"/>
                </a:moveTo>
                <a:cubicBezTo>
                  <a:pt x="27720" y="123410"/>
                  <a:pt x="0" y="95691"/>
                  <a:pt x="0" y="61705"/>
                </a:cubicBezTo>
                <a:cubicBezTo>
                  <a:pt x="0" y="27720"/>
                  <a:pt x="27720" y="0"/>
                  <a:pt x="61895" y="0"/>
                </a:cubicBezTo>
                <a:cubicBezTo>
                  <a:pt x="96070" y="0"/>
                  <a:pt x="123790" y="27720"/>
                  <a:pt x="123790" y="61705"/>
                </a:cubicBezTo>
                <a:cubicBezTo>
                  <a:pt x="123790" y="95691"/>
                  <a:pt x="96070" y="123410"/>
                  <a:pt x="61895" y="123410"/>
                </a:cubicBezTo>
                <a:lnTo>
                  <a:pt x="61895" y="123410"/>
                </a:lnTo>
                <a:close/>
                <a:moveTo>
                  <a:pt x="61895" y="11392"/>
                </a:moveTo>
                <a:cubicBezTo>
                  <a:pt x="34175" y="11392"/>
                  <a:pt x="11771" y="33985"/>
                  <a:pt x="11771" y="61515"/>
                </a:cubicBezTo>
                <a:cubicBezTo>
                  <a:pt x="11771" y="89045"/>
                  <a:pt x="34365" y="111639"/>
                  <a:pt x="61895" y="111639"/>
                </a:cubicBezTo>
                <a:cubicBezTo>
                  <a:pt x="89425" y="111639"/>
                  <a:pt x="112019" y="89045"/>
                  <a:pt x="112019" y="61515"/>
                </a:cubicBezTo>
                <a:cubicBezTo>
                  <a:pt x="112019" y="33985"/>
                  <a:pt x="89425" y="11392"/>
                  <a:pt x="61895" y="11392"/>
                </a:cubicBezTo>
                <a:lnTo>
                  <a:pt x="61895" y="11392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0A41F355-9D35-362F-FB5E-CAAC33A79665}"/>
              </a:ext>
            </a:extLst>
          </p:cNvPr>
          <p:cNvSpPr>
            <a:spLocks/>
          </p:cNvSpPr>
          <p:nvPr userDrawn="1"/>
        </p:nvSpPr>
        <p:spPr>
          <a:xfrm>
            <a:off x="8736024" y="2864644"/>
            <a:ext cx="123790" cy="123411"/>
          </a:xfrm>
          <a:custGeom>
            <a:avLst/>
            <a:gdLst>
              <a:gd name="connsiteX0" fmla="*/ 61895 w 123789"/>
              <a:gd name="connsiteY0" fmla="*/ 123410 h 123410"/>
              <a:gd name="connsiteX1" fmla="*/ 0 w 123789"/>
              <a:gd name="connsiteY1" fmla="*/ 61705 h 123410"/>
              <a:gd name="connsiteX2" fmla="*/ 61895 w 123789"/>
              <a:gd name="connsiteY2" fmla="*/ 0 h 123410"/>
              <a:gd name="connsiteX3" fmla="*/ 123790 w 123789"/>
              <a:gd name="connsiteY3" fmla="*/ 61705 h 123410"/>
              <a:gd name="connsiteX4" fmla="*/ 61895 w 123789"/>
              <a:gd name="connsiteY4" fmla="*/ 123410 h 123410"/>
              <a:gd name="connsiteX5" fmla="*/ 61895 w 123789"/>
              <a:gd name="connsiteY5" fmla="*/ 123410 h 123410"/>
              <a:gd name="connsiteX6" fmla="*/ 61895 w 123789"/>
              <a:gd name="connsiteY6" fmla="*/ 11392 h 123410"/>
              <a:gd name="connsiteX7" fmla="*/ 11771 w 123789"/>
              <a:gd name="connsiteY7" fmla="*/ 61515 h 123410"/>
              <a:gd name="connsiteX8" fmla="*/ 61895 w 123789"/>
              <a:gd name="connsiteY8" fmla="*/ 111639 h 123410"/>
              <a:gd name="connsiteX9" fmla="*/ 112019 w 123789"/>
              <a:gd name="connsiteY9" fmla="*/ 61515 h 123410"/>
              <a:gd name="connsiteX10" fmla="*/ 61895 w 123789"/>
              <a:gd name="connsiteY10" fmla="*/ 11392 h 123410"/>
              <a:gd name="connsiteX11" fmla="*/ 61895 w 123789"/>
              <a:gd name="connsiteY11" fmla="*/ 11392 h 123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3789" h="123410">
                <a:moveTo>
                  <a:pt x="61895" y="123410"/>
                </a:moveTo>
                <a:cubicBezTo>
                  <a:pt x="27720" y="123410"/>
                  <a:pt x="0" y="95691"/>
                  <a:pt x="0" y="61705"/>
                </a:cubicBezTo>
                <a:cubicBezTo>
                  <a:pt x="0" y="27720"/>
                  <a:pt x="27720" y="0"/>
                  <a:pt x="61895" y="0"/>
                </a:cubicBezTo>
                <a:cubicBezTo>
                  <a:pt x="96070" y="0"/>
                  <a:pt x="123790" y="27720"/>
                  <a:pt x="123790" y="61705"/>
                </a:cubicBezTo>
                <a:cubicBezTo>
                  <a:pt x="123790" y="95691"/>
                  <a:pt x="96070" y="123410"/>
                  <a:pt x="61895" y="123410"/>
                </a:cubicBezTo>
                <a:lnTo>
                  <a:pt x="61895" y="123410"/>
                </a:lnTo>
                <a:close/>
                <a:moveTo>
                  <a:pt x="61895" y="11392"/>
                </a:moveTo>
                <a:cubicBezTo>
                  <a:pt x="34175" y="11392"/>
                  <a:pt x="11771" y="33985"/>
                  <a:pt x="11771" y="61515"/>
                </a:cubicBezTo>
                <a:cubicBezTo>
                  <a:pt x="11771" y="89045"/>
                  <a:pt x="34365" y="111639"/>
                  <a:pt x="61895" y="111639"/>
                </a:cubicBezTo>
                <a:cubicBezTo>
                  <a:pt x="89425" y="111639"/>
                  <a:pt x="112019" y="89045"/>
                  <a:pt x="112019" y="61515"/>
                </a:cubicBezTo>
                <a:cubicBezTo>
                  <a:pt x="112019" y="33985"/>
                  <a:pt x="89425" y="11392"/>
                  <a:pt x="61895" y="11392"/>
                </a:cubicBezTo>
                <a:lnTo>
                  <a:pt x="61895" y="11392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00E1CF5D-E774-D830-C696-8AF363C84CD7}"/>
              </a:ext>
            </a:extLst>
          </p:cNvPr>
          <p:cNvSpPr/>
          <p:nvPr userDrawn="1"/>
        </p:nvSpPr>
        <p:spPr>
          <a:xfrm>
            <a:off x="8478571" y="2864644"/>
            <a:ext cx="123790" cy="123410"/>
          </a:xfrm>
          <a:custGeom>
            <a:avLst/>
            <a:gdLst>
              <a:gd name="connsiteX0" fmla="*/ 61895 w 123790"/>
              <a:gd name="connsiteY0" fmla="*/ 123410 h 123410"/>
              <a:gd name="connsiteX1" fmla="*/ 0 w 123790"/>
              <a:gd name="connsiteY1" fmla="*/ 61705 h 123410"/>
              <a:gd name="connsiteX2" fmla="*/ 61895 w 123790"/>
              <a:gd name="connsiteY2" fmla="*/ 0 h 123410"/>
              <a:gd name="connsiteX3" fmla="*/ 123790 w 123790"/>
              <a:gd name="connsiteY3" fmla="*/ 61705 h 123410"/>
              <a:gd name="connsiteX4" fmla="*/ 61895 w 123790"/>
              <a:gd name="connsiteY4" fmla="*/ 123410 h 123410"/>
              <a:gd name="connsiteX5" fmla="*/ 61895 w 123790"/>
              <a:gd name="connsiteY5" fmla="*/ 123410 h 123410"/>
              <a:gd name="connsiteX6" fmla="*/ 61895 w 123790"/>
              <a:gd name="connsiteY6" fmla="*/ 11392 h 123410"/>
              <a:gd name="connsiteX7" fmla="*/ 11772 w 123790"/>
              <a:gd name="connsiteY7" fmla="*/ 61515 h 123410"/>
              <a:gd name="connsiteX8" fmla="*/ 61895 w 123790"/>
              <a:gd name="connsiteY8" fmla="*/ 111639 h 123410"/>
              <a:gd name="connsiteX9" fmla="*/ 112019 w 123790"/>
              <a:gd name="connsiteY9" fmla="*/ 61515 h 123410"/>
              <a:gd name="connsiteX10" fmla="*/ 61895 w 123790"/>
              <a:gd name="connsiteY10" fmla="*/ 11392 h 123410"/>
              <a:gd name="connsiteX11" fmla="*/ 61895 w 123790"/>
              <a:gd name="connsiteY11" fmla="*/ 11392 h 123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3790" h="123410">
                <a:moveTo>
                  <a:pt x="61895" y="123410"/>
                </a:moveTo>
                <a:cubicBezTo>
                  <a:pt x="27720" y="123410"/>
                  <a:pt x="0" y="95691"/>
                  <a:pt x="0" y="61705"/>
                </a:cubicBezTo>
                <a:cubicBezTo>
                  <a:pt x="0" y="27720"/>
                  <a:pt x="27720" y="0"/>
                  <a:pt x="61895" y="0"/>
                </a:cubicBezTo>
                <a:cubicBezTo>
                  <a:pt x="96071" y="0"/>
                  <a:pt x="123790" y="27720"/>
                  <a:pt x="123790" y="61705"/>
                </a:cubicBezTo>
                <a:cubicBezTo>
                  <a:pt x="123790" y="95691"/>
                  <a:pt x="96071" y="123410"/>
                  <a:pt x="61895" y="123410"/>
                </a:cubicBezTo>
                <a:lnTo>
                  <a:pt x="61895" y="123410"/>
                </a:lnTo>
                <a:close/>
                <a:moveTo>
                  <a:pt x="61895" y="11392"/>
                </a:moveTo>
                <a:cubicBezTo>
                  <a:pt x="34175" y="11392"/>
                  <a:pt x="11772" y="33985"/>
                  <a:pt x="11772" y="61515"/>
                </a:cubicBezTo>
                <a:cubicBezTo>
                  <a:pt x="11772" y="89045"/>
                  <a:pt x="34365" y="111639"/>
                  <a:pt x="61895" y="111639"/>
                </a:cubicBezTo>
                <a:cubicBezTo>
                  <a:pt x="89425" y="111639"/>
                  <a:pt x="112019" y="89045"/>
                  <a:pt x="112019" y="61515"/>
                </a:cubicBezTo>
                <a:cubicBezTo>
                  <a:pt x="112019" y="33985"/>
                  <a:pt x="89425" y="11392"/>
                  <a:pt x="61895" y="11392"/>
                </a:cubicBezTo>
                <a:lnTo>
                  <a:pt x="61895" y="11392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E222C2B-9BE0-5749-2553-542464B5EA6D}"/>
              </a:ext>
            </a:extLst>
          </p:cNvPr>
          <p:cNvGrpSpPr/>
          <p:nvPr userDrawn="1"/>
        </p:nvGrpSpPr>
        <p:grpSpPr>
          <a:xfrm>
            <a:off x="6914289" y="3217880"/>
            <a:ext cx="1679917" cy="1189583"/>
            <a:chOff x="6914289" y="3217880"/>
            <a:chExt cx="1679917" cy="1189583"/>
          </a:xfrm>
          <a:solidFill>
            <a:schemeClr val="accent1"/>
          </a:solidFill>
        </p:grpSpPr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6133F132-37A9-C803-7064-14B5907CF2BA}"/>
                </a:ext>
              </a:extLst>
            </p:cNvPr>
            <p:cNvSpPr/>
            <p:nvPr/>
          </p:nvSpPr>
          <p:spPr>
            <a:xfrm>
              <a:off x="6914289" y="3217880"/>
              <a:ext cx="1526408" cy="588289"/>
            </a:xfrm>
            <a:custGeom>
              <a:avLst/>
              <a:gdLst>
                <a:gd name="connsiteX0" fmla="*/ 5703 w 1526408"/>
                <a:gd name="connsiteY0" fmla="*/ 587910 h 588289"/>
                <a:gd name="connsiteX1" fmla="*/ 2855 w 1526408"/>
                <a:gd name="connsiteY1" fmla="*/ 587151 h 588289"/>
                <a:gd name="connsiteX2" fmla="*/ 767 w 1526408"/>
                <a:gd name="connsiteY2" fmla="*/ 579177 h 588289"/>
                <a:gd name="connsiteX3" fmla="*/ 264485 w 1526408"/>
                <a:gd name="connsiteY3" fmla="*/ 99964 h 588289"/>
                <a:gd name="connsiteX4" fmla="*/ 269422 w 1526408"/>
                <a:gd name="connsiteY4" fmla="*/ 96927 h 588289"/>
                <a:gd name="connsiteX5" fmla="*/ 274548 w 1526408"/>
                <a:gd name="connsiteY5" fmla="*/ 99774 h 588289"/>
                <a:gd name="connsiteX6" fmla="*/ 432893 w 1526408"/>
                <a:gd name="connsiteY6" fmla="*/ 372796 h 588289"/>
                <a:gd name="connsiteX7" fmla="*/ 731736 w 1526408"/>
                <a:gd name="connsiteY7" fmla="*/ 29336 h 588289"/>
                <a:gd name="connsiteX8" fmla="*/ 755659 w 1526408"/>
                <a:gd name="connsiteY8" fmla="*/ 1995 h 588289"/>
                <a:gd name="connsiteX9" fmla="*/ 760975 w 1526408"/>
                <a:gd name="connsiteY9" fmla="*/ 97 h 588289"/>
                <a:gd name="connsiteX10" fmla="*/ 765342 w 1526408"/>
                <a:gd name="connsiteY10" fmla="*/ 3514 h 588289"/>
                <a:gd name="connsiteX11" fmla="*/ 910776 w 1526408"/>
                <a:gd name="connsiteY11" fmla="*/ 331027 h 588289"/>
                <a:gd name="connsiteX12" fmla="*/ 1090765 w 1526408"/>
                <a:gd name="connsiteY12" fmla="*/ 164897 h 588289"/>
                <a:gd name="connsiteX13" fmla="*/ 1105765 w 1526408"/>
                <a:gd name="connsiteY13" fmla="*/ 156164 h 588289"/>
                <a:gd name="connsiteX14" fmla="*/ 1132725 w 1526408"/>
                <a:gd name="connsiteY14" fmla="*/ 174390 h 588289"/>
                <a:gd name="connsiteX15" fmla="*/ 1239618 w 1526408"/>
                <a:gd name="connsiteY15" fmla="*/ 357038 h 588289"/>
                <a:gd name="connsiteX16" fmla="*/ 1298095 w 1526408"/>
                <a:gd name="connsiteY16" fmla="*/ 458424 h 588289"/>
                <a:gd name="connsiteX17" fmla="*/ 1515677 w 1526408"/>
                <a:gd name="connsiteY17" fmla="*/ 85345 h 588289"/>
                <a:gd name="connsiteX18" fmla="*/ 1523651 w 1526408"/>
                <a:gd name="connsiteY18" fmla="*/ 83446 h 588289"/>
                <a:gd name="connsiteX19" fmla="*/ 1525550 w 1526408"/>
                <a:gd name="connsiteY19" fmla="*/ 91421 h 588289"/>
                <a:gd name="connsiteX20" fmla="*/ 1303221 w 1526408"/>
                <a:gd name="connsiteY20" fmla="*/ 473044 h 588289"/>
                <a:gd name="connsiteX21" fmla="*/ 1298285 w 1526408"/>
                <a:gd name="connsiteY21" fmla="*/ 476081 h 588289"/>
                <a:gd name="connsiteX22" fmla="*/ 1293159 w 1526408"/>
                <a:gd name="connsiteY22" fmla="*/ 473234 h 588289"/>
                <a:gd name="connsiteX23" fmla="*/ 1229555 w 1526408"/>
                <a:gd name="connsiteY23" fmla="*/ 362923 h 588289"/>
                <a:gd name="connsiteX24" fmla="*/ 1122852 w 1526408"/>
                <a:gd name="connsiteY24" fmla="*/ 180656 h 588289"/>
                <a:gd name="connsiteX25" fmla="*/ 1107473 w 1526408"/>
                <a:gd name="connsiteY25" fmla="*/ 167935 h 588289"/>
                <a:gd name="connsiteX26" fmla="*/ 1098550 w 1526408"/>
                <a:gd name="connsiteY26" fmla="*/ 173821 h 588289"/>
                <a:gd name="connsiteX27" fmla="*/ 912485 w 1526408"/>
                <a:gd name="connsiteY27" fmla="*/ 345456 h 588289"/>
                <a:gd name="connsiteX28" fmla="*/ 907359 w 1526408"/>
                <a:gd name="connsiteY28" fmla="*/ 346785 h 588289"/>
                <a:gd name="connsiteX29" fmla="*/ 903182 w 1526408"/>
                <a:gd name="connsiteY29" fmla="*/ 343558 h 588289"/>
                <a:gd name="connsiteX30" fmla="*/ 757937 w 1526408"/>
                <a:gd name="connsiteY30" fmla="*/ 16994 h 588289"/>
                <a:gd name="connsiteX31" fmla="*/ 740090 w 1526408"/>
                <a:gd name="connsiteY31" fmla="*/ 37310 h 588289"/>
                <a:gd name="connsiteX32" fmla="*/ 435931 w 1526408"/>
                <a:gd name="connsiteY32" fmla="*/ 387036 h 588289"/>
                <a:gd name="connsiteX33" fmla="*/ 430994 w 1526408"/>
                <a:gd name="connsiteY33" fmla="*/ 388935 h 588289"/>
                <a:gd name="connsiteX34" fmla="*/ 426438 w 1526408"/>
                <a:gd name="connsiteY34" fmla="*/ 386087 h 588289"/>
                <a:gd name="connsiteX35" fmla="*/ 269232 w 1526408"/>
                <a:gd name="connsiteY35" fmla="*/ 114963 h 588289"/>
                <a:gd name="connsiteX36" fmla="*/ 10260 w 1526408"/>
                <a:gd name="connsiteY36" fmla="*/ 585252 h 588289"/>
                <a:gd name="connsiteX37" fmla="*/ 5133 w 1526408"/>
                <a:gd name="connsiteY37" fmla="*/ 588290 h 588289"/>
                <a:gd name="connsiteX38" fmla="*/ 5133 w 1526408"/>
                <a:gd name="connsiteY38" fmla="*/ 588290 h 58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26408" h="588289">
                  <a:moveTo>
                    <a:pt x="5703" y="587910"/>
                  </a:moveTo>
                  <a:cubicBezTo>
                    <a:pt x="4754" y="587910"/>
                    <a:pt x="3804" y="587720"/>
                    <a:pt x="2855" y="587151"/>
                  </a:cubicBezTo>
                  <a:cubicBezTo>
                    <a:pt x="7" y="585632"/>
                    <a:pt x="-752" y="582024"/>
                    <a:pt x="767" y="579177"/>
                  </a:cubicBezTo>
                  <a:cubicBezTo>
                    <a:pt x="92850" y="419313"/>
                    <a:pt x="179047" y="262676"/>
                    <a:pt x="264485" y="99964"/>
                  </a:cubicBezTo>
                  <a:cubicBezTo>
                    <a:pt x="265435" y="98066"/>
                    <a:pt x="267333" y="96927"/>
                    <a:pt x="269422" y="96927"/>
                  </a:cubicBezTo>
                  <a:cubicBezTo>
                    <a:pt x="271700" y="96927"/>
                    <a:pt x="273599" y="97876"/>
                    <a:pt x="274548" y="99774"/>
                  </a:cubicBezTo>
                  <a:cubicBezTo>
                    <a:pt x="325811" y="188060"/>
                    <a:pt x="378972" y="279004"/>
                    <a:pt x="432893" y="372796"/>
                  </a:cubicBezTo>
                  <a:cubicBezTo>
                    <a:pt x="530862" y="258879"/>
                    <a:pt x="628451" y="147240"/>
                    <a:pt x="731736" y="29336"/>
                  </a:cubicBezTo>
                  <a:lnTo>
                    <a:pt x="755659" y="1995"/>
                  </a:lnTo>
                  <a:cubicBezTo>
                    <a:pt x="756988" y="477"/>
                    <a:pt x="758886" y="-283"/>
                    <a:pt x="760975" y="97"/>
                  </a:cubicBezTo>
                  <a:cubicBezTo>
                    <a:pt x="762874" y="287"/>
                    <a:pt x="764582" y="1616"/>
                    <a:pt x="765342" y="3514"/>
                  </a:cubicBezTo>
                  <a:cubicBezTo>
                    <a:pt x="811668" y="108888"/>
                    <a:pt x="859513" y="217679"/>
                    <a:pt x="910776" y="331027"/>
                  </a:cubicBezTo>
                  <a:lnTo>
                    <a:pt x="1090765" y="164897"/>
                  </a:lnTo>
                  <a:cubicBezTo>
                    <a:pt x="1094373" y="161670"/>
                    <a:pt x="1099119" y="157113"/>
                    <a:pt x="1105765" y="156164"/>
                  </a:cubicBezTo>
                  <a:cubicBezTo>
                    <a:pt x="1120194" y="153885"/>
                    <a:pt x="1129687" y="169454"/>
                    <a:pt x="1132725" y="174390"/>
                  </a:cubicBezTo>
                  <a:cubicBezTo>
                    <a:pt x="1170128" y="235146"/>
                    <a:pt x="1205442" y="297041"/>
                    <a:pt x="1239618" y="357038"/>
                  </a:cubicBezTo>
                  <a:cubicBezTo>
                    <a:pt x="1259743" y="392352"/>
                    <a:pt x="1278919" y="425958"/>
                    <a:pt x="1298095" y="458424"/>
                  </a:cubicBezTo>
                  <a:cubicBezTo>
                    <a:pt x="1367015" y="332546"/>
                    <a:pt x="1440112" y="207236"/>
                    <a:pt x="1515677" y="85345"/>
                  </a:cubicBezTo>
                  <a:cubicBezTo>
                    <a:pt x="1517386" y="82687"/>
                    <a:pt x="1520993" y="81738"/>
                    <a:pt x="1523651" y="83446"/>
                  </a:cubicBezTo>
                  <a:cubicBezTo>
                    <a:pt x="1526309" y="85155"/>
                    <a:pt x="1527259" y="88763"/>
                    <a:pt x="1525550" y="91421"/>
                  </a:cubicBezTo>
                  <a:cubicBezTo>
                    <a:pt x="1448276" y="215970"/>
                    <a:pt x="1373470" y="344317"/>
                    <a:pt x="1303221" y="473044"/>
                  </a:cubicBezTo>
                  <a:cubicBezTo>
                    <a:pt x="1302272" y="474942"/>
                    <a:pt x="1300184" y="476081"/>
                    <a:pt x="1298285" y="476081"/>
                  </a:cubicBezTo>
                  <a:cubicBezTo>
                    <a:pt x="1296386" y="476081"/>
                    <a:pt x="1294298" y="475132"/>
                    <a:pt x="1293159" y="473234"/>
                  </a:cubicBezTo>
                  <a:cubicBezTo>
                    <a:pt x="1272274" y="437919"/>
                    <a:pt x="1251579" y="401465"/>
                    <a:pt x="1229555" y="362923"/>
                  </a:cubicBezTo>
                  <a:cubicBezTo>
                    <a:pt x="1195380" y="303117"/>
                    <a:pt x="1160065" y="241222"/>
                    <a:pt x="1122852" y="180656"/>
                  </a:cubicBezTo>
                  <a:cubicBezTo>
                    <a:pt x="1117156" y="171353"/>
                    <a:pt x="1112220" y="167176"/>
                    <a:pt x="1107473" y="167935"/>
                  </a:cubicBezTo>
                  <a:cubicBezTo>
                    <a:pt x="1104626" y="168315"/>
                    <a:pt x="1101778" y="170783"/>
                    <a:pt x="1098550" y="173821"/>
                  </a:cubicBezTo>
                  <a:lnTo>
                    <a:pt x="912485" y="345456"/>
                  </a:lnTo>
                  <a:cubicBezTo>
                    <a:pt x="911156" y="346785"/>
                    <a:pt x="909257" y="347355"/>
                    <a:pt x="907359" y="346785"/>
                  </a:cubicBezTo>
                  <a:cubicBezTo>
                    <a:pt x="905460" y="346406"/>
                    <a:pt x="903941" y="345266"/>
                    <a:pt x="903182" y="343558"/>
                  </a:cubicBezTo>
                  <a:cubicBezTo>
                    <a:pt x="852109" y="230589"/>
                    <a:pt x="804074" y="122178"/>
                    <a:pt x="757937" y="16994"/>
                  </a:cubicBezTo>
                  <a:lnTo>
                    <a:pt x="740090" y="37310"/>
                  </a:lnTo>
                  <a:cubicBezTo>
                    <a:pt x="634906" y="157493"/>
                    <a:pt x="535609" y="271030"/>
                    <a:pt x="435931" y="387036"/>
                  </a:cubicBezTo>
                  <a:cubicBezTo>
                    <a:pt x="434602" y="388365"/>
                    <a:pt x="432893" y="389125"/>
                    <a:pt x="430994" y="388935"/>
                  </a:cubicBezTo>
                  <a:cubicBezTo>
                    <a:pt x="429096" y="388935"/>
                    <a:pt x="427387" y="387606"/>
                    <a:pt x="426438" y="386087"/>
                  </a:cubicBezTo>
                  <a:cubicBezTo>
                    <a:pt x="372896" y="292864"/>
                    <a:pt x="320115" y="202490"/>
                    <a:pt x="269232" y="114963"/>
                  </a:cubicBezTo>
                  <a:cubicBezTo>
                    <a:pt x="185313" y="274258"/>
                    <a:pt x="100634" y="428236"/>
                    <a:pt x="10260" y="585252"/>
                  </a:cubicBezTo>
                  <a:cubicBezTo>
                    <a:pt x="9121" y="587151"/>
                    <a:pt x="7222" y="588290"/>
                    <a:pt x="5133" y="588290"/>
                  </a:cubicBezTo>
                  <a:lnTo>
                    <a:pt x="5133" y="588290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1F6ABA5E-296C-B301-7A95-AEEB8188F9B8}"/>
                </a:ext>
              </a:extLst>
            </p:cNvPr>
            <p:cNvSpPr/>
            <p:nvPr/>
          </p:nvSpPr>
          <p:spPr>
            <a:xfrm>
              <a:off x="6993126" y="3382041"/>
              <a:ext cx="1133399" cy="523047"/>
            </a:xfrm>
            <a:custGeom>
              <a:avLst/>
              <a:gdLst>
                <a:gd name="connsiteX0" fmla="*/ 219824 w 1133399"/>
                <a:gd name="connsiteY0" fmla="*/ 522858 h 523047"/>
                <a:gd name="connsiteX1" fmla="*/ 214887 w 1133399"/>
                <a:gd name="connsiteY1" fmla="*/ 520199 h 523047"/>
                <a:gd name="connsiteX2" fmla="*/ 200837 w 1133399"/>
                <a:gd name="connsiteY2" fmla="*/ 497606 h 523047"/>
                <a:gd name="connsiteX3" fmla="*/ 202736 w 1133399"/>
                <a:gd name="connsiteY3" fmla="*/ 489632 h 523047"/>
                <a:gd name="connsiteX4" fmla="*/ 210710 w 1133399"/>
                <a:gd name="connsiteY4" fmla="*/ 491530 h 523047"/>
                <a:gd name="connsiteX5" fmla="*/ 218874 w 1133399"/>
                <a:gd name="connsiteY5" fmla="*/ 504631 h 523047"/>
                <a:gd name="connsiteX6" fmla="*/ 222482 w 1133399"/>
                <a:gd name="connsiteY6" fmla="*/ 496467 h 523047"/>
                <a:gd name="connsiteX7" fmla="*/ 230076 w 1133399"/>
                <a:gd name="connsiteY7" fmla="*/ 493429 h 523047"/>
                <a:gd name="connsiteX8" fmla="*/ 233114 w 1133399"/>
                <a:gd name="connsiteY8" fmla="*/ 501023 h 523047"/>
                <a:gd name="connsiteX9" fmla="*/ 225330 w 1133399"/>
                <a:gd name="connsiteY9" fmla="*/ 519440 h 523047"/>
                <a:gd name="connsiteX10" fmla="*/ 220393 w 1133399"/>
                <a:gd name="connsiteY10" fmla="*/ 523048 h 523047"/>
                <a:gd name="connsiteX11" fmla="*/ 220013 w 1133399"/>
                <a:gd name="connsiteY11" fmla="*/ 523048 h 523047"/>
                <a:gd name="connsiteX12" fmla="*/ 394876 w 1133399"/>
                <a:gd name="connsiteY12" fmla="*/ 512795 h 523047"/>
                <a:gd name="connsiteX13" fmla="*/ 394117 w 1133399"/>
                <a:gd name="connsiteY13" fmla="*/ 512795 h 523047"/>
                <a:gd name="connsiteX14" fmla="*/ 389750 w 1133399"/>
                <a:gd name="connsiteY14" fmla="*/ 509947 h 523047"/>
                <a:gd name="connsiteX15" fmla="*/ 381396 w 1133399"/>
                <a:gd name="connsiteY15" fmla="*/ 495897 h 523047"/>
                <a:gd name="connsiteX16" fmla="*/ 383295 w 1133399"/>
                <a:gd name="connsiteY16" fmla="*/ 487923 h 523047"/>
                <a:gd name="connsiteX17" fmla="*/ 391269 w 1133399"/>
                <a:gd name="connsiteY17" fmla="*/ 489822 h 523047"/>
                <a:gd name="connsiteX18" fmla="*/ 395826 w 1133399"/>
                <a:gd name="connsiteY18" fmla="*/ 497416 h 523047"/>
                <a:gd name="connsiteX19" fmla="*/ 411205 w 1133399"/>
                <a:gd name="connsiteY19" fmla="*/ 481278 h 523047"/>
                <a:gd name="connsiteX20" fmla="*/ 419369 w 1133399"/>
                <a:gd name="connsiteY20" fmla="*/ 481088 h 523047"/>
                <a:gd name="connsiteX21" fmla="*/ 419559 w 1133399"/>
                <a:gd name="connsiteY21" fmla="*/ 489252 h 523047"/>
                <a:gd name="connsiteX22" fmla="*/ 398864 w 1133399"/>
                <a:gd name="connsiteY22" fmla="*/ 511086 h 523047"/>
                <a:gd name="connsiteX23" fmla="*/ 394687 w 1133399"/>
                <a:gd name="connsiteY23" fmla="*/ 512985 h 523047"/>
                <a:gd name="connsiteX24" fmla="*/ 394687 w 1133399"/>
                <a:gd name="connsiteY24" fmla="*/ 512985 h 523047"/>
                <a:gd name="connsiteX25" fmla="*/ 1127555 w 1133399"/>
                <a:gd name="connsiteY25" fmla="*/ 483746 h 523047"/>
                <a:gd name="connsiteX26" fmla="*/ 1122429 w 1133399"/>
                <a:gd name="connsiteY26" fmla="*/ 480708 h 523047"/>
                <a:gd name="connsiteX27" fmla="*/ 1100784 w 1133399"/>
                <a:gd name="connsiteY27" fmla="*/ 441217 h 523047"/>
                <a:gd name="connsiteX28" fmla="*/ 1103063 w 1133399"/>
                <a:gd name="connsiteY28" fmla="*/ 433243 h 523047"/>
                <a:gd name="connsiteX29" fmla="*/ 1111037 w 1133399"/>
                <a:gd name="connsiteY29" fmla="*/ 435521 h 523047"/>
                <a:gd name="connsiteX30" fmla="*/ 1132681 w 1133399"/>
                <a:gd name="connsiteY30" fmla="*/ 475012 h 523047"/>
                <a:gd name="connsiteX31" fmla="*/ 1130403 w 1133399"/>
                <a:gd name="connsiteY31" fmla="*/ 482987 h 523047"/>
                <a:gd name="connsiteX32" fmla="*/ 1127555 w 1133399"/>
                <a:gd name="connsiteY32" fmla="*/ 483746 h 523047"/>
                <a:gd name="connsiteX33" fmla="*/ 1127555 w 1133399"/>
                <a:gd name="connsiteY33" fmla="*/ 483746 h 523047"/>
                <a:gd name="connsiteX34" fmla="*/ 246594 w 1133399"/>
                <a:gd name="connsiteY34" fmla="*/ 462292 h 523047"/>
                <a:gd name="connsiteX35" fmla="*/ 244126 w 1133399"/>
                <a:gd name="connsiteY35" fmla="*/ 461722 h 523047"/>
                <a:gd name="connsiteX36" fmla="*/ 241278 w 1133399"/>
                <a:gd name="connsiteY36" fmla="*/ 454127 h 523047"/>
                <a:gd name="connsiteX37" fmla="*/ 261403 w 1133399"/>
                <a:gd name="connsiteY37" fmla="*/ 411978 h 523047"/>
                <a:gd name="connsiteX38" fmla="*/ 269188 w 1133399"/>
                <a:gd name="connsiteY38" fmla="*/ 409320 h 523047"/>
                <a:gd name="connsiteX39" fmla="*/ 271846 w 1133399"/>
                <a:gd name="connsiteY39" fmla="*/ 417104 h 523047"/>
                <a:gd name="connsiteX40" fmla="*/ 251910 w 1133399"/>
                <a:gd name="connsiteY40" fmla="*/ 459064 h 523047"/>
                <a:gd name="connsiteX41" fmla="*/ 246594 w 1133399"/>
                <a:gd name="connsiteY41" fmla="*/ 462481 h 523047"/>
                <a:gd name="connsiteX42" fmla="*/ 246594 w 1133399"/>
                <a:gd name="connsiteY42" fmla="*/ 462481 h 523047"/>
                <a:gd name="connsiteX43" fmla="*/ 180902 w 1133399"/>
                <a:gd name="connsiteY43" fmla="*/ 460963 h 523047"/>
                <a:gd name="connsiteX44" fmla="*/ 175965 w 1133399"/>
                <a:gd name="connsiteY44" fmla="*/ 458304 h 523047"/>
                <a:gd name="connsiteX45" fmla="*/ 151093 w 1133399"/>
                <a:gd name="connsiteY45" fmla="*/ 419003 h 523047"/>
                <a:gd name="connsiteX46" fmla="*/ 152992 w 1133399"/>
                <a:gd name="connsiteY46" fmla="*/ 410839 h 523047"/>
                <a:gd name="connsiteX47" fmla="*/ 161156 w 1133399"/>
                <a:gd name="connsiteY47" fmla="*/ 412738 h 523047"/>
                <a:gd name="connsiteX48" fmla="*/ 186028 w 1133399"/>
                <a:gd name="connsiteY48" fmla="*/ 452039 h 523047"/>
                <a:gd name="connsiteX49" fmla="*/ 184130 w 1133399"/>
                <a:gd name="connsiteY49" fmla="*/ 460013 h 523047"/>
                <a:gd name="connsiteX50" fmla="*/ 181092 w 1133399"/>
                <a:gd name="connsiteY50" fmla="*/ 460773 h 523047"/>
                <a:gd name="connsiteX51" fmla="*/ 181092 w 1133399"/>
                <a:gd name="connsiteY51" fmla="*/ 460773 h 523047"/>
                <a:gd name="connsiteX52" fmla="*/ 361841 w 1133399"/>
                <a:gd name="connsiteY52" fmla="*/ 459254 h 523047"/>
                <a:gd name="connsiteX53" fmla="*/ 356904 w 1133399"/>
                <a:gd name="connsiteY53" fmla="*/ 456596 h 523047"/>
                <a:gd name="connsiteX54" fmla="*/ 331653 w 1133399"/>
                <a:gd name="connsiteY54" fmla="*/ 417674 h 523047"/>
                <a:gd name="connsiteX55" fmla="*/ 333361 w 1133399"/>
                <a:gd name="connsiteY55" fmla="*/ 409510 h 523047"/>
                <a:gd name="connsiteX56" fmla="*/ 341525 w 1133399"/>
                <a:gd name="connsiteY56" fmla="*/ 411219 h 523047"/>
                <a:gd name="connsiteX57" fmla="*/ 366967 w 1133399"/>
                <a:gd name="connsiteY57" fmla="*/ 450330 h 523047"/>
                <a:gd name="connsiteX58" fmla="*/ 365258 w 1133399"/>
                <a:gd name="connsiteY58" fmla="*/ 458494 h 523047"/>
                <a:gd name="connsiteX59" fmla="*/ 362220 w 1133399"/>
                <a:gd name="connsiteY59" fmla="*/ 459254 h 523047"/>
                <a:gd name="connsiteX60" fmla="*/ 362220 w 1133399"/>
                <a:gd name="connsiteY60" fmla="*/ 459254 h 523047"/>
                <a:gd name="connsiteX61" fmla="*/ 447279 w 1133399"/>
                <a:gd name="connsiteY61" fmla="*/ 457165 h 523047"/>
                <a:gd name="connsiteX62" fmla="*/ 443291 w 1133399"/>
                <a:gd name="connsiteY62" fmla="*/ 455646 h 523047"/>
                <a:gd name="connsiteX63" fmla="*/ 443102 w 1133399"/>
                <a:gd name="connsiteY63" fmla="*/ 447482 h 523047"/>
                <a:gd name="connsiteX64" fmla="*/ 474809 w 1133399"/>
                <a:gd name="connsiteY64" fmla="*/ 413307 h 523047"/>
                <a:gd name="connsiteX65" fmla="*/ 482972 w 1133399"/>
                <a:gd name="connsiteY65" fmla="*/ 413117 h 523047"/>
                <a:gd name="connsiteX66" fmla="*/ 483163 w 1133399"/>
                <a:gd name="connsiteY66" fmla="*/ 421281 h 523047"/>
                <a:gd name="connsiteX67" fmla="*/ 451456 w 1133399"/>
                <a:gd name="connsiteY67" fmla="*/ 455457 h 523047"/>
                <a:gd name="connsiteX68" fmla="*/ 447279 w 1133399"/>
                <a:gd name="connsiteY68" fmla="*/ 457355 h 523047"/>
                <a:gd name="connsiteX69" fmla="*/ 447279 w 1133399"/>
                <a:gd name="connsiteY69" fmla="*/ 457355 h 523047"/>
                <a:gd name="connsiteX70" fmla="*/ 1083317 w 1133399"/>
                <a:gd name="connsiteY70" fmla="*/ 403624 h 523047"/>
                <a:gd name="connsiteX71" fmla="*/ 1078191 w 1133399"/>
                <a:gd name="connsiteY71" fmla="*/ 400586 h 523047"/>
                <a:gd name="connsiteX72" fmla="*/ 1055787 w 1133399"/>
                <a:gd name="connsiteY72" fmla="*/ 359766 h 523047"/>
                <a:gd name="connsiteX73" fmla="*/ 1058065 w 1133399"/>
                <a:gd name="connsiteY73" fmla="*/ 351792 h 523047"/>
                <a:gd name="connsiteX74" fmla="*/ 1066040 w 1133399"/>
                <a:gd name="connsiteY74" fmla="*/ 354070 h 523047"/>
                <a:gd name="connsiteX75" fmla="*/ 1088443 w 1133399"/>
                <a:gd name="connsiteY75" fmla="*/ 394890 h 523047"/>
                <a:gd name="connsiteX76" fmla="*/ 1086165 w 1133399"/>
                <a:gd name="connsiteY76" fmla="*/ 402865 h 523047"/>
                <a:gd name="connsiteX77" fmla="*/ 1083317 w 1133399"/>
                <a:gd name="connsiteY77" fmla="*/ 403624 h 523047"/>
                <a:gd name="connsiteX78" fmla="*/ 1083317 w 1133399"/>
                <a:gd name="connsiteY78" fmla="*/ 403624 h 523047"/>
                <a:gd name="connsiteX79" fmla="*/ 510692 w 1133399"/>
                <a:gd name="connsiteY79" fmla="*/ 389005 h 523047"/>
                <a:gd name="connsiteX80" fmla="*/ 506705 w 1133399"/>
                <a:gd name="connsiteY80" fmla="*/ 387486 h 523047"/>
                <a:gd name="connsiteX81" fmla="*/ 506515 w 1133399"/>
                <a:gd name="connsiteY81" fmla="*/ 379322 h 523047"/>
                <a:gd name="connsiteX82" fmla="*/ 538033 w 1133399"/>
                <a:gd name="connsiteY82" fmla="*/ 345146 h 523047"/>
                <a:gd name="connsiteX83" fmla="*/ 546197 w 1133399"/>
                <a:gd name="connsiteY83" fmla="*/ 344767 h 523047"/>
                <a:gd name="connsiteX84" fmla="*/ 546387 w 1133399"/>
                <a:gd name="connsiteY84" fmla="*/ 352931 h 523047"/>
                <a:gd name="connsiteX85" fmla="*/ 514869 w 1133399"/>
                <a:gd name="connsiteY85" fmla="*/ 387106 h 523047"/>
                <a:gd name="connsiteX86" fmla="*/ 510692 w 1133399"/>
                <a:gd name="connsiteY86" fmla="*/ 389005 h 523047"/>
                <a:gd name="connsiteX87" fmla="*/ 510692 w 1133399"/>
                <a:gd name="connsiteY87" fmla="*/ 389005 h 523047"/>
                <a:gd name="connsiteX88" fmla="*/ 131348 w 1133399"/>
                <a:gd name="connsiteY88" fmla="*/ 382549 h 523047"/>
                <a:gd name="connsiteX89" fmla="*/ 126411 w 1133399"/>
                <a:gd name="connsiteY89" fmla="*/ 379891 h 523047"/>
                <a:gd name="connsiteX90" fmla="*/ 101350 w 1133399"/>
                <a:gd name="connsiteY90" fmla="*/ 340780 h 523047"/>
                <a:gd name="connsiteX91" fmla="*/ 103058 w 1133399"/>
                <a:gd name="connsiteY91" fmla="*/ 332616 h 523047"/>
                <a:gd name="connsiteX92" fmla="*/ 111223 w 1133399"/>
                <a:gd name="connsiteY92" fmla="*/ 334514 h 523047"/>
                <a:gd name="connsiteX93" fmla="*/ 136284 w 1133399"/>
                <a:gd name="connsiteY93" fmla="*/ 373626 h 523047"/>
                <a:gd name="connsiteX94" fmla="*/ 134386 w 1133399"/>
                <a:gd name="connsiteY94" fmla="*/ 381790 h 523047"/>
                <a:gd name="connsiteX95" fmla="*/ 131348 w 1133399"/>
                <a:gd name="connsiteY95" fmla="*/ 382549 h 523047"/>
                <a:gd name="connsiteX96" fmla="*/ 131348 w 1133399"/>
                <a:gd name="connsiteY96" fmla="*/ 382549 h 523047"/>
                <a:gd name="connsiteX97" fmla="*/ 311147 w 1133399"/>
                <a:gd name="connsiteY97" fmla="*/ 381410 h 523047"/>
                <a:gd name="connsiteX98" fmla="*/ 306401 w 1133399"/>
                <a:gd name="connsiteY98" fmla="*/ 378752 h 523047"/>
                <a:gd name="connsiteX99" fmla="*/ 298237 w 1133399"/>
                <a:gd name="connsiteY99" fmla="*/ 365842 h 523047"/>
                <a:gd name="connsiteX100" fmla="*/ 293110 w 1133399"/>
                <a:gd name="connsiteY100" fmla="*/ 375714 h 523047"/>
                <a:gd name="connsiteX101" fmla="*/ 285326 w 1133399"/>
                <a:gd name="connsiteY101" fmla="*/ 378183 h 523047"/>
                <a:gd name="connsiteX102" fmla="*/ 282858 w 1133399"/>
                <a:gd name="connsiteY102" fmla="*/ 370398 h 523047"/>
                <a:gd name="connsiteX103" fmla="*/ 292731 w 1133399"/>
                <a:gd name="connsiteY103" fmla="*/ 351602 h 523047"/>
                <a:gd name="connsiteX104" fmla="*/ 297667 w 1133399"/>
                <a:gd name="connsiteY104" fmla="*/ 348564 h 523047"/>
                <a:gd name="connsiteX105" fmla="*/ 302793 w 1133399"/>
                <a:gd name="connsiteY105" fmla="*/ 351222 h 523047"/>
                <a:gd name="connsiteX106" fmla="*/ 316273 w 1133399"/>
                <a:gd name="connsiteY106" fmla="*/ 372487 h 523047"/>
                <a:gd name="connsiteX107" fmla="*/ 314565 w 1133399"/>
                <a:gd name="connsiteY107" fmla="*/ 380651 h 523047"/>
                <a:gd name="connsiteX108" fmla="*/ 311527 w 1133399"/>
                <a:gd name="connsiteY108" fmla="*/ 381600 h 523047"/>
                <a:gd name="connsiteX109" fmla="*/ 311527 w 1133399"/>
                <a:gd name="connsiteY109" fmla="*/ 381600 h 523047"/>
                <a:gd name="connsiteX110" fmla="*/ 1038510 w 1133399"/>
                <a:gd name="connsiteY110" fmla="*/ 322173 h 523047"/>
                <a:gd name="connsiteX111" fmla="*/ 1033383 w 1133399"/>
                <a:gd name="connsiteY111" fmla="*/ 319135 h 523047"/>
                <a:gd name="connsiteX112" fmla="*/ 1010980 w 1133399"/>
                <a:gd name="connsiteY112" fmla="*/ 278315 h 523047"/>
                <a:gd name="connsiteX113" fmla="*/ 1013258 w 1133399"/>
                <a:gd name="connsiteY113" fmla="*/ 270341 h 523047"/>
                <a:gd name="connsiteX114" fmla="*/ 1021232 w 1133399"/>
                <a:gd name="connsiteY114" fmla="*/ 272619 h 523047"/>
                <a:gd name="connsiteX115" fmla="*/ 1043636 w 1133399"/>
                <a:gd name="connsiteY115" fmla="*/ 313440 h 523047"/>
                <a:gd name="connsiteX116" fmla="*/ 1041357 w 1133399"/>
                <a:gd name="connsiteY116" fmla="*/ 321414 h 523047"/>
                <a:gd name="connsiteX117" fmla="*/ 1038510 w 1133399"/>
                <a:gd name="connsiteY117" fmla="*/ 322173 h 523047"/>
                <a:gd name="connsiteX118" fmla="*/ 1038510 w 1133399"/>
                <a:gd name="connsiteY118" fmla="*/ 322173 h 523047"/>
                <a:gd name="connsiteX119" fmla="*/ 573727 w 1133399"/>
                <a:gd name="connsiteY119" fmla="*/ 320464 h 523047"/>
                <a:gd name="connsiteX120" fmla="*/ 569740 w 1133399"/>
                <a:gd name="connsiteY120" fmla="*/ 318946 h 523047"/>
                <a:gd name="connsiteX121" fmla="*/ 569360 w 1133399"/>
                <a:gd name="connsiteY121" fmla="*/ 310781 h 523047"/>
                <a:gd name="connsiteX122" fmla="*/ 600687 w 1133399"/>
                <a:gd name="connsiteY122" fmla="*/ 276416 h 523047"/>
                <a:gd name="connsiteX123" fmla="*/ 608851 w 1133399"/>
                <a:gd name="connsiteY123" fmla="*/ 276037 h 523047"/>
                <a:gd name="connsiteX124" fmla="*/ 609231 w 1133399"/>
                <a:gd name="connsiteY124" fmla="*/ 284201 h 523047"/>
                <a:gd name="connsiteX125" fmla="*/ 577904 w 1133399"/>
                <a:gd name="connsiteY125" fmla="*/ 318566 h 523047"/>
                <a:gd name="connsiteX126" fmla="*/ 573727 w 1133399"/>
                <a:gd name="connsiteY126" fmla="*/ 320464 h 523047"/>
                <a:gd name="connsiteX127" fmla="*/ 573727 w 1133399"/>
                <a:gd name="connsiteY127" fmla="*/ 320464 h 523047"/>
                <a:gd name="connsiteX128" fmla="*/ 81224 w 1133399"/>
                <a:gd name="connsiteY128" fmla="*/ 303946 h 523047"/>
                <a:gd name="connsiteX129" fmla="*/ 76288 w 1133399"/>
                <a:gd name="connsiteY129" fmla="*/ 301288 h 523047"/>
                <a:gd name="connsiteX130" fmla="*/ 51226 w 1133399"/>
                <a:gd name="connsiteY130" fmla="*/ 262177 h 523047"/>
                <a:gd name="connsiteX131" fmla="*/ 52935 w 1133399"/>
                <a:gd name="connsiteY131" fmla="*/ 254013 h 523047"/>
                <a:gd name="connsiteX132" fmla="*/ 61099 w 1133399"/>
                <a:gd name="connsiteY132" fmla="*/ 255721 h 523047"/>
                <a:gd name="connsiteX133" fmla="*/ 86161 w 1133399"/>
                <a:gd name="connsiteY133" fmla="*/ 294833 h 523047"/>
                <a:gd name="connsiteX134" fmla="*/ 84452 w 1133399"/>
                <a:gd name="connsiteY134" fmla="*/ 302997 h 523047"/>
                <a:gd name="connsiteX135" fmla="*/ 81414 w 1133399"/>
                <a:gd name="connsiteY135" fmla="*/ 303757 h 523047"/>
                <a:gd name="connsiteX136" fmla="*/ 81414 w 1133399"/>
                <a:gd name="connsiteY136" fmla="*/ 303757 h 523047"/>
                <a:gd name="connsiteX137" fmla="*/ 636381 w 1133399"/>
                <a:gd name="connsiteY137" fmla="*/ 251734 h 523047"/>
                <a:gd name="connsiteX138" fmla="*/ 632394 w 1133399"/>
                <a:gd name="connsiteY138" fmla="*/ 250215 h 523047"/>
                <a:gd name="connsiteX139" fmla="*/ 632014 w 1133399"/>
                <a:gd name="connsiteY139" fmla="*/ 242051 h 523047"/>
                <a:gd name="connsiteX140" fmla="*/ 663342 w 1133399"/>
                <a:gd name="connsiteY140" fmla="*/ 207686 h 523047"/>
                <a:gd name="connsiteX141" fmla="*/ 671506 w 1133399"/>
                <a:gd name="connsiteY141" fmla="*/ 207307 h 523047"/>
                <a:gd name="connsiteX142" fmla="*/ 671886 w 1133399"/>
                <a:gd name="connsiteY142" fmla="*/ 215471 h 523047"/>
                <a:gd name="connsiteX143" fmla="*/ 640558 w 1133399"/>
                <a:gd name="connsiteY143" fmla="*/ 249836 h 523047"/>
                <a:gd name="connsiteX144" fmla="*/ 636381 w 1133399"/>
                <a:gd name="connsiteY144" fmla="*/ 251734 h 523047"/>
                <a:gd name="connsiteX145" fmla="*/ 636381 w 1133399"/>
                <a:gd name="connsiteY145" fmla="*/ 251734 h 523047"/>
                <a:gd name="connsiteX146" fmla="*/ 993512 w 1133399"/>
                <a:gd name="connsiteY146" fmla="*/ 240722 h 523047"/>
                <a:gd name="connsiteX147" fmla="*/ 988386 w 1133399"/>
                <a:gd name="connsiteY147" fmla="*/ 237685 h 523047"/>
                <a:gd name="connsiteX148" fmla="*/ 965982 w 1133399"/>
                <a:gd name="connsiteY148" fmla="*/ 196864 h 523047"/>
                <a:gd name="connsiteX149" fmla="*/ 968261 w 1133399"/>
                <a:gd name="connsiteY149" fmla="*/ 188890 h 523047"/>
                <a:gd name="connsiteX150" fmla="*/ 976235 w 1133399"/>
                <a:gd name="connsiteY150" fmla="*/ 191168 h 523047"/>
                <a:gd name="connsiteX151" fmla="*/ 998638 w 1133399"/>
                <a:gd name="connsiteY151" fmla="*/ 231989 h 523047"/>
                <a:gd name="connsiteX152" fmla="*/ 996360 w 1133399"/>
                <a:gd name="connsiteY152" fmla="*/ 239963 h 523047"/>
                <a:gd name="connsiteX153" fmla="*/ 993512 w 1133399"/>
                <a:gd name="connsiteY153" fmla="*/ 240722 h 523047"/>
                <a:gd name="connsiteX154" fmla="*/ 993512 w 1133399"/>
                <a:gd name="connsiteY154" fmla="*/ 240722 h 523047"/>
                <a:gd name="connsiteX155" fmla="*/ 30911 w 1133399"/>
                <a:gd name="connsiteY155" fmla="*/ 225723 h 523047"/>
                <a:gd name="connsiteX156" fmla="*/ 25974 w 1133399"/>
                <a:gd name="connsiteY156" fmla="*/ 223065 h 523047"/>
                <a:gd name="connsiteX157" fmla="*/ 912 w 1133399"/>
                <a:gd name="connsiteY157" fmla="*/ 183953 h 523047"/>
                <a:gd name="connsiteX158" fmla="*/ 2621 w 1133399"/>
                <a:gd name="connsiteY158" fmla="*/ 175789 h 523047"/>
                <a:gd name="connsiteX159" fmla="*/ 10785 w 1133399"/>
                <a:gd name="connsiteY159" fmla="*/ 177498 h 523047"/>
                <a:gd name="connsiteX160" fmla="*/ 35847 w 1133399"/>
                <a:gd name="connsiteY160" fmla="*/ 216610 h 523047"/>
                <a:gd name="connsiteX161" fmla="*/ 34138 w 1133399"/>
                <a:gd name="connsiteY161" fmla="*/ 224774 h 523047"/>
                <a:gd name="connsiteX162" fmla="*/ 31101 w 1133399"/>
                <a:gd name="connsiteY162" fmla="*/ 225533 h 523047"/>
                <a:gd name="connsiteX163" fmla="*/ 31101 w 1133399"/>
                <a:gd name="connsiteY163" fmla="*/ 225533 h 523047"/>
                <a:gd name="connsiteX164" fmla="*/ 699036 w 1133399"/>
                <a:gd name="connsiteY164" fmla="*/ 183004 h 523047"/>
                <a:gd name="connsiteX165" fmla="*/ 695049 w 1133399"/>
                <a:gd name="connsiteY165" fmla="*/ 181485 h 523047"/>
                <a:gd name="connsiteX166" fmla="*/ 694669 w 1133399"/>
                <a:gd name="connsiteY166" fmla="*/ 173321 h 523047"/>
                <a:gd name="connsiteX167" fmla="*/ 725996 w 1133399"/>
                <a:gd name="connsiteY167" fmla="*/ 138956 h 523047"/>
                <a:gd name="connsiteX168" fmla="*/ 734160 w 1133399"/>
                <a:gd name="connsiteY168" fmla="*/ 138576 h 523047"/>
                <a:gd name="connsiteX169" fmla="*/ 734540 w 1133399"/>
                <a:gd name="connsiteY169" fmla="*/ 146741 h 523047"/>
                <a:gd name="connsiteX170" fmla="*/ 703213 w 1133399"/>
                <a:gd name="connsiteY170" fmla="*/ 181106 h 523047"/>
                <a:gd name="connsiteX171" fmla="*/ 699036 w 1133399"/>
                <a:gd name="connsiteY171" fmla="*/ 183004 h 523047"/>
                <a:gd name="connsiteX172" fmla="*/ 699036 w 1133399"/>
                <a:gd name="connsiteY172" fmla="*/ 183004 h 523047"/>
                <a:gd name="connsiteX173" fmla="*/ 948325 w 1133399"/>
                <a:gd name="connsiteY173" fmla="*/ 159082 h 523047"/>
                <a:gd name="connsiteX174" fmla="*/ 943199 w 1133399"/>
                <a:gd name="connsiteY174" fmla="*/ 156044 h 523047"/>
                <a:gd name="connsiteX175" fmla="*/ 920795 w 1133399"/>
                <a:gd name="connsiteY175" fmla="*/ 115223 h 523047"/>
                <a:gd name="connsiteX176" fmla="*/ 923073 w 1133399"/>
                <a:gd name="connsiteY176" fmla="*/ 107249 h 523047"/>
                <a:gd name="connsiteX177" fmla="*/ 931047 w 1133399"/>
                <a:gd name="connsiteY177" fmla="*/ 109528 h 523047"/>
                <a:gd name="connsiteX178" fmla="*/ 953451 w 1133399"/>
                <a:gd name="connsiteY178" fmla="*/ 150348 h 523047"/>
                <a:gd name="connsiteX179" fmla="*/ 951173 w 1133399"/>
                <a:gd name="connsiteY179" fmla="*/ 158322 h 523047"/>
                <a:gd name="connsiteX180" fmla="*/ 948325 w 1133399"/>
                <a:gd name="connsiteY180" fmla="*/ 159082 h 523047"/>
                <a:gd name="connsiteX181" fmla="*/ 948325 w 1133399"/>
                <a:gd name="connsiteY181" fmla="*/ 159082 h 523047"/>
                <a:gd name="connsiteX182" fmla="*/ 761690 w 1133399"/>
                <a:gd name="connsiteY182" fmla="*/ 114274 h 523047"/>
                <a:gd name="connsiteX183" fmla="*/ 757703 w 1133399"/>
                <a:gd name="connsiteY183" fmla="*/ 112755 h 523047"/>
                <a:gd name="connsiteX184" fmla="*/ 757324 w 1133399"/>
                <a:gd name="connsiteY184" fmla="*/ 104591 h 523047"/>
                <a:gd name="connsiteX185" fmla="*/ 788841 w 1133399"/>
                <a:gd name="connsiteY185" fmla="*/ 70416 h 523047"/>
                <a:gd name="connsiteX186" fmla="*/ 797005 w 1133399"/>
                <a:gd name="connsiteY186" fmla="*/ 70226 h 523047"/>
                <a:gd name="connsiteX187" fmla="*/ 797195 w 1133399"/>
                <a:gd name="connsiteY187" fmla="*/ 78390 h 523047"/>
                <a:gd name="connsiteX188" fmla="*/ 765678 w 1133399"/>
                <a:gd name="connsiteY188" fmla="*/ 112565 h 523047"/>
                <a:gd name="connsiteX189" fmla="*/ 761501 w 1133399"/>
                <a:gd name="connsiteY189" fmla="*/ 114464 h 523047"/>
                <a:gd name="connsiteX190" fmla="*/ 761501 w 1133399"/>
                <a:gd name="connsiteY190" fmla="*/ 114464 h 523047"/>
                <a:gd name="connsiteX191" fmla="*/ 903328 w 1133399"/>
                <a:gd name="connsiteY191" fmla="*/ 77631 h 523047"/>
                <a:gd name="connsiteX192" fmla="*/ 898201 w 1133399"/>
                <a:gd name="connsiteY192" fmla="*/ 74593 h 523047"/>
                <a:gd name="connsiteX193" fmla="*/ 875797 w 1133399"/>
                <a:gd name="connsiteY193" fmla="*/ 33773 h 523047"/>
                <a:gd name="connsiteX194" fmla="*/ 878076 w 1133399"/>
                <a:gd name="connsiteY194" fmla="*/ 25798 h 523047"/>
                <a:gd name="connsiteX195" fmla="*/ 886050 w 1133399"/>
                <a:gd name="connsiteY195" fmla="*/ 28077 h 523047"/>
                <a:gd name="connsiteX196" fmla="*/ 908454 w 1133399"/>
                <a:gd name="connsiteY196" fmla="*/ 68897 h 523047"/>
                <a:gd name="connsiteX197" fmla="*/ 906176 w 1133399"/>
                <a:gd name="connsiteY197" fmla="*/ 76871 h 523047"/>
                <a:gd name="connsiteX198" fmla="*/ 903328 w 1133399"/>
                <a:gd name="connsiteY198" fmla="*/ 77631 h 523047"/>
                <a:gd name="connsiteX199" fmla="*/ 903328 w 1133399"/>
                <a:gd name="connsiteY199" fmla="*/ 77631 h 523047"/>
                <a:gd name="connsiteX200" fmla="*/ 824724 w 1133399"/>
                <a:gd name="connsiteY200" fmla="*/ 45734 h 523047"/>
                <a:gd name="connsiteX201" fmla="*/ 820738 w 1133399"/>
                <a:gd name="connsiteY201" fmla="*/ 44215 h 523047"/>
                <a:gd name="connsiteX202" fmla="*/ 820548 w 1133399"/>
                <a:gd name="connsiteY202" fmla="*/ 36051 h 523047"/>
                <a:gd name="connsiteX203" fmla="*/ 852255 w 1133399"/>
                <a:gd name="connsiteY203" fmla="*/ 1876 h 523047"/>
                <a:gd name="connsiteX204" fmla="*/ 860419 w 1133399"/>
                <a:gd name="connsiteY204" fmla="*/ 1686 h 523047"/>
                <a:gd name="connsiteX205" fmla="*/ 860609 w 1133399"/>
                <a:gd name="connsiteY205" fmla="*/ 9850 h 523047"/>
                <a:gd name="connsiteX206" fmla="*/ 828901 w 1133399"/>
                <a:gd name="connsiteY206" fmla="*/ 44025 h 523047"/>
                <a:gd name="connsiteX207" fmla="*/ 824724 w 1133399"/>
                <a:gd name="connsiteY207" fmla="*/ 45924 h 523047"/>
                <a:gd name="connsiteX208" fmla="*/ 824724 w 1133399"/>
                <a:gd name="connsiteY208" fmla="*/ 45924 h 52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133399" h="523047">
                  <a:moveTo>
                    <a:pt x="219824" y="522858"/>
                  </a:moveTo>
                  <a:cubicBezTo>
                    <a:pt x="217925" y="522858"/>
                    <a:pt x="216026" y="521908"/>
                    <a:pt x="214887" y="520199"/>
                  </a:cubicBezTo>
                  <a:lnTo>
                    <a:pt x="200837" y="497606"/>
                  </a:lnTo>
                  <a:cubicBezTo>
                    <a:pt x="199129" y="494948"/>
                    <a:pt x="200078" y="491340"/>
                    <a:pt x="202736" y="489632"/>
                  </a:cubicBezTo>
                  <a:cubicBezTo>
                    <a:pt x="205394" y="487923"/>
                    <a:pt x="209001" y="488872"/>
                    <a:pt x="210710" y="491530"/>
                  </a:cubicBezTo>
                  <a:lnTo>
                    <a:pt x="218874" y="504631"/>
                  </a:lnTo>
                  <a:cubicBezTo>
                    <a:pt x="220013" y="501973"/>
                    <a:pt x="221153" y="499315"/>
                    <a:pt x="222482" y="496467"/>
                  </a:cubicBezTo>
                  <a:cubicBezTo>
                    <a:pt x="223811" y="493429"/>
                    <a:pt x="227228" y="492290"/>
                    <a:pt x="230076" y="493429"/>
                  </a:cubicBezTo>
                  <a:cubicBezTo>
                    <a:pt x="233114" y="494758"/>
                    <a:pt x="234253" y="498175"/>
                    <a:pt x="233114" y="501023"/>
                  </a:cubicBezTo>
                  <a:cubicBezTo>
                    <a:pt x="230456" y="507099"/>
                    <a:pt x="227798" y="513175"/>
                    <a:pt x="225330" y="519440"/>
                  </a:cubicBezTo>
                  <a:cubicBezTo>
                    <a:pt x="224570" y="521339"/>
                    <a:pt x="222672" y="522858"/>
                    <a:pt x="220393" y="523048"/>
                  </a:cubicBezTo>
                  <a:lnTo>
                    <a:pt x="220013" y="523048"/>
                  </a:lnTo>
                  <a:close/>
                  <a:moveTo>
                    <a:pt x="394876" y="512795"/>
                  </a:moveTo>
                  <a:lnTo>
                    <a:pt x="394117" y="512795"/>
                  </a:lnTo>
                  <a:cubicBezTo>
                    <a:pt x="392218" y="512795"/>
                    <a:pt x="390700" y="511466"/>
                    <a:pt x="389750" y="509947"/>
                  </a:cubicBezTo>
                  <a:cubicBezTo>
                    <a:pt x="386902" y="505200"/>
                    <a:pt x="384054" y="500454"/>
                    <a:pt x="381396" y="495897"/>
                  </a:cubicBezTo>
                  <a:cubicBezTo>
                    <a:pt x="379688" y="493239"/>
                    <a:pt x="380637" y="489442"/>
                    <a:pt x="383295" y="487923"/>
                  </a:cubicBezTo>
                  <a:cubicBezTo>
                    <a:pt x="385953" y="486214"/>
                    <a:pt x="389750" y="487163"/>
                    <a:pt x="391269" y="489822"/>
                  </a:cubicBezTo>
                  <a:cubicBezTo>
                    <a:pt x="392788" y="492290"/>
                    <a:pt x="394307" y="494758"/>
                    <a:pt x="395826" y="497416"/>
                  </a:cubicBezTo>
                  <a:cubicBezTo>
                    <a:pt x="400952" y="492100"/>
                    <a:pt x="406079" y="486594"/>
                    <a:pt x="411205" y="481278"/>
                  </a:cubicBezTo>
                  <a:cubicBezTo>
                    <a:pt x="413293" y="478810"/>
                    <a:pt x="417091" y="478810"/>
                    <a:pt x="419369" y="481088"/>
                  </a:cubicBezTo>
                  <a:cubicBezTo>
                    <a:pt x="421647" y="483366"/>
                    <a:pt x="421837" y="486974"/>
                    <a:pt x="419559" y="489252"/>
                  </a:cubicBezTo>
                  <a:cubicBezTo>
                    <a:pt x="412724" y="496467"/>
                    <a:pt x="405699" y="503871"/>
                    <a:pt x="398864" y="511086"/>
                  </a:cubicBezTo>
                  <a:cubicBezTo>
                    <a:pt x="397725" y="512225"/>
                    <a:pt x="396206" y="512985"/>
                    <a:pt x="394687" y="512985"/>
                  </a:cubicBezTo>
                  <a:lnTo>
                    <a:pt x="394687" y="512985"/>
                  </a:lnTo>
                  <a:close/>
                  <a:moveTo>
                    <a:pt x="1127555" y="483746"/>
                  </a:moveTo>
                  <a:cubicBezTo>
                    <a:pt x="1125656" y="483746"/>
                    <a:pt x="1123568" y="482607"/>
                    <a:pt x="1122429" y="480708"/>
                  </a:cubicBezTo>
                  <a:lnTo>
                    <a:pt x="1100784" y="441217"/>
                  </a:lnTo>
                  <a:cubicBezTo>
                    <a:pt x="1099265" y="438369"/>
                    <a:pt x="1100215" y="434761"/>
                    <a:pt x="1103063" y="433243"/>
                  </a:cubicBezTo>
                  <a:cubicBezTo>
                    <a:pt x="1105911" y="431724"/>
                    <a:pt x="1109518" y="432673"/>
                    <a:pt x="1111037" y="435521"/>
                  </a:cubicBezTo>
                  <a:lnTo>
                    <a:pt x="1132681" y="475012"/>
                  </a:lnTo>
                  <a:cubicBezTo>
                    <a:pt x="1134200" y="477860"/>
                    <a:pt x="1133251" y="481468"/>
                    <a:pt x="1130403" y="482987"/>
                  </a:cubicBezTo>
                  <a:cubicBezTo>
                    <a:pt x="1129643" y="483366"/>
                    <a:pt x="1128504" y="483746"/>
                    <a:pt x="1127555" y="483746"/>
                  </a:cubicBezTo>
                  <a:lnTo>
                    <a:pt x="1127555" y="483746"/>
                  </a:lnTo>
                  <a:close/>
                  <a:moveTo>
                    <a:pt x="246594" y="462292"/>
                  </a:moveTo>
                  <a:cubicBezTo>
                    <a:pt x="246594" y="462292"/>
                    <a:pt x="244885" y="462292"/>
                    <a:pt x="244126" y="461722"/>
                  </a:cubicBezTo>
                  <a:cubicBezTo>
                    <a:pt x="241088" y="460393"/>
                    <a:pt x="239949" y="456975"/>
                    <a:pt x="241278" y="454127"/>
                  </a:cubicBezTo>
                  <a:cubicBezTo>
                    <a:pt x="247733" y="440078"/>
                    <a:pt x="254568" y="425838"/>
                    <a:pt x="261403" y="411978"/>
                  </a:cubicBezTo>
                  <a:cubicBezTo>
                    <a:pt x="262732" y="409130"/>
                    <a:pt x="266150" y="407801"/>
                    <a:pt x="269188" y="409320"/>
                  </a:cubicBezTo>
                  <a:cubicBezTo>
                    <a:pt x="272036" y="410649"/>
                    <a:pt x="273365" y="414067"/>
                    <a:pt x="271846" y="417104"/>
                  </a:cubicBezTo>
                  <a:cubicBezTo>
                    <a:pt x="265011" y="430964"/>
                    <a:pt x="258366" y="445014"/>
                    <a:pt x="251910" y="459064"/>
                  </a:cubicBezTo>
                  <a:cubicBezTo>
                    <a:pt x="250961" y="461152"/>
                    <a:pt x="248873" y="462481"/>
                    <a:pt x="246594" y="462481"/>
                  </a:cubicBezTo>
                  <a:lnTo>
                    <a:pt x="246594" y="462481"/>
                  </a:lnTo>
                  <a:close/>
                  <a:moveTo>
                    <a:pt x="180902" y="460963"/>
                  </a:moveTo>
                  <a:cubicBezTo>
                    <a:pt x="179003" y="460963"/>
                    <a:pt x="177105" y="460013"/>
                    <a:pt x="175965" y="458304"/>
                  </a:cubicBezTo>
                  <a:cubicBezTo>
                    <a:pt x="167801" y="445014"/>
                    <a:pt x="159258" y="432103"/>
                    <a:pt x="151093" y="419003"/>
                  </a:cubicBezTo>
                  <a:cubicBezTo>
                    <a:pt x="149385" y="416345"/>
                    <a:pt x="150334" y="412738"/>
                    <a:pt x="152992" y="410839"/>
                  </a:cubicBezTo>
                  <a:cubicBezTo>
                    <a:pt x="155650" y="409130"/>
                    <a:pt x="159258" y="410079"/>
                    <a:pt x="161156" y="412738"/>
                  </a:cubicBezTo>
                  <a:cubicBezTo>
                    <a:pt x="169320" y="425838"/>
                    <a:pt x="177674" y="438938"/>
                    <a:pt x="186028" y="452039"/>
                  </a:cubicBezTo>
                  <a:cubicBezTo>
                    <a:pt x="187737" y="454697"/>
                    <a:pt x="186788" y="458304"/>
                    <a:pt x="184130" y="460013"/>
                  </a:cubicBezTo>
                  <a:cubicBezTo>
                    <a:pt x="183180" y="460583"/>
                    <a:pt x="182231" y="460773"/>
                    <a:pt x="181092" y="460773"/>
                  </a:cubicBezTo>
                  <a:lnTo>
                    <a:pt x="181092" y="460773"/>
                  </a:lnTo>
                  <a:close/>
                  <a:moveTo>
                    <a:pt x="361841" y="459254"/>
                  </a:moveTo>
                  <a:cubicBezTo>
                    <a:pt x="359942" y="459254"/>
                    <a:pt x="358043" y="458304"/>
                    <a:pt x="356904" y="456596"/>
                  </a:cubicBezTo>
                  <a:cubicBezTo>
                    <a:pt x="348170" y="443115"/>
                    <a:pt x="339627" y="429825"/>
                    <a:pt x="331653" y="417674"/>
                  </a:cubicBezTo>
                  <a:cubicBezTo>
                    <a:pt x="329944" y="415016"/>
                    <a:pt x="330703" y="411408"/>
                    <a:pt x="333361" y="409510"/>
                  </a:cubicBezTo>
                  <a:cubicBezTo>
                    <a:pt x="336019" y="407801"/>
                    <a:pt x="339627" y="408561"/>
                    <a:pt x="341525" y="411219"/>
                  </a:cubicBezTo>
                  <a:cubicBezTo>
                    <a:pt x="349689" y="423560"/>
                    <a:pt x="358233" y="436660"/>
                    <a:pt x="366967" y="450330"/>
                  </a:cubicBezTo>
                  <a:cubicBezTo>
                    <a:pt x="368676" y="452988"/>
                    <a:pt x="367916" y="456596"/>
                    <a:pt x="365258" y="458494"/>
                  </a:cubicBezTo>
                  <a:cubicBezTo>
                    <a:pt x="364309" y="459064"/>
                    <a:pt x="363360" y="459254"/>
                    <a:pt x="362220" y="459254"/>
                  </a:cubicBezTo>
                  <a:lnTo>
                    <a:pt x="362220" y="459254"/>
                  </a:lnTo>
                  <a:close/>
                  <a:moveTo>
                    <a:pt x="447279" y="457165"/>
                  </a:moveTo>
                  <a:cubicBezTo>
                    <a:pt x="445949" y="457165"/>
                    <a:pt x="444430" y="456596"/>
                    <a:pt x="443291" y="455646"/>
                  </a:cubicBezTo>
                  <a:cubicBezTo>
                    <a:pt x="440823" y="453558"/>
                    <a:pt x="440823" y="449761"/>
                    <a:pt x="443102" y="447482"/>
                  </a:cubicBezTo>
                  <a:cubicBezTo>
                    <a:pt x="453734" y="436090"/>
                    <a:pt x="464176" y="424699"/>
                    <a:pt x="474809" y="413307"/>
                  </a:cubicBezTo>
                  <a:cubicBezTo>
                    <a:pt x="476897" y="410839"/>
                    <a:pt x="480694" y="410839"/>
                    <a:pt x="482972" y="413117"/>
                  </a:cubicBezTo>
                  <a:cubicBezTo>
                    <a:pt x="485441" y="415206"/>
                    <a:pt x="485441" y="419003"/>
                    <a:pt x="483163" y="421281"/>
                  </a:cubicBezTo>
                  <a:cubicBezTo>
                    <a:pt x="472720" y="432673"/>
                    <a:pt x="462088" y="444065"/>
                    <a:pt x="451456" y="455457"/>
                  </a:cubicBezTo>
                  <a:cubicBezTo>
                    <a:pt x="450316" y="456786"/>
                    <a:pt x="448798" y="457355"/>
                    <a:pt x="447279" y="457355"/>
                  </a:cubicBezTo>
                  <a:lnTo>
                    <a:pt x="447279" y="457355"/>
                  </a:lnTo>
                  <a:close/>
                  <a:moveTo>
                    <a:pt x="1083317" y="403624"/>
                  </a:moveTo>
                  <a:cubicBezTo>
                    <a:pt x="1081418" y="403624"/>
                    <a:pt x="1079330" y="402485"/>
                    <a:pt x="1078191" y="400586"/>
                  </a:cubicBezTo>
                  <a:lnTo>
                    <a:pt x="1055787" y="359766"/>
                  </a:lnTo>
                  <a:cubicBezTo>
                    <a:pt x="1054268" y="356918"/>
                    <a:pt x="1055218" y="353311"/>
                    <a:pt x="1058065" y="351792"/>
                  </a:cubicBezTo>
                  <a:cubicBezTo>
                    <a:pt x="1060913" y="350273"/>
                    <a:pt x="1064521" y="351222"/>
                    <a:pt x="1066040" y="354070"/>
                  </a:cubicBezTo>
                  <a:lnTo>
                    <a:pt x="1088443" y="394890"/>
                  </a:lnTo>
                  <a:cubicBezTo>
                    <a:pt x="1089962" y="397738"/>
                    <a:pt x="1089013" y="401346"/>
                    <a:pt x="1086165" y="402865"/>
                  </a:cubicBezTo>
                  <a:cubicBezTo>
                    <a:pt x="1085406" y="403244"/>
                    <a:pt x="1084266" y="403624"/>
                    <a:pt x="1083317" y="403624"/>
                  </a:cubicBezTo>
                  <a:lnTo>
                    <a:pt x="1083317" y="403624"/>
                  </a:lnTo>
                  <a:close/>
                  <a:moveTo>
                    <a:pt x="510692" y="389005"/>
                  </a:moveTo>
                  <a:cubicBezTo>
                    <a:pt x="509364" y="389005"/>
                    <a:pt x="507845" y="388435"/>
                    <a:pt x="506705" y="387486"/>
                  </a:cubicBezTo>
                  <a:cubicBezTo>
                    <a:pt x="504237" y="385397"/>
                    <a:pt x="504237" y="381600"/>
                    <a:pt x="506515" y="379322"/>
                  </a:cubicBezTo>
                  <a:cubicBezTo>
                    <a:pt x="516958" y="367930"/>
                    <a:pt x="527590" y="356538"/>
                    <a:pt x="538033" y="345146"/>
                  </a:cubicBezTo>
                  <a:cubicBezTo>
                    <a:pt x="540121" y="342678"/>
                    <a:pt x="543918" y="342678"/>
                    <a:pt x="546197" y="344767"/>
                  </a:cubicBezTo>
                  <a:cubicBezTo>
                    <a:pt x="548665" y="346855"/>
                    <a:pt x="548665" y="350652"/>
                    <a:pt x="546387" y="352931"/>
                  </a:cubicBezTo>
                  <a:cubicBezTo>
                    <a:pt x="535944" y="364323"/>
                    <a:pt x="525312" y="375714"/>
                    <a:pt x="514869" y="387106"/>
                  </a:cubicBezTo>
                  <a:cubicBezTo>
                    <a:pt x="513730" y="388435"/>
                    <a:pt x="512211" y="389005"/>
                    <a:pt x="510692" y="389005"/>
                  </a:cubicBezTo>
                  <a:lnTo>
                    <a:pt x="510692" y="389005"/>
                  </a:lnTo>
                  <a:close/>
                  <a:moveTo>
                    <a:pt x="131348" y="382549"/>
                  </a:moveTo>
                  <a:cubicBezTo>
                    <a:pt x="129449" y="382549"/>
                    <a:pt x="127551" y="381600"/>
                    <a:pt x="126411" y="379891"/>
                  </a:cubicBezTo>
                  <a:cubicBezTo>
                    <a:pt x="118058" y="366791"/>
                    <a:pt x="109704" y="353690"/>
                    <a:pt x="101350" y="340780"/>
                  </a:cubicBezTo>
                  <a:cubicBezTo>
                    <a:pt x="99641" y="338122"/>
                    <a:pt x="100400" y="334514"/>
                    <a:pt x="103058" y="332616"/>
                  </a:cubicBezTo>
                  <a:cubicBezTo>
                    <a:pt x="105716" y="330907"/>
                    <a:pt x="109324" y="331666"/>
                    <a:pt x="111223" y="334514"/>
                  </a:cubicBezTo>
                  <a:cubicBezTo>
                    <a:pt x="119576" y="347615"/>
                    <a:pt x="127930" y="360715"/>
                    <a:pt x="136284" y="373626"/>
                  </a:cubicBezTo>
                  <a:cubicBezTo>
                    <a:pt x="137993" y="376284"/>
                    <a:pt x="137234" y="379891"/>
                    <a:pt x="134386" y="381790"/>
                  </a:cubicBezTo>
                  <a:cubicBezTo>
                    <a:pt x="133436" y="382360"/>
                    <a:pt x="132487" y="382549"/>
                    <a:pt x="131348" y="382549"/>
                  </a:cubicBezTo>
                  <a:lnTo>
                    <a:pt x="131348" y="382549"/>
                  </a:lnTo>
                  <a:close/>
                  <a:moveTo>
                    <a:pt x="311147" y="381410"/>
                  </a:moveTo>
                  <a:cubicBezTo>
                    <a:pt x="309249" y="381410"/>
                    <a:pt x="307350" y="380461"/>
                    <a:pt x="306401" y="378752"/>
                  </a:cubicBezTo>
                  <a:cubicBezTo>
                    <a:pt x="303743" y="374575"/>
                    <a:pt x="300895" y="370019"/>
                    <a:pt x="298237" y="365842"/>
                  </a:cubicBezTo>
                  <a:cubicBezTo>
                    <a:pt x="296528" y="369069"/>
                    <a:pt x="294819" y="372297"/>
                    <a:pt x="293110" y="375714"/>
                  </a:cubicBezTo>
                  <a:cubicBezTo>
                    <a:pt x="291781" y="378562"/>
                    <a:pt x="288174" y="379701"/>
                    <a:pt x="285326" y="378183"/>
                  </a:cubicBezTo>
                  <a:cubicBezTo>
                    <a:pt x="282478" y="376854"/>
                    <a:pt x="281339" y="373246"/>
                    <a:pt x="282858" y="370398"/>
                  </a:cubicBezTo>
                  <a:cubicBezTo>
                    <a:pt x="286085" y="364133"/>
                    <a:pt x="289313" y="357867"/>
                    <a:pt x="292731" y="351602"/>
                  </a:cubicBezTo>
                  <a:cubicBezTo>
                    <a:pt x="293680" y="349703"/>
                    <a:pt x="295579" y="348564"/>
                    <a:pt x="297667" y="348564"/>
                  </a:cubicBezTo>
                  <a:cubicBezTo>
                    <a:pt x="299756" y="348564"/>
                    <a:pt x="301654" y="349513"/>
                    <a:pt x="302793" y="351222"/>
                  </a:cubicBezTo>
                  <a:cubicBezTo>
                    <a:pt x="307160" y="358247"/>
                    <a:pt x="311717" y="365462"/>
                    <a:pt x="316273" y="372487"/>
                  </a:cubicBezTo>
                  <a:cubicBezTo>
                    <a:pt x="317982" y="375145"/>
                    <a:pt x="317223" y="378752"/>
                    <a:pt x="314565" y="380651"/>
                  </a:cubicBezTo>
                  <a:cubicBezTo>
                    <a:pt x="313615" y="381220"/>
                    <a:pt x="312476" y="381600"/>
                    <a:pt x="311527" y="381600"/>
                  </a:cubicBezTo>
                  <a:lnTo>
                    <a:pt x="311527" y="381600"/>
                  </a:lnTo>
                  <a:close/>
                  <a:moveTo>
                    <a:pt x="1038510" y="322173"/>
                  </a:moveTo>
                  <a:cubicBezTo>
                    <a:pt x="1036611" y="322173"/>
                    <a:pt x="1034522" y="321034"/>
                    <a:pt x="1033383" y="319135"/>
                  </a:cubicBezTo>
                  <a:lnTo>
                    <a:pt x="1010980" y="278315"/>
                  </a:lnTo>
                  <a:cubicBezTo>
                    <a:pt x="1009461" y="275467"/>
                    <a:pt x="1010410" y="271860"/>
                    <a:pt x="1013258" y="270341"/>
                  </a:cubicBezTo>
                  <a:cubicBezTo>
                    <a:pt x="1016106" y="268822"/>
                    <a:pt x="1019713" y="269771"/>
                    <a:pt x="1021232" y="272619"/>
                  </a:cubicBezTo>
                  <a:lnTo>
                    <a:pt x="1043636" y="313440"/>
                  </a:lnTo>
                  <a:cubicBezTo>
                    <a:pt x="1045155" y="316287"/>
                    <a:pt x="1044205" y="319895"/>
                    <a:pt x="1041357" y="321414"/>
                  </a:cubicBezTo>
                  <a:cubicBezTo>
                    <a:pt x="1040598" y="321794"/>
                    <a:pt x="1039459" y="322173"/>
                    <a:pt x="1038510" y="322173"/>
                  </a:cubicBezTo>
                  <a:lnTo>
                    <a:pt x="1038510" y="322173"/>
                  </a:lnTo>
                  <a:close/>
                  <a:moveTo>
                    <a:pt x="573727" y="320464"/>
                  </a:moveTo>
                  <a:cubicBezTo>
                    <a:pt x="572398" y="320464"/>
                    <a:pt x="570879" y="319895"/>
                    <a:pt x="569740" y="318946"/>
                  </a:cubicBezTo>
                  <a:cubicBezTo>
                    <a:pt x="567271" y="316857"/>
                    <a:pt x="567271" y="313060"/>
                    <a:pt x="569360" y="310781"/>
                  </a:cubicBezTo>
                  <a:cubicBezTo>
                    <a:pt x="579802" y="299200"/>
                    <a:pt x="590245" y="287998"/>
                    <a:pt x="600687" y="276416"/>
                  </a:cubicBezTo>
                  <a:cubicBezTo>
                    <a:pt x="602776" y="273948"/>
                    <a:pt x="606573" y="273948"/>
                    <a:pt x="608851" y="276037"/>
                  </a:cubicBezTo>
                  <a:cubicBezTo>
                    <a:pt x="611320" y="278125"/>
                    <a:pt x="611320" y="281922"/>
                    <a:pt x="609231" y="284201"/>
                  </a:cubicBezTo>
                  <a:cubicBezTo>
                    <a:pt x="598789" y="295782"/>
                    <a:pt x="588346" y="306984"/>
                    <a:pt x="577904" y="318566"/>
                  </a:cubicBezTo>
                  <a:cubicBezTo>
                    <a:pt x="576764" y="319895"/>
                    <a:pt x="575246" y="320464"/>
                    <a:pt x="573727" y="320464"/>
                  </a:cubicBezTo>
                  <a:lnTo>
                    <a:pt x="573727" y="320464"/>
                  </a:lnTo>
                  <a:close/>
                  <a:moveTo>
                    <a:pt x="81224" y="303946"/>
                  </a:moveTo>
                  <a:cubicBezTo>
                    <a:pt x="79325" y="303946"/>
                    <a:pt x="77427" y="302997"/>
                    <a:pt x="76288" y="301288"/>
                  </a:cubicBezTo>
                  <a:lnTo>
                    <a:pt x="51226" y="262177"/>
                  </a:lnTo>
                  <a:cubicBezTo>
                    <a:pt x="49517" y="259519"/>
                    <a:pt x="50277" y="255911"/>
                    <a:pt x="52935" y="254013"/>
                  </a:cubicBezTo>
                  <a:cubicBezTo>
                    <a:pt x="55593" y="252304"/>
                    <a:pt x="59200" y="253063"/>
                    <a:pt x="61099" y="255721"/>
                  </a:cubicBezTo>
                  <a:lnTo>
                    <a:pt x="86161" y="294833"/>
                  </a:lnTo>
                  <a:cubicBezTo>
                    <a:pt x="87869" y="297491"/>
                    <a:pt x="87110" y="301098"/>
                    <a:pt x="84452" y="302997"/>
                  </a:cubicBezTo>
                  <a:cubicBezTo>
                    <a:pt x="83502" y="303567"/>
                    <a:pt x="82553" y="303757"/>
                    <a:pt x="81414" y="303757"/>
                  </a:cubicBezTo>
                  <a:lnTo>
                    <a:pt x="81414" y="303757"/>
                  </a:lnTo>
                  <a:close/>
                  <a:moveTo>
                    <a:pt x="636381" y="251734"/>
                  </a:moveTo>
                  <a:cubicBezTo>
                    <a:pt x="635052" y="251734"/>
                    <a:pt x="633533" y="251165"/>
                    <a:pt x="632394" y="250215"/>
                  </a:cubicBezTo>
                  <a:cubicBezTo>
                    <a:pt x="629926" y="248127"/>
                    <a:pt x="629926" y="244330"/>
                    <a:pt x="632014" y="242051"/>
                  </a:cubicBezTo>
                  <a:lnTo>
                    <a:pt x="663342" y="207686"/>
                  </a:lnTo>
                  <a:cubicBezTo>
                    <a:pt x="665430" y="205218"/>
                    <a:pt x="669228" y="205218"/>
                    <a:pt x="671506" y="207307"/>
                  </a:cubicBezTo>
                  <a:cubicBezTo>
                    <a:pt x="673974" y="209395"/>
                    <a:pt x="673974" y="213192"/>
                    <a:pt x="671886" y="215471"/>
                  </a:cubicBezTo>
                  <a:lnTo>
                    <a:pt x="640558" y="249836"/>
                  </a:lnTo>
                  <a:cubicBezTo>
                    <a:pt x="639419" y="251165"/>
                    <a:pt x="637900" y="251734"/>
                    <a:pt x="636381" y="251734"/>
                  </a:cubicBezTo>
                  <a:lnTo>
                    <a:pt x="636381" y="251734"/>
                  </a:lnTo>
                  <a:close/>
                  <a:moveTo>
                    <a:pt x="993512" y="240722"/>
                  </a:moveTo>
                  <a:cubicBezTo>
                    <a:pt x="991614" y="240722"/>
                    <a:pt x="989525" y="239583"/>
                    <a:pt x="988386" y="237685"/>
                  </a:cubicBezTo>
                  <a:lnTo>
                    <a:pt x="965982" y="196864"/>
                  </a:lnTo>
                  <a:cubicBezTo>
                    <a:pt x="964463" y="194016"/>
                    <a:pt x="965412" y="190409"/>
                    <a:pt x="968261" y="188890"/>
                  </a:cubicBezTo>
                  <a:cubicBezTo>
                    <a:pt x="971108" y="187371"/>
                    <a:pt x="974716" y="188320"/>
                    <a:pt x="976235" y="191168"/>
                  </a:cubicBezTo>
                  <a:lnTo>
                    <a:pt x="998638" y="231989"/>
                  </a:lnTo>
                  <a:cubicBezTo>
                    <a:pt x="1000157" y="234837"/>
                    <a:pt x="999208" y="238444"/>
                    <a:pt x="996360" y="239963"/>
                  </a:cubicBezTo>
                  <a:cubicBezTo>
                    <a:pt x="995600" y="240343"/>
                    <a:pt x="994461" y="240722"/>
                    <a:pt x="993512" y="240722"/>
                  </a:cubicBezTo>
                  <a:lnTo>
                    <a:pt x="993512" y="240722"/>
                  </a:lnTo>
                  <a:close/>
                  <a:moveTo>
                    <a:pt x="30911" y="225723"/>
                  </a:moveTo>
                  <a:cubicBezTo>
                    <a:pt x="29012" y="225723"/>
                    <a:pt x="27113" y="224774"/>
                    <a:pt x="25974" y="223065"/>
                  </a:cubicBezTo>
                  <a:lnTo>
                    <a:pt x="912" y="183953"/>
                  </a:lnTo>
                  <a:cubicBezTo>
                    <a:pt x="-796" y="181295"/>
                    <a:pt x="-37" y="177688"/>
                    <a:pt x="2621" y="175789"/>
                  </a:cubicBezTo>
                  <a:cubicBezTo>
                    <a:pt x="5279" y="174081"/>
                    <a:pt x="8887" y="174840"/>
                    <a:pt x="10785" y="177498"/>
                  </a:cubicBezTo>
                  <a:lnTo>
                    <a:pt x="35847" y="216610"/>
                  </a:lnTo>
                  <a:cubicBezTo>
                    <a:pt x="37556" y="219268"/>
                    <a:pt x="36796" y="222875"/>
                    <a:pt x="34138" y="224774"/>
                  </a:cubicBezTo>
                  <a:cubicBezTo>
                    <a:pt x="33189" y="225343"/>
                    <a:pt x="32240" y="225533"/>
                    <a:pt x="31101" y="225533"/>
                  </a:cubicBezTo>
                  <a:lnTo>
                    <a:pt x="31101" y="225533"/>
                  </a:lnTo>
                  <a:close/>
                  <a:moveTo>
                    <a:pt x="699036" y="183004"/>
                  </a:moveTo>
                  <a:cubicBezTo>
                    <a:pt x="697707" y="183004"/>
                    <a:pt x="696188" y="182435"/>
                    <a:pt x="695049" y="181485"/>
                  </a:cubicBezTo>
                  <a:cubicBezTo>
                    <a:pt x="692581" y="179397"/>
                    <a:pt x="692581" y="175599"/>
                    <a:pt x="694669" y="173321"/>
                  </a:cubicBezTo>
                  <a:lnTo>
                    <a:pt x="725996" y="138956"/>
                  </a:lnTo>
                  <a:cubicBezTo>
                    <a:pt x="728085" y="136488"/>
                    <a:pt x="731882" y="136488"/>
                    <a:pt x="734160" y="138576"/>
                  </a:cubicBezTo>
                  <a:cubicBezTo>
                    <a:pt x="736628" y="140665"/>
                    <a:pt x="736628" y="144462"/>
                    <a:pt x="734540" y="146741"/>
                  </a:cubicBezTo>
                  <a:lnTo>
                    <a:pt x="703213" y="181106"/>
                  </a:lnTo>
                  <a:cubicBezTo>
                    <a:pt x="702074" y="182435"/>
                    <a:pt x="700555" y="183004"/>
                    <a:pt x="699036" y="183004"/>
                  </a:cubicBezTo>
                  <a:lnTo>
                    <a:pt x="699036" y="183004"/>
                  </a:lnTo>
                  <a:close/>
                  <a:moveTo>
                    <a:pt x="948325" y="159082"/>
                  </a:moveTo>
                  <a:cubicBezTo>
                    <a:pt x="946426" y="159082"/>
                    <a:pt x="944338" y="157942"/>
                    <a:pt x="943199" y="156044"/>
                  </a:cubicBezTo>
                  <a:lnTo>
                    <a:pt x="920795" y="115223"/>
                  </a:lnTo>
                  <a:cubicBezTo>
                    <a:pt x="919276" y="112375"/>
                    <a:pt x="920225" y="108768"/>
                    <a:pt x="923073" y="107249"/>
                  </a:cubicBezTo>
                  <a:cubicBezTo>
                    <a:pt x="925921" y="105730"/>
                    <a:pt x="929528" y="106680"/>
                    <a:pt x="931047" y="109528"/>
                  </a:cubicBezTo>
                  <a:lnTo>
                    <a:pt x="953451" y="150348"/>
                  </a:lnTo>
                  <a:cubicBezTo>
                    <a:pt x="954970" y="153196"/>
                    <a:pt x="954021" y="156803"/>
                    <a:pt x="951173" y="158322"/>
                  </a:cubicBezTo>
                  <a:cubicBezTo>
                    <a:pt x="950413" y="158702"/>
                    <a:pt x="949274" y="159082"/>
                    <a:pt x="948325" y="159082"/>
                  </a:cubicBezTo>
                  <a:lnTo>
                    <a:pt x="948325" y="159082"/>
                  </a:lnTo>
                  <a:close/>
                  <a:moveTo>
                    <a:pt x="761690" y="114274"/>
                  </a:moveTo>
                  <a:cubicBezTo>
                    <a:pt x="760361" y="114274"/>
                    <a:pt x="758843" y="113705"/>
                    <a:pt x="757703" y="112755"/>
                  </a:cubicBezTo>
                  <a:cubicBezTo>
                    <a:pt x="755235" y="110667"/>
                    <a:pt x="755235" y="106869"/>
                    <a:pt x="757324" y="104591"/>
                  </a:cubicBezTo>
                  <a:cubicBezTo>
                    <a:pt x="767766" y="93009"/>
                    <a:pt x="778398" y="81808"/>
                    <a:pt x="788841" y="70416"/>
                  </a:cubicBezTo>
                  <a:cubicBezTo>
                    <a:pt x="790929" y="67948"/>
                    <a:pt x="794726" y="67948"/>
                    <a:pt x="797005" y="70226"/>
                  </a:cubicBezTo>
                  <a:cubicBezTo>
                    <a:pt x="799473" y="72315"/>
                    <a:pt x="799473" y="76112"/>
                    <a:pt x="797195" y="78390"/>
                  </a:cubicBezTo>
                  <a:cubicBezTo>
                    <a:pt x="786752" y="89782"/>
                    <a:pt x="776120" y="101174"/>
                    <a:pt x="765678" y="112565"/>
                  </a:cubicBezTo>
                  <a:cubicBezTo>
                    <a:pt x="764538" y="113894"/>
                    <a:pt x="763019" y="114464"/>
                    <a:pt x="761501" y="114464"/>
                  </a:cubicBezTo>
                  <a:lnTo>
                    <a:pt x="761501" y="114464"/>
                  </a:lnTo>
                  <a:close/>
                  <a:moveTo>
                    <a:pt x="903328" y="77631"/>
                  </a:moveTo>
                  <a:cubicBezTo>
                    <a:pt x="901429" y="77631"/>
                    <a:pt x="899340" y="76492"/>
                    <a:pt x="898201" y="74593"/>
                  </a:cubicBezTo>
                  <a:lnTo>
                    <a:pt x="875797" y="33773"/>
                  </a:lnTo>
                  <a:cubicBezTo>
                    <a:pt x="874279" y="30925"/>
                    <a:pt x="875228" y="27317"/>
                    <a:pt x="878076" y="25798"/>
                  </a:cubicBezTo>
                  <a:cubicBezTo>
                    <a:pt x="880924" y="24279"/>
                    <a:pt x="884531" y="25229"/>
                    <a:pt x="886050" y="28077"/>
                  </a:cubicBezTo>
                  <a:lnTo>
                    <a:pt x="908454" y="68897"/>
                  </a:lnTo>
                  <a:cubicBezTo>
                    <a:pt x="909973" y="71745"/>
                    <a:pt x="909023" y="75352"/>
                    <a:pt x="906176" y="76871"/>
                  </a:cubicBezTo>
                  <a:cubicBezTo>
                    <a:pt x="905416" y="77251"/>
                    <a:pt x="904277" y="77631"/>
                    <a:pt x="903328" y="77631"/>
                  </a:cubicBezTo>
                  <a:lnTo>
                    <a:pt x="903328" y="77631"/>
                  </a:lnTo>
                  <a:close/>
                  <a:moveTo>
                    <a:pt x="824724" y="45734"/>
                  </a:moveTo>
                  <a:cubicBezTo>
                    <a:pt x="823396" y="45734"/>
                    <a:pt x="821877" y="45164"/>
                    <a:pt x="820738" y="44215"/>
                  </a:cubicBezTo>
                  <a:cubicBezTo>
                    <a:pt x="818269" y="42126"/>
                    <a:pt x="818269" y="38329"/>
                    <a:pt x="820548" y="36051"/>
                  </a:cubicBezTo>
                  <a:cubicBezTo>
                    <a:pt x="830990" y="24659"/>
                    <a:pt x="841622" y="13267"/>
                    <a:pt x="852255" y="1876"/>
                  </a:cubicBezTo>
                  <a:cubicBezTo>
                    <a:pt x="854343" y="-593"/>
                    <a:pt x="858140" y="-593"/>
                    <a:pt x="860419" y="1686"/>
                  </a:cubicBezTo>
                  <a:cubicBezTo>
                    <a:pt x="862887" y="3774"/>
                    <a:pt x="862887" y="7571"/>
                    <a:pt x="860609" y="9850"/>
                  </a:cubicBezTo>
                  <a:cubicBezTo>
                    <a:pt x="850166" y="21242"/>
                    <a:pt x="839534" y="32633"/>
                    <a:pt x="828901" y="44025"/>
                  </a:cubicBezTo>
                  <a:cubicBezTo>
                    <a:pt x="827762" y="45354"/>
                    <a:pt x="826243" y="45924"/>
                    <a:pt x="824724" y="45924"/>
                  </a:cubicBezTo>
                  <a:lnTo>
                    <a:pt x="824724" y="45924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AE3BAEFF-D138-5C12-8D35-1BBB4C164228}"/>
                </a:ext>
              </a:extLst>
            </p:cNvPr>
            <p:cNvSpPr/>
            <p:nvPr/>
          </p:nvSpPr>
          <p:spPr>
            <a:xfrm>
              <a:off x="8089344" y="4041979"/>
              <a:ext cx="504862" cy="22593"/>
            </a:xfrm>
            <a:custGeom>
              <a:avLst/>
              <a:gdLst>
                <a:gd name="connsiteX0" fmla="*/ 498968 w 504862"/>
                <a:gd name="connsiteY0" fmla="*/ 22594 h 22593"/>
                <a:gd name="connsiteX1" fmla="*/ 498968 w 504862"/>
                <a:gd name="connsiteY1" fmla="*/ 22594 h 22593"/>
                <a:gd name="connsiteX2" fmla="*/ 5705 w 504862"/>
                <a:gd name="connsiteY2" fmla="*/ 11582 h 22593"/>
                <a:gd name="connsiteX3" fmla="*/ 10 w 504862"/>
                <a:gd name="connsiteY3" fmla="*/ 5696 h 22593"/>
                <a:gd name="connsiteX4" fmla="*/ 5895 w 504862"/>
                <a:gd name="connsiteY4" fmla="*/ 0 h 22593"/>
                <a:gd name="connsiteX5" fmla="*/ 5895 w 504862"/>
                <a:gd name="connsiteY5" fmla="*/ 0 h 22593"/>
                <a:gd name="connsiteX6" fmla="*/ 499157 w 504862"/>
                <a:gd name="connsiteY6" fmla="*/ 11012 h 22593"/>
                <a:gd name="connsiteX7" fmla="*/ 504853 w 504862"/>
                <a:gd name="connsiteY7" fmla="*/ 16898 h 22593"/>
                <a:gd name="connsiteX8" fmla="*/ 498968 w 504862"/>
                <a:gd name="connsiteY8" fmla="*/ 22594 h 22593"/>
                <a:gd name="connsiteX9" fmla="*/ 498968 w 504862"/>
                <a:gd name="connsiteY9" fmla="*/ 22594 h 2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4862" h="22593">
                  <a:moveTo>
                    <a:pt x="498968" y="22594"/>
                  </a:moveTo>
                  <a:lnTo>
                    <a:pt x="498968" y="22594"/>
                  </a:lnTo>
                  <a:lnTo>
                    <a:pt x="5705" y="11582"/>
                  </a:lnTo>
                  <a:cubicBezTo>
                    <a:pt x="2478" y="11582"/>
                    <a:pt x="-180" y="8924"/>
                    <a:pt x="10" y="5696"/>
                  </a:cubicBezTo>
                  <a:cubicBezTo>
                    <a:pt x="10" y="2658"/>
                    <a:pt x="2668" y="0"/>
                    <a:pt x="5895" y="0"/>
                  </a:cubicBezTo>
                  <a:lnTo>
                    <a:pt x="5895" y="0"/>
                  </a:lnTo>
                  <a:lnTo>
                    <a:pt x="499157" y="11012"/>
                  </a:lnTo>
                  <a:cubicBezTo>
                    <a:pt x="502385" y="11012"/>
                    <a:pt x="505043" y="13670"/>
                    <a:pt x="504853" y="16898"/>
                  </a:cubicBezTo>
                  <a:cubicBezTo>
                    <a:pt x="504853" y="19936"/>
                    <a:pt x="502195" y="22594"/>
                    <a:pt x="498968" y="22594"/>
                  </a:cubicBezTo>
                  <a:lnTo>
                    <a:pt x="498968" y="22594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A870D6E4-98AE-647D-6B03-7CEE420C8091}"/>
                </a:ext>
              </a:extLst>
            </p:cNvPr>
            <p:cNvSpPr/>
            <p:nvPr/>
          </p:nvSpPr>
          <p:spPr>
            <a:xfrm>
              <a:off x="8011320" y="4213045"/>
              <a:ext cx="358839" cy="12721"/>
            </a:xfrm>
            <a:custGeom>
              <a:avLst/>
              <a:gdLst>
                <a:gd name="connsiteX0" fmla="*/ 5886 w 358839"/>
                <a:gd name="connsiteY0" fmla="*/ 12721 h 12721"/>
                <a:gd name="connsiteX1" fmla="*/ 0 w 358839"/>
                <a:gd name="connsiteY1" fmla="*/ 6835 h 12721"/>
                <a:gd name="connsiteX2" fmla="*/ 5886 w 358839"/>
                <a:gd name="connsiteY2" fmla="*/ 949 h 12721"/>
                <a:gd name="connsiteX3" fmla="*/ 352954 w 358839"/>
                <a:gd name="connsiteY3" fmla="*/ 0 h 12721"/>
                <a:gd name="connsiteX4" fmla="*/ 352954 w 358839"/>
                <a:gd name="connsiteY4" fmla="*/ 0 h 12721"/>
                <a:gd name="connsiteX5" fmla="*/ 358840 w 358839"/>
                <a:gd name="connsiteY5" fmla="*/ 5886 h 12721"/>
                <a:gd name="connsiteX6" fmla="*/ 352954 w 358839"/>
                <a:gd name="connsiteY6" fmla="*/ 11772 h 12721"/>
                <a:gd name="connsiteX7" fmla="*/ 5886 w 358839"/>
                <a:gd name="connsiteY7" fmla="*/ 12721 h 12721"/>
                <a:gd name="connsiteX8" fmla="*/ 5886 w 358839"/>
                <a:gd name="connsiteY8" fmla="*/ 12721 h 12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8839" h="12721">
                  <a:moveTo>
                    <a:pt x="5886" y="12721"/>
                  </a:moveTo>
                  <a:cubicBezTo>
                    <a:pt x="2658" y="12721"/>
                    <a:pt x="0" y="10253"/>
                    <a:pt x="0" y="6835"/>
                  </a:cubicBezTo>
                  <a:cubicBezTo>
                    <a:pt x="0" y="3418"/>
                    <a:pt x="2468" y="949"/>
                    <a:pt x="5886" y="949"/>
                  </a:cubicBezTo>
                  <a:lnTo>
                    <a:pt x="352954" y="0"/>
                  </a:lnTo>
                  <a:lnTo>
                    <a:pt x="352954" y="0"/>
                  </a:lnTo>
                  <a:cubicBezTo>
                    <a:pt x="356182" y="0"/>
                    <a:pt x="358840" y="2468"/>
                    <a:pt x="358840" y="5886"/>
                  </a:cubicBezTo>
                  <a:cubicBezTo>
                    <a:pt x="358840" y="9303"/>
                    <a:pt x="356371" y="11772"/>
                    <a:pt x="352954" y="11772"/>
                  </a:cubicBezTo>
                  <a:lnTo>
                    <a:pt x="5886" y="12721"/>
                  </a:lnTo>
                  <a:lnTo>
                    <a:pt x="5886" y="12721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0F6FC4AF-15DD-9BBB-3D89-3292FC0FCCDB}"/>
                </a:ext>
              </a:extLst>
            </p:cNvPr>
            <p:cNvSpPr/>
            <p:nvPr/>
          </p:nvSpPr>
          <p:spPr>
            <a:xfrm>
              <a:off x="8088773" y="4387492"/>
              <a:ext cx="494980" cy="19971"/>
            </a:xfrm>
            <a:custGeom>
              <a:avLst/>
              <a:gdLst>
                <a:gd name="connsiteX0" fmla="*/ 390747 w 494980"/>
                <a:gd name="connsiteY0" fmla="*/ 19782 h 19971"/>
                <a:gd name="connsiteX1" fmla="*/ 5516 w 494980"/>
                <a:gd name="connsiteY1" fmla="*/ 11618 h 19971"/>
                <a:gd name="connsiteX2" fmla="*/ 10 w 494980"/>
                <a:gd name="connsiteY2" fmla="*/ 5542 h 19971"/>
                <a:gd name="connsiteX3" fmla="*/ 6086 w 494980"/>
                <a:gd name="connsiteY3" fmla="*/ 36 h 19971"/>
                <a:gd name="connsiteX4" fmla="*/ 489095 w 494980"/>
                <a:gd name="connsiteY4" fmla="*/ 7631 h 19971"/>
                <a:gd name="connsiteX5" fmla="*/ 489095 w 494980"/>
                <a:gd name="connsiteY5" fmla="*/ 7631 h 19971"/>
                <a:gd name="connsiteX6" fmla="*/ 494981 w 494980"/>
                <a:gd name="connsiteY6" fmla="*/ 13517 h 19971"/>
                <a:gd name="connsiteX7" fmla="*/ 489095 w 494980"/>
                <a:gd name="connsiteY7" fmla="*/ 19402 h 19971"/>
                <a:gd name="connsiteX8" fmla="*/ 390747 w 494980"/>
                <a:gd name="connsiteY8" fmla="*/ 19972 h 19971"/>
                <a:gd name="connsiteX9" fmla="*/ 390747 w 494980"/>
                <a:gd name="connsiteY9" fmla="*/ 19972 h 1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980" h="19971">
                  <a:moveTo>
                    <a:pt x="390747" y="19782"/>
                  </a:moveTo>
                  <a:cubicBezTo>
                    <a:pt x="262400" y="19782"/>
                    <a:pt x="133104" y="17124"/>
                    <a:pt x="5516" y="11618"/>
                  </a:cubicBezTo>
                  <a:cubicBezTo>
                    <a:pt x="2289" y="11618"/>
                    <a:pt x="-180" y="8770"/>
                    <a:pt x="10" y="5542"/>
                  </a:cubicBezTo>
                  <a:cubicBezTo>
                    <a:pt x="10" y="2315"/>
                    <a:pt x="2668" y="-343"/>
                    <a:pt x="6086" y="36"/>
                  </a:cubicBezTo>
                  <a:cubicBezTo>
                    <a:pt x="166140" y="6871"/>
                    <a:pt x="328662" y="9529"/>
                    <a:pt x="489095" y="7631"/>
                  </a:cubicBezTo>
                  <a:lnTo>
                    <a:pt x="489095" y="7631"/>
                  </a:lnTo>
                  <a:cubicBezTo>
                    <a:pt x="492133" y="7631"/>
                    <a:pt x="494981" y="10099"/>
                    <a:pt x="494981" y="13517"/>
                  </a:cubicBezTo>
                  <a:cubicBezTo>
                    <a:pt x="494981" y="16934"/>
                    <a:pt x="492513" y="19402"/>
                    <a:pt x="489095" y="19402"/>
                  </a:cubicBezTo>
                  <a:cubicBezTo>
                    <a:pt x="456439" y="19782"/>
                    <a:pt x="423593" y="19972"/>
                    <a:pt x="390747" y="19972"/>
                  </a:cubicBezTo>
                  <a:lnTo>
                    <a:pt x="390747" y="19972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1444" name="Freeform: Shape 1443">
            <a:extLst>
              <a:ext uri="{FF2B5EF4-FFF2-40B4-BE49-F238E27FC236}">
                <a16:creationId xmlns:a16="http://schemas.microsoft.com/office/drawing/2014/main" id="{D2D48DF9-43DE-5885-DBC7-A03220BC3535}"/>
              </a:ext>
            </a:extLst>
          </p:cNvPr>
          <p:cNvSpPr/>
          <p:nvPr userDrawn="1"/>
        </p:nvSpPr>
        <p:spPr>
          <a:xfrm>
            <a:off x="11164552" y="2158926"/>
            <a:ext cx="151320" cy="432885"/>
          </a:xfrm>
          <a:custGeom>
            <a:avLst/>
            <a:gdLst>
              <a:gd name="connsiteX0" fmla="*/ 14619 w 151320"/>
              <a:gd name="connsiteY0" fmla="*/ 0 h 432885"/>
              <a:gd name="connsiteX1" fmla="*/ 0 w 151320"/>
              <a:gd name="connsiteY1" fmla="*/ 430608 h 432885"/>
              <a:gd name="connsiteX2" fmla="*/ 140877 w 151320"/>
              <a:gd name="connsiteY2" fmla="*/ 432886 h 432885"/>
              <a:gd name="connsiteX3" fmla="*/ 151320 w 151320"/>
              <a:gd name="connsiteY3" fmla="*/ 0 h 432885"/>
              <a:gd name="connsiteX4" fmla="*/ 14619 w 151320"/>
              <a:gd name="connsiteY4" fmla="*/ 0 h 432885"/>
              <a:gd name="connsiteX5" fmla="*/ 14619 w 151320"/>
              <a:gd name="connsiteY5" fmla="*/ 0 h 432885"/>
              <a:gd name="connsiteX6" fmla="*/ 14619 w 151320"/>
              <a:gd name="connsiteY6" fmla="*/ 0 h 43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320" h="432885">
                <a:moveTo>
                  <a:pt x="14619" y="0"/>
                </a:moveTo>
                <a:lnTo>
                  <a:pt x="0" y="430608"/>
                </a:lnTo>
                <a:lnTo>
                  <a:pt x="140877" y="432886"/>
                </a:lnTo>
                <a:lnTo>
                  <a:pt x="151320" y="0"/>
                </a:lnTo>
                <a:lnTo>
                  <a:pt x="14619" y="0"/>
                </a:lnTo>
                <a:lnTo>
                  <a:pt x="14619" y="0"/>
                </a:lnTo>
                <a:lnTo>
                  <a:pt x="14619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445" name="Freeform: Shape 1444">
            <a:extLst>
              <a:ext uri="{FF2B5EF4-FFF2-40B4-BE49-F238E27FC236}">
                <a16:creationId xmlns:a16="http://schemas.microsoft.com/office/drawing/2014/main" id="{CDE4B671-F169-D40D-8B42-896A6321CBDA}"/>
              </a:ext>
            </a:extLst>
          </p:cNvPr>
          <p:cNvSpPr/>
          <p:nvPr userDrawn="1"/>
        </p:nvSpPr>
        <p:spPr>
          <a:xfrm>
            <a:off x="11158820" y="2153040"/>
            <a:ext cx="163127" cy="444657"/>
          </a:xfrm>
          <a:custGeom>
            <a:avLst/>
            <a:gdLst>
              <a:gd name="connsiteX0" fmla="*/ 146610 w 163127"/>
              <a:gd name="connsiteY0" fmla="*/ 444657 h 444657"/>
              <a:gd name="connsiteX1" fmla="*/ 146610 w 163127"/>
              <a:gd name="connsiteY1" fmla="*/ 444657 h 444657"/>
              <a:gd name="connsiteX2" fmla="*/ 5732 w 163127"/>
              <a:gd name="connsiteY2" fmla="*/ 442189 h 444657"/>
              <a:gd name="connsiteX3" fmla="*/ 1555 w 163127"/>
              <a:gd name="connsiteY3" fmla="*/ 440290 h 444657"/>
              <a:gd name="connsiteX4" fmla="*/ 36 w 163127"/>
              <a:gd name="connsiteY4" fmla="*/ 436113 h 444657"/>
              <a:gd name="connsiteX5" fmla="*/ 14656 w 163127"/>
              <a:gd name="connsiteY5" fmla="*/ 5696 h 444657"/>
              <a:gd name="connsiteX6" fmla="*/ 20541 w 163127"/>
              <a:gd name="connsiteY6" fmla="*/ 0 h 444657"/>
              <a:gd name="connsiteX7" fmla="*/ 157242 w 163127"/>
              <a:gd name="connsiteY7" fmla="*/ 0 h 444657"/>
              <a:gd name="connsiteX8" fmla="*/ 161419 w 163127"/>
              <a:gd name="connsiteY8" fmla="*/ 1709 h 444657"/>
              <a:gd name="connsiteX9" fmla="*/ 163127 w 163127"/>
              <a:gd name="connsiteY9" fmla="*/ 5886 h 444657"/>
              <a:gd name="connsiteX10" fmla="*/ 152685 w 163127"/>
              <a:gd name="connsiteY10" fmla="*/ 438772 h 444657"/>
              <a:gd name="connsiteX11" fmla="*/ 146800 w 163127"/>
              <a:gd name="connsiteY11" fmla="*/ 444467 h 444657"/>
              <a:gd name="connsiteX12" fmla="*/ 146800 w 163127"/>
              <a:gd name="connsiteY12" fmla="*/ 444467 h 444657"/>
              <a:gd name="connsiteX13" fmla="*/ 11618 w 163127"/>
              <a:gd name="connsiteY13" fmla="*/ 430797 h 444657"/>
              <a:gd name="connsiteX14" fmla="*/ 140914 w 163127"/>
              <a:gd name="connsiteY14" fmla="*/ 433076 h 444657"/>
              <a:gd name="connsiteX15" fmla="*/ 151166 w 163127"/>
              <a:gd name="connsiteY15" fmla="*/ 11771 h 444657"/>
              <a:gd name="connsiteX16" fmla="*/ 26047 w 163127"/>
              <a:gd name="connsiteY16" fmla="*/ 11771 h 444657"/>
              <a:gd name="connsiteX17" fmla="*/ 11807 w 163127"/>
              <a:gd name="connsiteY17" fmla="*/ 430797 h 444657"/>
              <a:gd name="connsiteX18" fmla="*/ 11807 w 163127"/>
              <a:gd name="connsiteY18" fmla="*/ 430797 h 444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63127" h="444657">
                <a:moveTo>
                  <a:pt x="146610" y="444657"/>
                </a:moveTo>
                <a:lnTo>
                  <a:pt x="146610" y="444657"/>
                </a:lnTo>
                <a:lnTo>
                  <a:pt x="5732" y="442189"/>
                </a:lnTo>
                <a:cubicBezTo>
                  <a:pt x="4213" y="442189"/>
                  <a:pt x="2694" y="441430"/>
                  <a:pt x="1555" y="440290"/>
                </a:cubicBezTo>
                <a:cubicBezTo>
                  <a:pt x="416" y="439151"/>
                  <a:pt x="-154" y="437632"/>
                  <a:pt x="36" y="436113"/>
                </a:cubicBezTo>
                <a:lnTo>
                  <a:pt x="14656" y="5696"/>
                </a:lnTo>
                <a:cubicBezTo>
                  <a:pt x="14656" y="2658"/>
                  <a:pt x="17313" y="0"/>
                  <a:pt x="20541" y="0"/>
                </a:cubicBezTo>
                <a:lnTo>
                  <a:pt x="157242" y="0"/>
                </a:lnTo>
                <a:cubicBezTo>
                  <a:pt x="158761" y="0"/>
                  <a:pt x="160280" y="570"/>
                  <a:pt x="161419" y="1709"/>
                </a:cubicBezTo>
                <a:cubicBezTo>
                  <a:pt x="162558" y="2848"/>
                  <a:pt x="163127" y="4367"/>
                  <a:pt x="163127" y="5886"/>
                </a:cubicBezTo>
                <a:lnTo>
                  <a:pt x="152685" y="438772"/>
                </a:lnTo>
                <a:cubicBezTo>
                  <a:pt x="152685" y="441809"/>
                  <a:pt x="150027" y="444467"/>
                  <a:pt x="146800" y="444467"/>
                </a:cubicBezTo>
                <a:lnTo>
                  <a:pt x="146800" y="444467"/>
                </a:lnTo>
                <a:close/>
                <a:moveTo>
                  <a:pt x="11618" y="430797"/>
                </a:moveTo>
                <a:lnTo>
                  <a:pt x="140914" y="433076"/>
                </a:lnTo>
                <a:lnTo>
                  <a:pt x="151166" y="11771"/>
                </a:lnTo>
                <a:lnTo>
                  <a:pt x="26047" y="11771"/>
                </a:lnTo>
                <a:lnTo>
                  <a:pt x="11807" y="430797"/>
                </a:lnTo>
                <a:lnTo>
                  <a:pt x="11807" y="430797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280" name="Freeform: Shape 1279">
            <a:extLst>
              <a:ext uri="{FF2B5EF4-FFF2-40B4-BE49-F238E27FC236}">
                <a16:creationId xmlns:a16="http://schemas.microsoft.com/office/drawing/2014/main" id="{9865221E-3D15-78F3-002A-FEEF658DEDDF}"/>
              </a:ext>
            </a:extLst>
          </p:cNvPr>
          <p:cNvSpPr/>
          <p:nvPr userDrawn="1"/>
        </p:nvSpPr>
        <p:spPr>
          <a:xfrm>
            <a:off x="11461686" y="2375369"/>
            <a:ext cx="151320" cy="236758"/>
          </a:xfrm>
          <a:custGeom>
            <a:avLst/>
            <a:gdLst>
              <a:gd name="connsiteX0" fmla="*/ 14619 w 151320"/>
              <a:gd name="connsiteY0" fmla="*/ 0 h 236758"/>
              <a:gd name="connsiteX1" fmla="*/ 0 w 151320"/>
              <a:gd name="connsiteY1" fmla="*/ 235619 h 236758"/>
              <a:gd name="connsiteX2" fmla="*/ 140688 w 151320"/>
              <a:gd name="connsiteY2" fmla="*/ 236758 h 236758"/>
              <a:gd name="connsiteX3" fmla="*/ 151320 w 151320"/>
              <a:gd name="connsiteY3" fmla="*/ 0 h 236758"/>
              <a:gd name="connsiteX4" fmla="*/ 14619 w 151320"/>
              <a:gd name="connsiteY4" fmla="*/ 0 h 236758"/>
              <a:gd name="connsiteX5" fmla="*/ 14619 w 151320"/>
              <a:gd name="connsiteY5" fmla="*/ 0 h 236758"/>
              <a:gd name="connsiteX6" fmla="*/ 14619 w 151320"/>
              <a:gd name="connsiteY6" fmla="*/ 0 h 236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320" h="236758">
                <a:moveTo>
                  <a:pt x="14619" y="0"/>
                </a:moveTo>
                <a:lnTo>
                  <a:pt x="0" y="235619"/>
                </a:lnTo>
                <a:lnTo>
                  <a:pt x="140688" y="236758"/>
                </a:lnTo>
                <a:lnTo>
                  <a:pt x="151320" y="0"/>
                </a:lnTo>
                <a:lnTo>
                  <a:pt x="14619" y="0"/>
                </a:lnTo>
                <a:lnTo>
                  <a:pt x="14619" y="0"/>
                </a:lnTo>
                <a:lnTo>
                  <a:pt x="14619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281" name="Freeform: Shape 1280">
            <a:extLst>
              <a:ext uri="{FF2B5EF4-FFF2-40B4-BE49-F238E27FC236}">
                <a16:creationId xmlns:a16="http://schemas.microsoft.com/office/drawing/2014/main" id="{9D181CD2-C7D6-9322-BC66-90571E48140D}"/>
              </a:ext>
            </a:extLst>
          </p:cNvPr>
          <p:cNvSpPr/>
          <p:nvPr userDrawn="1"/>
        </p:nvSpPr>
        <p:spPr>
          <a:xfrm>
            <a:off x="11455764" y="2369863"/>
            <a:ext cx="162973" cy="248339"/>
          </a:xfrm>
          <a:custGeom>
            <a:avLst/>
            <a:gdLst>
              <a:gd name="connsiteX0" fmla="*/ 146610 w 162973"/>
              <a:gd name="connsiteY0" fmla="*/ 248150 h 248339"/>
              <a:gd name="connsiteX1" fmla="*/ 146610 w 162973"/>
              <a:gd name="connsiteY1" fmla="*/ 248150 h 248339"/>
              <a:gd name="connsiteX2" fmla="*/ 5732 w 162973"/>
              <a:gd name="connsiteY2" fmla="*/ 246821 h 248339"/>
              <a:gd name="connsiteX3" fmla="*/ 1555 w 162973"/>
              <a:gd name="connsiteY3" fmla="*/ 244922 h 248339"/>
              <a:gd name="connsiteX4" fmla="*/ 36 w 162973"/>
              <a:gd name="connsiteY4" fmla="*/ 240745 h 248339"/>
              <a:gd name="connsiteX5" fmla="*/ 14655 w 162973"/>
              <a:gd name="connsiteY5" fmla="*/ 5316 h 248339"/>
              <a:gd name="connsiteX6" fmla="*/ 20541 w 162973"/>
              <a:gd name="connsiteY6" fmla="*/ 0 h 248339"/>
              <a:gd name="connsiteX7" fmla="*/ 157242 w 162973"/>
              <a:gd name="connsiteY7" fmla="*/ 0 h 248339"/>
              <a:gd name="connsiteX8" fmla="*/ 161419 w 162973"/>
              <a:gd name="connsiteY8" fmla="*/ 1899 h 248339"/>
              <a:gd name="connsiteX9" fmla="*/ 162938 w 162973"/>
              <a:gd name="connsiteY9" fmla="*/ 6076 h 248339"/>
              <a:gd name="connsiteX10" fmla="*/ 152495 w 162973"/>
              <a:gd name="connsiteY10" fmla="*/ 242834 h 248339"/>
              <a:gd name="connsiteX11" fmla="*/ 146610 w 162973"/>
              <a:gd name="connsiteY11" fmla="*/ 248340 h 248339"/>
              <a:gd name="connsiteX12" fmla="*/ 146610 w 162973"/>
              <a:gd name="connsiteY12" fmla="*/ 248340 h 248339"/>
              <a:gd name="connsiteX13" fmla="*/ 11997 w 162973"/>
              <a:gd name="connsiteY13" fmla="*/ 235239 h 248339"/>
              <a:gd name="connsiteX14" fmla="*/ 141104 w 162973"/>
              <a:gd name="connsiteY14" fmla="*/ 236568 h 248339"/>
              <a:gd name="connsiteX15" fmla="*/ 150976 w 162973"/>
              <a:gd name="connsiteY15" fmla="*/ 11392 h 248339"/>
              <a:gd name="connsiteX16" fmla="*/ 25857 w 162973"/>
              <a:gd name="connsiteY16" fmla="*/ 11392 h 248339"/>
              <a:gd name="connsiteX17" fmla="*/ 11997 w 162973"/>
              <a:gd name="connsiteY17" fmla="*/ 235239 h 248339"/>
              <a:gd name="connsiteX18" fmla="*/ 11997 w 162973"/>
              <a:gd name="connsiteY18" fmla="*/ 235239 h 248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62973" h="248339">
                <a:moveTo>
                  <a:pt x="146610" y="248150"/>
                </a:moveTo>
                <a:lnTo>
                  <a:pt x="146610" y="248150"/>
                </a:lnTo>
                <a:lnTo>
                  <a:pt x="5732" y="246821"/>
                </a:lnTo>
                <a:cubicBezTo>
                  <a:pt x="4213" y="246821"/>
                  <a:pt x="2694" y="246061"/>
                  <a:pt x="1555" y="244922"/>
                </a:cubicBezTo>
                <a:cubicBezTo>
                  <a:pt x="416" y="243783"/>
                  <a:pt x="-154" y="242264"/>
                  <a:pt x="36" y="240745"/>
                </a:cubicBezTo>
                <a:lnTo>
                  <a:pt x="14655" y="5316"/>
                </a:lnTo>
                <a:cubicBezTo>
                  <a:pt x="14655" y="2278"/>
                  <a:pt x="17314" y="0"/>
                  <a:pt x="20541" y="0"/>
                </a:cubicBezTo>
                <a:lnTo>
                  <a:pt x="157242" y="0"/>
                </a:lnTo>
                <a:cubicBezTo>
                  <a:pt x="158761" y="0"/>
                  <a:pt x="160280" y="759"/>
                  <a:pt x="161419" y="1899"/>
                </a:cubicBezTo>
                <a:cubicBezTo>
                  <a:pt x="162558" y="3038"/>
                  <a:pt x="163128" y="4557"/>
                  <a:pt x="162938" y="6076"/>
                </a:cubicBezTo>
                <a:lnTo>
                  <a:pt x="152495" y="242834"/>
                </a:lnTo>
                <a:cubicBezTo>
                  <a:pt x="152495" y="245872"/>
                  <a:pt x="149837" y="248340"/>
                  <a:pt x="146610" y="248340"/>
                </a:cubicBezTo>
                <a:lnTo>
                  <a:pt x="146610" y="248340"/>
                </a:lnTo>
                <a:close/>
                <a:moveTo>
                  <a:pt x="11997" y="235239"/>
                </a:moveTo>
                <a:lnTo>
                  <a:pt x="141104" y="236568"/>
                </a:lnTo>
                <a:lnTo>
                  <a:pt x="150976" y="11392"/>
                </a:lnTo>
                <a:lnTo>
                  <a:pt x="25857" y="11392"/>
                </a:lnTo>
                <a:lnTo>
                  <a:pt x="11997" y="235239"/>
                </a:lnTo>
                <a:lnTo>
                  <a:pt x="11997" y="235239"/>
                </a:lnTo>
                <a:close/>
              </a:path>
            </a:pathLst>
          </a:custGeom>
          <a:solidFill>
            <a:schemeClr val="accent6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288" name="Freeform: Shape 1287">
            <a:extLst>
              <a:ext uri="{FF2B5EF4-FFF2-40B4-BE49-F238E27FC236}">
                <a16:creationId xmlns:a16="http://schemas.microsoft.com/office/drawing/2014/main" id="{5528F9CA-CA38-61B6-88E2-9128638E0A7F}"/>
              </a:ext>
            </a:extLst>
          </p:cNvPr>
          <p:cNvSpPr/>
          <p:nvPr userDrawn="1"/>
        </p:nvSpPr>
        <p:spPr>
          <a:xfrm>
            <a:off x="6096228" y="5096957"/>
            <a:ext cx="604901" cy="610786"/>
          </a:xfrm>
          <a:custGeom>
            <a:avLst/>
            <a:gdLst>
              <a:gd name="connsiteX0" fmla="*/ 302450 w 604901"/>
              <a:gd name="connsiteY0" fmla="*/ 610787 h 610786"/>
              <a:gd name="connsiteX1" fmla="*/ 264288 w 604901"/>
              <a:gd name="connsiteY1" fmla="*/ 608318 h 610786"/>
              <a:gd name="connsiteX2" fmla="*/ 259352 w 604901"/>
              <a:gd name="connsiteY2" fmla="*/ 601863 h 610786"/>
              <a:gd name="connsiteX3" fmla="*/ 265807 w 604901"/>
              <a:gd name="connsiteY3" fmla="*/ 596927 h 610786"/>
              <a:gd name="connsiteX4" fmla="*/ 311374 w 604901"/>
              <a:gd name="connsiteY4" fmla="*/ 599015 h 610786"/>
              <a:gd name="connsiteX5" fmla="*/ 317260 w 604901"/>
              <a:gd name="connsiteY5" fmla="*/ 604711 h 610786"/>
              <a:gd name="connsiteX6" fmla="*/ 311564 w 604901"/>
              <a:gd name="connsiteY6" fmla="*/ 610597 h 610786"/>
              <a:gd name="connsiteX7" fmla="*/ 302261 w 604901"/>
              <a:gd name="connsiteY7" fmla="*/ 610597 h 610786"/>
              <a:gd name="connsiteX8" fmla="*/ 302261 w 604901"/>
              <a:gd name="connsiteY8" fmla="*/ 610597 h 610786"/>
              <a:gd name="connsiteX9" fmla="*/ 357700 w 604901"/>
              <a:gd name="connsiteY9" fmla="*/ 605471 h 610786"/>
              <a:gd name="connsiteX10" fmla="*/ 352004 w 604901"/>
              <a:gd name="connsiteY10" fmla="*/ 600724 h 610786"/>
              <a:gd name="connsiteX11" fmla="*/ 356751 w 604901"/>
              <a:gd name="connsiteY11" fmla="*/ 593889 h 610786"/>
              <a:gd name="connsiteX12" fmla="*/ 400609 w 604901"/>
              <a:gd name="connsiteY12" fmla="*/ 581738 h 610786"/>
              <a:gd name="connsiteX13" fmla="*/ 408014 w 604901"/>
              <a:gd name="connsiteY13" fmla="*/ 585345 h 610786"/>
              <a:gd name="connsiteX14" fmla="*/ 404407 w 604901"/>
              <a:gd name="connsiteY14" fmla="*/ 592750 h 610786"/>
              <a:gd name="connsiteX15" fmla="*/ 358650 w 604901"/>
              <a:gd name="connsiteY15" fmla="*/ 605281 h 610786"/>
              <a:gd name="connsiteX16" fmla="*/ 357511 w 604901"/>
              <a:gd name="connsiteY16" fmla="*/ 605281 h 610786"/>
              <a:gd name="connsiteX17" fmla="*/ 357511 w 604901"/>
              <a:gd name="connsiteY17" fmla="*/ 605281 h 610786"/>
              <a:gd name="connsiteX18" fmla="*/ 219670 w 604901"/>
              <a:gd name="connsiteY18" fmla="*/ 598825 h 610786"/>
              <a:gd name="connsiteX19" fmla="*/ 217962 w 604901"/>
              <a:gd name="connsiteY19" fmla="*/ 598446 h 610786"/>
              <a:gd name="connsiteX20" fmla="*/ 173724 w 604901"/>
              <a:gd name="connsiteY20" fmla="*/ 581548 h 610786"/>
              <a:gd name="connsiteX21" fmla="*/ 171066 w 604901"/>
              <a:gd name="connsiteY21" fmla="*/ 573764 h 610786"/>
              <a:gd name="connsiteX22" fmla="*/ 178850 w 604901"/>
              <a:gd name="connsiteY22" fmla="*/ 571106 h 610786"/>
              <a:gd name="connsiteX23" fmla="*/ 221379 w 604901"/>
              <a:gd name="connsiteY23" fmla="*/ 587433 h 610786"/>
              <a:gd name="connsiteX24" fmla="*/ 225366 w 604901"/>
              <a:gd name="connsiteY24" fmla="*/ 594648 h 610786"/>
              <a:gd name="connsiteX25" fmla="*/ 219860 w 604901"/>
              <a:gd name="connsiteY25" fmla="*/ 598825 h 610786"/>
              <a:gd name="connsiteX26" fmla="*/ 219860 w 604901"/>
              <a:gd name="connsiteY26" fmla="*/ 598825 h 610786"/>
              <a:gd name="connsiteX27" fmla="*/ 445037 w 604901"/>
              <a:gd name="connsiteY27" fmla="*/ 573953 h 610786"/>
              <a:gd name="connsiteX28" fmla="*/ 439911 w 604901"/>
              <a:gd name="connsiteY28" fmla="*/ 570916 h 610786"/>
              <a:gd name="connsiteX29" fmla="*/ 442189 w 604901"/>
              <a:gd name="connsiteY29" fmla="*/ 562941 h 610786"/>
              <a:gd name="connsiteX30" fmla="*/ 480351 w 604901"/>
              <a:gd name="connsiteY30" fmla="*/ 537880 h 610786"/>
              <a:gd name="connsiteX31" fmla="*/ 488515 w 604901"/>
              <a:gd name="connsiteY31" fmla="*/ 538829 h 610786"/>
              <a:gd name="connsiteX32" fmla="*/ 487566 w 604901"/>
              <a:gd name="connsiteY32" fmla="*/ 546993 h 610786"/>
              <a:gd name="connsiteX33" fmla="*/ 448075 w 604901"/>
              <a:gd name="connsiteY33" fmla="*/ 573194 h 610786"/>
              <a:gd name="connsiteX34" fmla="*/ 445227 w 604901"/>
              <a:gd name="connsiteY34" fmla="*/ 573953 h 610786"/>
              <a:gd name="connsiteX35" fmla="*/ 445227 w 604901"/>
              <a:gd name="connsiteY35" fmla="*/ 573953 h 610786"/>
              <a:gd name="connsiteX36" fmla="*/ 135941 w 604901"/>
              <a:gd name="connsiteY36" fmla="*/ 558954 h 610786"/>
              <a:gd name="connsiteX37" fmla="*/ 132714 w 604901"/>
              <a:gd name="connsiteY37" fmla="*/ 558005 h 610786"/>
              <a:gd name="connsiteX38" fmla="*/ 95880 w 604901"/>
              <a:gd name="connsiteY38" fmla="*/ 528197 h 610786"/>
              <a:gd name="connsiteX39" fmla="*/ 95690 w 604901"/>
              <a:gd name="connsiteY39" fmla="*/ 520033 h 610786"/>
              <a:gd name="connsiteX40" fmla="*/ 103855 w 604901"/>
              <a:gd name="connsiteY40" fmla="*/ 519843 h 610786"/>
              <a:gd name="connsiteX41" fmla="*/ 139359 w 604901"/>
              <a:gd name="connsiteY41" fmla="*/ 548512 h 610786"/>
              <a:gd name="connsiteX42" fmla="*/ 140878 w 604901"/>
              <a:gd name="connsiteY42" fmla="*/ 556676 h 610786"/>
              <a:gd name="connsiteX43" fmla="*/ 136131 w 604901"/>
              <a:gd name="connsiteY43" fmla="*/ 559144 h 610786"/>
              <a:gd name="connsiteX44" fmla="*/ 136131 w 604901"/>
              <a:gd name="connsiteY44" fmla="*/ 559144 h 610786"/>
              <a:gd name="connsiteX45" fmla="*/ 518134 w 604901"/>
              <a:gd name="connsiteY45" fmla="*/ 516995 h 610786"/>
              <a:gd name="connsiteX46" fmla="*/ 514147 w 604901"/>
              <a:gd name="connsiteY46" fmla="*/ 515476 h 610786"/>
              <a:gd name="connsiteX47" fmla="*/ 513957 w 604901"/>
              <a:gd name="connsiteY47" fmla="*/ 507312 h 610786"/>
              <a:gd name="connsiteX48" fmla="*/ 542436 w 604901"/>
              <a:gd name="connsiteY48" fmla="*/ 471618 h 610786"/>
              <a:gd name="connsiteX49" fmla="*/ 550600 w 604901"/>
              <a:gd name="connsiteY49" fmla="*/ 470099 h 610786"/>
              <a:gd name="connsiteX50" fmla="*/ 552119 w 604901"/>
              <a:gd name="connsiteY50" fmla="*/ 478263 h 610786"/>
              <a:gd name="connsiteX51" fmla="*/ 522501 w 604901"/>
              <a:gd name="connsiteY51" fmla="*/ 515286 h 610786"/>
              <a:gd name="connsiteX52" fmla="*/ 518324 w 604901"/>
              <a:gd name="connsiteY52" fmla="*/ 517185 h 610786"/>
              <a:gd name="connsiteX53" fmla="*/ 518324 w 604901"/>
              <a:gd name="connsiteY53" fmla="*/ 517185 h 610786"/>
              <a:gd name="connsiteX54" fmla="*/ 68540 w 604901"/>
              <a:gd name="connsiteY54" fmla="*/ 495350 h 610786"/>
              <a:gd name="connsiteX55" fmla="*/ 63983 w 604901"/>
              <a:gd name="connsiteY55" fmla="*/ 493072 h 610786"/>
              <a:gd name="connsiteX56" fmla="*/ 37972 w 604901"/>
              <a:gd name="connsiteY56" fmla="*/ 453391 h 610786"/>
              <a:gd name="connsiteX57" fmla="*/ 40251 w 604901"/>
              <a:gd name="connsiteY57" fmla="*/ 445417 h 610786"/>
              <a:gd name="connsiteX58" fmla="*/ 48225 w 604901"/>
              <a:gd name="connsiteY58" fmla="*/ 447695 h 610786"/>
              <a:gd name="connsiteX59" fmla="*/ 73287 w 604901"/>
              <a:gd name="connsiteY59" fmla="*/ 485668 h 610786"/>
              <a:gd name="connsiteX60" fmla="*/ 72337 w 604901"/>
              <a:gd name="connsiteY60" fmla="*/ 493832 h 610786"/>
              <a:gd name="connsiteX61" fmla="*/ 68730 w 604901"/>
              <a:gd name="connsiteY61" fmla="*/ 495161 h 610786"/>
              <a:gd name="connsiteX62" fmla="*/ 68730 w 604901"/>
              <a:gd name="connsiteY62" fmla="*/ 495161 h 610786"/>
              <a:gd name="connsiteX63" fmla="*/ 570156 w 604901"/>
              <a:gd name="connsiteY63" fmla="*/ 440480 h 610786"/>
              <a:gd name="connsiteX64" fmla="*/ 567688 w 604901"/>
              <a:gd name="connsiteY64" fmla="*/ 439911 h 610786"/>
              <a:gd name="connsiteX65" fmla="*/ 565030 w 604901"/>
              <a:gd name="connsiteY65" fmla="*/ 432126 h 610786"/>
              <a:gd name="connsiteX66" fmla="*/ 581358 w 604901"/>
              <a:gd name="connsiteY66" fmla="*/ 389597 h 610786"/>
              <a:gd name="connsiteX67" fmla="*/ 588573 w 604901"/>
              <a:gd name="connsiteY67" fmla="*/ 385610 h 610786"/>
              <a:gd name="connsiteX68" fmla="*/ 592560 w 604901"/>
              <a:gd name="connsiteY68" fmla="*/ 392825 h 610786"/>
              <a:gd name="connsiteX69" fmla="*/ 575662 w 604901"/>
              <a:gd name="connsiteY69" fmla="*/ 437063 h 610786"/>
              <a:gd name="connsiteX70" fmla="*/ 570346 w 604901"/>
              <a:gd name="connsiteY70" fmla="*/ 440290 h 610786"/>
              <a:gd name="connsiteX71" fmla="*/ 570346 w 604901"/>
              <a:gd name="connsiteY71" fmla="*/ 440290 h 610786"/>
              <a:gd name="connsiteX72" fmla="*/ 23923 w 604901"/>
              <a:gd name="connsiteY72" fmla="*/ 414279 h 610786"/>
              <a:gd name="connsiteX73" fmla="*/ 18417 w 604901"/>
              <a:gd name="connsiteY73" fmla="*/ 410482 h 610786"/>
              <a:gd name="connsiteX74" fmla="*/ 5696 w 604901"/>
              <a:gd name="connsiteY74" fmla="*/ 364725 h 610786"/>
              <a:gd name="connsiteX75" fmla="*/ 10253 w 604901"/>
              <a:gd name="connsiteY75" fmla="*/ 357890 h 610786"/>
              <a:gd name="connsiteX76" fmla="*/ 17088 w 604901"/>
              <a:gd name="connsiteY76" fmla="*/ 362447 h 610786"/>
              <a:gd name="connsiteX77" fmla="*/ 29239 w 604901"/>
              <a:gd name="connsiteY77" fmla="*/ 406305 h 610786"/>
              <a:gd name="connsiteX78" fmla="*/ 25631 w 604901"/>
              <a:gd name="connsiteY78" fmla="*/ 413710 h 610786"/>
              <a:gd name="connsiteX79" fmla="*/ 23733 w 604901"/>
              <a:gd name="connsiteY79" fmla="*/ 414089 h 610786"/>
              <a:gd name="connsiteX80" fmla="*/ 23733 w 604901"/>
              <a:gd name="connsiteY80" fmla="*/ 414089 h 610786"/>
              <a:gd name="connsiteX81" fmla="*/ 596547 w 604901"/>
              <a:gd name="connsiteY81" fmla="*/ 351435 h 610786"/>
              <a:gd name="connsiteX82" fmla="*/ 595788 w 604901"/>
              <a:gd name="connsiteY82" fmla="*/ 351435 h 610786"/>
              <a:gd name="connsiteX83" fmla="*/ 590851 w 604901"/>
              <a:gd name="connsiteY83" fmla="*/ 344980 h 610786"/>
              <a:gd name="connsiteX84" fmla="*/ 593319 w 604901"/>
              <a:gd name="connsiteY84" fmla="*/ 305298 h 610786"/>
              <a:gd name="connsiteX85" fmla="*/ 593319 w 604901"/>
              <a:gd name="connsiteY85" fmla="*/ 299413 h 610786"/>
              <a:gd name="connsiteX86" fmla="*/ 599015 w 604901"/>
              <a:gd name="connsiteY86" fmla="*/ 293527 h 610786"/>
              <a:gd name="connsiteX87" fmla="*/ 604901 w 604901"/>
              <a:gd name="connsiteY87" fmla="*/ 299223 h 610786"/>
              <a:gd name="connsiteX88" fmla="*/ 604901 w 604901"/>
              <a:gd name="connsiteY88" fmla="*/ 305298 h 610786"/>
              <a:gd name="connsiteX89" fmla="*/ 602243 w 604901"/>
              <a:gd name="connsiteY89" fmla="*/ 346499 h 610786"/>
              <a:gd name="connsiteX90" fmla="*/ 596357 w 604901"/>
              <a:gd name="connsiteY90" fmla="*/ 351625 h 610786"/>
              <a:gd name="connsiteX91" fmla="*/ 596357 w 604901"/>
              <a:gd name="connsiteY91" fmla="*/ 351625 h 610786"/>
              <a:gd name="connsiteX92" fmla="*/ 6076 w 604901"/>
              <a:gd name="connsiteY92" fmla="*/ 323145 h 610786"/>
              <a:gd name="connsiteX93" fmla="*/ 190 w 604901"/>
              <a:gd name="connsiteY93" fmla="*/ 317639 h 610786"/>
              <a:gd name="connsiteX94" fmla="*/ 0 w 604901"/>
              <a:gd name="connsiteY94" fmla="*/ 305298 h 610786"/>
              <a:gd name="connsiteX95" fmla="*/ 3607 w 604901"/>
              <a:gd name="connsiteY95" fmla="*/ 258023 h 610786"/>
              <a:gd name="connsiteX96" fmla="*/ 10253 w 604901"/>
              <a:gd name="connsiteY96" fmla="*/ 253276 h 610786"/>
              <a:gd name="connsiteX97" fmla="*/ 14999 w 604901"/>
              <a:gd name="connsiteY97" fmla="*/ 259921 h 610786"/>
              <a:gd name="connsiteX98" fmla="*/ 11582 w 604901"/>
              <a:gd name="connsiteY98" fmla="*/ 305298 h 610786"/>
              <a:gd name="connsiteX99" fmla="*/ 11771 w 604901"/>
              <a:gd name="connsiteY99" fmla="*/ 317260 h 610786"/>
              <a:gd name="connsiteX100" fmla="*/ 6265 w 604901"/>
              <a:gd name="connsiteY100" fmla="*/ 323335 h 610786"/>
              <a:gd name="connsiteX101" fmla="*/ 6076 w 604901"/>
              <a:gd name="connsiteY101" fmla="*/ 323335 h 610786"/>
              <a:gd name="connsiteX102" fmla="*/ 594648 w 604901"/>
              <a:gd name="connsiteY102" fmla="*/ 258592 h 610786"/>
              <a:gd name="connsiteX103" fmla="*/ 588953 w 604901"/>
              <a:gd name="connsiteY103" fmla="*/ 253846 h 610786"/>
              <a:gd name="connsiteX104" fmla="*/ 577751 w 604901"/>
              <a:gd name="connsiteY104" fmla="*/ 209608 h 610786"/>
              <a:gd name="connsiteX105" fmla="*/ 581358 w 604901"/>
              <a:gd name="connsiteY105" fmla="*/ 202203 h 610786"/>
              <a:gd name="connsiteX106" fmla="*/ 588763 w 604901"/>
              <a:gd name="connsiteY106" fmla="*/ 205811 h 610786"/>
              <a:gd name="connsiteX107" fmla="*/ 600534 w 604901"/>
              <a:gd name="connsiteY107" fmla="*/ 251757 h 610786"/>
              <a:gd name="connsiteX108" fmla="*/ 595788 w 604901"/>
              <a:gd name="connsiteY108" fmla="*/ 258402 h 610786"/>
              <a:gd name="connsiteX109" fmla="*/ 594459 w 604901"/>
              <a:gd name="connsiteY109" fmla="*/ 258402 h 610786"/>
              <a:gd name="connsiteX110" fmla="*/ 19935 w 604901"/>
              <a:gd name="connsiteY110" fmla="*/ 219481 h 610786"/>
              <a:gd name="connsiteX111" fmla="*/ 18227 w 604901"/>
              <a:gd name="connsiteY111" fmla="*/ 219101 h 610786"/>
              <a:gd name="connsiteX112" fmla="*/ 14430 w 604901"/>
              <a:gd name="connsiteY112" fmla="*/ 211886 h 610786"/>
              <a:gd name="connsiteX113" fmla="*/ 32277 w 604901"/>
              <a:gd name="connsiteY113" fmla="*/ 168028 h 610786"/>
              <a:gd name="connsiteX114" fmla="*/ 40061 w 604901"/>
              <a:gd name="connsiteY114" fmla="*/ 165560 h 610786"/>
              <a:gd name="connsiteX115" fmla="*/ 42529 w 604901"/>
              <a:gd name="connsiteY115" fmla="*/ 173344 h 610786"/>
              <a:gd name="connsiteX116" fmla="*/ 25252 w 604901"/>
              <a:gd name="connsiteY116" fmla="*/ 215683 h 610786"/>
              <a:gd name="connsiteX117" fmla="*/ 19746 w 604901"/>
              <a:gd name="connsiteY117" fmla="*/ 219860 h 610786"/>
              <a:gd name="connsiteX118" fmla="*/ 19746 w 604901"/>
              <a:gd name="connsiteY118" fmla="*/ 219860 h 610786"/>
              <a:gd name="connsiteX119" fmla="*/ 564840 w 604901"/>
              <a:gd name="connsiteY119" fmla="*/ 171066 h 610786"/>
              <a:gd name="connsiteX120" fmla="*/ 559714 w 604901"/>
              <a:gd name="connsiteY120" fmla="*/ 168028 h 610786"/>
              <a:gd name="connsiteX121" fmla="*/ 535411 w 604901"/>
              <a:gd name="connsiteY121" fmla="*/ 129486 h 610786"/>
              <a:gd name="connsiteX122" fmla="*/ 536551 w 604901"/>
              <a:gd name="connsiteY122" fmla="*/ 121322 h 610786"/>
              <a:gd name="connsiteX123" fmla="*/ 544715 w 604901"/>
              <a:gd name="connsiteY123" fmla="*/ 122651 h 610786"/>
              <a:gd name="connsiteX124" fmla="*/ 569776 w 604901"/>
              <a:gd name="connsiteY124" fmla="*/ 162712 h 610786"/>
              <a:gd name="connsiteX125" fmla="*/ 567308 w 604901"/>
              <a:gd name="connsiteY125" fmla="*/ 170496 h 610786"/>
              <a:gd name="connsiteX126" fmla="*/ 564650 w 604901"/>
              <a:gd name="connsiteY126" fmla="*/ 171256 h 610786"/>
              <a:gd name="connsiteX127" fmla="*/ 564650 w 604901"/>
              <a:gd name="connsiteY127" fmla="*/ 171256 h 610786"/>
              <a:gd name="connsiteX128" fmla="*/ 61325 w 604901"/>
              <a:gd name="connsiteY128" fmla="*/ 136511 h 610786"/>
              <a:gd name="connsiteX129" fmla="*/ 57908 w 604901"/>
              <a:gd name="connsiteY129" fmla="*/ 135372 h 610786"/>
              <a:gd name="connsiteX130" fmla="*/ 56579 w 604901"/>
              <a:gd name="connsiteY130" fmla="*/ 127208 h 610786"/>
              <a:gd name="connsiteX131" fmla="*/ 86957 w 604901"/>
              <a:gd name="connsiteY131" fmla="*/ 90944 h 610786"/>
              <a:gd name="connsiteX132" fmla="*/ 95121 w 604901"/>
              <a:gd name="connsiteY132" fmla="*/ 90944 h 610786"/>
              <a:gd name="connsiteX133" fmla="*/ 95121 w 604901"/>
              <a:gd name="connsiteY133" fmla="*/ 99108 h 610786"/>
              <a:gd name="connsiteX134" fmla="*/ 65882 w 604901"/>
              <a:gd name="connsiteY134" fmla="*/ 134232 h 610786"/>
              <a:gd name="connsiteX135" fmla="*/ 61136 w 604901"/>
              <a:gd name="connsiteY135" fmla="*/ 136701 h 610786"/>
              <a:gd name="connsiteX136" fmla="*/ 61136 w 604901"/>
              <a:gd name="connsiteY136" fmla="*/ 136701 h 610786"/>
              <a:gd name="connsiteX137" fmla="*/ 509590 w 604901"/>
              <a:gd name="connsiteY137" fmla="*/ 96640 h 610786"/>
              <a:gd name="connsiteX138" fmla="*/ 505413 w 604901"/>
              <a:gd name="connsiteY138" fmla="*/ 94931 h 610786"/>
              <a:gd name="connsiteX139" fmla="*/ 470668 w 604901"/>
              <a:gd name="connsiteY139" fmla="*/ 65502 h 610786"/>
              <a:gd name="connsiteX140" fmla="*/ 469339 w 604901"/>
              <a:gd name="connsiteY140" fmla="*/ 57338 h 610786"/>
              <a:gd name="connsiteX141" fmla="*/ 477503 w 604901"/>
              <a:gd name="connsiteY141" fmla="*/ 56009 h 610786"/>
              <a:gd name="connsiteX142" fmla="*/ 513767 w 604901"/>
              <a:gd name="connsiteY142" fmla="*/ 86577 h 610786"/>
              <a:gd name="connsiteX143" fmla="*/ 513767 w 604901"/>
              <a:gd name="connsiteY143" fmla="*/ 94741 h 610786"/>
              <a:gd name="connsiteX144" fmla="*/ 509590 w 604901"/>
              <a:gd name="connsiteY144" fmla="*/ 96450 h 610786"/>
              <a:gd name="connsiteX145" fmla="*/ 509590 w 604901"/>
              <a:gd name="connsiteY145" fmla="*/ 96450 h 610786"/>
              <a:gd name="connsiteX146" fmla="*/ 126069 w 604901"/>
              <a:gd name="connsiteY146" fmla="*/ 70249 h 610786"/>
              <a:gd name="connsiteX147" fmla="*/ 121322 w 604901"/>
              <a:gd name="connsiteY147" fmla="*/ 67971 h 610786"/>
              <a:gd name="connsiteX148" fmla="*/ 122461 w 604901"/>
              <a:gd name="connsiteY148" fmla="*/ 59806 h 610786"/>
              <a:gd name="connsiteX149" fmla="*/ 162522 w 604901"/>
              <a:gd name="connsiteY149" fmla="*/ 34555 h 610786"/>
              <a:gd name="connsiteX150" fmla="*/ 170306 w 604901"/>
              <a:gd name="connsiteY150" fmla="*/ 37023 h 610786"/>
              <a:gd name="connsiteX151" fmla="*/ 167838 w 604901"/>
              <a:gd name="connsiteY151" fmla="*/ 44807 h 610786"/>
              <a:gd name="connsiteX152" fmla="*/ 129296 w 604901"/>
              <a:gd name="connsiteY152" fmla="*/ 69300 h 610786"/>
              <a:gd name="connsiteX153" fmla="*/ 125689 w 604901"/>
              <a:gd name="connsiteY153" fmla="*/ 70439 h 610786"/>
              <a:gd name="connsiteX154" fmla="*/ 125689 w 604901"/>
              <a:gd name="connsiteY154" fmla="*/ 70439 h 610786"/>
              <a:gd name="connsiteX155" fmla="*/ 434215 w 604901"/>
              <a:gd name="connsiteY155" fmla="*/ 42719 h 610786"/>
              <a:gd name="connsiteX156" fmla="*/ 431747 w 604901"/>
              <a:gd name="connsiteY156" fmla="*/ 42149 h 610786"/>
              <a:gd name="connsiteX157" fmla="*/ 389597 w 604901"/>
              <a:gd name="connsiteY157" fmla="*/ 24872 h 610786"/>
              <a:gd name="connsiteX158" fmla="*/ 385800 w 604901"/>
              <a:gd name="connsiteY158" fmla="*/ 17657 h 610786"/>
              <a:gd name="connsiteX159" fmla="*/ 393015 w 604901"/>
              <a:gd name="connsiteY159" fmla="*/ 13860 h 610786"/>
              <a:gd name="connsiteX160" fmla="*/ 436873 w 604901"/>
              <a:gd name="connsiteY160" fmla="*/ 31707 h 610786"/>
              <a:gd name="connsiteX161" fmla="*/ 439341 w 604901"/>
              <a:gd name="connsiteY161" fmla="*/ 39491 h 610786"/>
              <a:gd name="connsiteX162" fmla="*/ 434025 w 604901"/>
              <a:gd name="connsiteY162" fmla="*/ 42719 h 610786"/>
              <a:gd name="connsiteX163" fmla="*/ 434025 w 604901"/>
              <a:gd name="connsiteY163" fmla="*/ 42719 h 610786"/>
              <a:gd name="connsiteX164" fmla="*/ 208089 w 604901"/>
              <a:gd name="connsiteY164" fmla="*/ 27150 h 610786"/>
              <a:gd name="connsiteX165" fmla="*/ 202583 w 604901"/>
              <a:gd name="connsiteY165" fmla="*/ 23163 h 610786"/>
              <a:gd name="connsiteX166" fmla="*/ 206190 w 604901"/>
              <a:gd name="connsiteY166" fmla="*/ 15759 h 610786"/>
              <a:gd name="connsiteX167" fmla="*/ 252137 w 604901"/>
              <a:gd name="connsiteY167" fmla="*/ 4177 h 610786"/>
              <a:gd name="connsiteX168" fmla="*/ 258782 w 604901"/>
              <a:gd name="connsiteY168" fmla="*/ 8924 h 610786"/>
              <a:gd name="connsiteX169" fmla="*/ 254036 w 604901"/>
              <a:gd name="connsiteY169" fmla="*/ 15569 h 610786"/>
              <a:gd name="connsiteX170" fmla="*/ 209798 w 604901"/>
              <a:gd name="connsiteY170" fmla="*/ 26581 h 610786"/>
              <a:gd name="connsiteX171" fmla="*/ 207899 w 604901"/>
              <a:gd name="connsiteY171" fmla="*/ 26960 h 610786"/>
              <a:gd name="connsiteX172" fmla="*/ 207899 w 604901"/>
              <a:gd name="connsiteY172" fmla="*/ 26960 h 610786"/>
              <a:gd name="connsiteX173" fmla="*/ 345929 w 604901"/>
              <a:gd name="connsiteY173" fmla="*/ 14809 h 610786"/>
              <a:gd name="connsiteX174" fmla="*/ 345169 w 604901"/>
              <a:gd name="connsiteY174" fmla="*/ 14809 h 610786"/>
              <a:gd name="connsiteX175" fmla="*/ 302640 w 604901"/>
              <a:gd name="connsiteY175" fmla="*/ 11771 h 610786"/>
              <a:gd name="connsiteX176" fmla="*/ 299603 w 604901"/>
              <a:gd name="connsiteY176" fmla="*/ 11771 h 610786"/>
              <a:gd name="connsiteX177" fmla="*/ 293717 w 604901"/>
              <a:gd name="connsiteY177" fmla="*/ 5886 h 610786"/>
              <a:gd name="connsiteX178" fmla="*/ 299603 w 604901"/>
              <a:gd name="connsiteY178" fmla="*/ 0 h 610786"/>
              <a:gd name="connsiteX179" fmla="*/ 302640 w 604901"/>
              <a:gd name="connsiteY179" fmla="*/ 0 h 610786"/>
              <a:gd name="connsiteX180" fmla="*/ 346878 w 604901"/>
              <a:gd name="connsiteY180" fmla="*/ 3228 h 610786"/>
              <a:gd name="connsiteX181" fmla="*/ 351815 w 604901"/>
              <a:gd name="connsiteY181" fmla="*/ 9873 h 610786"/>
              <a:gd name="connsiteX182" fmla="*/ 346119 w 604901"/>
              <a:gd name="connsiteY182" fmla="*/ 14809 h 610786"/>
              <a:gd name="connsiteX183" fmla="*/ 345929 w 604901"/>
              <a:gd name="connsiteY183" fmla="*/ 14809 h 610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604901" h="610786">
                <a:moveTo>
                  <a:pt x="302450" y="610787"/>
                </a:moveTo>
                <a:cubicBezTo>
                  <a:pt x="289730" y="610787"/>
                  <a:pt x="276819" y="610027"/>
                  <a:pt x="264288" y="608318"/>
                </a:cubicBezTo>
                <a:cubicBezTo>
                  <a:pt x="261250" y="607939"/>
                  <a:pt x="258972" y="605091"/>
                  <a:pt x="259352" y="601863"/>
                </a:cubicBezTo>
                <a:cubicBezTo>
                  <a:pt x="259731" y="598825"/>
                  <a:pt x="262769" y="596547"/>
                  <a:pt x="265807" y="596927"/>
                </a:cubicBezTo>
                <a:cubicBezTo>
                  <a:pt x="280806" y="598825"/>
                  <a:pt x="296185" y="599395"/>
                  <a:pt x="311374" y="599015"/>
                </a:cubicBezTo>
                <a:cubicBezTo>
                  <a:pt x="314412" y="599015"/>
                  <a:pt x="317260" y="601483"/>
                  <a:pt x="317260" y="604711"/>
                </a:cubicBezTo>
                <a:cubicBezTo>
                  <a:pt x="317260" y="607939"/>
                  <a:pt x="314792" y="610597"/>
                  <a:pt x="311564" y="610597"/>
                </a:cubicBezTo>
                <a:cubicBezTo>
                  <a:pt x="308526" y="610597"/>
                  <a:pt x="305488" y="610597"/>
                  <a:pt x="302261" y="610597"/>
                </a:cubicBezTo>
                <a:lnTo>
                  <a:pt x="302261" y="610597"/>
                </a:lnTo>
                <a:close/>
                <a:moveTo>
                  <a:pt x="357700" y="605471"/>
                </a:moveTo>
                <a:cubicBezTo>
                  <a:pt x="355042" y="605471"/>
                  <a:pt x="352574" y="603572"/>
                  <a:pt x="352004" y="600724"/>
                </a:cubicBezTo>
                <a:cubicBezTo>
                  <a:pt x="351435" y="597686"/>
                  <a:pt x="353334" y="594459"/>
                  <a:pt x="356751" y="593889"/>
                </a:cubicBezTo>
                <a:cubicBezTo>
                  <a:pt x="371750" y="591041"/>
                  <a:pt x="386370" y="586864"/>
                  <a:pt x="400609" y="581738"/>
                </a:cubicBezTo>
                <a:cubicBezTo>
                  <a:pt x="403647" y="580599"/>
                  <a:pt x="407065" y="582117"/>
                  <a:pt x="408014" y="585345"/>
                </a:cubicBezTo>
                <a:cubicBezTo>
                  <a:pt x="409153" y="588383"/>
                  <a:pt x="407634" y="591801"/>
                  <a:pt x="404407" y="592750"/>
                </a:cubicBezTo>
                <a:cubicBezTo>
                  <a:pt x="389597" y="598066"/>
                  <a:pt x="374218" y="602433"/>
                  <a:pt x="358650" y="605281"/>
                </a:cubicBezTo>
                <a:lnTo>
                  <a:pt x="357511" y="605281"/>
                </a:lnTo>
                <a:lnTo>
                  <a:pt x="357511" y="605281"/>
                </a:lnTo>
                <a:close/>
                <a:moveTo>
                  <a:pt x="219670" y="598825"/>
                </a:moveTo>
                <a:cubicBezTo>
                  <a:pt x="219670" y="598825"/>
                  <a:pt x="218531" y="598825"/>
                  <a:pt x="217962" y="598446"/>
                </a:cubicBezTo>
                <a:cubicBezTo>
                  <a:pt x="202773" y="594079"/>
                  <a:pt x="187963" y="588383"/>
                  <a:pt x="173724" y="581548"/>
                </a:cubicBezTo>
                <a:cubicBezTo>
                  <a:pt x="170876" y="580219"/>
                  <a:pt x="169547" y="576801"/>
                  <a:pt x="171066" y="573764"/>
                </a:cubicBezTo>
                <a:cubicBezTo>
                  <a:pt x="172395" y="570916"/>
                  <a:pt x="175812" y="569587"/>
                  <a:pt x="178850" y="571106"/>
                </a:cubicBezTo>
                <a:cubicBezTo>
                  <a:pt x="192710" y="577561"/>
                  <a:pt x="206760" y="583257"/>
                  <a:pt x="221379" y="587433"/>
                </a:cubicBezTo>
                <a:cubicBezTo>
                  <a:pt x="224417" y="588193"/>
                  <a:pt x="226126" y="591610"/>
                  <a:pt x="225366" y="594648"/>
                </a:cubicBezTo>
                <a:cubicBezTo>
                  <a:pt x="224607" y="597117"/>
                  <a:pt x="222328" y="598825"/>
                  <a:pt x="219860" y="598825"/>
                </a:cubicBezTo>
                <a:lnTo>
                  <a:pt x="219860" y="598825"/>
                </a:lnTo>
                <a:close/>
                <a:moveTo>
                  <a:pt x="445037" y="573953"/>
                </a:moveTo>
                <a:cubicBezTo>
                  <a:pt x="443138" y="573953"/>
                  <a:pt x="441050" y="572814"/>
                  <a:pt x="439911" y="570916"/>
                </a:cubicBezTo>
                <a:cubicBezTo>
                  <a:pt x="438392" y="568068"/>
                  <a:pt x="439341" y="564460"/>
                  <a:pt x="442189" y="562941"/>
                </a:cubicBezTo>
                <a:cubicBezTo>
                  <a:pt x="455480" y="555537"/>
                  <a:pt x="468200" y="547183"/>
                  <a:pt x="480351" y="537880"/>
                </a:cubicBezTo>
                <a:cubicBezTo>
                  <a:pt x="482819" y="535981"/>
                  <a:pt x="486617" y="536361"/>
                  <a:pt x="488515" y="538829"/>
                </a:cubicBezTo>
                <a:cubicBezTo>
                  <a:pt x="490414" y="541297"/>
                  <a:pt x="490034" y="545094"/>
                  <a:pt x="487566" y="546993"/>
                </a:cubicBezTo>
                <a:cubicBezTo>
                  <a:pt x="475035" y="556676"/>
                  <a:pt x="461935" y="565410"/>
                  <a:pt x="448075" y="573194"/>
                </a:cubicBezTo>
                <a:cubicBezTo>
                  <a:pt x="447315" y="573574"/>
                  <a:pt x="446176" y="573953"/>
                  <a:pt x="445227" y="573953"/>
                </a:cubicBezTo>
                <a:lnTo>
                  <a:pt x="445227" y="573953"/>
                </a:lnTo>
                <a:close/>
                <a:moveTo>
                  <a:pt x="135941" y="558954"/>
                </a:moveTo>
                <a:cubicBezTo>
                  <a:pt x="134802" y="558954"/>
                  <a:pt x="133663" y="558764"/>
                  <a:pt x="132714" y="558005"/>
                </a:cubicBezTo>
                <a:cubicBezTo>
                  <a:pt x="119803" y="549082"/>
                  <a:pt x="107272" y="539209"/>
                  <a:pt x="95880" y="528197"/>
                </a:cubicBezTo>
                <a:cubicBezTo>
                  <a:pt x="93602" y="525918"/>
                  <a:pt x="93412" y="522311"/>
                  <a:pt x="95690" y="520033"/>
                </a:cubicBezTo>
                <a:cubicBezTo>
                  <a:pt x="97969" y="517754"/>
                  <a:pt x="101576" y="517564"/>
                  <a:pt x="103855" y="519843"/>
                </a:cubicBezTo>
                <a:cubicBezTo>
                  <a:pt x="114867" y="530285"/>
                  <a:pt x="126828" y="539778"/>
                  <a:pt x="139359" y="548512"/>
                </a:cubicBezTo>
                <a:cubicBezTo>
                  <a:pt x="142017" y="550410"/>
                  <a:pt x="142586" y="553828"/>
                  <a:pt x="140878" y="556676"/>
                </a:cubicBezTo>
                <a:cubicBezTo>
                  <a:pt x="139739" y="558385"/>
                  <a:pt x="137840" y="559144"/>
                  <a:pt x="136131" y="559144"/>
                </a:cubicBezTo>
                <a:lnTo>
                  <a:pt x="136131" y="559144"/>
                </a:lnTo>
                <a:close/>
                <a:moveTo>
                  <a:pt x="518134" y="516995"/>
                </a:moveTo>
                <a:cubicBezTo>
                  <a:pt x="516805" y="516995"/>
                  <a:pt x="515286" y="516425"/>
                  <a:pt x="514147" y="515476"/>
                </a:cubicBezTo>
                <a:cubicBezTo>
                  <a:pt x="511679" y="513387"/>
                  <a:pt x="511679" y="509590"/>
                  <a:pt x="513957" y="507312"/>
                </a:cubicBezTo>
                <a:cubicBezTo>
                  <a:pt x="524399" y="496300"/>
                  <a:pt x="533892" y="484338"/>
                  <a:pt x="542436" y="471618"/>
                </a:cubicBezTo>
                <a:cubicBezTo>
                  <a:pt x="544335" y="468960"/>
                  <a:pt x="547753" y="468200"/>
                  <a:pt x="550600" y="470099"/>
                </a:cubicBezTo>
                <a:cubicBezTo>
                  <a:pt x="553259" y="471998"/>
                  <a:pt x="554018" y="475415"/>
                  <a:pt x="552119" y="478263"/>
                </a:cubicBezTo>
                <a:cubicBezTo>
                  <a:pt x="543196" y="491363"/>
                  <a:pt x="533133" y="503894"/>
                  <a:pt x="522501" y="515286"/>
                </a:cubicBezTo>
                <a:cubicBezTo>
                  <a:pt x="521361" y="516615"/>
                  <a:pt x="519843" y="517185"/>
                  <a:pt x="518324" y="517185"/>
                </a:cubicBezTo>
                <a:lnTo>
                  <a:pt x="518324" y="517185"/>
                </a:lnTo>
                <a:close/>
                <a:moveTo>
                  <a:pt x="68540" y="495350"/>
                </a:moveTo>
                <a:cubicBezTo>
                  <a:pt x="66832" y="495350"/>
                  <a:pt x="65123" y="494591"/>
                  <a:pt x="63983" y="493072"/>
                </a:cubicBezTo>
                <a:cubicBezTo>
                  <a:pt x="54301" y="480541"/>
                  <a:pt x="45567" y="467251"/>
                  <a:pt x="37972" y="453391"/>
                </a:cubicBezTo>
                <a:cubicBezTo>
                  <a:pt x="36454" y="450543"/>
                  <a:pt x="37403" y="446936"/>
                  <a:pt x="40251" y="445417"/>
                </a:cubicBezTo>
                <a:cubicBezTo>
                  <a:pt x="43099" y="443898"/>
                  <a:pt x="46706" y="444847"/>
                  <a:pt x="48225" y="447695"/>
                </a:cubicBezTo>
                <a:cubicBezTo>
                  <a:pt x="55440" y="460985"/>
                  <a:pt x="63983" y="473896"/>
                  <a:pt x="73287" y="485668"/>
                </a:cubicBezTo>
                <a:cubicBezTo>
                  <a:pt x="75185" y="488136"/>
                  <a:pt x="74806" y="491933"/>
                  <a:pt x="72337" y="493832"/>
                </a:cubicBezTo>
                <a:cubicBezTo>
                  <a:pt x="71388" y="494591"/>
                  <a:pt x="70059" y="495161"/>
                  <a:pt x="68730" y="495161"/>
                </a:cubicBezTo>
                <a:lnTo>
                  <a:pt x="68730" y="495161"/>
                </a:lnTo>
                <a:close/>
                <a:moveTo>
                  <a:pt x="570156" y="440480"/>
                </a:moveTo>
                <a:cubicBezTo>
                  <a:pt x="570156" y="440480"/>
                  <a:pt x="568448" y="440480"/>
                  <a:pt x="567688" y="439911"/>
                </a:cubicBezTo>
                <a:cubicBezTo>
                  <a:pt x="564840" y="438582"/>
                  <a:pt x="563511" y="435164"/>
                  <a:pt x="565030" y="432126"/>
                </a:cubicBezTo>
                <a:cubicBezTo>
                  <a:pt x="571485" y="418266"/>
                  <a:pt x="576991" y="404217"/>
                  <a:pt x="581358" y="389597"/>
                </a:cubicBezTo>
                <a:cubicBezTo>
                  <a:pt x="582118" y="386560"/>
                  <a:pt x="585535" y="384851"/>
                  <a:pt x="588573" y="385610"/>
                </a:cubicBezTo>
                <a:cubicBezTo>
                  <a:pt x="591611" y="386369"/>
                  <a:pt x="593319" y="389787"/>
                  <a:pt x="592560" y="392825"/>
                </a:cubicBezTo>
                <a:cubicBezTo>
                  <a:pt x="588193" y="408014"/>
                  <a:pt x="582307" y="423013"/>
                  <a:pt x="575662" y="437063"/>
                </a:cubicBezTo>
                <a:cubicBezTo>
                  <a:pt x="574713" y="439151"/>
                  <a:pt x="572625" y="440290"/>
                  <a:pt x="570346" y="440290"/>
                </a:cubicBezTo>
                <a:lnTo>
                  <a:pt x="570346" y="440290"/>
                </a:lnTo>
                <a:close/>
                <a:moveTo>
                  <a:pt x="23923" y="414279"/>
                </a:moveTo>
                <a:cubicBezTo>
                  <a:pt x="21454" y="414279"/>
                  <a:pt x="19366" y="412950"/>
                  <a:pt x="18417" y="410482"/>
                </a:cubicBezTo>
                <a:cubicBezTo>
                  <a:pt x="13101" y="395673"/>
                  <a:pt x="8734" y="380294"/>
                  <a:pt x="5696" y="364725"/>
                </a:cubicBezTo>
                <a:cubicBezTo>
                  <a:pt x="5126" y="361687"/>
                  <a:pt x="7025" y="358460"/>
                  <a:pt x="10253" y="357890"/>
                </a:cubicBezTo>
                <a:cubicBezTo>
                  <a:pt x="13290" y="357321"/>
                  <a:pt x="16518" y="359219"/>
                  <a:pt x="17088" y="362447"/>
                </a:cubicBezTo>
                <a:cubicBezTo>
                  <a:pt x="19935" y="377446"/>
                  <a:pt x="24112" y="392065"/>
                  <a:pt x="29239" y="406305"/>
                </a:cubicBezTo>
                <a:cubicBezTo>
                  <a:pt x="30378" y="409343"/>
                  <a:pt x="28859" y="412760"/>
                  <a:pt x="25631" y="413710"/>
                </a:cubicBezTo>
                <a:cubicBezTo>
                  <a:pt x="24872" y="414089"/>
                  <a:pt x="24302" y="414089"/>
                  <a:pt x="23733" y="414089"/>
                </a:cubicBezTo>
                <a:lnTo>
                  <a:pt x="23733" y="414089"/>
                </a:lnTo>
                <a:close/>
                <a:moveTo>
                  <a:pt x="596547" y="351435"/>
                </a:moveTo>
                <a:lnTo>
                  <a:pt x="595788" y="351435"/>
                </a:lnTo>
                <a:cubicBezTo>
                  <a:pt x="592750" y="351055"/>
                  <a:pt x="590472" y="348017"/>
                  <a:pt x="590851" y="344980"/>
                </a:cubicBezTo>
                <a:cubicBezTo>
                  <a:pt x="592560" y="331879"/>
                  <a:pt x="593319" y="318779"/>
                  <a:pt x="593319" y="305298"/>
                </a:cubicBezTo>
                <a:lnTo>
                  <a:pt x="593319" y="299413"/>
                </a:lnTo>
                <a:cubicBezTo>
                  <a:pt x="593319" y="296185"/>
                  <a:pt x="595788" y="293527"/>
                  <a:pt x="599015" y="293527"/>
                </a:cubicBezTo>
                <a:cubicBezTo>
                  <a:pt x="602053" y="293527"/>
                  <a:pt x="604901" y="295995"/>
                  <a:pt x="604901" y="299223"/>
                </a:cubicBezTo>
                <a:lnTo>
                  <a:pt x="604901" y="305298"/>
                </a:lnTo>
                <a:cubicBezTo>
                  <a:pt x="604901" y="319158"/>
                  <a:pt x="604141" y="332828"/>
                  <a:pt x="602243" y="346499"/>
                </a:cubicBezTo>
                <a:cubicBezTo>
                  <a:pt x="601863" y="349536"/>
                  <a:pt x="599395" y="351625"/>
                  <a:pt x="596357" y="351625"/>
                </a:cubicBezTo>
                <a:lnTo>
                  <a:pt x="596357" y="351625"/>
                </a:lnTo>
                <a:close/>
                <a:moveTo>
                  <a:pt x="6076" y="323145"/>
                </a:moveTo>
                <a:cubicBezTo>
                  <a:pt x="3038" y="323145"/>
                  <a:pt x="380" y="320677"/>
                  <a:pt x="190" y="317639"/>
                </a:cubicBezTo>
                <a:cubicBezTo>
                  <a:pt x="190" y="313462"/>
                  <a:pt x="0" y="309475"/>
                  <a:pt x="0" y="305298"/>
                </a:cubicBezTo>
                <a:cubicBezTo>
                  <a:pt x="0" y="289540"/>
                  <a:pt x="1329" y="273591"/>
                  <a:pt x="3607" y="258023"/>
                </a:cubicBezTo>
                <a:cubicBezTo>
                  <a:pt x="3987" y="254985"/>
                  <a:pt x="7025" y="252707"/>
                  <a:pt x="10253" y="253276"/>
                </a:cubicBezTo>
                <a:cubicBezTo>
                  <a:pt x="13290" y="253656"/>
                  <a:pt x="15569" y="256694"/>
                  <a:pt x="14999" y="259921"/>
                </a:cubicBezTo>
                <a:cubicBezTo>
                  <a:pt x="12721" y="274920"/>
                  <a:pt x="11582" y="290109"/>
                  <a:pt x="11582" y="305298"/>
                </a:cubicBezTo>
                <a:cubicBezTo>
                  <a:pt x="11582" y="309285"/>
                  <a:pt x="11582" y="313273"/>
                  <a:pt x="11771" y="317260"/>
                </a:cubicBezTo>
                <a:cubicBezTo>
                  <a:pt x="11771" y="320487"/>
                  <a:pt x="9303" y="323145"/>
                  <a:pt x="6265" y="323335"/>
                </a:cubicBezTo>
                <a:lnTo>
                  <a:pt x="6076" y="323335"/>
                </a:lnTo>
                <a:close/>
                <a:moveTo>
                  <a:pt x="594648" y="258592"/>
                </a:moveTo>
                <a:cubicBezTo>
                  <a:pt x="591801" y="258592"/>
                  <a:pt x="589332" y="256694"/>
                  <a:pt x="588953" y="253846"/>
                </a:cubicBezTo>
                <a:cubicBezTo>
                  <a:pt x="586484" y="238847"/>
                  <a:pt x="582497" y="224037"/>
                  <a:pt x="577751" y="209608"/>
                </a:cubicBezTo>
                <a:cubicBezTo>
                  <a:pt x="576802" y="206570"/>
                  <a:pt x="578320" y="203153"/>
                  <a:pt x="581358" y="202203"/>
                </a:cubicBezTo>
                <a:cubicBezTo>
                  <a:pt x="584396" y="201254"/>
                  <a:pt x="587813" y="202773"/>
                  <a:pt x="588763" y="205811"/>
                </a:cubicBezTo>
                <a:cubicBezTo>
                  <a:pt x="593889" y="220810"/>
                  <a:pt x="597686" y="236188"/>
                  <a:pt x="600534" y="251757"/>
                </a:cubicBezTo>
                <a:cubicBezTo>
                  <a:pt x="601104" y="254795"/>
                  <a:pt x="599015" y="258023"/>
                  <a:pt x="595788" y="258402"/>
                </a:cubicBezTo>
                <a:lnTo>
                  <a:pt x="594459" y="258402"/>
                </a:lnTo>
                <a:close/>
                <a:moveTo>
                  <a:pt x="19935" y="219481"/>
                </a:moveTo>
                <a:cubicBezTo>
                  <a:pt x="19935" y="219481"/>
                  <a:pt x="18796" y="219481"/>
                  <a:pt x="18227" y="219101"/>
                </a:cubicBezTo>
                <a:cubicBezTo>
                  <a:pt x="15189" y="218152"/>
                  <a:pt x="13480" y="214924"/>
                  <a:pt x="14430" y="211886"/>
                </a:cubicBezTo>
                <a:cubicBezTo>
                  <a:pt x="19176" y="196887"/>
                  <a:pt x="25252" y="182078"/>
                  <a:pt x="32277" y="168028"/>
                </a:cubicBezTo>
                <a:cubicBezTo>
                  <a:pt x="33606" y="165180"/>
                  <a:pt x="37213" y="164041"/>
                  <a:pt x="40061" y="165560"/>
                </a:cubicBezTo>
                <a:cubicBezTo>
                  <a:pt x="42909" y="166889"/>
                  <a:pt x="44048" y="170496"/>
                  <a:pt x="42529" y="173344"/>
                </a:cubicBezTo>
                <a:cubicBezTo>
                  <a:pt x="35694" y="187014"/>
                  <a:pt x="29998" y="201254"/>
                  <a:pt x="25252" y="215683"/>
                </a:cubicBezTo>
                <a:cubicBezTo>
                  <a:pt x="24492" y="218152"/>
                  <a:pt x="22214" y="219860"/>
                  <a:pt x="19746" y="219860"/>
                </a:cubicBezTo>
                <a:lnTo>
                  <a:pt x="19746" y="219860"/>
                </a:lnTo>
                <a:close/>
                <a:moveTo>
                  <a:pt x="564840" y="171066"/>
                </a:moveTo>
                <a:cubicBezTo>
                  <a:pt x="562752" y="171066"/>
                  <a:pt x="560663" y="169927"/>
                  <a:pt x="559714" y="168028"/>
                </a:cubicBezTo>
                <a:cubicBezTo>
                  <a:pt x="552689" y="154738"/>
                  <a:pt x="544525" y="141637"/>
                  <a:pt x="535411" y="129486"/>
                </a:cubicBezTo>
                <a:cubicBezTo>
                  <a:pt x="533513" y="127018"/>
                  <a:pt x="534083" y="123220"/>
                  <a:pt x="536551" y="121322"/>
                </a:cubicBezTo>
                <a:cubicBezTo>
                  <a:pt x="539019" y="119423"/>
                  <a:pt x="542816" y="119993"/>
                  <a:pt x="544715" y="122651"/>
                </a:cubicBezTo>
                <a:cubicBezTo>
                  <a:pt x="554018" y="135372"/>
                  <a:pt x="562562" y="148852"/>
                  <a:pt x="569776" y="162712"/>
                </a:cubicBezTo>
                <a:cubicBezTo>
                  <a:pt x="571106" y="165560"/>
                  <a:pt x="570156" y="169167"/>
                  <a:pt x="567308" y="170496"/>
                </a:cubicBezTo>
                <a:cubicBezTo>
                  <a:pt x="566549" y="170876"/>
                  <a:pt x="565410" y="171256"/>
                  <a:pt x="564650" y="171256"/>
                </a:cubicBezTo>
                <a:lnTo>
                  <a:pt x="564650" y="171256"/>
                </a:lnTo>
                <a:close/>
                <a:moveTo>
                  <a:pt x="61325" y="136511"/>
                </a:moveTo>
                <a:cubicBezTo>
                  <a:pt x="60186" y="136511"/>
                  <a:pt x="58857" y="136321"/>
                  <a:pt x="57908" y="135372"/>
                </a:cubicBezTo>
                <a:cubicBezTo>
                  <a:pt x="55440" y="133473"/>
                  <a:pt x="54680" y="129866"/>
                  <a:pt x="56579" y="127208"/>
                </a:cubicBezTo>
                <a:cubicBezTo>
                  <a:pt x="65692" y="114297"/>
                  <a:pt x="75945" y="102146"/>
                  <a:pt x="86957" y="90944"/>
                </a:cubicBezTo>
                <a:cubicBezTo>
                  <a:pt x="89235" y="88666"/>
                  <a:pt x="92843" y="88666"/>
                  <a:pt x="95121" y="90944"/>
                </a:cubicBezTo>
                <a:cubicBezTo>
                  <a:pt x="97399" y="93222"/>
                  <a:pt x="97589" y="96830"/>
                  <a:pt x="95121" y="99108"/>
                </a:cubicBezTo>
                <a:cubicBezTo>
                  <a:pt x="84489" y="109930"/>
                  <a:pt x="74616" y="121701"/>
                  <a:pt x="65882" y="134232"/>
                </a:cubicBezTo>
                <a:cubicBezTo>
                  <a:pt x="64743" y="135751"/>
                  <a:pt x="62844" y="136701"/>
                  <a:pt x="61136" y="136701"/>
                </a:cubicBezTo>
                <a:lnTo>
                  <a:pt x="61136" y="136701"/>
                </a:lnTo>
                <a:close/>
                <a:moveTo>
                  <a:pt x="509590" y="96640"/>
                </a:moveTo>
                <a:cubicBezTo>
                  <a:pt x="508261" y="96640"/>
                  <a:pt x="506552" y="96070"/>
                  <a:pt x="505413" y="94931"/>
                </a:cubicBezTo>
                <a:cubicBezTo>
                  <a:pt x="494591" y="84299"/>
                  <a:pt x="482819" y="74426"/>
                  <a:pt x="470668" y="65502"/>
                </a:cubicBezTo>
                <a:cubicBezTo>
                  <a:pt x="468200" y="63604"/>
                  <a:pt x="467441" y="59996"/>
                  <a:pt x="469339" y="57338"/>
                </a:cubicBezTo>
                <a:cubicBezTo>
                  <a:pt x="471238" y="54870"/>
                  <a:pt x="474845" y="54111"/>
                  <a:pt x="477503" y="56009"/>
                </a:cubicBezTo>
                <a:cubicBezTo>
                  <a:pt x="490224" y="65312"/>
                  <a:pt x="502565" y="75375"/>
                  <a:pt x="513767" y="86577"/>
                </a:cubicBezTo>
                <a:cubicBezTo>
                  <a:pt x="516045" y="88855"/>
                  <a:pt x="516045" y="92463"/>
                  <a:pt x="513767" y="94741"/>
                </a:cubicBezTo>
                <a:cubicBezTo>
                  <a:pt x="512628" y="95880"/>
                  <a:pt x="511109" y="96450"/>
                  <a:pt x="509590" y="96450"/>
                </a:cubicBezTo>
                <a:lnTo>
                  <a:pt x="509590" y="96450"/>
                </a:lnTo>
                <a:close/>
                <a:moveTo>
                  <a:pt x="126069" y="70249"/>
                </a:moveTo>
                <a:cubicBezTo>
                  <a:pt x="124360" y="70249"/>
                  <a:pt x="122461" y="69489"/>
                  <a:pt x="121322" y="67971"/>
                </a:cubicBezTo>
                <a:cubicBezTo>
                  <a:pt x="119423" y="65502"/>
                  <a:pt x="119993" y="61705"/>
                  <a:pt x="122461" y="59806"/>
                </a:cubicBezTo>
                <a:cubicBezTo>
                  <a:pt x="135182" y="50313"/>
                  <a:pt x="148662" y="41770"/>
                  <a:pt x="162522" y="34555"/>
                </a:cubicBezTo>
                <a:cubicBezTo>
                  <a:pt x="165370" y="33036"/>
                  <a:pt x="168977" y="34175"/>
                  <a:pt x="170306" y="37023"/>
                </a:cubicBezTo>
                <a:cubicBezTo>
                  <a:pt x="171825" y="39871"/>
                  <a:pt x="170686" y="43478"/>
                  <a:pt x="167838" y="44807"/>
                </a:cubicBezTo>
                <a:cubicBezTo>
                  <a:pt x="154548" y="51832"/>
                  <a:pt x="141637" y="59996"/>
                  <a:pt x="129296" y="69300"/>
                </a:cubicBezTo>
                <a:cubicBezTo>
                  <a:pt x="128347" y="70059"/>
                  <a:pt x="127018" y="70439"/>
                  <a:pt x="125689" y="70439"/>
                </a:cubicBezTo>
                <a:lnTo>
                  <a:pt x="125689" y="70439"/>
                </a:lnTo>
                <a:close/>
                <a:moveTo>
                  <a:pt x="434215" y="42719"/>
                </a:moveTo>
                <a:cubicBezTo>
                  <a:pt x="434215" y="42719"/>
                  <a:pt x="432506" y="42719"/>
                  <a:pt x="431747" y="42149"/>
                </a:cubicBezTo>
                <a:cubicBezTo>
                  <a:pt x="418077" y="35314"/>
                  <a:pt x="403837" y="29428"/>
                  <a:pt x="389597" y="24872"/>
                </a:cubicBezTo>
                <a:cubicBezTo>
                  <a:pt x="386559" y="23923"/>
                  <a:pt x="384851" y="20695"/>
                  <a:pt x="385800" y="17657"/>
                </a:cubicBezTo>
                <a:cubicBezTo>
                  <a:pt x="386749" y="14619"/>
                  <a:pt x="389977" y="12910"/>
                  <a:pt x="393015" y="13860"/>
                </a:cubicBezTo>
                <a:cubicBezTo>
                  <a:pt x="408014" y="18606"/>
                  <a:pt x="422823" y="24682"/>
                  <a:pt x="436873" y="31707"/>
                </a:cubicBezTo>
                <a:cubicBezTo>
                  <a:pt x="439721" y="33036"/>
                  <a:pt x="440860" y="36643"/>
                  <a:pt x="439341" y="39491"/>
                </a:cubicBezTo>
                <a:cubicBezTo>
                  <a:pt x="438392" y="41390"/>
                  <a:pt x="436303" y="42719"/>
                  <a:pt x="434025" y="42719"/>
                </a:cubicBezTo>
                <a:lnTo>
                  <a:pt x="434025" y="42719"/>
                </a:lnTo>
                <a:close/>
                <a:moveTo>
                  <a:pt x="208089" y="27150"/>
                </a:moveTo>
                <a:cubicBezTo>
                  <a:pt x="205621" y="27150"/>
                  <a:pt x="203342" y="25631"/>
                  <a:pt x="202583" y="23163"/>
                </a:cubicBezTo>
                <a:cubicBezTo>
                  <a:pt x="201634" y="20125"/>
                  <a:pt x="203153" y="16708"/>
                  <a:pt x="206190" y="15759"/>
                </a:cubicBezTo>
                <a:cubicBezTo>
                  <a:pt x="221189" y="10632"/>
                  <a:pt x="236568" y="6835"/>
                  <a:pt x="252137" y="4177"/>
                </a:cubicBezTo>
                <a:cubicBezTo>
                  <a:pt x="255175" y="3607"/>
                  <a:pt x="258213" y="5696"/>
                  <a:pt x="258782" y="8924"/>
                </a:cubicBezTo>
                <a:cubicBezTo>
                  <a:pt x="259352" y="11961"/>
                  <a:pt x="257263" y="14999"/>
                  <a:pt x="254036" y="15569"/>
                </a:cubicBezTo>
                <a:cubicBezTo>
                  <a:pt x="239036" y="18037"/>
                  <a:pt x="224227" y="21834"/>
                  <a:pt x="209798" y="26581"/>
                </a:cubicBezTo>
                <a:cubicBezTo>
                  <a:pt x="209228" y="26581"/>
                  <a:pt x="208469" y="26960"/>
                  <a:pt x="207899" y="26960"/>
                </a:cubicBezTo>
                <a:lnTo>
                  <a:pt x="207899" y="26960"/>
                </a:lnTo>
                <a:close/>
                <a:moveTo>
                  <a:pt x="345929" y="14809"/>
                </a:moveTo>
                <a:lnTo>
                  <a:pt x="345169" y="14809"/>
                </a:lnTo>
                <a:cubicBezTo>
                  <a:pt x="331310" y="12721"/>
                  <a:pt x="316880" y="11771"/>
                  <a:pt x="302640" y="11771"/>
                </a:cubicBezTo>
                <a:lnTo>
                  <a:pt x="299603" y="11771"/>
                </a:lnTo>
                <a:cubicBezTo>
                  <a:pt x="296565" y="11771"/>
                  <a:pt x="293717" y="9303"/>
                  <a:pt x="293717" y="5886"/>
                </a:cubicBezTo>
                <a:cubicBezTo>
                  <a:pt x="293717" y="2468"/>
                  <a:pt x="296185" y="0"/>
                  <a:pt x="299603" y="0"/>
                </a:cubicBezTo>
                <a:lnTo>
                  <a:pt x="302640" y="0"/>
                </a:lnTo>
                <a:cubicBezTo>
                  <a:pt x="317450" y="0"/>
                  <a:pt x="332259" y="1139"/>
                  <a:pt x="346878" y="3228"/>
                </a:cubicBezTo>
                <a:cubicBezTo>
                  <a:pt x="349916" y="3607"/>
                  <a:pt x="352194" y="6645"/>
                  <a:pt x="351815" y="9873"/>
                </a:cubicBezTo>
                <a:cubicBezTo>
                  <a:pt x="351435" y="12721"/>
                  <a:pt x="348967" y="14809"/>
                  <a:pt x="346119" y="14809"/>
                </a:cubicBezTo>
                <a:lnTo>
                  <a:pt x="345929" y="14809"/>
                </a:lnTo>
                <a:close/>
              </a:path>
            </a:pathLst>
          </a:custGeom>
          <a:solidFill>
            <a:schemeClr val="accent6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grpSp>
        <p:nvGrpSpPr>
          <p:cNvPr id="1289" name="Group 1288">
            <a:extLst>
              <a:ext uri="{FF2B5EF4-FFF2-40B4-BE49-F238E27FC236}">
                <a16:creationId xmlns:a16="http://schemas.microsoft.com/office/drawing/2014/main" id="{52F69300-7EA4-3EEF-9C21-7424D5D61B12}"/>
              </a:ext>
            </a:extLst>
          </p:cNvPr>
          <p:cNvGrpSpPr/>
          <p:nvPr userDrawn="1"/>
        </p:nvGrpSpPr>
        <p:grpSpPr>
          <a:xfrm>
            <a:off x="11095608" y="2894035"/>
            <a:ext cx="265831" cy="266793"/>
            <a:chOff x="11095608" y="2894035"/>
            <a:chExt cx="265831" cy="266793"/>
          </a:xfrm>
        </p:grpSpPr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C51EAF77-44B0-66EB-D05F-E522E0578EF7}"/>
                </a:ext>
              </a:extLst>
            </p:cNvPr>
            <p:cNvSpPr/>
            <p:nvPr/>
          </p:nvSpPr>
          <p:spPr>
            <a:xfrm>
              <a:off x="11101517" y="2899958"/>
              <a:ext cx="254225" cy="254984"/>
            </a:xfrm>
            <a:custGeom>
              <a:avLst/>
              <a:gdLst>
                <a:gd name="connsiteX0" fmla="*/ 239416 w 254225"/>
                <a:gd name="connsiteY0" fmla="*/ 254985 h 254984"/>
                <a:gd name="connsiteX1" fmla="*/ 0 w 254225"/>
                <a:gd name="connsiteY1" fmla="*/ 84489 h 254984"/>
                <a:gd name="connsiteX2" fmla="*/ 254225 w 254225"/>
                <a:gd name="connsiteY2" fmla="*/ 0 h 254984"/>
                <a:gd name="connsiteX3" fmla="*/ 239416 w 254225"/>
                <a:gd name="connsiteY3" fmla="*/ 254985 h 254984"/>
                <a:gd name="connsiteX4" fmla="*/ 239416 w 254225"/>
                <a:gd name="connsiteY4" fmla="*/ 254985 h 25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225" h="254984">
                  <a:moveTo>
                    <a:pt x="239416" y="254985"/>
                  </a:moveTo>
                  <a:cubicBezTo>
                    <a:pt x="159484" y="198216"/>
                    <a:pt x="79742" y="141258"/>
                    <a:pt x="0" y="84489"/>
                  </a:cubicBezTo>
                  <a:cubicBezTo>
                    <a:pt x="86767" y="54111"/>
                    <a:pt x="171256" y="24492"/>
                    <a:pt x="254225" y="0"/>
                  </a:cubicBezTo>
                  <a:cubicBezTo>
                    <a:pt x="250998" y="80881"/>
                    <a:pt x="246631" y="161953"/>
                    <a:pt x="239416" y="254985"/>
                  </a:cubicBezTo>
                  <a:lnTo>
                    <a:pt x="239416" y="25498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A1B0A068-2CDE-E864-0BD6-B8A20512450B}"/>
                </a:ext>
              </a:extLst>
            </p:cNvPr>
            <p:cNvSpPr/>
            <p:nvPr/>
          </p:nvSpPr>
          <p:spPr>
            <a:xfrm>
              <a:off x="11095608" y="2894035"/>
              <a:ext cx="265831" cy="266793"/>
            </a:xfrm>
            <a:custGeom>
              <a:avLst/>
              <a:gdLst>
                <a:gd name="connsiteX0" fmla="*/ 245326 w 265831"/>
                <a:gd name="connsiteY0" fmla="*/ 266794 h 266793"/>
                <a:gd name="connsiteX1" fmla="*/ 241908 w 265831"/>
                <a:gd name="connsiteY1" fmla="*/ 265655 h 266793"/>
                <a:gd name="connsiteX2" fmla="*/ 2492 w 265831"/>
                <a:gd name="connsiteY2" fmla="*/ 95158 h 266793"/>
                <a:gd name="connsiteX3" fmla="*/ 24 w 265831"/>
                <a:gd name="connsiteY3" fmla="*/ 89652 h 266793"/>
                <a:gd name="connsiteX4" fmla="*/ 3821 w 265831"/>
                <a:gd name="connsiteY4" fmla="*/ 84906 h 266793"/>
                <a:gd name="connsiteX5" fmla="*/ 258237 w 265831"/>
                <a:gd name="connsiteY5" fmla="*/ 227 h 266793"/>
                <a:gd name="connsiteX6" fmla="*/ 263553 w 265831"/>
                <a:gd name="connsiteY6" fmla="*/ 1176 h 266793"/>
                <a:gd name="connsiteX7" fmla="*/ 265831 w 265831"/>
                <a:gd name="connsiteY7" fmla="*/ 5923 h 266793"/>
                <a:gd name="connsiteX8" fmla="*/ 251022 w 265831"/>
                <a:gd name="connsiteY8" fmla="*/ 261098 h 266793"/>
                <a:gd name="connsiteX9" fmla="*/ 247794 w 265831"/>
                <a:gd name="connsiteY9" fmla="*/ 265844 h 266793"/>
                <a:gd name="connsiteX10" fmla="*/ 245326 w 265831"/>
                <a:gd name="connsiteY10" fmla="*/ 266414 h 266793"/>
                <a:gd name="connsiteX11" fmla="*/ 245326 w 265831"/>
                <a:gd name="connsiteY11" fmla="*/ 266414 h 266793"/>
                <a:gd name="connsiteX12" fmla="*/ 18441 w 265831"/>
                <a:gd name="connsiteY12" fmla="*/ 92310 h 266793"/>
                <a:gd name="connsiteX13" fmla="*/ 240390 w 265831"/>
                <a:gd name="connsiteY13" fmla="*/ 250466 h 266793"/>
                <a:gd name="connsiteX14" fmla="*/ 254060 w 265831"/>
                <a:gd name="connsiteY14" fmla="*/ 14087 h 266793"/>
                <a:gd name="connsiteX15" fmla="*/ 18441 w 265831"/>
                <a:gd name="connsiteY15" fmla="*/ 92500 h 266793"/>
                <a:gd name="connsiteX16" fmla="*/ 18441 w 265831"/>
                <a:gd name="connsiteY16" fmla="*/ 92500 h 26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5831" h="266793">
                  <a:moveTo>
                    <a:pt x="245326" y="266794"/>
                  </a:moveTo>
                  <a:cubicBezTo>
                    <a:pt x="244187" y="266794"/>
                    <a:pt x="242857" y="266414"/>
                    <a:pt x="241908" y="265655"/>
                  </a:cubicBezTo>
                  <a:lnTo>
                    <a:pt x="2492" y="95158"/>
                  </a:lnTo>
                  <a:cubicBezTo>
                    <a:pt x="783" y="93829"/>
                    <a:pt x="-166" y="91741"/>
                    <a:pt x="24" y="89652"/>
                  </a:cubicBezTo>
                  <a:cubicBezTo>
                    <a:pt x="213" y="87564"/>
                    <a:pt x="1923" y="85665"/>
                    <a:pt x="3821" y="84906"/>
                  </a:cubicBezTo>
                  <a:cubicBezTo>
                    <a:pt x="83184" y="56996"/>
                    <a:pt x="173178" y="25479"/>
                    <a:pt x="258237" y="227"/>
                  </a:cubicBezTo>
                  <a:cubicBezTo>
                    <a:pt x="260135" y="-342"/>
                    <a:pt x="261844" y="227"/>
                    <a:pt x="263553" y="1176"/>
                  </a:cubicBezTo>
                  <a:cubicBezTo>
                    <a:pt x="264881" y="2316"/>
                    <a:pt x="265831" y="4214"/>
                    <a:pt x="265831" y="5923"/>
                  </a:cubicBezTo>
                  <a:cubicBezTo>
                    <a:pt x="263173" y="70286"/>
                    <a:pt x="259186" y="157243"/>
                    <a:pt x="251022" y="261098"/>
                  </a:cubicBezTo>
                  <a:cubicBezTo>
                    <a:pt x="251022" y="263186"/>
                    <a:pt x="249693" y="265085"/>
                    <a:pt x="247794" y="265844"/>
                  </a:cubicBezTo>
                  <a:cubicBezTo>
                    <a:pt x="247034" y="266224"/>
                    <a:pt x="246275" y="266414"/>
                    <a:pt x="245326" y="266414"/>
                  </a:cubicBezTo>
                  <a:lnTo>
                    <a:pt x="245326" y="266414"/>
                  </a:lnTo>
                  <a:close/>
                  <a:moveTo>
                    <a:pt x="18441" y="92310"/>
                  </a:moveTo>
                  <a:lnTo>
                    <a:pt x="240390" y="250466"/>
                  </a:lnTo>
                  <a:cubicBezTo>
                    <a:pt x="247604" y="155535"/>
                    <a:pt x="251401" y="75223"/>
                    <a:pt x="254060" y="14087"/>
                  </a:cubicBezTo>
                  <a:cubicBezTo>
                    <a:pt x="175266" y="37630"/>
                    <a:pt x="92677" y="66489"/>
                    <a:pt x="18441" y="92500"/>
                  </a:cubicBezTo>
                  <a:lnTo>
                    <a:pt x="18441" y="92500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grpSp>
        <p:nvGrpSpPr>
          <p:cNvPr id="1486" name="Group 1485">
            <a:extLst>
              <a:ext uri="{FF2B5EF4-FFF2-40B4-BE49-F238E27FC236}">
                <a16:creationId xmlns:a16="http://schemas.microsoft.com/office/drawing/2014/main" id="{2C5F055A-A563-BD89-D765-99C5564F4744}"/>
              </a:ext>
            </a:extLst>
          </p:cNvPr>
          <p:cNvGrpSpPr/>
          <p:nvPr userDrawn="1"/>
        </p:nvGrpSpPr>
        <p:grpSpPr>
          <a:xfrm>
            <a:off x="6515675" y="5465903"/>
            <a:ext cx="265831" cy="266793"/>
            <a:chOff x="6546319" y="5565776"/>
            <a:chExt cx="265831" cy="266793"/>
          </a:xfrm>
        </p:grpSpPr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6FB5A360-D672-8B12-4533-D0DE9A2A61B2}"/>
                </a:ext>
              </a:extLst>
            </p:cNvPr>
            <p:cNvSpPr/>
            <p:nvPr/>
          </p:nvSpPr>
          <p:spPr>
            <a:xfrm>
              <a:off x="6552229" y="5571889"/>
              <a:ext cx="254225" cy="254984"/>
            </a:xfrm>
            <a:custGeom>
              <a:avLst/>
              <a:gdLst>
                <a:gd name="connsiteX0" fmla="*/ 239416 w 254225"/>
                <a:gd name="connsiteY0" fmla="*/ 254985 h 254984"/>
                <a:gd name="connsiteX1" fmla="*/ 0 w 254225"/>
                <a:gd name="connsiteY1" fmla="*/ 84489 h 254984"/>
                <a:gd name="connsiteX2" fmla="*/ 254226 w 254225"/>
                <a:gd name="connsiteY2" fmla="*/ 0 h 254984"/>
                <a:gd name="connsiteX3" fmla="*/ 239416 w 254225"/>
                <a:gd name="connsiteY3" fmla="*/ 254985 h 254984"/>
                <a:gd name="connsiteX4" fmla="*/ 239416 w 254225"/>
                <a:gd name="connsiteY4" fmla="*/ 254985 h 25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225" h="254984">
                  <a:moveTo>
                    <a:pt x="239416" y="254985"/>
                  </a:moveTo>
                  <a:cubicBezTo>
                    <a:pt x="159484" y="198216"/>
                    <a:pt x="79742" y="141258"/>
                    <a:pt x="0" y="84489"/>
                  </a:cubicBezTo>
                  <a:cubicBezTo>
                    <a:pt x="86767" y="54111"/>
                    <a:pt x="171256" y="24492"/>
                    <a:pt x="254226" y="0"/>
                  </a:cubicBezTo>
                  <a:cubicBezTo>
                    <a:pt x="250998" y="80881"/>
                    <a:pt x="246631" y="161952"/>
                    <a:pt x="239416" y="254985"/>
                  </a:cubicBezTo>
                  <a:lnTo>
                    <a:pt x="239416" y="25498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4E24F969-54FF-8228-3290-F46714837B65}"/>
                </a:ext>
              </a:extLst>
            </p:cNvPr>
            <p:cNvSpPr/>
            <p:nvPr/>
          </p:nvSpPr>
          <p:spPr>
            <a:xfrm>
              <a:off x="6546319" y="5565776"/>
              <a:ext cx="265831" cy="266793"/>
            </a:xfrm>
            <a:custGeom>
              <a:avLst/>
              <a:gdLst>
                <a:gd name="connsiteX0" fmla="*/ 245326 w 265831"/>
                <a:gd name="connsiteY0" fmla="*/ 266794 h 266793"/>
                <a:gd name="connsiteX1" fmla="*/ 241908 w 265831"/>
                <a:gd name="connsiteY1" fmla="*/ 265655 h 266793"/>
                <a:gd name="connsiteX2" fmla="*/ 2492 w 265831"/>
                <a:gd name="connsiteY2" fmla="*/ 95158 h 266793"/>
                <a:gd name="connsiteX3" fmla="*/ 24 w 265831"/>
                <a:gd name="connsiteY3" fmla="*/ 89652 h 266793"/>
                <a:gd name="connsiteX4" fmla="*/ 3821 w 265831"/>
                <a:gd name="connsiteY4" fmla="*/ 84906 h 266793"/>
                <a:gd name="connsiteX5" fmla="*/ 258236 w 265831"/>
                <a:gd name="connsiteY5" fmla="*/ 227 h 266793"/>
                <a:gd name="connsiteX6" fmla="*/ 263553 w 265831"/>
                <a:gd name="connsiteY6" fmla="*/ 1177 h 266793"/>
                <a:gd name="connsiteX7" fmla="*/ 265831 w 265831"/>
                <a:gd name="connsiteY7" fmla="*/ 5923 h 266793"/>
                <a:gd name="connsiteX8" fmla="*/ 251022 w 265831"/>
                <a:gd name="connsiteY8" fmla="*/ 261098 h 266793"/>
                <a:gd name="connsiteX9" fmla="*/ 247794 w 265831"/>
                <a:gd name="connsiteY9" fmla="*/ 265844 h 266793"/>
                <a:gd name="connsiteX10" fmla="*/ 245326 w 265831"/>
                <a:gd name="connsiteY10" fmla="*/ 266414 h 266793"/>
                <a:gd name="connsiteX11" fmla="*/ 245326 w 265831"/>
                <a:gd name="connsiteY11" fmla="*/ 266414 h 266793"/>
                <a:gd name="connsiteX12" fmla="*/ 18440 w 265831"/>
                <a:gd name="connsiteY12" fmla="*/ 92310 h 266793"/>
                <a:gd name="connsiteX13" fmla="*/ 240389 w 265831"/>
                <a:gd name="connsiteY13" fmla="*/ 250466 h 266793"/>
                <a:gd name="connsiteX14" fmla="*/ 254059 w 265831"/>
                <a:gd name="connsiteY14" fmla="*/ 14087 h 266793"/>
                <a:gd name="connsiteX15" fmla="*/ 18440 w 265831"/>
                <a:gd name="connsiteY15" fmla="*/ 92500 h 266793"/>
                <a:gd name="connsiteX16" fmla="*/ 18440 w 265831"/>
                <a:gd name="connsiteY16" fmla="*/ 92500 h 26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5831" h="266793">
                  <a:moveTo>
                    <a:pt x="245326" y="266794"/>
                  </a:moveTo>
                  <a:cubicBezTo>
                    <a:pt x="244187" y="266794"/>
                    <a:pt x="242858" y="266414"/>
                    <a:pt x="241908" y="265655"/>
                  </a:cubicBezTo>
                  <a:lnTo>
                    <a:pt x="2492" y="95158"/>
                  </a:lnTo>
                  <a:cubicBezTo>
                    <a:pt x="783" y="93829"/>
                    <a:pt x="-166" y="91741"/>
                    <a:pt x="24" y="89652"/>
                  </a:cubicBezTo>
                  <a:cubicBezTo>
                    <a:pt x="214" y="87564"/>
                    <a:pt x="1922" y="85665"/>
                    <a:pt x="3821" y="84906"/>
                  </a:cubicBezTo>
                  <a:cubicBezTo>
                    <a:pt x="83183" y="56996"/>
                    <a:pt x="173178" y="25479"/>
                    <a:pt x="258236" y="227"/>
                  </a:cubicBezTo>
                  <a:cubicBezTo>
                    <a:pt x="260135" y="-342"/>
                    <a:pt x="261844" y="227"/>
                    <a:pt x="263553" y="1177"/>
                  </a:cubicBezTo>
                  <a:cubicBezTo>
                    <a:pt x="264882" y="2316"/>
                    <a:pt x="265831" y="4214"/>
                    <a:pt x="265831" y="5923"/>
                  </a:cubicBezTo>
                  <a:cubicBezTo>
                    <a:pt x="263363" y="70286"/>
                    <a:pt x="259186" y="157243"/>
                    <a:pt x="251022" y="261098"/>
                  </a:cubicBezTo>
                  <a:cubicBezTo>
                    <a:pt x="251022" y="263186"/>
                    <a:pt x="249693" y="265085"/>
                    <a:pt x="247794" y="265844"/>
                  </a:cubicBezTo>
                  <a:cubicBezTo>
                    <a:pt x="247035" y="266224"/>
                    <a:pt x="246275" y="266414"/>
                    <a:pt x="245326" y="266414"/>
                  </a:cubicBezTo>
                  <a:lnTo>
                    <a:pt x="245326" y="266414"/>
                  </a:lnTo>
                  <a:close/>
                  <a:moveTo>
                    <a:pt x="18440" y="92310"/>
                  </a:moveTo>
                  <a:lnTo>
                    <a:pt x="240389" y="250466"/>
                  </a:lnTo>
                  <a:cubicBezTo>
                    <a:pt x="247604" y="155534"/>
                    <a:pt x="251401" y="75223"/>
                    <a:pt x="254059" y="14087"/>
                  </a:cubicBezTo>
                  <a:cubicBezTo>
                    <a:pt x="175267" y="37630"/>
                    <a:pt x="92677" y="66489"/>
                    <a:pt x="18440" y="92500"/>
                  </a:cubicBezTo>
                  <a:lnTo>
                    <a:pt x="18440" y="92500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1293" name="Freeform: Shape 1292">
            <a:extLst>
              <a:ext uri="{FF2B5EF4-FFF2-40B4-BE49-F238E27FC236}">
                <a16:creationId xmlns:a16="http://schemas.microsoft.com/office/drawing/2014/main" id="{D686FAEF-8F5F-CEF7-8568-507162CC6FFC}"/>
              </a:ext>
            </a:extLst>
          </p:cNvPr>
          <p:cNvSpPr/>
          <p:nvPr userDrawn="1"/>
        </p:nvSpPr>
        <p:spPr>
          <a:xfrm>
            <a:off x="9564773" y="2935462"/>
            <a:ext cx="177900" cy="179419"/>
          </a:xfrm>
          <a:custGeom>
            <a:avLst/>
            <a:gdLst>
              <a:gd name="connsiteX0" fmla="*/ 121132 w 177900"/>
              <a:gd name="connsiteY0" fmla="*/ 179420 h 179419"/>
              <a:gd name="connsiteX1" fmla="*/ 0 w 177900"/>
              <a:gd name="connsiteY1" fmla="*/ 0 h 179419"/>
              <a:gd name="connsiteX2" fmla="*/ 177901 w 177900"/>
              <a:gd name="connsiteY2" fmla="*/ 15759 h 179419"/>
              <a:gd name="connsiteX3" fmla="*/ 121132 w 177900"/>
              <a:gd name="connsiteY3" fmla="*/ 179420 h 179419"/>
              <a:gd name="connsiteX4" fmla="*/ 121132 w 177900"/>
              <a:gd name="connsiteY4" fmla="*/ 179420 h 179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900" h="179419">
                <a:moveTo>
                  <a:pt x="121132" y="179420"/>
                </a:moveTo>
                <a:cubicBezTo>
                  <a:pt x="82400" y="118474"/>
                  <a:pt x="41959" y="58667"/>
                  <a:pt x="0" y="0"/>
                </a:cubicBezTo>
                <a:cubicBezTo>
                  <a:pt x="58857" y="4936"/>
                  <a:pt x="117715" y="10063"/>
                  <a:pt x="177901" y="15759"/>
                </a:cubicBezTo>
                <a:cubicBezTo>
                  <a:pt x="162522" y="73856"/>
                  <a:pt x="146574" y="131575"/>
                  <a:pt x="121132" y="179420"/>
                </a:cubicBezTo>
                <a:lnTo>
                  <a:pt x="121132" y="179420"/>
                </a:lnTo>
                <a:close/>
              </a:path>
            </a:pathLst>
          </a:custGeom>
          <a:solidFill>
            <a:srgbClr val="FFFFFF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440" name="Freeform: Shape 1439">
            <a:extLst>
              <a:ext uri="{FF2B5EF4-FFF2-40B4-BE49-F238E27FC236}">
                <a16:creationId xmlns:a16="http://schemas.microsoft.com/office/drawing/2014/main" id="{B62D753F-0179-2B83-37DA-0F34A0CE1CE4}"/>
              </a:ext>
            </a:extLst>
          </p:cNvPr>
          <p:cNvSpPr/>
          <p:nvPr userDrawn="1"/>
        </p:nvSpPr>
        <p:spPr>
          <a:xfrm>
            <a:off x="10182394" y="1461752"/>
            <a:ext cx="177900" cy="179419"/>
          </a:xfrm>
          <a:custGeom>
            <a:avLst/>
            <a:gdLst>
              <a:gd name="connsiteX0" fmla="*/ 121132 w 177900"/>
              <a:gd name="connsiteY0" fmla="*/ 179420 h 179419"/>
              <a:gd name="connsiteX1" fmla="*/ 0 w 177900"/>
              <a:gd name="connsiteY1" fmla="*/ 0 h 179419"/>
              <a:gd name="connsiteX2" fmla="*/ 177901 w 177900"/>
              <a:gd name="connsiteY2" fmla="*/ 15759 h 179419"/>
              <a:gd name="connsiteX3" fmla="*/ 121132 w 177900"/>
              <a:gd name="connsiteY3" fmla="*/ 179420 h 179419"/>
              <a:gd name="connsiteX4" fmla="*/ 121132 w 177900"/>
              <a:gd name="connsiteY4" fmla="*/ 179420 h 179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900" h="179419">
                <a:moveTo>
                  <a:pt x="121132" y="179420"/>
                </a:moveTo>
                <a:cubicBezTo>
                  <a:pt x="82400" y="118474"/>
                  <a:pt x="41959" y="58667"/>
                  <a:pt x="0" y="0"/>
                </a:cubicBezTo>
                <a:cubicBezTo>
                  <a:pt x="58857" y="4936"/>
                  <a:pt x="117715" y="10063"/>
                  <a:pt x="177901" y="15759"/>
                </a:cubicBezTo>
                <a:cubicBezTo>
                  <a:pt x="162522" y="73856"/>
                  <a:pt x="146574" y="131575"/>
                  <a:pt x="121132" y="179420"/>
                </a:cubicBezTo>
                <a:lnTo>
                  <a:pt x="121132" y="17942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441" name="Freeform: Shape 1440">
            <a:extLst>
              <a:ext uri="{FF2B5EF4-FFF2-40B4-BE49-F238E27FC236}">
                <a16:creationId xmlns:a16="http://schemas.microsoft.com/office/drawing/2014/main" id="{D45EAB85-2CC2-EE25-AB6A-433D0B68C5D8}"/>
              </a:ext>
            </a:extLst>
          </p:cNvPr>
          <p:cNvSpPr/>
          <p:nvPr userDrawn="1"/>
        </p:nvSpPr>
        <p:spPr>
          <a:xfrm>
            <a:off x="10176626" y="1456056"/>
            <a:ext cx="189443" cy="191001"/>
          </a:xfrm>
          <a:custGeom>
            <a:avLst/>
            <a:gdLst>
              <a:gd name="connsiteX0" fmla="*/ 126901 w 189443"/>
              <a:gd name="connsiteY0" fmla="*/ 191001 h 191001"/>
              <a:gd name="connsiteX1" fmla="*/ 121964 w 189443"/>
              <a:gd name="connsiteY1" fmla="*/ 188343 h 191001"/>
              <a:gd name="connsiteX2" fmla="*/ 1022 w 189443"/>
              <a:gd name="connsiteY2" fmla="*/ 9303 h 191001"/>
              <a:gd name="connsiteX3" fmla="*/ 832 w 189443"/>
              <a:gd name="connsiteY3" fmla="*/ 3038 h 191001"/>
              <a:gd name="connsiteX4" fmla="*/ 6338 w 189443"/>
              <a:gd name="connsiteY4" fmla="*/ 0 h 191001"/>
              <a:gd name="connsiteX5" fmla="*/ 184239 w 189443"/>
              <a:gd name="connsiteY5" fmla="*/ 15948 h 191001"/>
              <a:gd name="connsiteX6" fmla="*/ 188416 w 189443"/>
              <a:gd name="connsiteY6" fmla="*/ 18417 h 191001"/>
              <a:gd name="connsiteX7" fmla="*/ 189176 w 189443"/>
              <a:gd name="connsiteY7" fmla="*/ 23163 h 191001"/>
              <a:gd name="connsiteX8" fmla="*/ 131837 w 189443"/>
              <a:gd name="connsiteY8" fmla="*/ 187964 h 191001"/>
              <a:gd name="connsiteX9" fmla="*/ 126901 w 189443"/>
              <a:gd name="connsiteY9" fmla="*/ 191001 h 191001"/>
              <a:gd name="connsiteX10" fmla="*/ 126711 w 189443"/>
              <a:gd name="connsiteY10" fmla="*/ 191001 h 191001"/>
              <a:gd name="connsiteX11" fmla="*/ 126711 w 189443"/>
              <a:gd name="connsiteY11" fmla="*/ 191001 h 191001"/>
              <a:gd name="connsiteX12" fmla="*/ 17919 w 189443"/>
              <a:gd name="connsiteY12" fmla="*/ 12531 h 191001"/>
              <a:gd name="connsiteX13" fmla="*/ 126331 w 189443"/>
              <a:gd name="connsiteY13" fmla="*/ 173344 h 191001"/>
              <a:gd name="connsiteX14" fmla="*/ 176265 w 189443"/>
              <a:gd name="connsiteY14" fmla="*/ 26581 h 191001"/>
              <a:gd name="connsiteX15" fmla="*/ 17919 w 189443"/>
              <a:gd name="connsiteY15" fmla="*/ 12531 h 191001"/>
              <a:gd name="connsiteX16" fmla="*/ 17919 w 189443"/>
              <a:gd name="connsiteY16" fmla="*/ 12531 h 19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89443" h="191001">
                <a:moveTo>
                  <a:pt x="126901" y="191001"/>
                </a:moveTo>
                <a:cubicBezTo>
                  <a:pt x="125002" y="191001"/>
                  <a:pt x="123103" y="190052"/>
                  <a:pt x="121964" y="188343"/>
                </a:cubicBezTo>
                <a:cubicBezTo>
                  <a:pt x="83422" y="127777"/>
                  <a:pt x="42792" y="67591"/>
                  <a:pt x="1022" y="9303"/>
                </a:cubicBezTo>
                <a:cubicBezTo>
                  <a:pt x="-307" y="7405"/>
                  <a:pt x="-307" y="5126"/>
                  <a:pt x="832" y="3038"/>
                </a:cubicBezTo>
                <a:cubicBezTo>
                  <a:pt x="1971" y="1139"/>
                  <a:pt x="4060" y="0"/>
                  <a:pt x="6338" y="0"/>
                </a:cubicBezTo>
                <a:cubicBezTo>
                  <a:pt x="64056" y="4936"/>
                  <a:pt x="123863" y="9873"/>
                  <a:pt x="184239" y="15948"/>
                </a:cubicBezTo>
                <a:cubicBezTo>
                  <a:pt x="185948" y="15948"/>
                  <a:pt x="187467" y="17088"/>
                  <a:pt x="188416" y="18417"/>
                </a:cubicBezTo>
                <a:cubicBezTo>
                  <a:pt x="189366" y="19746"/>
                  <a:pt x="189745" y="21454"/>
                  <a:pt x="189176" y="23163"/>
                </a:cubicBezTo>
                <a:cubicBezTo>
                  <a:pt x="172658" y="85438"/>
                  <a:pt x="157089" y="141068"/>
                  <a:pt x="131837" y="187964"/>
                </a:cubicBezTo>
                <a:cubicBezTo>
                  <a:pt x="130888" y="189862"/>
                  <a:pt x="128989" y="191001"/>
                  <a:pt x="126901" y="191001"/>
                </a:cubicBezTo>
                <a:lnTo>
                  <a:pt x="126711" y="191001"/>
                </a:lnTo>
                <a:lnTo>
                  <a:pt x="126711" y="191001"/>
                </a:lnTo>
                <a:close/>
                <a:moveTo>
                  <a:pt x="17919" y="12531"/>
                </a:moveTo>
                <a:cubicBezTo>
                  <a:pt x="55322" y="65313"/>
                  <a:pt x="91586" y="119233"/>
                  <a:pt x="126331" y="173344"/>
                </a:cubicBezTo>
                <a:cubicBezTo>
                  <a:pt x="147406" y="131005"/>
                  <a:pt x="161645" y="81641"/>
                  <a:pt x="176265" y="26581"/>
                </a:cubicBezTo>
                <a:cubicBezTo>
                  <a:pt x="122534" y="21454"/>
                  <a:pt x="69373" y="16898"/>
                  <a:pt x="17919" y="12531"/>
                </a:cubicBezTo>
                <a:lnTo>
                  <a:pt x="17919" y="12531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1487" name="Group 1486">
            <a:extLst>
              <a:ext uri="{FF2B5EF4-FFF2-40B4-BE49-F238E27FC236}">
                <a16:creationId xmlns:a16="http://schemas.microsoft.com/office/drawing/2014/main" id="{19D89C59-5B72-D5E6-C635-25B15F94D149}"/>
              </a:ext>
            </a:extLst>
          </p:cNvPr>
          <p:cNvGrpSpPr/>
          <p:nvPr userDrawn="1"/>
        </p:nvGrpSpPr>
        <p:grpSpPr>
          <a:xfrm rot="18820952">
            <a:off x="11428021" y="4466162"/>
            <a:ext cx="218457" cy="176892"/>
            <a:chOff x="6512737" y="5999138"/>
            <a:chExt cx="218457" cy="176892"/>
          </a:xfrm>
        </p:grpSpPr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F98D196-AA39-8DD7-43E3-EA3F19856CD1}"/>
                </a:ext>
              </a:extLst>
            </p:cNvPr>
            <p:cNvSpPr/>
            <p:nvPr/>
          </p:nvSpPr>
          <p:spPr>
            <a:xfrm>
              <a:off x="6518623" y="6004775"/>
              <a:ext cx="206949" cy="165369"/>
            </a:xfrm>
            <a:custGeom>
              <a:avLst/>
              <a:gdLst>
                <a:gd name="connsiteX0" fmla="*/ 206950 w 206949"/>
                <a:gd name="connsiteY0" fmla="*/ 102146 h 165369"/>
                <a:gd name="connsiteX1" fmla="*/ 0 w 206949"/>
                <a:gd name="connsiteY1" fmla="*/ 165370 h 165369"/>
                <a:gd name="connsiteX2" fmla="*/ 67211 w 206949"/>
                <a:gd name="connsiteY2" fmla="*/ 0 h 165369"/>
                <a:gd name="connsiteX3" fmla="*/ 206950 w 206949"/>
                <a:gd name="connsiteY3" fmla="*/ 102146 h 165369"/>
                <a:gd name="connsiteX4" fmla="*/ 206950 w 206949"/>
                <a:gd name="connsiteY4" fmla="*/ 102146 h 165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49" h="165369">
                  <a:moveTo>
                    <a:pt x="206950" y="102146"/>
                  </a:moveTo>
                  <a:cubicBezTo>
                    <a:pt x="137270" y="121322"/>
                    <a:pt x="68351" y="142397"/>
                    <a:pt x="0" y="165370"/>
                  </a:cubicBezTo>
                  <a:cubicBezTo>
                    <a:pt x="22024" y="110500"/>
                    <a:pt x="44048" y="55820"/>
                    <a:pt x="67211" y="0"/>
                  </a:cubicBezTo>
                  <a:cubicBezTo>
                    <a:pt x="118284" y="31707"/>
                    <a:pt x="168977" y="63983"/>
                    <a:pt x="206950" y="102146"/>
                  </a:cubicBezTo>
                  <a:lnTo>
                    <a:pt x="206950" y="102146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37FC514B-F360-7BAC-8BD5-C1BD9BCAA30B}"/>
                </a:ext>
              </a:extLst>
            </p:cNvPr>
            <p:cNvSpPr/>
            <p:nvPr/>
          </p:nvSpPr>
          <p:spPr>
            <a:xfrm>
              <a:off x="6512737" y="5999138"/>
              <a:ext cx="218457" cy="176892"/>
            </a:xfrm>
            <a:custGeom>
              <a:avLst/>
              <a:gdLst>
                <a:gd name="connsiteX0" fmla="*/ 5696 w 218457"/>
                <a:gd name="connsiteY0" fmla="*/ 176892 h 176892"/>
                <a:gd name="connsiteX1" fmla="*/ 1519 w 218457"/>
                <a:gd name="connsiteY1" fmla="*/ 174994 h 176892"/>
                <a:gd name="connsiteX2" fmla="*/ 380 w 218457"/>
                <a:gd name="connsiteY2" fmla="*/ 168918 h 176892"/>
                <a:gd name="connsiteX3" fmla="*/ 380 w 218457"/>
                <a:gd name="connsiteY3" fmla="*/ 168159 h 176892"/>
                <a:gd name="connsiteX4" fmla="*/ 67591 w 218457"/>
                <a:gd name="connsiteY4" fmla="*/ 3548 h 176892"/>
                <a:gd name="connsiteX5" fmla="*/ 71198 w 218457"/>
                <a:gd name="connsiteY5" fmla="*/ 320 h 176892"/>
                <a:gd name="connsiteX6" fmla="*/ 75945 w 218457"/>
                <a:gd name="connsiteY6" fmla="*/ 890 h 176892"/>
                <a:gd name="connsiteX7" fmla="*/ 216823 w 218457"/>
                <a:gd name="connsiteY7" fmla="*/ 103795 h 176892"/>
                <a:gd name="connsiteX8" fmla="*/ 218342 w 218457"/>
                <a:gd name="connsiteY8" fmla="*/ 109301 h 176892"/>
                <a:gd name="connsiteX9" fmla="*/ 214165 w 218457"/>
                <a:gd name="connsiteY9" fmla="*/ 113478 h 176892"/>
                <a:gd name="connsiteX10" fmla="*/ 7405 w 218457"/>
                <a:gd name="connsiteY10" fmla="*/ 176513 h 176892"/>
                <a:gd name="connsiteX11" fmla="*/ 5506 w 218457"/>
                <a:gd name="connsiteY11" fmla="*/ 176702 h 176892"/>
                <a:gd name="connsiteX12" fmla="*/ 5506 w 218457"/>
                <a:gd name="connsiteY12" fmla="*/ 176702 h 176892"/>
                <a:gd name="connsiteX13" fmla="*/ 75565 w 218457"/>
                <a:gd name="connsiteY13" fmla="*/ 14370 h 176892"/>
                <a:gd name="connsiteX14" fmla="*/ 15759 w 218457"/>
                <a:gd name="connsiteY14" fmla="*/ 161703 h 176892"/>
                <a:gd name="connsiteX15" fmla="*/ 201444 w 218457"/>
                <a:gd name="connsiteY15" fmla="*/ 105124 h 176892"/>
                <a:gd name="connsiteX16" fmla="*/ 75755 w 218457"/>
                <a:gd name="connsiteY16" fmla="*/ 14370 h 176892"/>
                <a:gd name="connsiteX17" fmla="*/ 75755 w 218457"/>
                <a:gd name="connsiteY17" fmla="*/ 14370 h 176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457" h="176892">
                  <a:moveTo>
                    <a:pt x="5696" y="176892"/>
                  </a:moveTo>
                  <a:cubicBezTo>
                    <a:pt x="4177" y="176892"/>
                    <a:pt x="2658" y="176133"/>
                    <a:pt x="1519" y="174994"/>
                  </a:cubicBezTo>
                  <a:cubicBezTo>
                    <a:pt x="0" y="173285"/>
                    <a:pt x="-380" y="170817"/>
                    <a:pt x="380" y="168918"/>
                  </a:cubicBezTo>
                  <a:lnTo>
                    <a:pt x="380" y="168159"/>
                  </a:lnTo>
                  <a:cubicBezTo>
                    <a:pt x="22214" y="114427"/>
                    <a:pt x="44617" y="59178"/>
                    <a:pt x="67591" y="3548"/>
                  </a:cubicBezTo>
                  <a:cubicBezTo>
                    <a:pt x="68350" y="2029"/>
                    <a:pt x="69490" y="700"/>
                    <a:pt x="71198" y="320"/>
                  </a:cubicBezTo>
                  <a:cubicBezTo>
                    <a:pt x="72717" y="-249"/>
                    <a:pt x="74616" y="-59"/>
                    <a:pt x="75945" y="890"/>
                  </a:cubicBezTo>
                  <a:cubicBezTo>
                    <a:pt x="130815" y="34875"/>
                    <a:pt x="179230" y="66013"/>
                    <a:pt x="216823" y="103795"/>
                  </a:cubicBezTo>
                  <a:cubicBezTo>
                    <a:pt x="218152" y="105124"/>
                    <a:pt x="218721" y="107403"/>
                    <a:pt x="218342" y="109301"/>
                  </a:cubicBezTo>
                  <a:cubicBezTo>
                    <a:pt x="217772" y="111200"/>
                    <a:pt x="216253" y="112909"/>
                    <a:pt x="214165" y="113478"/>
                  </a:cubicBezTo>
                  <a:cubicBezTo>
                    <a:pt x="145055" y="132464"/>
                    <a:pt x="75565" y="153729"/>
                    <a:pt x="7405" y="176513"/>
                  </a:cubicBezTo>
                  <a:cubicBezTo>
                    <a:pt x="6835" y="176513"/>
                    <a:pt x="6075" y="176702"/>
                    <a:pt x="5506" y="176702"/>
                  </a:cubicBezTo>
                  <a:lnTo>
                    <a:pt x="5506" y="176702"/>
                  </a:lnTo>
                  <a:close/>
                  <a:moveTo>
                    <a:pt x="75565" y="14370"/>
                  </a:moveTo>
                  <a:cubicBezTo>
                    <a:pt x="54870" y="63924"/>
                    <a:pt x="35124" y="113478"/>
                    <a:pt x="15759" y="161703"/>
                  </a:cubicBezTo>
                  <a:cubicBezTo>
                    <a:pt x="77084" y="141388"/>
                    <a:pt x="139359" y="122592"/>
                    <a:pt x="201444" y="105124"/>
                  </a:cubicBezTo>
                  <a:cubicBezTo>
                    <a:pt x="167269" y="72658"/>
                    <a:pt x="123980" y="44558"/>
                    <a:pt x="75755" y="14370"/>
                  </a:cubicBezTo>
                  <a:lnTo>
                    <a:pt x="75755" y="14370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1297" name="Group 1296">
            <a:extLst>
              <a:ext uri="{FF2B5EF4-FFF2-40B4-BE49-F238E27FC236}">
                <a16:creationId xmlns:a16="http://schemas.microsoft.com/office/drawing/2014/main" id="{CCE78A67-172D-C695-8452-9DFFBDEAF4DB}"/>
              </a:ext>
            </a:extLst>
          </p:cNvPr>
          <p:cNvGrpSpPr/>
          <p:nvPr userDrawn="1"/>
        </p:nvGrpSpPr>
        <p:grpSpPr>
          <a:xfrm>
            <a:off x="6135102" y="3914251"/>
            <a:ext cx="198223" cy="183548"/>
            <a:chOff x="6135102" y="3914251"/>
            <a:chExt cx="198223" cy="183548"/>
          </a:xfrm>
        </p:grpSpPr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94DA32B5-9671-5735-EDFB-C1A0388FF0CA}"/>
                </a:ext>
              </a:extLst>
            </p:cNvPr>
            <p:cNvSpPr/>
            <p:nvPr/>
          </p:nvSpPr>
          <p:spPr>
            <a:xfrm>
              <a:off x="6140797" y="3919518"/>
              <a:ext cx="186857" cy="172204"/>
            </a:xfrm>
            <a:custGeom>
              <a:avLst/>
              <a:gdLst>
                <a:gd name="connsiteX0" fmla="*/ 186445 w 186857"/>
                <a:gd name="connsiteY0" fmla="*/ 172205 h 172204"/>
                <a:gd name="connsiteX1" fmla="*/ 0 w 186857"/>
                <a:gd name="connsiteY1" fmla="*/ 62085 h 172204"/>
                <a:gd name="connsiteX2" fmla="*/ 167458 w 186857"/>
                <a:gd name="connsiteY2" fmla="*/ 0 h 172204"/>
                <a:gd name="connsiteX3" fmla="*/ 186445 w 186857"/>
                <a:gd name="connsiteY3" fmla="*/ 172205 h 172204"/>
                <a:gd name="connsiteX4" fmla="*/ 186445 w 186857"/>
                <a:gd name="connsiteY4" fmla="*/ 172205 h 172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857" h="172204">
                  <a:moveTo>
                    <a:pt x="186445" y="172205"/>
                  </a:moveTo>
                  <a:cubicBezTo>
                    <a:pt x="125309" y="133853"/>
                    <a:pt x="63034" y="97209"/>
                    <a:pt x="0" y="62085"/>
                  </a:cubicBezTo>
                  <a:cubicBezTo>
                    <a:pt x="55250" y="41390"/>
                    <a:pt x="110689" y="20695"/>
                    <a:pt x="167458" y="0"/>
                  </a:cubicBezTo>
                  <a:cubicBezTo>
                    <a:pt x="178470" y="58857"/>
                    <a:pt x="189103" y="118094"/>
                    <a:pt x="186445" y="172205"/>
                  </a:cubicBezTo>
                  <a:lnTo>
                    <a:pt x="186445" y="17220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A74A16AC-6DD5-5D8A-2478-C08986A1204D}"/>
                </a:ext>
              </a:extLst>
            </p:cNvPr>
            <p:cNvSpPr/>
            <p:nvPr/>
          </p:nvSpPr>
          <p:spPr>
            <a:xfrm>
              <a:off x="6135102" y="3914251"/>
              <a:ext cx="198223" cy="183548"/>
            </a:xfrm>
            <a:custGeom>
              <a:avLst/>
              <a:gdLst>
                <a:gd name="connsiteX0" fmla="*/ 192140 w 198223"/>
                <a:gd name="connsiteY0" fmla="*/ 183359 h 183548"/>
                <a:gd name="connsiteX1" fmla="*/ 189103 w 198223"/>
                <a:gd name="connsiteY1" fmla="*/ 182599 h 183548"/>
                <a:gd name="connsiteX2" fmla="*/ 3038 w 198223"/>
                <a:gd name="connsiteY2" fmla="*/ 72859 h 183548"/>
                <a:gd name="connsiteX3" fmla="*/ 0 w 198223"/>
                <a:gd name="connsiteY3" fmla="*/ 67353 h 183548"/>
                <a:gd name="connsiteX4" fmla="*/ 3607 w 198223"/>
                <a:gd name="connsiteY4" fmla="*/ 62416 h 183548"/>
                <a:gd name="connsiteX5" fmla="*/ 4747 w 198223"/>
                <a:gd name="connsiteY5" fmla="*/ 62037 h 183548"/>
                <a:gd name="connsiteX6" fmla="*/ 171066 w 198223"/>
                <a:gd name="connsiteY6" fmla="*/ 331 h 183548"/>
                <a:gd name="connsiteX7" fmla="*/ 175812 w 198223"/>
                <a:gd name="connsiteY7" fmla="*/ 711 h 183548"/>
                <a:gd name="connsiteX8" fmla="*/ 178660 w 198223"/>
                <a:gd name="connsiteY8" fmla="*/ 4698 h 183548"/>
                <a:gd name="connsiteX9" fmla="*/ 197836 w 198223"/>
                <a:gd name="connsiteY9" fmla="*/ 178042 h 183548"/>
                <a:gd name="connsiteX10" fmla="*/ 194799 w 198223"/>
                <a:gd name="connsiteY10" fmla="*/ 182789 h 183548"/>
                <a:gd name="connsiteX11" fmla="*/ 192140 w 198223"/>
                <a:gd name="connsiteY11" fmla="*/ 183548 h 183548"/>
                <a:gd name="connsiteX12" fmla="*/ 192140 w 198223"/>
                <a:gd name="connsiteY12" fmla="*/ 183548 h 183548"/>
                <a:gd name="connsiteX13" fmla="*/ 19556 w 198223"/>
                <a:gd name="connsiteY13" fmla="*/ 68682 h 183548"/>
                <a:gd name="connsiteX14" fmla="*/ 186635 w 198223"/>
                <a:gd name="connsiteY14" fmla="*/ 167410 h 183548"/>
                <a:gd name="connsiteX15" fmla="*/ 168597 w 198223"/>
                <a:gd name="connsiteY15" fmla="*/ 13432 h 183548"/>
                <a:gd name="connsiteX16" fmla="*/ 19556 w 198223"/>
                <a:gd name="connsiteY16" fmla="*/ 68682 h 183548"/>
                <a:gd name="connsiteX17" fmla="*/ 19556 w 198223"/>
                <a:gd name="connsiteY17" fmla="*/ 68682 h 18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8223" h="183548">
                  <a:moveTo>
                    <a:pt x="192140" y="183359"/>
                  </a:moveTo>
                  <a:cubicBezTo>
                    <a:pt x="191001" y="183359"/>
                    <a:pt x="190052" y="182979"/>
                    <a:pt x="189103" y="182599"/>
                  </a:cubicBezTo>
                  <a:cubicBezTo>
                    <a:pt x="128347" y="144626"/>
                    <a:pt x="65692" y="107414"/>
                    <a:pt x="3038" y="72859"/>
                  </a:cubicBezTo>
                  <a:cubicBezTo>
                    <a:pt x="1139" y="71719"/>
                    <a:pt x="0" y="69631"/>
                    <a:pt x="0" y="67353"/>
                  </a:cubicBezTo>
                  <a:cubicBezTo>
                    <a:pt x="0" y="65074"/>
                    <a:pt x="1709" y="63176"/>
                    <a:pt x="3607" y="62416"/>
                  </a:cubicBezTo>
                  <a:lnTo>
                    <a:pt x="4747" y="62037"/>
                  </a:lnTo>
                  <a:cubicBezTo>
                    <a:pt x="58667" y="41721"/>
                    <a:pt x="114487" y="20836"/>
                    <a:pt x="171066" y="331"/>
                  </a:cubicBezTo>
                  <a:cubicBezTo>
                    <a:pt x="172585" y="-239"/>
                    <a:pt x="174483" y="-48"/>
                    <a:pt x="175812" y="711"/>
                  </a:cubicBezTo>
                  <a:cubicBezTo>
                    <a:pt x="177141" y="1470"/>
                    <a:pt x="178281" y="2989"/>
                    <a:pt x="178660" y="4698"/>
                  </a:cubicBezTo>
                  <a:cubicBezTo>
                    <a:pt x="190622" y="68112"/>
                    <a:pt x="200305" y="125071"/>
                    <a:pt x="197836" y="178042"/>
                  </a:cubicBezTo>
                  <a:cubicBezTo>
                    <a:pt x="197836" y="180131"/>
                    <a:pt x="196507" y="182029"/>
                    <a:pt x="194799" y="182789"/>
                  </a:cubicBezTo>
                  <a:cubicBezTo>
                    <a:pt x="194039" y="183168"/>
                    <a:pt x="193090" y="183548"/>
                    <a:pt x="192140" y="183548"/>
                  </a:cubicBezTo>
                  <a:lnTo>
                    <a:pt x="192140" y="183548"/>
                  </a:lnTo>
                  <a:close/>
                  <a:moveTo>
                    <a:pt x="19556" y="68682"/>
                  </a:moveTo>
                  <a:cubicBezTo>
                    <a:pt x="75755" y="100009"/>
                    <a:pt x="131954" y="133235"/>
                    <a:pt x="186635" y="167410"/>
                  </a:cubicBezTo>
                  <a:cubicBezTo>
                    <a:pt x="187394" y="120134"/>
                    <a:pt x="179040" y="69441"/>
                    <a:pt x="168597" y="13432"/>
                  </a:cubicBezTo>
                  <a:cubicBezTo>
                    <a:pt x="118094" y="31848"/>
                    <a:pt x="68160" y="50455"/>
                    <a:pt x="19556" y="68682"/>
                  </a:cubicBezTo>
                  <a:lnTo>
                    <a:pt x="19556" y="686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1303" name="Group 1302">
            <a:extLst>
              <a:ext uri="{FF2B5EF4-FFF2-40B4-BE49-F238E27FC236}">
                <a16:creationId xmlns:a16="http://schemas.microsoft.com/office/drawing/2014/main" id="{7A520116-2924-17F7-5A44-350AF1B57EBD}"/>
              </a:ext>
            </a:extLst>
          </p:cNvPr>
          <p:cNvGrpSpPr/>
          <p:nvPr userDrawn="1"/>
        </p:nvGrpSpPr>
        <p:grpSpPr>
          <a:xfrm>
            <a:off x="10608278" y="2766771"/>
            <a:ext cx="133359" cy="175146"/>
            <a:chOff x="10608278" y="2766771"/>
            <a:chExt cx="133359" cy="175146"/>
          </a:xfrm>
          <a:solidFill>
            <a:schemeClr val="accent4"/>
          </a:solidFill>
        </p:grpSpPr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33E7E931-CB08-0D61-ED35-7C90315F38D0}"/>
                </a:ext>
              </a:extLst>
            </p:cNvPr>
            <p:cNvSpPr/>
            <p:nvPr/>
          </p:nvSpPr>
          <p:spPr>
            <a:xfrm>
              <a:off x="10608278" y="2827453"/>
              <a:ext cx="133359" cy="63011"/>
            </a:xfrm>
            <a:custGeom>
              <a:avLst/>
              <a:gdLst>
                <a:gd name="connsiteX0" fmla="*/ 127375 w 133359"/>
                <a:gd name="connsiteY0" fmla="*/ 63012 h 63011"/>
                <a:gd name="connsiteX1" fmla="*/ 124338 w 133359"/>
                <a:gd name="connsiteY1" fmla="*/ 62252 h 63011"/>
                <a:gd name="connsiteX2" fmla="*/ 4345 w 133359"/>
                <a:gd name="connsiteY2" fmla="*/ 11369 h 63011"/>
                <a:gd name="connsiteX3" fmla="*/ 168 w 133359"/>
                <a:gd name="connsiteY3" fmla="*/ 4344 h 63011"/>
                <a:gd name="connsiteX4" fmla="*/ 7192 w 133359"/>
                <a:gd name="connsiteY4" fmla="*/ 167 h 63011"/>
                <a:gd name="connsiteX5" fmla="*/ 130603 w 133359"/>
                <a:gd name="connsiteY5" fmla="*/ 52380 h 63011"/>
                <a:gd name="connsiteX6" fmla="*/ 132502 w 133359"/>
                <a:gd name="connsiteY6" fmla="*/ 60354 h 63011"/>
                <a:gd name="connsiteX7" fmla="*/ 127565 w 133359"/>
                <a:gd name="connsiteY7" fmla="*/ 63012 h 63011"/>
                <a:gd name="connsiteX8" fmla="*/ 127565 w 133359"/>
                <a:gd name="connsiteY8" fmla="*/ 63012 h 6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359" h="63011">
                  <a:moveTo>
                    <a:pt x="127375" y="63012"/>
                  </a:moveTo>
                  <a:cubicBezTo>
                    <a:pt x="126426" y="63012"/>
                    <a:pt x="125287" y="62822"/>
                    <a:pt x="124338" y="62252"/>
                  </a:cubicBezTo>
                  <a:cubicBezTo>
                    <a:pt x="87314" y="38899"/>
                    <a:pt x="46873" y="22002"/>
                    <a:pt x="4345" y="11369"/>
                  </a:cubicBezTo>
                  <a:cubicBezTo>
                    <a:pt x="1307" y="10610"/>
                    <a:pt x="-592" y="7382"/>
                    <a:pt x="168" y="4344"/>
                  </a:cubicBezTo>
                  <a:cubicBezTo>
                    <a:pt x="927" y="1307"/>
                    <a:pt x="4154" y="-592"/>
                    <a:pt x="7192" y="167"/>
                  </a:cubicBezTo>
                  <a:cubicBezTo>
                    <a:pt x="50860" y="10990"/>
                    <a:pt x="92440" y="28457"/>
                    <a:pt x="130603" y="52380"/>
                  </a:cubicBezTo>
                  <a:cubicBezTo>
                    <a:pt x="133261" y="54088"/>
                    <a:pt x="134210" y="57696"/>
                    <a:pt x="132502" y="60354"/>
                  </a:cubicBezTo>
                  <a:cubicBezTo>
                    <a:pt x="131362" y="62063"/>
                    <a:pt x="129464" y="63012"/>
                    <a:pt x="127565" y="63012"/>
                  </a:cubicBezTo>
                  <a:lnTo>
                    <a:pt x="127565" y="63012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00A79BE7-9527-2124-2736-853179532AB3}"/>
                </a:ext>
              </a:extLst>
            </p:cNvPr>
            <p:cNvSpPr/>
            <p:nvPr/>
          </p:nvSpPr>
          <p:spPr>
            <a:xfrm>
              <a:off x="10652262" y="2766771"/>
              <a:ext cx="41145" cy="175146"/>
            </a:xfrm>
            <a:custGeom>
              <a:avLst/>
              <a:gdLst>
                <a:gd name="connsiteX0" fmla="*/ 5737 w 41145"/>
                <a:gd name="connsiteY0" fmla="*/ 174957 h 175146"/>
                <a:gd name="connsiteX1" fmla="*/ 4978 w 41145"/>
                <a:gd name="connsiteY1" fmla="*/ 174957 h 175146"/>
                <a:gd name="connsiteX2" fmla="*/ 41 w 41145"/>
                <a:gd name="connsiteY2" fmla="*/ 168501 h 175146"/>
                <a:gd name="connsiteX3" fmla="*/ 29470 w 41145"/>
                <a:gd name="connsiteY3" fmla="*/ 4650 h 175146"/>
                <a:gd name="connsiteX4" fmla="*/ 36495 w 41145"/>
                <a:gd name="connsiteY4" fmla="*/ 94 h 175146"/>
                <a:gd name="connsiteX5" fmla="*/ 41052 w 41145"/>
                <a:gd name="connsiteY5" fmla="*/ 7119 h 175146"/>
                <a:gd name="connsiteX6" fmla="*/ 11813 w 41145"/>
                <a:gd name="connsiteY6" fmla="*/ 170210 h 175146"/>
                <a:gd name="connsiteX7" fmla="*/ 6117 w 41145"/>
                <a:gd name="connsiteY7" fmla="*/ 175147 h 175146"/>
                <a:gd name="connsiteX8" fmla="*/ 6117 w 41145"/>
                <a:gd name="connsiteY8" fmla="*/ 175147 h 17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45" h="175146">
                  <a:moveTo>
                    <a:pt x="5737" y="174957"/>
                  </a:moveTo>
                  <a:lnTo>
                    <a:pt x="4978" y="174957"/>
                  </a:lnTo>
                  <a:cubicBezTo>
                    <a:pt x="1940" y="174577"/>
                    <a:pt x="-338" y="171539"/>
                    <a:pt x="41" y="168501"/>
                  </a:cubicBezTo>
                  <a:cubicBezTo>
                    <a:pt x="8205" y="113821"/>
                    <a:pt x="17888" y="58571"/>
                    <a:pt x="29470" y="4650"/>
                  </a:cubicBezTo>
                  <a:cubicBezTo>
                    <a:pt x="30229" y="1613"/>
                    <a:pt x="33077" y="-476"/>
                    <a:pt x="36495" y="94"/>
                  </a:cubicBezTo>
                  <a:cubicBezTo>
                    <a:pt x="39532" y="853"/>
                    <a:pt x="41621" y="3701"/>
                    <a:pt x="41052" y="7119"/>
                  </a:cubicBezTo>
                  <a:cubicBezTo>
                    <a:pt x="29660" y="60850"/>
                    <a:pt x="19787" y="115910"/>
                    <a:pt x="11813" y="170210"/>
                  </a:cubicBezTo>
                  <a:cubicBezTo>
                    <a:pt x="11433" y="173058"/>
                    <a:pt x="8775" y="175147"/>
                    <a:pt x="6117" y="175147"/>
                  </a:cubicBezTo>
                  <a:lnTo>
                    <a:pt x="6117" y="175147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1304" name="Freeform: Shape 1303">
            <a:extLst>
              <a:ext uri="{FF2B5EF4-FFF2-40B4-BE49-F238E27FC236}">
                <a16:creationId xmlns:a16="http://schemas.microsoft.com/office/drawing/2014/main" id="{6674D98C-B57E-3DD0-8A5B-C01CAC10B1D7}"/>
              </a:ext>
            </a:extLst>
          </p:cNvPr>
          <p:cNvSpPr/>
          <p:nvPr userDrawn="1"/>
        </p:nvSpPr>
        <p:spPr>
          <a:xfrm>
            <a:off x="6999164" y="4167858"/>
            <a:ext cx="831596" cy="339283"/>
          </a:xfrm>
          <a:custGeom>
            <a:avLst/>
            <a:gdLst>
              <a:gd name="connsiteX0" fmla="*/ 791725 w 831596"/>
              <a:gd name="connsiteY0" fmla="*/ 262579 h 339283"/>
              <a:gd name="connsiteX1" fmla="*/ 831597 w 831596"/>
              <a:gd name="connsiteY1" fmla="*/ 237518 h 339283"/>
              <a:gd name="connsiteX2" fmla="*/ 437063 w 831596"/>
              <a:gd name="connsiteY2" fmla="*/ 0 h 339283"/>
              <a:gd name="connsiteX3" fmla="*/ 125689 w 831596"/>
              <a:gd name="connsiteY3" fmla="*/ 78033 h 339283"/>
              <a:gd name="connsiteX4" fmla="*/ 0 w 831596"/>
              <a:gd name="connsiteY4" fmla="*/ 214165 h 339283"/>
              <a:gd name="connsiteX5" fmla="*/ 46516 w 831596"/>
              <a:gd name="connsiteY5" fmla="*/ 244163 h 339283"/>
              <a:gd name="connsiteX6" fmla="*/ 159674 w 831596"/>
              <a:gd name="connsiteY6" fmla="*/ 317639 h 339283"/>
              <a:gd name="connsiteX7" fmla="*/ 437443 w 831596"/>
              <a:gd name="connsiteY7" fmla="*/ 172585 h 339283"/>
              <a:gd name="connsiteX8" fmla="*/ 682555 w 831596"/>
              <a:gd name="connsiteY8" fmla="*/ 339284 h 339283"/>
              <a:gd name="connsiteX9" fmla="*/ 791536 w 831596"/>
              <a:gd name="connsiteY9" fmla="*/ 262389 h 339283"/>
              <a:gd name="connsiteX10" fmla="*/ 791536 w 831596"/>
              <a:gd name="connsiteY10" fmla="*/ 262769 h 339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1596" h="339283">
                <a:moveTo>
                  <a:pt x="791725" y="262579"/>
                </a:moveTo>
                <a:cubicBezTo>
                  <a:pt x="805016" y="254035"/>
                  <a:pt x="818306" y="245872"/>
                  <a:pt x="831597" y="237518"/>
                </a:cubicBezTo>
                <a:cubicBezTo>
                  <a:pt x="734957" y="61325"/>
                  <a:pt x="550791" y="8164"/>
                  <a:pt x="437063" y="0"/>
                </a:cubicBezTo>
                <a:cubicBezTo>
                  <a:pt x="328842" y="3607"/>
                  <a:pt x="254416" y="3607"/>
                  <a:pt x="125689" y="78033"/>
                </a:cubicBezTo>
                <a:cubicBezTo>
                  <a:pt x="93222" y="96830"/>
                  <a:pt x="42529" y="143536"/>
                  <a:pt x="0" y="214165"/>
                </a:cubicBezTo>
                <a:cubicBezTo>
                  <a:pt x="15569" y="224037"/>
                  <a:pt x="31137" y="234100"/>
                  <a:pt x="46516" y="244163"/>
                </a:cubicBezTo>
                <a:cubicBezTo>
                  <a:pt x="84299" y="268655"/>
                  <a:pt x="122082" y="292957"/>
                  <a:pt x="159674" y="317639"/>
                </a:cubicBezTo>
                <a:cubicBezTo>
                  <a:pt x="211886" y="221569"/>
                  <a:pt x="315171" y="172585"/>
                  <a:pt x="437443" y="172585"/>
                </a:cubicBezTo>
                <a:cubicBezTo>
                  <a:pt x="559714" y="172585"/>
                  <a:pt x="639456" y="253086"/>
                  <a:pt x="682555" y="339284"/>
                </a:cubicBezTo>
                <a:cubicBezTo>
                  <a:pt x="718059" y="312513"/>
                  <a:pt x="754133" y="286502"/>
                  <a:pt x="791536" y="262389"/>
                </a:cubicBezTo>
                <a:lnTo>
                  <a:pt x="791536" y="262769"/>
                </a:lnTo>
                <a:close/>
              </a:path>
            </a:pathLst>
          </a:custGeom>
          <a:solidFill>
            <a:srgbClr val="E1EBE5"/>
          </a:solidFill>
          <a:ln w="495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05" name="Freeform: Shape 1304">
            <a:extLst>
              <a:ext uri="{FF2B5EF4-FFF2-40B4-BE49-F238E27FC236}">
                <a16:creationId xmlns:a16="http://schemas.microsoft.com/office/drawing/2014/main" id="{2D4B7427-E69F-7FD0-0637-C81E6B3D1D0A}"/>
              </a:ext>
            </a:extLst>
          </p:cNvPr>
          <p:cNvSpPr/>
          <p:nvPr userDrawn="1"/>
        </p:nvSpPr>
        <p:spPr>
          <a:xfrm>
            <a:off x="6922029" y="4514926"/>
            <a:ext cx="442050" cy="621988"/>
          </a:xfrm>
          <a:custGeom>
            <a:avLst/>
            <a:gdLst>
              <a:gd name="connsiteX0" fmla="*/ 418697 w 442050"/>
              <a:gd name="connsiteY0" fmla="*/ 567498 h 621988"/>
              <a:gd name="connsiteX1" fmla="*/ 442050 w 442050"/>
              <a:gd name="connsiteY1" fmla="*/ 444847 h 621988"/>
              <a:gd name="connsiteX2" fmla="*/ 350916 w 442050"/>
              <a:gd name="connsiteY2" fmla="*/ 424532 h 621988"/>
              <a:gd name="connsiteX3" fmla="*/ 280667 w 442050"/>
              <a:gd name="connsiteY3" fmla="*/ 374598 h 621988"/>
              <a:gd name="connsiteX4" fmla="*/ 201305 w 442050"/>
              <a:gd name="connsiteY4" fmla="*/ 212456 h 621988"/>
              <a:gd name="connsiteX5" fmla="*/ 201305 w 442050"/>
              <a:gd name="connsiteY5" fmla="*/ 108032 h 621988"/>
              <a:gd name="connsiteX6" fmla="*/ 208899 w 442050"/>
              <a:gd name="connsiteY6" fmla="*/ 49364 h 621988"/>
              <a:gd name="connsiteX7" fmla="*/ 20176 w 442050"/>
              <a:gd name="connsiteY7" fmla="*/ 0 h 621988"/>
              <a:gd name="connsiteX8" fmla="*/ 31188 w 442050"/>
              <a:gd name="connsiteY8" fmla="*/ 343461 h 621988"/>
              <a:gd name="connsiteX9" fmla="*/ 405786 w 442050"/>
              <a:gd name="connsiteY9" fmla="*/ 621989 h 621988"/>
              <a:gd name="connsiteX10" fmla="*/ 418887 w 442050"/>
              <a:gd name="connsiteY10" fmla="*/ 567498 h 621988"/>
              <a:gd name="connsiteX11" fmla="*/ 418887 w 442050"/>
              <a:gd name="connsiteY11" fmla="*/ 567498 h 62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2050" h="621988">
                <a:moveTo>
                  <a:pt x="418697" y="567498"/>
                </a:moveTo>
                <a:cubicBezTo>
                  <a:pt x="425722" y="526488"/>
                  <a:pt x="433696" y="485478"/>
                  <a:pt x="442050" y="444847"/>
                </a:cubicBezTo>
                <a:cubicBezTo>
                  <a:pt x="411293" y="441809"/>
                  <a:pt x="379586" y="436303"/>
                  <a:pt x="350916" y="424532"/>
                </a:cubicBezTo>
                <a:cubicBezTo>
                  <a:pt x="324525" y="413710"/>
                  <a:pt x="300413" y="395293"/>
                  <a:pt x="280667" y="374598"/>
                </a:cubicBezTo>
                <a:cubicBezTo>
                  <a:pt x="238518" y="330930"/>
                  <a:pt x="209659" y="273401"/>
                  <a:pt x="201305" y="212456"/>
                </a:cubicBezTo>
                <a:cubicBezTo>
                  <a:pt x="196559" y="177711"/>
                  <a:pt x="199406" y="143156"/>
                  <a:pt x="201305" y="108032"/>
                </a:cubicBezTo>
                <a:cubicBezTo>
                  <a:pt x="202254" y="87336"/>
                  <a:pt x="204912" y="67781"/>
                  <a:pt x="208899" y="49364"/>
                </a:cubicBezTo>
                <a:cubicBezTo>
                  <a:pt x="145675" y="34365"/>
                  <a:pt x="83590" y="14240"/>
                  <a:pt x="20176" y="0"/>
                </a:cubicBezTo>
                <a:cubicBezTo>
                  <a:pt x="-6025" y="94172"/>
                  <a:pt x="-10961" y="209798"/>
                  <a:pt x="31188" y="343461"/>
                </a:cubicBezTo>
                <a:cubicBezTo>
                  <a:pt x="90236" y="530475"/>
                  <a:pt x="263959" y="599395"/>
                  <a:pt x="405786" y="621989"/>
                </a:cubicBezTo>
                <a:cubicBezTo>
                  <a:pt x="409774" y="603572"/>
                  <a:pt x="414140" y="585535"/>
                  <a:pt x="418887" y="567498"/>
                </a:cubicBezTo>
                <a:lnTo>
                  <a:pt x="418887" y="56749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06" name="Freeform: Shape 1305">
            <a:extLst>
              <a:ext uri="{FF2B5EF4-FFF2-40B4-BE49-F238E27FC236}">
                <a16:creationId xmlns:a16="http://schemas.microsoft.com/office/drawing/2014/main" id="{A30E03A6-DF53-A037-3265-A8615D6D3525}"/>
              </a:ext>
            </a:extLst>
          </p:cNvPr>
          <p:cNvSpPr/>
          <p:nvPr userDrawn="1"/>
        </p:nvSpPr>
        <p:spPr>
          <a:xfrm>
            <a:off x="7467365" y="4554607"/>
            <a:ext cx="427759" cy="591420"/>
          </a:xfrm>
          <a:custGeom>
            <a:avLst/>
            <a:gdLst>
              <a:gd name="connsiteX0" fmla="*/ 415988 w 427759"/>
              <a:gd name="connsiteY0" fmla="*/ 0 h 591420"/>
              <a:gd name="connsiteX1" fmla="*/ 244732 w 427759"/>
              <a:gd name="connsiteY1" fmla="*/ 33606 h 591420"/>
              <a:gd name="connsiteX2" fmla="*/ 254036 w 427759"/>
              <a:gd name="connsiteY2" fmla="*/ 88476 h 591420"/>
              <a:gd name="connsiteX3" fmla="*/ 250618 w 427759"/>
              <a:gd name="connsiteY3" fmla="*/ 142966 h 591420"/>
              <a:gd name="connsiteX4" fmla="*/ 222328 w 427759"/>
              <a:gd name="connsiteY4" fmla="*/ 239036 h 591420"/>
              <a:gd name="connsiteX5" fmla="*/ 111259 w 427759"/>
              <a:gd name="connsiteY5" fmla="*/ 375738 h 591420"/>
              <a:gd name="connsiteX6" fmla="*/ 13860 w 427759"/>
              <a:gd name="connsiteY6" fmla="*/ 403647 h 591420"/>
              <a:gd name="connsiteX7" fmla="*/ 0 w 427759"/>
              <a:gd name="connsiteY7" fmla="*/ 405166 h 591420"/>
              <a:gd name="connsiteX8" fmla="*/ 6835 w 427759"/>
              <a:gd name="connsiteY8" fmla="*/ 468770 h 591420"/>
              <a:gd name="connsiteX9" fmla="*/ 20505 w 427759"/>
              <a:gd name="connsiteY9" fmla="*/ 591421 h 591420"/>
              <a:gd name="connsiteX10" fmla="*/ 30758 w 427759"/>
              <a:gd name="connsiteY10" fmla="*/ 590661 h 591420"/>
              <a:gd name="connsiteX11" fmla="*/ 427760 w 427759"/>
              <a:gd name="connsiteY11" fmla="*/ 129296 h 591420"/>
              <a:gd name="connsiteX12" fmla="*/ 416178 w 427759"/>
              <a:gd name="connsiteY12" fmla="*/ 190 h 591420"/>
              <a:gd name="connsiteX13" fmla="*/ 416178 w 427759"/>
              <a:gd name="connsiteY13" fmla="*/ 190 h 59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27759" h="591420">
                <a:moveTo>
                  <a:pt x="415988" y="0"/>
                </a:moveTo>
                <a:cubicBezTo>
                  <a:pt x="358650" y="9873"/>
                  <a:pt x="301501" y="19936"/>
                  <a:pt x="244732" y="33606"/>
                </a:cubicBezTo>
                <a:cubicBezTo>
                  <a:pt x="249669" y="53161"/>
                  <a:pt x="252896" y="71768"/>
                  <a:pt x="254036" y="88476"/>
                </a:cubicBezTo>
                <a:cubicBezTo>
                  <a:pt x="254985" y="102146"/>
                  <a:pt x="254036" y="124740"/>
                  <a:pt x="250618" y="142966"/>
                </a:cubicBezTo>
                <a:cubicBezTo>
                  <a:pt x="244922" y="175623"/>
                  <a:pt x="234670" y="208469"/>
                  <a:pt x="222328" y="239036"/>
                </a:cubicBezTo>
                <a:cubicBezTo>
                  <a:pt x="199925" y="294476"/>
                  <a:pt x="164990" y="348587"/>
                  <a:pt x="111259" y="375738"/>
                </a:cubicBezTo>
                <a:cubicBezTo>
                  <a:pt x="80502" y="391306"/>
                  <a:pt x="47845" y="399280"/>
                  <a:pt x="13860" y="403647"/>
                </a:cubicBezTo>
                <a:cubicBezTo>
                  <a:pt x="9113" y="404217"/>
                  <a:pt x="4557" y="404786"/>
                  <a:pt x="0" y="405166"/>
                </a:cubicBezTo>
                <a:cubicBezTo>
                  <a:pt x="2278" y="426241"/>
                  <a:pt x="4367" y="447695"/>
                  <a:pt x="6835" y="468770"/>
                </a:cubicBezTo>
                <a:cubicBezTo>
                  <a:pt x="11202" y="509590"/>
                  <a:pt x="15948" y="550411"/>
                  <a:pt x="20505" y="591421"/>
                </a:cubicBezTo>
                <a:cubicBezTo>
                  <a:pt x="24113" y="591231"/>
                  <a:pt x="27530" y="591041"/>
                  <a:pt x="30758" y="590661"/>
                </a:cubicBezTo>
                <a:cubicBezTo>
                  <a:pt x="301311" y="567308"/>
                  <a:pt x="427760" y="280047"/>
                  <a:pt x="427760" y="129296"/>
                </a:cubicBezTo>
                <a:cubicBezTo>
                  <a:pt x="427760" y="82210"/>
                  <a:pt x="423583" y="39491"/>
                  <a:pt x="416178" y="190"/>
                </a:cubicBezTo>
                <a:lnTo>
                  <a:pt x="416178" y="19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07" name="Freeform: Shape 1306">
            <a:extLst>
              <a:ext uri="{FF2B5EF4-FFF2-40B4-BE49-F238E27FC236}">
                <a16:creationId xmlns:a16="http://schemas.microsoft.com/office/drawing/2014/main" id="{0893E394-3888-C5AF-175C-CFCB1F7409BF}"/>
              </a:ext>
            </a:extLst>
          </p:cNvPr>
          <p:cNvSpPr/>
          <p:nvPr userDrawn="1"/>
        </p:nvSpPr>
        <p:spPr>
          <a:xfrm>
            <a:off x="7511645" y="5070843"/>
            <a:ext cx="37888" cy="37402"/>
          </a:xfrm>
          <a:custGeom>
            <a:avLst/>
            <a:gdLst>
              <a:gd name="connsiteX0" fmla="*/ 36222 w 37888"/>
              <a:gd name="connsiteY0" fmla="*/ 37403 h 37402"/>
              <a:gd name="connsiteX1" fmla="*/ 34892 w 37888"/>
              <a:gd name="connsiteY1" fmla="*/ 36833 h 37402"/>
              <a:gd name="connsiteX2" fmla="*/ 338 w 37888"/>
              <a:gd name="connsiteY2" fmla="*/ 3228 h 37402"/>
              <a:gd name="connsiteX3" fmla="*/ 338 w 37888"/>
              <a:gd name="connsiteY3" fmla="*/ 569 h 37402"/>
              <a:gd name="connsiteX4" fmla="*/ 2996 w 37888"/>
              <a:gd name="connsiteY4" fmla="*/ 569 h 37402"/>
              <a:gd name="connsiteX5" fmla="*/ 37550 w 37888"/>
              <a:gd name="connsiteY5" fmla="*/ 34175 h 37402"/>
              <a:gd name="connsiteX6" fmla="*/ 37550 w 37888"/>
              <a:gd name="connsiteY6" fmla="*/ 36833 h 37402"/>
              <a:gd name="connsiteX7" fmla="*/ 36222 w 37888"/>
              <a:gd name="connsiteY7" fmla="*/ 37403 h 37402"/>
              <a:gd name="connsiteX8" fmla="*/ 36222 w 37888"/>
              <a:gd name="connsiteY8" fmla="*/ 37403 h 3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88" h="37402">
                <a:moveTo>
                  <a:pt x="36222" y="37403"/>
                </a:moveTo>
                <a:cubicBezTo>
                  <a:pt x="36222" y="37403"/>
                  <a:pt x="35272" y="37403"/>
                  <a:pt x="34892" y="36833"/>
                </a:cubicBezTo>
                <a:lnTo>
                  <a:pt x="338" y="3228"/>
                </a:lnTo>
                <a:cubicBezTo>
                  <a:pt x="338" y="3228"/>
                  <a:pt x="-422" y="1329"/>
                  <a:pt x="338" y="569"/>
                </a:cubicBezTo>
                <a:cubicBezTo>
                  <a:pt x="1097" y="-190"/>
                  <a:pt x="2236" y="-190"/>
                  <a:pt x="2996" y="569"/>
                </a:cubicBezTo>
                <a:lnTo>
                  <a:pt x="37550" y="34175"/>
                </a:lnTo>
                <a:cubicBezTo>
                  <a:pt x="37550" y="34175"/>
                  <a:pt x="38310" y="36074"/>
                  <a:pt x="37550" y="36833"/>
                </a:cubicBezTo>
                <a:cubicBezTo>
                  <a:pt x="37171" y="37213"/>
                  <a:pt x="36791" y="37403"/>
                  <a:pt x="36222" y="37403"/>
                </a:cubicBezTo>
                <a:lnTo>
                  <a:pt x="36222" y="3740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08" name="Freeform: Shape 1307">
            <a:extLst>
              <a:ext uri="{FF2B5EF4-FFF2-40B4-BE49-F238E27FC236}">
                <a16:creationId xmlns:a16="http://schemas.microsoft.com/office/drawing/2014/main" id="{53406BE4-9ED6-08CA-68BB-25926D14409C}"/>
              </a:ext>
            </a:extLst>
          </p:cNvPr>
          <p:cNvSpPr/>
          <p:nvPr userDrawn="1"/>
        </p:nvSpPr>
        <p:spPr>
          <a:xfrm>
            <a:off x="7500780" y="5012935"/>
            <a:ext cx="94767" cy="86577"/>
          </a:xfrm>
          <a:custGeom>
            <a:avLst/>
            <a:gdLst>
              <a:gd name="connsiteX0" fmla="*/ 93033 w 94767"/>
              <a:gd name="connsiteY0" fmla="*/ 86387 h 86577"/>
              <a:gd name="connsiteX1" fmla="*/ 91703 w 94767"/>
              <a:gd name="connsiteY1" fmla="*/ 86007 h 86577"/>
              <a:gd name="connsiteX2" fmla="*/ 569 w 94767"/>
              <a:gd name="connsiteY2" fmla="*/ 3228 h 86577"/>
              <a:gd name="connsiteX3" fmla="*/ 569 w 94767"/>
              <a:gd name="connsiteY3" fmla="*/ 569 h 86577"/>
              <a:gd name="connsiteX4" fmla="*/ 3228 w 94767"/>
              <a:gd name="connsiteY4" fmla="*/ 569 h 86577"/>
              <a:gd name="connsiteX5" fmla="*/ 94172 w 94767"/>
              <a:gd name="connsiteY5" fmla="*/ 83160 h 86577"/>
              <a:gd name="connsiteX6" fmla="*/ 94361 w 94767"/>
              <a:gd name="connsiteY6" fmla="*/ 85818 h 86577"/>
              <a:gd name="connsiteX7" fmla="*/ 93033 w 94767"/>
              <a:gd name="connsiteY7" fmla="*/ 86577 h 86577"/>
              <a:gd name="connsiteX8" fmla="*/ 93033 w 94767"/>
              <a:gd name="connsiteY8" fmla="*/ 86577 h 86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767" h="86577">
                <a:moveTo>
                  <a:pt x="93033" y="86387"/>
                </a:moveTo>
                <a:cubicBezTo>
                  <a:pt x="93033" y="86387"/>
                  <a:pt x="92273" y="86387"/>
                  <a:pt x="91703" y="86007"/>
                </a:cubicBezTo>
                <a:cubicBezTo>
                  <a:pt x="60376" y="59617"/>
                  <a:pt x="29808" y="31707"/>
                  <a:pt x="569" y="3228"/>
                </a:cubicBezTo>
                <a:cubicBezTo>
                  <a:pt x="-190" y="2468"/>
                  <a:pt x="-190" y="1329"/>
                  <a:pt x="569" y="569"/>
                </a:cubicBezTo>
                <a:cubicBezTo>
                  <a:pt x="1329" y="-190"/>
                  <a:pt x="2468" y="-190"/>
                  <a:pt x="3228" y="569"/>
                </a:cubicBezTo>
                <a:cubicBezTo>
                  <a:pt x="32466" y="29049"/>
                  <a:pt x="63034" y="56769"/>
                  <a:pt x="94172" y="83160"/>
                </a:cubicBezTo>
                <a:cubicBezTo>
                  <a:pt x="94931" y="83919"/>
                  <a:pt x="94931" y="85058"/>
                  <a:pt x="94361" y="85818"/>
                </a:cubicBezTo>
                <a:cubicBezTo>
                  <a:pt x="93982" y="86198"/>
                  <a:pt x="93412" y="86577"/>
                  <a:pt x="93033" y="86577"/>
                </a:cubicBezTo>
                <a:lnTo>
                  <a:pt x="93033" y="86577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09" name="Freeform: Shape 1308">
            <a:extLst>
              <a:ext uri="{FF2B5EF4-FFF2-40B4-BE49-F238E27FC236}">
                <a16:creationId xmlns:a16="http://schemas.microsoft.com/office/drawing/2014/main" id="{D4AE2877-1386-8BF6-6E1F-F7FB02C01C86}"/>
              </a:ext>
            </a:extLst>
          </p:cNvPr>
          <p:cNvSpPr/>
          <p:nvPr userDrawn="1"/>
        </p:nvSpPr>
        <p:spPr>
          <a:xfrm>
            <a:off x="7519239" y="4975532"/>
            <a:ext cx="117630" cy="106702"/>
          </a:xfrm>
          <a:custGeom>
            <a:avLst/>
            <a:gdLst>
              <a:gd name="connsiteX0" fmla="*/ 115964 w 117630"/>
              <a:gd name="connsiteY0" fmla="*/ 106323 h 106702"/>
              <a:gd name="connsiteX1" fmla="*/ 114635 w 117630"/>
              <a:gd name="connsiteY1" fmla="*/ 105943 h 106702"/>
              <a:gd name="connsiteX2" fmla="*/ 338 w 117630"/>
              <a:gd name="connsiteY2" fmla="*/ 3228 h 106702"/>
              <a:gd name="connsiteX3" fmla="*/ 338 w 117630"/>
              <a:gd name="connsiteY3" fmla="*/ 569 h 106702"/>
              <a:gd name="connsiteX4" fmla="*/ 2996 w 117630"/>
              <a:gd name="connsiteY4" fmla="*/ 569 h 106702"/>
              <a:gd name="connsiteX5" fmla="*/ 117293 w 117630"/>
              <a:gd name="connsiteY5" fmla="*/ 103285 h 106702"/>
              <a:gd name="connsiteX6" fmla="*/ 117293 w 117630"/>
              <a:gd name="connsiteY6" fmla="*/ 105943 h 106702"/>
              <a:gd name="connsiteX7" fmla="*/ 115964 w 117630"/>
              <a:gd name="connsiteY7" fmla="*/ 106703 h 106702"/>
              <a:gd name="connsiteX8" fmla="*/ 115964 w 117630"/>
              <a:gd name="connsiteY8" fmla="*/ 106703 h 10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630" h="106702">
                <a:moveTo>
                  <a:pt x="115964" y="106323"/>
                </a:moveTo>
                <a:cubicBezTo>
                  <a:pt x="115964" y="106323"/>
                  <a:pt x="115014" y="106323"/>
                  <a:pt x="114635" y="105943"/>
                </a:cubicBezTo>
                <a:lnTo>
                  <a:pt x="338" y="3228"/>
                </a:lnTo>
                <a:cubicBezTo>
                  <a:pt x="338" y="3228"/>
                  <a:pt x="-422" y="1329"/>
                  <a:pt x="338" y="569"/>
                </a:cubicBezTo>
                <a:cubicBezTo>
                  <a:pt x="1097" y="-190"/>
                  <a:pt x="2236" y="-190"/>
                  <a:pt x="2996" y="569"/>
                </a:cubicBezTo>
                <a:lnTo>
                  <a:pt x="117293" y="103285"/>
                </a:lnTo>
                <a:cubicBezTo>
                  <a:pt x="117293" y="103285"/>
                  <a:pt x="118052" y="105184"/>
                  <a:pt x="117293" y="105943"/>
                </a:cubicBezTo>
                <a:cubicBezTo>
                  <a:pt x="116913" y="106323"/>
                  <a:pt x="116533" y="106703"/>
                  <a:pt x="115964" y="106703"/>
                </a:cubicBezTo>
                <a:lnTo>
                  <a:pt x="115964" y="10670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0" name="Freeform: Shape 1309">
            <a:extLst>
              <a:ext uri="{FF2B5EF4-FFF2-40B4-BE49-F238E27FC236}">
                <a16:creationId xmlns:a16="http://schemas.microsoft.com/office/drawing/2014/main" id="{E87D5771-C3BE-4C82-E6BD-5068BC014D2C}"/>
              </a:ext>
            </a:extLst>
          </p:cNvPr>
          <p:cNvSpPr/>
          <p:nvPr userDrawn="1"/>
        </p:nvSpPr>
        <p:spPr>
          <a:xfrm>
            <a:off x="7573498" y="4959963"/>
            <a:ext cx="108704" cy="92652"/>
          </a:xfrm>
          <a:custGeom>
            <a:avLst/>
            <a:gdLst>
              <a:gd name="connsiteX0" fmla="*/ 106702 w 108704"/>
              <a:gd name="connsiteY0" fmla="*/ 92463 h 92652"/>
              <a:gd name="connsiteX1" fmla="*/ 105563 w 108704"/>
              <a:gd name="connsiteY1" fmla="*/ 92083 h 92652"/>
              <a:gd name="connsiteX2" fmla="*/ 569 w 108704"/>
              <a:gd name="connsiteY2" fmla="*/ 3228 h 92652"/>
              <a:gd name="connsiteX3" fmla="*/ 569 w 108704"/>
              <a:gd name="connsiteY3" fmla="*/ 570 h 92652"/>
              <a:gd name="connsiteX4" fmla="*/ 3228 w 108704"/>
              <a:gd name="connsiteY4" fmla="*/ 570 h 92652"/>
              <a:gd name="connsiteX5" fmla="*/ 108032 w 108704"/>
              <a:gd name="connsiteY5" fmla="*/ 89235 h 92652"/>
              <a:gd name="connsiteX6" fmla="*/ 108221 w 108704"/>
              <a:gd name="connsiteY6" fmla="*/ 91893 h 92652"/>
              <a:gd name="connsiteX7" fmla="*/ 106702 w 108704"/>
              <a:gd name="connsiteY7" fmla="*/ 92653 h 92652"/>
              <a:gd name="connsiteX8" fmla="*/ 106702 w 108704"/>
              <a:gd name="connsiteY8" fmla="*/ 92653 h 92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704" h="92652">
                <a:moveTo>
                  <a:pt x="106702" y="92463"/>
                </a:moveTo>
                <a:cubicBezTo>
                  <a:pt x="106702" y="92463"/>
                  <a:pt x="105943" y="92463"/>
                  <a:pt x="105563" y="92083"/>
                </a:cubicBezTo>
                <a:cubicBezTo>
                  <a:pt x="69490" y="64173"/>
                  <a:pt x="34175" y="34175"/>
                  <a:pt x="569" y="3228"/>
                </a:cubicBezTo>
                <a:cubicBezTo>
                  <a:pt x="-190" y="2468"/>
                  <a:pt x="-190" y="1329"/>
                  <a:pt x="569" y="570"/>
                </a:cubicBezTo>
                <a:cubicBezTo>
                  <a:pt x="1329" y="-190"/>
                  <a:pt x="2468" y="-190"/>
                  <a:pt x="3228" y="570"/>
                </a:cubicBezTo>
                <a:cubicBezTo>
                  <a:pt x="36833" y="31327"/>
                  <a:pt x="71958" y="61136"/>
                  <a:pt x="108032" y="89235"/>
                </a:cubicBezTo>
                <a:cubicBezTo>
                  <a:pt x="108791" y="89995"/>
                  <a:pt x="108981" y="91134"/>
                  <a:pt x="108221" y="91893"/>
                </a:cubicBezTo>
                <a:cubicBezTo>
                  <a:pt x="107842" y="92273"/>
                  <a:pt x="107272" y="92653"/>
                  <a:pt x="106702" y="92653"/>
                </a:cubicBezTo>
                <a:lnTo>
                  <a:pt x="106702" y="9265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1" name="Freeform: Shape 1310">
            <a:extLst>
              <a:ext uri="{FF2B5EF4-FFF2-40B4-BE49-F238E27FC236}">
                <a16:creationId xmlns:a16="http://schemas.microsoft.com/office/drawing/2014/main" id="{0F461173-E195-4DDD-016C-E73AE2740450}"/>
              </a:ext>
            </a:extLst>
          </p:cNvPr>
          <p:cNvSpPr/>
          <p:nvPr userDrawn="1"/>
        </p:nvSpPr>
        <p:spPr>
          <a:xfrm>
            <a:off x="7607759" y="4934418"/>
            <a:ext cx="110877" cy="84022"/>
          </a:xfrm>
          <a:custGeom>
            <a:avLst/>
            <a:gdLst>
              <a:gd name="connsiteX0" fmla="*/ 109274 w 110877"/>
              <a:gd name="connsiteY0" fmla="*/ 84023 h 84022"/>
              <a:gd name="connsiteX1" fmla="*/ 108135 w 110877"/>
              <a:gd name="connsiteY1" fmla="*/ 83643 h 84022"/>
              <a:gd name="connsiteX2" fmla="*/ 673 w 110877"/>
              <a:gd name="connsiteY2" fmla="*/ 3331 h 84022"/>
              <a:gd name="connsiteX3" fmla="*/ 483 w 110877"/>
              <a:gd name="connsiteY3" fmla="*/ 673 h 84022"/>
              <a:gd name="connsiteX4" fmla="*/ 3141 w 110877"/>
              <a:gd name="connsiteY4" fmla="*/ 483 h 84022"/>
              <a:gd name="connsiteX5" fmla="*/ 110034 w 110877"/>
              <a:gd name="connsiteY5" fmla="*/ 80605 h 84022"/>
              <a:gd name="connsiteX6" fmla="*/ 110604 w 110877"/>
              <a:gd name="connsiteY6" fmla="*/ 83263 h 84022"/>
              <a:gd name="connsiteX7" fmla="*/ 109085 w 110877"/>
              <a:gd name="connsiteY7" fmla="*/ 84023 h 84022"/>
              <a:gd name="connsiteX8" fmla="*/ 109085 w 110877"/>
              <a:gd name="connsiteY8" fmla="*/ 84023 h 8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77" h="84022">
                <a:moveTo>
                  <a:pt x="109274" y="84023"/>
                </a:moveTo>
                <a:cubicBezTo>
                  <a:pt x="109274" y="84023"/>
                  <a:pt x="108515" y="84023"/>
                  <a:pt x="108135" y="83643"/>
                </a:cubicBezTo>
                <a:cubicBezTo>
                  <a:pt x="71112" y="58771"/>
                  <a:pt x="35038" y="31621"/>
                  <a:pt x="673" y="3331"/>
                </a:cubicBezTo>
                <a:cubicBezTo>
                  <a:pt x="-86" y="2572"/>
                  <a:pt x="-276" y="1433"/>
                  <a:pt x="483" y="673"/>
                </a:cubicBezTo>
                <a:cubicBezTo>
                  <a:pt x="1243" y="-86"/>
                  <a:pt x="2382" y="-276"/>
                  <a:pt x="3141" y="483"/>
                </a:cubicBezTo>
                <a:cubicBezTo>
                  <a:pt x="37317" y="28773"/>
                  <a:pt x="73390" y="55733"/>
                  <a:pt x="110034" y="80605"/>
                </a:cubicBezTo>
                <a:cubicBezTo>
                  <a:pt x="110793" y="81175"/>
                  <a:pt x="111173" y="82504"/>
                  <a:pt x="110604" y="83263"/>
                </a:cubicBezTo>
                <a:cubicBezTo>
                  <a:pt x="110224" y="83833"/>
                  <a:pt x="109654" y="84023"/>
                  <a:pt x="109085" y="84023"/>
                </a:cubicBezTo>
                <a:lnTo>
                  <a:pt x="109085" y="8402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2" name="Freeform: Shape 1311">
            <a:extLst>
              <a:ext uri="{FF2B5EF4-FFF2-40B4-BE49-F238E27FC236}">
                <a16:creationId xmlns:a16="http://schemas.microsoft.com/office/drawing/2014/main" id="{490A6127-2080-2F86-FE82-8039F38D5601}"/>
              </a:ext>
            </a:extLst>
          </p:cNvPr>
          <p:cNvSpPr/>
          <p:nvPr userDrawn="1"/>
        </p:nvSpPr>
        <p:spPr>
          <a:xfrm>
            <a:off x="7646491" y="4906508"/>
            <a:ext cx="105891" cy="78516"/>
          </a:xfrm>
          <a:custGeom>
            <a:avLst/>
            <a:gdLst>
              <a:gd name="connsiteX0" fmla="*/ 103768 w 105891"/>
              <a:gd name="connsiteY0" fmla="*/ 78327 h 78516"/>
              <a:gd name="connsiteX1" fmla="*/ 102629 w 105891"/>
              <a:gd name="connsiteY1" fmla="*/ 78137 h 78516"/>
              <a:gd name="connsiteX2" fmla="*/ 673 w 105891"/>
              <a:gd name="connsiteY2" fmla="*/ 3331 h 78516"/>
              <a:gd name="connsiteX3" fmla="*/ 483 w 105891"/>
              <a:gd name="connsiteY3" fmla="*/ 673 h 78516"/>
              <a:gd name="connsiteX4" fmla="*/ 3142 w 105891"/>
              <a:gd name="connsiteY4" fmla="*/ 483 h 78516"/>
              <a:gd name="connsiteX5" fmla="*/ 105098 w 105891"/>
              <a:gd name="connsiteY5" fmla="*/ 75099 h 78516"/>
              <a:gd name="connsiteX6" fmla="*/ 105477 w 105891"/>
              <a:gd name="connsiteY6" fmla="*/ 77757 h 78516"/>
              <a:gd name="connsiteX7" fmla="*/ 103959 w 105891"/>
              <a:gd name="connsiteY7" fmla="*/ 78517 h 78516"/>
              <a:gd name="connsiteX8" fmla="*/ 103959 w 105891"/>
              <a:gd name="connsiteY8" fmla="*/ 78517 h 78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891" h="78516">
                <a:moveTo>
                  <a:pt x="103768" y="78327"/>
                </a:moveTo>
                <a:cubicBezTo>
                  <a:pt x="103768" y="78327"/>
                  <a:pt x="103009" y="78327"/>
                  <a:pt x="102629" y="78137"/>
                </a:cubicBezTo>
                <a:cubicBezTo>
                  <a:pt x="68075" y="54214"/>
                  <a:pt x="33899" y="28963"/>
                  <a:pt x="673" y="3331"/>
                </a:cubicBezTo>
                <a:cubicBezTo>
                  <a:pt x="-86" y="2572"/>
                  <a:pt x="-276" y="1433"/>
                  <a:pt x="483" y="673"/>
                </a:cubicBezTo>
                <a:cubicBezTo>
                  <a:pt x="1243" y="-86"/>
                  <a:pt x="2382" y="-276"/>
                  <a:pt x="3142" y="483"/>
                </a:cubicBezTo>
                <a:cubicBezTo>
                  <a:pt x="36368" y="26115"/>
                  <a:pt x="70543" y="51367"/>
                  <a:pt x="105098" y="75099"/>
                </a:cubicBezTo>
                <a:cubicBezTo>
                  <a:pt x="105857" y="75669"/>
                  <a:pt x="106237" y="76998"/>
                  <a:pt x="105477" y="77757"/>
                </a:cubicBezTo>
                <a:cubicBezTo>
                  <a:pt x="105098" y="78327"/>
                  <a:pt x="104528" y="78517"/>
                  <a:pt x="103959" y="78517"/>
                </a:cubicBezTo>
                <a:lnTo>
                  <a:pt x="103959" y="78517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3" name="Freeform: Shape 1312">
            <a:extLst>
              <a:ext uri="{FF2B5EF4-FFF2-40B4-BE49-F238E27FC236}">
                <a16:creationId xmlns:a16="http://schemas.microsoft.com/office/drawing/2014/main" id="{6455A1D2-6FE5-7E90-8E98-546C063E2103}"/>
              </a:ext>
            </a:extLst>
          </p:cNvPr>
          <p:cNvSpPr/>
          <p:nvPr userDrawn="1"/>
        </p:nvSpPr>
        <p:spPr>
          <a:xfrm>
            <a:off x="7672142" y="4875200"/>
            <a:ext cx="108010" cy="71093"/>
          </a:xfrm>
          <a:custGeom>
            <a:avLst/>
            <a:gdLst>
              <a:gd name="connsiteX0" fmla="*/ 106027 w 108010"/>
              <a:gd name="connsiteY0" fmla="*/ 71093 h 71093"/>
              <a:gd name="connsiteX1" fmla="*/ 105078 w 108010"/>
              <a:gd name="connsiteY1" fmla="*/ 70903 h 71093"/>
              <a:gd name="connsiteX2" fmla="*/ 844 w 108010"/>
              <a:gd name="connsiteY2" fmla="*/ 3502 h 71093"/>
              <a:gd name="connsiteX3" fmla="*/ 274 w 108010"/>
              <a:gd name="connsiteY3" fmla="*/ 844 h 71093"/>
              <a:gd name="connsiteX4" fmla="*/ 2932 w 108010"/>
              <a:gd name="connsiteY4" fmla="*/ 274 h 71093"/>
              <a:gd name="connsiteX5" fmla="*/ 107167 w 108010"/>
              <a:gd name="connsiteY5" fmla="*/ 67675 h 71093"/>
              <a:gd name="connsiteX6" fmla="*/ 107736 w 108010"/>
              <a:gd name="connsiteY6" fmla="*/ 70333 h 71093"/>
              <a:gd name="connsiteX7" fmla="*/ 106027 w 108010"/>
              <a:gd name="connsiteY7" fmla="*/ 71093 h 71093"/>
              <a:gd name="connsiteX8" fmla="*/ 106027 w 108010"/>
              <a:gd name="connsiteY8" fmla="*/ 71093 h 71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010" h="71093">
                <a:moveTo>
                  <a:pt x="106027" y="71093"/>
                </a:moveTo>
                <a:cubicBezTo>
                  <a:pt x="106027" y="71093"/>
                  <a:pt x="105268" y="71093"/>
                  <a:pt x="105078" y="70903"/>
                </a:cubicBezTo>
                <a:cubicBezTo>
                  <a:pt x="70333" y="48879"/>
                  <a:pt x="35209" y="26286"/>
                  <a:pt x="844" y="3502"/>
                </a:cubicBezTo>
                <a:cubicBezTo>
                  <a:pt x="84" y="2933"/>
                  <a:pt x="-295" y="1603"/>
                  <a:pt x="274" y="844"/>
                </a:cubicBezTo>
                <a:cubicBezTo>
                  <a:pt x="844" y="84"/>
                  <a:pt x="2173" y="-295"/>
                  <a:pt x="2932" y="274"/>
                </a:cubicBezTo>
                <a:cubicBezTo>
                  <a:pt x="37108" y="23058"/>
                  <a:pt x="72232" y="45652"/>
                  <a:pt x="107167" y="67675"/>
                </a:cubicBezTo>
                <a:cubicBezTo>
                  <a:pt x="107926" y="68245"/>
                  <a:pt x="108306" y="69384"/>
                  <a:pt x="107736" y="70333"/>
                </a:cubicBezTo>
                <a:cubicBezTo>
                  <a:pt x="107357" y="70903"/>
                  <a:pt x="106787" y="71093"/>
                  <a:pt x="106027" y="71093"/>
                </a:cubicBezTo>
                <a:lnTo>
                  <a:pt x="106027" y="7109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4" name="Freeform: Shape 1313">
            <a:extLst>
              <a:ext uri="{FF2B5EF4-FFF2-40B4-BE49-F238E27FC236}">
                <a16:creationId xmlns:a16="http://schemas.microsoft.com/office/drawing/2014/main" id="{7139B9A5-5AA0-F817-5C00-7F024F4B37A4}"/>
              </a:ext>
            </a:extLst>
          </p:cNvPr>
          <p:cNvSpPr/>
          <p:nvPr userDrawn="1"/>
        </p:nvSpPr>
        <p:spPr>
          <a:xfrm>
            <a:off x="7701133" y="4841447"/>
            <a:ext cx="102429" cy="62316"/>
          </a:xfrm>
          <a:custGeom>
            <a:avLst/>
            <a:gdLst>
              <a:gd name="connsiteX0" fmla="*/ 100579 w 102429"/>
              <a:gd name="connsiteY0" fmla="*/ 62316 h 62316"/>
              <a:gd name="connsiteX1" fmla="*/ 99630 w 102429"/>
              <a:gd name="connsiteY1" fmla="*/ 61937 h 62316"/>
              <a:gd name="connsiteX2" fmla="*/ 901 w 102429"/>
              <a:gd name="connsiteY2" fmla="*/ 3649 h 62316"/>
              <a:gd name="connsiteX3" fmla="*/ 142 w 102429"/>
              <a:gd name="connsiteY3" fmla="*/ 991 h 62316"/>
              <a:gd name="connsiteX4" fmla="*/ 2800 w 102429"/>
              <a:gd name="connsiteY4" fmla="*/ 231 h 62316"/>
              <a:gd name="connsiteX5" fmla="*/ 101529 w 102429"/>
              <a:gd name="connsiteY5" fmla="*/ 58519 h 62316"/>
              <a:gd name="connsiteX6" fmla="*/ 102288 w 102429"/>
              <a:gd name="connsiteY6" fmla="*/ 61177 h 62316"/>
              <a:gd name="connsiteX7" fmla="*/ 100579 w 102429"/>
              <a:gd name="connsiteY7" fmla="*/ 62127 h 62316"/>
              <a:gd name="connsiteX8" fmla="*/ 100579 w 102429"/>
              <a:gd name="connsiteY8" fmla="*/ 62127 h 6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429" h="62316">
                <a:moveTo>
                  <a:pt x="100579" y="62316"/>
                </a:moveTo>
                <a:cubicBezTo>
                  <a:pt x="100579" y="62316"/>
                  <a:pt x="99820" y="62316"/>
                  <a:pt x="99630" y="61937"/>
                </a:cubicBezTo>
                <a:lnTo>
                  <a:pt x="901" y="3649"/>
                </a:lnTo>
                <a:cubicBezTo>
                  <a:pt x="901" y="3649"/>
                  <a:pt x="-428" y="1940"/>
                  <a:pt x="142" y="991"/>
                </a:cubicBezTo>
                <a:cubicBezTo>
                  <a:pt x="712" y="231"/>
                  <a:pt x="1851" y="-338"/>
                  <a:pt x="2800" y="231"/>
                </a:cubicBezTo>
                <a:lnTo>
                  <a:pt x="101529" y="58519"/>
                </a:lnTo>
                <a:cubicBezTo>
                  <a:pt x="101529" y="58519"/>
                  <a:pt x="102857" y="60228"/>
                  <a:pt x="102288" y="61177"/>
                </a:cubicBezTo>
                <a:cubicBezTo>
                  <a:pt x="101908" y="61747"/>
                  <a:pt x="101338" y="62127"/>
                  <a:pt x="100579" y="62127"/>
                </a:cubicBezTo>
                <a:lnTo>
                  <a:pt x="100579" y="62127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5" name="Freeform: Shape 1314">
            <a:extLst>
              <a:ext uri="{FF2B5EF4-FFF2-40B4-BE49-F238E27FC236}">
                <a16:creationId xmlns:a16="http://schemas.microsoft.com/office/drawing/2014/main" id="{43160AF1-5C73-D2BB-85F7-30FC5A9469D3}"/>
              </a:ext>
            </a:extLst>
          </p:cNvPr>
          <p:cNvSpPr/>
          <p:nvPr userDrawn="1"/>
        </p:nvSpPr>
        <p:spPr>
          <a:xfrm>
            <a:off x="7716386" y="4804578"/>
            <a:ext cx="105149" cy="60074"/>
          </a:xfrm>
          <a:custGeom>
            <a:avLst/>
            <a:gdLst>
              <a:gd name="connsiteX0" fmla="*/ 103173 w 105149"/>
              <a:gd name="connsiteY0" fmla="*/ 60074 h 60074"/>
              <a:gd name="connsiteX1" fmla="*/ 102224 w 105149"/>
              <a:gd name="connsiteY1" fmla="*/ 59885 h 60074"/>
              <a:gd name="connsiteX2" fmla="*/ 1027 w 105149"/>
              <a:gd name="connsiteY2" fmla="*/ 3685 h 60074"/>
              <a:gd name="connsiteX3" fmla="*/ 268 w 105149"/>
              <a:gd name="connsiteY3" fmla="*/ 1027 h 60074"/>
              <a:gd name="connsiteX4" fmla="*/ 2926 w 105149"/>
              <a:gd name="connsiteY4" fmla="*/ 268 h 60074"/>
              <a:gd name="connsiteX5" fmla="*/ 104122 w 105149"/>
              <a:gd name="connsiteY5" fmla="*/ 56467 h 60074"/>
              <a:gd name="connsiteX6" fmla="*/ 104882 w 105149"/>
              <a:gd name="connsiteY6" fmla="*/ 59125 h 60074"/>
              <a:gd name="connsiteX7" fmla="*/ 103173 w 105149"/>
              <a:gd name="connsiteY7" fmla="*/ 60074 h 60074"/>
              <a:gd name="connsiteX8" fmla="*/ 103173 w 105149"/>
              <a:gd name="connsiteY8" fmla="*/ 60074 h 6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49" h="60074">
                <a:moveTo>
                  <a:pt x="103173" y="60074"/>
                </a:moveTo>
                <a:cubicBezTo>
                  <a:pt x="103173" y="60074"/>
                  <a:pt x="102413" y="60074"/>
                  <a:pt x="102224" y="59885"/>
                </a:cubicBezTo>
                <a:lnTo>
                  <a:pt x="1027" y="3685"/>
                </a:lnTo>
                <a:cubicBezTo>
                  <a:pt x="78" y="3116"/>
                  <a:pt x="-302" y="1976"/>
                  <a:pt x="268" y="1027"/>
                </a:cubicBezTo>
                <a:cubicBezTo>
                  <a:pt x="837" y="78"/>
                  <a:pt x="1976" y="-302"/>
                  <a:pt x="2926" y="268"/>
                </a:cubicBezTo>
                <a:lnTo>
                  <a:pt x="104122" y="56467"/>
                </a:lnTo>
                <a:cubicBezTo>
                  <a:pt x="105071" y="57036"/>
                  <a:pt x="105451" y="58176"/>
                  <a:pt x="104882" y="59125"/>
                </a:cubicBezTo>
                <a:cubicBezTo>
                  <a:pt x="104692" y="59694"/>
                  <a:pt x="103932" y="60074"/>
                  <a:pt x="103173" y="60074"/>
                </a:cubicBezTo>
                <a:lnTo>
                  <a:pt x="103173" y="60074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6" name="Freeform: Shape 1315">
            <a:extLst>
              <a:ext uri="{FF2B5EF4-FFF2-40B4-BE49-F238E27FC236}">
                <a16:creationId xmlns:a16="http://schemas.microsoft.com/office/drawing/2014/main" id="{426F6678-ED58-51DC-6010-035B5997D4A0}"/>
              </a:ext>
            </a:extLst>
          </p:cNvPr>
          <p:cNvSpPr/>
          <p:nvPr userDrawn="1"/>
        </p:nvSpPr>
        <p:spPr>
          <a:xfrm>
            <a:off x="7734423" y="4761479"/>
            <a:ext cx="105908" cy="59884"/>
          </a:xfrm>
          <a:custGeom>
            <a:avLst/>
            <a:gdLst>
              <a:gd name="connsiteX0" fmla="*/ 103932 w 105908"/>
              <a:gd name="connsiteY0" fmla="*/ 59884 h 59884"/>
              <a:gd name="connsiteX1" fmla="*/ 102983 w 105908"/>
              <a:gd name="connsiteY1" fmla="*/ 59505 h 59884"/>
              <a:gd name="connsiteX2" fmla="*/ 1027 w 105908"/>
              <a:gd name="connsiteY2" fmla="*/ 3685 h 59884"/>
              <a:gd name="connsiteX3" fmla="*/ 268 w 105908"/>
              <a:gd name="connsiteY3" fmla="*/ 1027 h 59884"/>
              <a:gd name="connsiteX4" fmla="*/ 2926 w 105908"/>
              <a:gd name="connsiteY4" fmla="*/ 268 h 59884"/>
              <a:gd name="connsiteX5" fmla="*/ 104882 w 105908"/>
              <a:gd name="connsiteY5" fmla="*/ 56087 h 59884"/>
              <a:gd name="connsiteX6" fmla="*/ 105641 w 105908"/>
              <a:gd name="connsiteY6" fmla="*/ 58745 h 59884"/>
              <a:gd name="connsiteX7" fmla="*/ 103932 w 105908"/>
              <a:gd name="connsiteY7" fmla="*/ 59695 h 59884"/>
              <a:gd name="connsiteX8" fmla="*/ 103932 w 105908"/>
              <a:gd name="connsiteY8" fmla="*/ 59695 h 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908" h="59884">
                <a:moveTo>
                  <a:pt x="103932" y="59884"/>
                </a:moveTo>
                <a:cubicBezTo>
                  <a:pt x="103932" y="59884"/>
                  <a:pt x="103363" y="59884"/>
                  <a:pt x="102983" y="59505"/>
                </a:cubicBezTo>
                <a:lnTo>
                  <a:pt x="1027" y="3685"/>
                </a:lnTo>
                <a:cubicBezTo>
                  <a:pt x="78" y="3115"/>
                  <a:pt x="-302" y="1976"/>
                  <a:pt x="268" y="1027"/>
                </a:cubicBezTo>
                <a:cubicBezTo>
                  <a:pt x="837" y="78"/>
                  <a:pt x="1976" y="-302"/>
                  <a:pt x="2926" y="268"/>
                </a:cubicBezTo>
                <a:lnTo>
                  <a:pt x="104882" y="56087"/>
                </a:lnTo>
                <a:cubicBezTo>
                  <a:pt x="105831" y="56657"/>
                  <a:pt x="106211" y="57796"/>
                  <a:pt x="105641" y="58745"/>
                </a:cubicBezTo>
                <a:cubicBezTo>
                  <a:pt x="105451" y="59505"/>
                  <a:pt x="104692" y="59695"/>
                  <a:pt x="103932" y="59695"/>
                </a:cubicBezTo>
                <a:lnTo>
                  <a:pt x="103932" y="59695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7" name="Freeform: Shape 1316">
            <a:extLst>
              <a:ext uri="{FF2B5EF4-FFF2-40B4-BE49-F238E27FC236}">
                <a16:creationId xmlns:a16="http://schemas.microsoft.com/office/drawing/2014/main" id="{1755DB9D-1E73-CC6D-A619-290BEA141463}"/>
              </a:ext>
            </a:extLst>
          </p:cNvPr>
          <p:cNvSpPr/>
          <p:nvPr userDrawn="1"/>
        </p:nvSpPr>
        <p:spPr>
          <a:xfrm>
            <a:off x="7742207" y="4714583"/>
            <a:ext cx="113313" cy="65010"/>
          </a:xfrm>
          <a:custGeom>
            <a:avLst/>
            <a:gdLst>
              <a:gd name="connsiteX0" fmla="*/ 111337 w 113313"/>
              <a:gd name="connsiteY0" fmla="*/ 64821 h 65010"/>
              <a:gd name="connsiteX1" fmla="*/ 110388 w 113313"/>
              <a:gd name="connsiteY1" fmla="*/ 64631 h 65010"/>
              <a:gd name="connsiteX2" fmla="*/ 1027 w 113313"/>
              <a:gd name="connsiteY2" fmla="*/ 3495 h 65010"/>
              <a:gd name="connsiteX3" fmla="*/ 268 w 113313"/>
              <a:gd name="connsiteY3" fmla="*/ 1027 h 65010"/>
              <a:gd name="connsiteX4" fmla="*/ 2736 w 113313"/>
              <a:gd name="connsiteY4" fmla="*/ 268 h 65010"/>
              <a:gd name="connsiteX5" fmla="*/ 112286 w 113313"/>
              <a:gd name="connsiteY5" fmla="*/ 61403 h 65010"/>
              <a:gd name="connsiteX6" fmla="*/ 113046 w 113313"/>
              <a:gd name="connsiteY6" fmla="*/ 64061 h 65010"/>
              <a:gd name="connsiteX7" fmla="*/ 111337 w 113313"/>
              <a:gd name="connsiteY7" fmla="*/ 65011 h 65010"/>
              <a:gd name="connsiteX8" fmla="*/ 111337 w 113313"/>
              <a:gd name="connsiteY8" fmla="*/ 65011 h 6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3313" h="65010">
                <a:moveTo>
                  <a:pt x="111337" y="64821"/>
                </a:moveTo>
                <a:cubicBezTo>
                  <a:pt x="111337" y="64821"/>
                  <a:pt x="110578" y="64821"/>
                  <a:pt x="110388" y="64631"/>
                </a:cubicBezTo>
                <a:cubicBezTo>
                  <a:pt x="74314" y="43556"/>
                  <a:pt x="37481" y="23241"/>
                  <a:pt x="1027" y="3495"/>
                </a:cubicBezTo>
                <a:cubicBezTo>
                  <a:pt x="78" y="2926"/>
                  <a:pt x="-302" y="1787"/>
                  <a:pt x="268" y="1027"/>
                </a:cubicBezTo>
                <a:cubicBezTo>
                  <a:pt x="837" y="78"/>
                  <a:pt x="1976" y="-302"/>
                  <a:pt x="2736" y="268"/>
                </a:cubicBezTo>
                <a:cubicBezTo>
                  <a:pt x="39379" y="19823"/>
                  <a:pt x="76213" y="40518"/>
                  <a:pt x="112286" y="61403"/>
                </a:cubicBezTo>
                <a:cubicBezTo>
                  <a:pt x="113236" y="61973"/>
                  <a:pt x="113615" y="63112"/>
                  <a:pt x="113046" y="64061"/>
                </a:cubicBezTo>
                <a:cubicBezTo>
                  <a:pt x="112666" y="64631"/>
                  <a:pt x="112097" y="65011"/>
                  <a:pt x="111337" y="65011"/>
                </a:cubicBezTo>
                <a:lnTo>
                  <a:pt x="111337" y="65011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8" name="Freeform: Shape 1317">
            <a:extLst>
              <a:ext uri="{FF2B5EF4-FFF2-40B4-BE49-F238E27FC236}">
                <a16:creationId xmlns:a16="http://schemas.microsoft.com/office/drawing/2014/main" id="{72A84007-EF32-7011-6578-C27F78A2FDD8}"/>
              </a:ext>
            </a:extLst>
          </p:cNvPr>
          <p:cNvSpPr/>
          <p:nvPr userDrawn="1"/>
        </p:nvSpPr>
        <p:spPr>
          <a:xfrm>
            <a:off x="7746005" y="4670535"/>
            <a:ext cx="118439" cy="59124"/>
          </a:xfrm>
          <a:custGeom>
            <a:avLst/>
            <a:gdLst>
              <a:gd name="connsiteX0" fmla="*/ 116463 w 118439"/>
              <a:gd name="connsiteY0" fmla="*/ 58745 h 59124"/>
              <a:gd name="connsiteX1" fmla="*/ 115704 w 118439"/>
              <a:gd name="connsiteY1" fmla="*/ 58745 h 59124"/>
              <a:gd name="connsiteX2" fmla="*/ 1027 w 118439"/>
              <a:gd name="connsiteY2" fmla="*/ 3495 h 59124"/>
              <a:gd name="connsiteX3" fmla="*/ 268 w 118439"/>
              <a:gd name="connsiteY3" fmla="*/ 1027 h 59124"/>
              <a:gd name="connsiteX4" fmla="*/ 2736 w 118439"/>
              <a:gd name="connsiteY4" fmla="*/ 268 h 59124"/>
              <a:gd name="connsiteX5" fmla="*/ 117413 w 118439"/>
              <a:gd name="connsiteY5" fmla="*/ 55518 h 59124"/>
              <a:gd name="connsiteX6" fmla="*/ 118172 w 118439"/>
              <a:gd name="connsiteY6" fmla="*/ 57986 h 59124"/>
              <a:gd name="connsiteX7" fmla="*/ 116463 w 118439"/>
              <a:gd name="connsiteY7" fmla="*/ 59125 h 59124"/>
              <a:gd name="connsiteX8" fmla="*/ 116463 w 118439"/>
              <a:gd name="connsiteY8" fmla="*/ 59125 h 5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439" h="59124">
                <a:moveTo>
                  <a:pt x="116463" y="58745"/>
                </a:moveTo>
                <a:cubicBezTo>
                  <a:pt x="116463" y="58745"/>
                  <a:pt x="115894" y="58745"/>
                  <a:pt x="115704" y="58745"/>
                </a:cubicBezTo>
                <a:lnTo>
                  <a:pt x="1027" y="3495"/>
                </a:lnTo>
                <a:cubicBezTo>
                  <a:pt x="78" y="3116"/>
                  <a:pt x="-302" y="1977"/>
                  <a:pt x="268" y="1027"/>
                </a:cubicBezTo>
                <a:cubicBezTo>
                  <a:pt x="647" y="78"/>
                  <a:pt x="1787" y="-302"/>
                  <a:pt x="2736" y="268"/>
                </a:cubicBezTo>
                <a:lnTo>
                  <a:pt x="117413" y="55518"/>
                </a:lnTo>
                <a:cubicBezTo>
                  <a:pt x="118362" y="55897"/>
                  <a:pt x="118741" y="57036"/>
                  <a:pt x="118172" y="57986"/>
                </a:cubicBezTo>
                <a:cubicBezTo>
                  <a:pt x="117982" y="58745"/>
                  <a:pt x="117223" y="59125"/>
                  <a:pt x="116463" y="59125"/>
                </a:cubicBezTo>
                <a:lnTo>
                  <a:pt x="116463" y="59125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19" name="Freeform: Shape 1318">
            <a:extLst>
              <a:ext uri="{FF2B5EF4-FFF2-40B4-BE49-F238E27FC236}">
                <a16:creationId xmlns:a16="http://schemas.microsoft.com/office/drawing/2014/main" id="{1BE9942B-E885-3B0D-002A-ED2693646C14}"/>
              </a:ext>
            </a:extLst>
          </p:cNvPr>
          <p:cNvSpPr/>
          <p:nvPr userDrawn="1"/>
        </p:nvSpPr>
        <p:spPr>
          <a:xfrm>
            <a:off x="7745055" y="4622690"/>
            <a:ext cx="120216" cy="60074"/>
          </a:xfrm>
          <a:custGeom>
            <a:avLst/>
            <a:gdLst>
              <a:gd name="connsiteX0" fmla="*/ 118362 w 120216"/>
              <a:gd name="connsiteY0" fmla="*/ 59884 h 60074"/>
              <a:gd name="connsiteX1" fmla="*/ 117602 w 120216"/>
              <a:gd name="connsiteY1" fmla="*/ 59884 h 60074"/>
              <a:gd name="connsiteX2" fmla="*/ 1027 w 120216"/>
              <a:gd name="connsiteY2" fmla="*/ 3495 h 60074"/>
              <a:gd name="connsiteX3" fmla="*/ 268 w 120216"/>
              <a:gd name="connsiteY3" fmla="*/ 1027 h 60074"/>
              <a:gd name="connsiteX4" fmla="*/ 2736 w 120216"/>
              <a:gd name="connsiteY4" fmla="*/ 268 h 60074"/>
              <a:gd name="connsiteX5" fmla="*/ 119121 w 120216"/>
              <a:gd name="connsiteY5" fmla="*/ 56467 h 60074"/>
              <a:gd name="connsiteX6" fmla="*/ 120071 w 120216"/>
              <a:gd name="connsiteY6" fmla="*/ 58935 h 60074"/>
              <a:gd name="connsiteX7" fmla="*/ 118362 w 120216"/>
              <a:gd name="connsiteY7" fmla="*/ 60074 h 60074"/>
              <a:gd name="connsiteX8" fmla="*/ 118362 w 120216"/>
              <a:gd name="connsiteY8" fmla="*/ 60074 h 6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216" h="60074">
                <a:moveTo>
                  <a:pt x="118362" y="59884"/>
                </a:moveTo>
                <a:cubicBezTo>
                  <a:pt x="118362" y="59884"/>
                  <a:pt x="117792" y="59884"/>
                  <a:pt x="117602" y="59884"/>
                </a:cubicBezTo>
                <a:cubicBezTo>
                  <a:pt x="78681" y="41468"/>
                  <a:pt x="39379" y="22671"/>
                  <a:pt x="1027" y="3495"/>
                </a:cubicBezTo>
                <a:cubicBezTo>
                  <a:pt x="78" y="3115"/>
                  <a:pt x="-302" y="1787"/>
                  <a:pt x="268" y="1027"/>
                </a:cubicBezTo>
                <a:cubicBezTo>
                  <a:pt x="647" y="78"/>
                  <a:pt x="1976" y="-302"/>
                  <a:pt x="2736" y="268"/>
                </a:cubicBezTo>
                <a:cubicBezTo>
                  <a:pt x="41088" y="19254"/>
                  <a:pt x="80200" y="38240"/>
                  <a:pt x="119121" y="56467"/>
                </a:cubicBezTo>
                <a:cubicBezTo>
                  <a:pt x="120071" y="56847"/>
                  <a:pt x="120450" y="57986"/>
                  <a:pt x="120071" y="58935"/>
                </a:cubicBezTo>
                <a:cubicBezTo>
                  <a:pt x="119881" y="59694"/>
                  <a:pt x="119121" y="60074"/>
                  <a:pt x="118362" y="60074"/>
                </a:cubicBezTo>
                <a:lnTo>
                  <a:pt x="118362" y="60074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0" name="Freeform: Shape 1319">
            <a:extLst>
              <a:ext uri="{FF2B5EF4-FFF2-40B4-BE49-F238E27FC236}">
                <a16:creationId xmlns:a16="http://schemas.microsoft.com/office/drawing/2014/main" id="{51587A68-B575-0674-9980-21EC65581606}"/>
              </a:ext>
            </a:extLst>
          </p:cNvPr>
          <p:cNvSpPr/>
          <p:nvPr userDrawn="1"/>
        </p:nvSpPr>
        <p:spPr>
          <a:xfrm>
            <a:off x="7787395" y="4594780"/>
            <a:ext cx="77687" cy="41657"/>
          </a:xfrm>
          <a:custGeom>
            <a:avLst/>
            <a:gdLst>
              <a:gd name="connsiteX0" fmla="*/ 75833 w 77687"/>
              <a:gd name="connsiteY0" fmla="*/ 41657 h 41657"/>
              <a:gd name="connsiteX1" fmla="*/ 75073 w 77687"/>
              <a:gd name="connsiteY1" fmla="*/ 41657 h 41657"/>
              <a:gd name="connsiteX2" fmla="*/ 1027 w 77687"/>
              <a:gd name="connsiteY2" fmla="*/ 3685 h 41657"/>
              <a:gd name="connsiteX3" fmla="*/ 268 w 77687"/>
              <a:gd name="connsiteY3" fmla="*/ 1027 h 41657"/>
              <a:gd name="connsiteX4" fmla="*/ 2926 w 77687"/>
              <a:gd name="connsiteY4" fmla="*/ 268 h 41657"/>
              <a:gd name="connsiteX5" fmla="*/ 76592 w 77687"/>
              <a:gd name="connsiteY5" fmla="*/ 38050 h 41657"/>
              <a:gd name="connsiteX6" fmla="*/ 77542 w 77687"/>
              <a:gd name="connsiteY6" fmla="*/ 40518 h 41657"/>
              <a:gd name="connsiteX7" fmla="*/ 75833 w 77687"/>
              <a:gd name="connsiteY7" fmla="*/ 41657 h 41657"/>
              <a:gd name="connsiteX8" fmla="*/ 75833 w 77687"/>
              <a:gd name="connsiteY8" fmla="*/ 41657 h 41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687" h="41657">
                <a:moveTo>
                  <a:pt x="75833" y="41657"/>
                </a:moveTo>
                <a:cubicBezTo>
                  <a:pt x="75833" y="41657"/>
                  <a:pt x="75263" y="41657"/>
                  <a:pt x="75073" y="41657"/>
                </a:cubicBezTo>
                <a:cubicBezTo>
                  <a:pt x="50012" y="30266"/>
                  <a:pt x="24950" y="17545"/>
                  <a:pt x="1027" y="3685"/>
                </a:cubicBezTo>
                <a:cubicBezTo>
                  <a:pt x="78" y="3115"/>
                  <a:pt x="-302" y="1976"/>
                  <a:pt x="268" y="1027"/>
                </a:cubicBezTo>
                <a:cubicBezTo>
                  <a:pt x="837" y="78"/>
                  <a:pt x="1976" y="-302"/>
                  <a:pt x="2926" y="268"/>
                </a:cubicBezTo>
                <a:cubicBezTo>
                  <a:pt x="26658" y="14128"/>
                  <a:pt x="51530" y="26658"/>
                  <a:pt x="76592" y="38050"/>
                </a:cubicBezTo>
                <a:cubicBezTo>
                  <a:pt x="77542" y="38430"/>
                  <a:pt x="77921" y="39569"/>
                  <a:pt x="77542" y="40518"/>
                </a:cubicBezTo>
                <a:cubicBezTo>
                  <a:pt x="77352" y="41278"/>
                  <a:pt x="76592" y="41657"/>
                  <a:pt x="75833" y="41657"/>
                </a:cubicBezTo>
                <a:lnTo>
                  <a:pt x="75833" y="41657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1" name="Freeform: Shape 1320">
            <a:extLst>
              <a:ext uri="{FF2B5EF4-FFF2-40B4-BE49-F238E27FC236}">
                <a16:creationId xmlns:a16="http://schemas.microsoft.com/office/drawing/2014/main" id="{254E87C2-A05B-4718-5A23-69E31007C68C}"/>
              </a:ext>
            </a:extLst>
          </p:cNvPr>
          <p:cNvSpPr/>
          <p:nvPr userDrawn="1"/>
        </p:nvSpPr>
        <p:spPr>
          <a:xfrm>
            <a:off x="7838400" y="4583890"/>
            <a:ext cx="24403" cy="12866"/>
          </a:xfrm>
          <a:custGeom>
            <a:avLst/>
            <a:gdLst>
              <a:gd name="connsiteX0" fmla="*/ 22549 w 24403"/>
              <a:gd name="connsiteY0" fmla="*/ 12677 h 12866"/>
              <a:gd name="connsiteX1" fmla="*/ 21790 w 24403"/>
              <a:gd name="connsiteY1" fmla="*/ 12677 h 12866"/>
              <a:gd name="connsiteX2" fmla="*/ 1095 w 24403"/>
              <a:gd name="connsiteY2" fmla="*/ 3563 h 12866"/>
              <a:gd name="connsiteX3" fmla="*/ 146 w 24403"/>
              <a:gd name="connsiteY3" fmla="*/ 1095 h 12866"/>
              <a:gd name="connsiteX4" fmla="*/ 2614 w 24403"/>
              <a:gd name="connsiteY4" fmla="*/ 146 h 12866"/>
              <a:gd name="connsiteX5" fmla="*/ 23309 w 24403"/>
              <a:gd name="connsiteY5" fmla="*/ 9259 h 12866"/>
              <a:gd name="connsiteX6" fmla="*/ 24258 w 24403"/>
              <a:gd name="connsiteY6" fmla="*/ 11727 h 12866"/>
              <a:gd name="connsiteX7" fmla="*/ 22549 w 24403"/>
              <a:gd name="connsiteY7" fmla="*/ 12866 h 12866"/>
              <a:gd name="connsiteX8" fmla="*/ 22549 w 24403"/>
              <a:gd name="connsiteY8" fmla="*/ 12866 h 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03" h="12866">
                <a:moveTo>
                  <a:pt x="22549" y="12677"/>
                </a:moveTo>
                <a:cubicBezTo>
                  <a:pt x="22549" y="12677"/>
                  <a:pt x="21980" y="12677"/>
                  <a:pt x="21790" y="12677"/>
                </a:cubicBezTo>
                <a:lnTo>
                  <a:pt x="1095" y="3563"/>
                </a:lnTo>
                <a:cubicBezTo>
                  <a:pt x="146" y="3183"/>
                  <a:pt x="-234" y="2044"/>
                  <a:pt x="146" y="1095"/>
                </a:cubicBezTo>
                <a:cubicBezTo>
                  <a:pt x="525" y="146"/>
                  <a:pt x="1664" y="-234"/>
                  <a:pt x="2614" y="146"/>
                </a:cubicBezTo>
                <a:lnTo>
                  <a:pt x="23309" y="9259"/>
                </a:lnTo>
                <a:cubicBezTo>
                  <a:pt x="24258" y="9639"/>
                  <a:pt x="24638" y="10778"/>
                  <a:pt x="24258" y="11727"/>
                </a:cubicBezTo>
                <a:cubicBezTo>
                  <a:pt x="24068" y="12486"/>
                  <a:pt x="23309" y="12866"/>
                  <a:pt x="22549" y="12866"/>
                </a:cubicBezTo>
                <a:lnTo>
                  <a:pt x="22549" y="12866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2" name="Freeform: Shape 1321">
            <a:extLst>
              <a:ext uri="{FF2B5EF4-FFF2-40B4-BE49-F238E27FC236}">
                <a16:creationId xmlns:a16="http://schemas.microsoft.com/office/drawing/2014/main" id="{DEF8EA68-ECBF-03F5-8D9B-9C185054138F}"/>
              </a:ext>
            </a:extLst>
          </p:cNvPr>
          <p:cNvSpPr/>
          <p:nvPr userDrawn="1"/>
        </p:nvSpPr>
        <p:spPr>
          <a:xfrm>
            <a:off x="9965952" y="4893504"/>
            <a:ext cx="1000194" cy="1335877"/>
          </a:xfrm>
          <a:custGeom>
            <a:avLst/>
            <a:gdLst>
              <a:gd name="connsiteX0" fmla="*/ 0 w 1000194"/>
              <a:gd name="connsiteY0" fmla="*/ 1335878 h 1335877"/>
              <a:gd name="connsiteX1" fmla="*/ 783182 w 1000194"/>
              <a:gd name="connsiteY1" fmla="*/ 1322017 h 1335877"/>
              <a:gd name="connsiteX2" fmla="*/ 1000194 w 1000194"/>
              <a:gd name="connsiteY2" fmla="*/ 6842 h 1335877"/>
              <a:gd name="connsiteX3" fmla="*/ 59237 w 1000194"/>
              <a:gd name="connsiteY3" fmla="*/ 20132 h 1335877"/>
              <a:gd name="connsiteX4" fmla="*/ 189 w 1000194"/>
              <a:gd name="connsiteY4" fmla="*/ 1335688 h 1335877"/>
              <a:gd name="connsiteX5" fmla="*/ 189 w 1000194"/>
              <a:gd name="connsiteY5" fmla="*/ 1335688 h 1335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194" h="1335877">
                <a:moveTo>
                  <a:pt x="0" y="1335878"/>
                </a:moveTo>
                <a:cubicBezTo>
                  <a:pt x="217772" y="1335878"/>
                  <a:pt x="508831" y="1322017"/>
                  <a:pt x="783182" y="1322017"/>
                </a:cubicBezTo>
                <a:cubicBezTo>
                  <a:pt x="840520" y="857425"/>
                  <a:pt x="871467" y="501623"/>
                  <a:pt x="1000194" y="6842"/>
                </a:cubicBezTo>
                <a:cubicBezTo>
                  <a:pt x="727172" y="-5309"/>
                  <a:pt x="142397" y="-1512"/>
                  <a:pt x="59237" y="20132"/>
                </a:cubicBezTo>
                <a:cubicBezTo>
                  <a:pt x="42529" y="464979"/>
                  <a:pt x="26011" y="902612"/>
                  <a:pt x="189" y="1335688"/>
                </a:cubicBezTo>
                <a:lnTo>
                  <a:pt x="189" y="1335688"/>
                </a:lnTo>
                <a:close/>
              </a:path>
            </a:pathLst>
          </a:custGeom>
          <a:solidFill>
            <a:schemeClr val="bg1"/>
          </a:solidFill>
          <a:ln w="495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3" name="Freeform: Shape 1322">
            <a:extLst>
              <a:ext uri="{FF2B5EF4-FFF2-40B4-BE49-F238E27FC236}">
                <a16:creationId xmlns:a16="http://schemas.microsoft.com/office/drawing/2014/main" id="{A73031A3-D139-CE12-6C78-13B4757849D6}"/>
              </a:ext>
            </a:extLst>
          </p:cNvPr>
          <p:cNvSpPr/>
          <p:nvPr userDrawn="1"/>
        </p:nvSpPr>
        <p:spPr>
          <a:xfrm>
            <a:off x="9960219" y="4887839"/>
            <a:ext cx="1011577" cy="1347618"/>
          </a:xfrm>
          <a:custGeom>
            <a:avLst/>
            <a:gdLst>
              <a:gd name="connsiteX0" fmla="*/ 5732 w 1011577"/>
              <a:gd name="connsiteY0" fmla="*/ 1347239 h 1347618"/>
              <a:gd name="connsiteX1" fmla="*/ 1555 w 1011577"/>
              <a:gd name="connsiteY1" fmla="*/ 1345340 h 1347618"/>
              <a:gd name="connsiteX2" fmla="*/ 36 w 1011577"/>
              <a:gd name="connsiteY2" fmla="*/ 1340973 h 1347618"/>
              <a:gd name="connsiteX3" fmla="*/ 59083 w 1011577"/>
              <a:gd name="connsiteY3" fmla="*/ 25608 h 1347618"/>
              <a:gd name="connsiteX4" fmla="*/ 63450 w 1011577"/>
              <a:gd name="connsiteY4" fmla="*/ 20291 h 1347618"/>
              <a:gd name="connsiteX5" fmla="*/ 1006116 w 1011577"/>
              <a:gd name="connsiteY5" fmla="*/ 6621 h 1347618"/>
              <a:gd name="connsiteX6" fmla="*/ 1010483 w 1011577"/>
              <a:gd name="connsiteY6" fmla="*/ 9090 h 1347618"/>
              <a:gd name="connsiteX7" fmla="*/ 1011432 w 1011577"/>
              <a:gd name="connsiteY7" fmla="*/ 14026 h 1347618"/>
              <a:gd name="connsiteX8" fmla="*/ 817583 w 1011577"/>
              <a:gd name="connsiteY8" fmla="*/ 1137441 h 1347618"/>
              <a:gd name="connsiteX9" fmla="*/ 794609 w 1011577"/>
              <a:gd name="connsiteY9" fmla="*/ 1328632 h 1347618"/>
              <a:gd name="connsiteX10" fmla="*/ 788724 w 1011577"/>
              <a:gd name="connsiteY10" fmla="*/ 1333758 h 1347618"/>
              <a:gd name="connsiteX11" fmla="*/ 352990 w 1011577"/>
              <a:gd name="connsiteY11" fmla="*/ 1341353 h 1347618"/>
              <a:gd name="connsiteX12" fmla="*/ 5542 w 1011577"/>
              <a:gd name="connsiteY12" fmla="*/ 1347618 h 1347618"/>
              <a:gd name="connsiteX13" fmla="*/ 5542 w 1011577"/>
              <a:gd name="connsiteY13" fmla="*/ 1347618 h 1347618"/>
              <a:gd name="connsiteX14" fmla="*/ 70285 w 1011577"/>
              <a:gd name="connsiteY14" fmla="*/ 30544 h 1347618"/>
              <a:gd name="connsiteX15" fmla="*/ 11808 w 1011577"/>
              <a:gd name="connsiteY15" fmla="*/ 1335467 h 1347618"/>
              <a:gd name="connsiteX16" fmla="*/ 352610 w 1011577"/>
              <a:gd name="connsiteY16" fmla="*/ 1329202 h 1347618"/>
              <a:gd name="connsiteX17" fmla="*/ 783408 w 1011577"/>
              <a:gd name="connsiteY17" fmla="*/ 1321607 h 1347618"/>
              <a:gd name="connsiteX18" fmla="*/ 805811 w 1011577"/>
              <a:gd name="connsiteY18" fmla="*/ 1135732 h 1347618"/>
              <a:gd name="connsiteX19" fmla="*/ 997952 w 1011577"/>
              <a:gd name="connsiteY19" fmla="*/ 17823 h 1347618"/>
              <a:gd name="connsiteX20" fmla="*/ 70095 w 1011577"/>
              <a:gd name="connsiteY20" fmla="*/ 30354 h 1347618"/>
              <a:gd name="connsiteX21" fmla="*/ 70095 w 1011577"/>
              <a:gd name="connsiteY21" fmla="*/ 30354 h 134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11577" h="1347618">
                <a:moveTo>
                  <a:pt x="5732" y="1347239"/>
                </a:moveTo>
                <a:cubicBezTo>
                  <a:pt x="4213" y="1347239"/>
                  <a:pt x="2694" y="1346479"/>
                  <a:pt x="1555" y="1345340"/>
                </a:cubicBezTo>
                <a:cubicBezTo>
                  <a:pt x="416" y="1344201"/>
                  <a:pt x="-154" y="1342682"/>
                  <a:pt x="36" y="1340973"/>
                </a:cubicBezTo>
                <a:cubicBezTo>
                  <a:pt x="26237" y="898214"/>
                  <a:pt x="43705" y="434571"/>
                  <a:pt x="59083" y="25608"/>
                </a:cubicBezTo>
                <a:cubicBezTo>
                  <a:pt x="59083" y="23140"/>
                  <a:pt x="60982" y="20861"/>
                  <a:pt x="63450" y="20291"/>
                </a:cubicBezTo>
                <a:cubicBezTo>
                  <a:pt x="148698" y="-1922"/>
                  <a:pt x="741448" y="-4960"/>
                  <a:pt x="1006116" y="6621"/>
                </a:cubicBezTo>
                <a:cubicBezTo>
                  <a:pt x="1007825" y="6621"/>
                  <a:pt x="1009534" y="7571"/>
                  <a:pt x="1010483" y="9090"/>
                </a:cubicBezTo>
                <a:cubicBezTo>
                  <a:pt x="1011432" y="10419"/>
                  <a:pt x="1011812" y="12317"/>
                  <a:pt x="1011432" y="14026"/>
                </a:cubicBezTo>
                <a:cubicBezTo>
                  <a:pt x="901122" y="438558"/>
                  <a:pt x="862390" y="762273"/>
                  <a:pt x="817583" y="1137441"/>
                </a:cubicBezTo>
                <a:cubicBezTo>
                  <a:pt x="810178" y="1199146"/>
                  <a:pt x="802584" y="1262750"/>
                  <a:pt x="794609" y="1328632"/>
                </a:cubicBezTo>
                <a:cubicBezTo>
                  <a:pt x="794230" y="1331670"/>
                  <a:pt x="791762" y="1333758"/>
                  <a:pt x="788724" y="1333758"/>
                </a:cubicBezTo>
                <a:cubicBezTo>
                  <a:pt x="643859" y="1333758"/>
                  <a:pt x="495956" y="1337556"/>
                  <a:pt x="352990" y="1341353"/>
                </a:cubicBezTo>
                <a:cubicBezTo>
                  <a:pt x="227111" y="1344580"/>
                  <a:pt x="108258" y="1347618"/>
                  <a:pt x="5542" y="1347618"/>
                </a:cubicBezTo>
                <a:lnTo>
                  <a:pt x="5542" y="1347618"/>
                </a:lnTo>
                <a:close/>
                <a:moveTo>
                  <a:pt x="70285" y="30544"/>
                </a:moveTo>
                <a:cubicBezTo>
                  <a:pt x="55096" y="436659"/>
                  <a:pt x="37819" y="896316"/>
                  <a:pt x="11808" y="1335467"/>
                </a:cubicBezTo>
                <a:cubicBezTo>
                  <a:pt x="113004" y="1335467"/>
                  <a:pt x="229390" y="1332429"/>
                  <a:pt x="352610" y="1329202"/>
                </a:cubicBezTo>
                <a:cubicBezTo>
                  <a:pt x="494058" y="1325594"/>
                  <a:pt x="640062" y="1321797"/>
                  <a:pt x="783408" y="1321607"/>
                </a:cubicBezTo>
                <a:cubicBezTo>
                  <a:pt x="791192" y="1257814"/>
                  <a:pt x="798596" y="1195729"/>
                  <a:pt x="805811" y="1135732"/>
                </a:cubicBezTo>
                <a:cubicBezTo>
                  <a:pt x="850429" y="762273"/>
                  <a:pt x="888971" y="439697"/>
                  <a:pt x="997952" y="17823"/>
                </a:cubicBezTo>
                <a:cubicBezTo>
                  <a:pt x="734613" y="6621"/>
                  <a:pt x="167304" y="9469"/>
                  <a:pt x="70095" y="30354"/>
                </a:cubicBezTo>
                <a:lnTo>
                  <a:pt x="70095" y="30354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25" name="Freeform: Shape 1324">
            <a:extLst>
              <a:ext uri="{FF2B5EF4-FFF2-40B4-BE49-F238E27FC236}">
                <a16:creationId xmlns:a16="http://schemas.microsoft.com/office/drawing/2014/main" id="{0C43E567-15BF-093C-9309-608BDD194094}"/>
              </a:ext>
            </a:extLst>
          </p:cNvPr>
          <p:cNvSpPr/>
          <p:nvPr userDrawn="1"/>
        </p:nvSpPr>
        <p:spPr>
          <a:xfrm>
            <a:off x="7807730" y="5739675"/>
            <a:ext cx="179288" cy="155469"/>
          </a:xfrm>
          <a:custGeom>
            <a:avLst/>
            <a:gdLst>
              <a:gd name="connsiteX0" fmla="*/ 90432 w 179288"/>
              <a:gd name="connsiteY0" fmla="*/ 622 h 155469"/>
              <a:gd name="connsiteX1" fmla="*/ 6133 w 179288"/>
              <a:gd name="connsiteY1" fmla="*/ 37265 h 155469"/>
              <a:gd name="connsiteX2" fmla="*/ 27967 w 179288"/>
              <a:gd name="connsiteY2" fmla="*/ 129918 h 155469"/>
              <a:gd name="connsiteX3" fmla="*/ 123088 w 179288"/>
              <a:gd name="connsiteY3" fmla="*/ 152701 h 155469"/>
              <a:gd name="connsiteX4" fmla="*/ 169035 w 179288"/>
              <a:gd name="connsiteY4" fmla="*/ 124792 h 155469"/>
              <a:gd name="connsiteX5" fmla="*/ 179287 w 179288"/>
              <a:gd name="connsiteY5" fmla="*/ 88718 h 155469"/>
              <a:gd name="connsiteX6" fmla="*/ 90432 w 179288"/>
              <a:gd name="connsiteY6" fmla="*/ 432 h 155469"/>
              <a:gd name="connsiteX7" fmla="*/ 90432 w 179288"/>
              <a:gd name="connsiteY7" fmla="*/ 432 h 1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288" h="155469">
                <a:moveTo>
                  <a:pt x="90432" y="622"/>
                </a:moveTo>
                <a:cubicBezTo>
                  <a:pt x="56636" y="-2606"/>
                  <a:pt x="19803" y="6317"/>
                  <a:pt x="6133" y="37265"/>
                </a:cubicBezTo>
                <a:cubicBezTo>
                  <a:pt x="-7727" y="68212"/>
                  <a:pt x="2905" y="107134"/>
                  <a:pt x="27967" y="129918"/>
                </a:cubicBezTo>
                <a:cubicBezTo>
                  <a:pt x="53029" y="152701"/>
                  <a:pt x="90052" y="160106"/>
                  <a:pt x="123088" y="152701"/>
                </a:cubicBezTo>
                <a:cubicBezTo>
                  <a:pt x="140935" y="148714"/>
                  <a:pt x="158782" y="139981"/>
                  <a:pt x="169035" y="124792"/>
                </a:cubicBezTo>
                <a:cubicBezTo>
                  <a:pt x="176060" y="114349"/>
                  <a:pt x="179287" y="101438"/>
                  <a:pt x="179287" y="88718"/>
                </a:cubicBezTo>
                <a:cubicBezTo>
                  <a:pt x="179477" y="46948"/>
                  <a:pt x="160491" y="7267"/>
                  <a:pt x="90432" y="432"/>
                </a:cubicBezTo>
                <a:lnTo>
                  <a:pt x="90432" y="432"/>
                </a:lnTo>
                <a:close/>
              </a:path>
            </a:pathLst>
          </a:custGeom>
          <a:noFill/>
          <a:ln w="11770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6" name="Freeform: Shape 1325">
            <a:extLst>
              <a:ext uri="{FF2B5EF4-FFF2-40B4-BE49-F238E27FC236}">
                <a16:creationId xmlns:a16="http://schemas.microsoft.com/office/drawing/2014/main" id="{217157CD-6A1A-6533-509F-F96002D47E74}"/>
              </a:ext>
            </a:extLst>
          </p:cNvPr>
          <p:cNvSpPr/>
          <p:nvPr userDrawn="1"/>
        </p:nvSpPr>
        <p:spPr>
          <a:xfrm>
            <a:off x="7802069" y="5733582"/>
            <a:ext cx="190840" cy="167528"/>
          </a:xfrm>
          <a:custGeom>
            <a:avLst/>
            <a:gdLst>
              <a:gd name="connsiteX0" fmla="*/ 103498 w 190840"/>
              <a:gd name="connsiteY0" fmla="*/ 167528 h 167528"/>
              <a:gd name="connsiteX1" fmla="*/ 29831 w 190840"/>
              <a:gd name="connsiteY1" fmla="*/ 140378 h 167528"/>
              <a:gd name="connsiteX2" fmla="*/ 6478 w 190840"/>
              <a:gd name="connsiteY2" fmla="*/ 40890 h 167528"/>
              <a:gd name="connsiteX3" fmla="*/ 96853 w 190840"/>
              <a:gd name="connsiteY3" fmla="*/ 639 h 167528"/>
              <a:gd name="connsiteX4" fmla="*/ 190834 w 190840"/>
              <a:gd name="connsiteY4" fmla="*/ 94621 h 167528"/>
              <a:gd name="connsiteX5" fmla="*/ 179633 w 190840"/>
              <a:gd name="connsiteY5" fmla="*/ 133922 h 167528"/>
              <a:gd name="connsiteX6" fmla="*/ 130269 w 190840"/>
              <a:gd name="connsiteY6" fmla="*/ 164111 h 167528"/>
              <a:gd name="connsiteX7" fmla="*/ 103688 w 190840"/>
              <a:gd name="connsiteY7" fmla="*/ 167148 h 167528"/>
              <a:gd name="connsiteX8" fmla="*/ 103688 w 190840"/>
              <a:gd name="connsiteY8" fmla="*/ 167148 h 167528"/>
              <a:gd name="connsiteX9" fmla="*/ 83373 w 190840"/>
              <a:gd name="connsiteY9" fmla="*/ 11841 h 167528"/>
              <a:gd name="connsiteX10" fmla="*/ 17111 w 190840"/>
              <a:gd name="connsiteY10" fmla="*/ 45637 h 167528"/>
              <a:gd name="connsiteX11" fmla="*/ 37616 w 190840"/>
              <a:gd name="connsiteY11" fmla="*/ 131644 h 167528"/>
              <a:gd name="connsiteX12" fmla="*/ 127610 w 190840"/>
              <a:gd name="connsiteY12" fmla="*/ 153099 h 167528"/>
              <a:gd name="connsiteX13" fmla="*/ 169950 w 190840"/>
              <a:gd name="connsiteY13" fmla="*/ 127657 h 167528"/>
              <a:gd name="connsiteX14" fmla="*/ 179253 w 190840"/>
              <a:gd name="connsiteY14" fmla="*/ 94621 h 167528"/>
              <a:gd name="connsiteX15" fmla="*/ 95713 w 190840"/>
              <a:gd name="connsiteY15" fmla="*/ 12221 h 167528"/>
              <a:gd name="connsiteX16" fmla="*/ 95713 w 190840"/>
              <a:gd name="connsiteY16" fmla="*/ 12221 h 167528"/>
              <a:gd name="connsiteX17" fmla="*/ 83562 w 190840"/>
              <a:gd name="connsiteY17" fmla="*/ 11651 h 167528"/>
              <a:gd name="connsiteX18" fmla="*/ 83562 w 190840"/>
              <a:gd name="connsiteY18" fmla="*/ 11651 h 167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0840" h="167528">
                <a:moveTo>
                  <a:pt x="103498" y="167528"/>
                </a:moveTo>
                <a:cubicBezTo>
                  <a:pt x="75588" y="167528"/>
                  <a:pt x="49007" y="158035"/>
                  <a:pt x="29831" y="140378"/>
                </a:cubicBezTo>
                <a:cubicBezTo>
                  <a:pt x="2112" y="115126"/>
                  <a:pt x="-7761" y="73167"/>
                  <a:pt x="6478" y="40890"/>
                </a:cubicBezTo>
                <a:cubicBezTo>
                  <a:pt x="19579" y="11461"/>
                  <a:pt x="53184" y="-3348"/>
                  <a:pt x="96853" y="639"/>
                </a:cubicBezTo>
                <a:cubicBezTo>
                  <a:pt x="175076" y="8234"/>
                  <a:pt x="191214" y="56079"/>
                  <a:pt x="190834" y="94621"/>
                </a:cubicBezTo>
                <a:cubicBezTo>
                  <a:pt x="190834" y="109620"/>
                  <a:pt x="186847" y="123290"/>
                  <a:pt x="179633" y="133922"/>
                </a:cubicBezTo>
                <a:cubicBezTo>
                  <a:pt x="166912" y="152529"/>
                  <a:pt x="145837" y="160693"/>
                  <a:pt x="130269" y="164111"/>
                </a:cubicBezTo>
                <a:cubicBezTo>
                  <a:pt x="121535" y="166009"/>
                  <a:pt x="112421" y="167148"/>
                  <a:pt x="103688" y="167148"/>
                </a:cubicBezTo>
                <a:lnTo>
                  <a:pt x="103688" y="167148"/>
                </a:lnTo>
                <a:close/>
                <a:moveTo>
                  <a:pt x="83373" y="11841"/>
                </a:moveTo>
                <a:cubicBezTo>
                  <a:pt x="63247" y="11841"/>
                  <a:pt x="30021" y="16588"/>
                  <a:pt x="17111" y="45637"/>
                </a:cubicBezTo>
                <a:cubicBezTo>
                  <a:pt x="4770" y="73546"/>
                  <a:pt x="13503" y="109620"/>
                  <a:pt x="37616" y="131644"/>
                </a:cubicBezTo>
                <a:cubicBezTo>
                  <a:pt x="60209" y="152149"/>
                  <a:pt x="94764" y="160503"/>
                  <a:pt x="127610" y="153099"/>
                </a:cubicBezTo>
                <a:cubicBezTo>
                  <a:pt x="146597" y="148922"/>
                  <a:pt x="161785" y="139808"/>
                  <a:pt x="169950" y="127657"/>
                </a:cubicBezTo>
                <a:cubicBezTo>
                  <a:pt x="177544" y="116645"/>
                  <a:pt x="179253" y="103734"/>
                  <a:pt x="179253" y="94621"/>
                </a:cubicBezTo>
                <a:cubicBezTo>
                  <a:pt x="179443" y="45447"/>
                  <a:pt x="151533" y="17727"/>
                  <a:pt x="95713" y="12221"/>
                </a:cubicBezTo>
                <a:lnTo>
                  <a:pt x="95713" y="12221"/>
                </a:lnTo>
                <a:cubicBezTo>
                  <a:pt x="92866" y="12031"/>
                  <a:pt x="88689" y="11651"/>
                  <a:pt x="83562" y="11651"/>
                </a:cubicBezTo>
                <a:lnTo>
                  <a:pt x="83562" y="11651"/>
                </a:ln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601191C-F944-3495-D91D-31A06CD430FA}"/>
              </a:ext>
            </a:extLst>
          </p:cNvPr>
          <p:cNvGrpSpPr/>
          <p:nvPr userDrawn="1"/>
        </p:nvGrpSpPr>
        <p:grpSpPr>
          <a:xfrm>
            <a:off x="10839282" y="2067222"/>
            <a:ext cx="163127" cy="540347"/>
            <a:chOff x="10839282" y="2067222"/>
            <a:chExt cx="163127" cy="540347"/>
          </a:xfrm>
        </p:grpSpPr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81F83967-0533-C76F-C5E4-6D68506F2ED8}"/>
                </a:ext>
              </a:extLst>
            </p:cNvPr>
            <p:cNvSpPr/>
            <p:nvPr userDrawn="1"/>
          </p:nvSpPr>
          <p:spPr>
            <a:xfrm>
              <a:off x="10844823" y="2073298"/>
              <a:ext cx="151320" cy="528386"/>
            </a:xfrm>
            <a:custGeom>
              <a:avLst/>
              <a:gdLst>
                <a:gd name="connsiteX0" fmla="*/ 14620 w 151320"/>
                <a:gd name="connsiteY0" fmla="*/ 0 h 528386"/>
                <a:gd name="connsiteX1" fmla="*/ 0 w 151320"/>
                <a:gd name="connsiteY1" fmla="*/ 525539 h 528386"/>
                <a:gd name="connsiteX2" fmla="*/ 141068 w 151320"/>
                <a:gd name="connsiteY2" fmla="*/ 528387 h 528386"/>
                <a:gd name="connsiteX3" fmla="*/ 151320 w 151320"/>
                <a:gd name="connsiteY3" fmla="*/ 0 h 528386"/>
                <a:gd name="connsiteX4" fmla="*/ 14620 w 151320"/>
                <a:gd name="connsiteY4" fmla="*/ 0 h 528386"/>
                <a:gd name="connsiteX5" fmla="*/ 14620 w 151320"/>
                <a:gd name="connsiteY5" fmla="*/ 0 h 528386"/>
                <a:gd name="connsiteX6" fmla="*/ 14620 w 151320"/>
                <a:gd name="connsiteY6" fmla="*/ 0 h 52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320" h="528386">
                  <a:moveTo>
                    <a:pt x="14620" y="0"/>
                  </a:moveTo>
                  <a:lnTo>
                    <a:pt x="0" y="525539"/>
                  </a:lnTo>
                  <a:lnTo>
                    <a:pt x="141068" y="528387"/>
                  </a:lnTo>
                  <a:lnTo>
                    <a:pt x="151320" y="0"/>
                  </a:lnTo>
                  <a:lnTo>
                    <a:pt x="14620" y="0"/>
                  </a:lnTo>
                  <a:lnTo>
                    <a:pt x="14620" y="0"/>
                  </a:lnTo>
                  <a:lnTo>
                    <a:pt x="14620" y="0"/>
                  </a:lnTo>
                  <a:close/>
                </a:path>
              </a:pathLst>
            </a:custGeom>
            <a:solidFill>
              <a:srgbClr val="E1EBE5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18B1D0E7-8B30-DBDA-0208-9D96F5DF8007}"/>
                </a:ext>
              </a:extLst>
            </p:cNvPr>
            <p:cNvSpPr/>
            <p:nvPr userDrawn="1"/>
          </p:nvSpPr>
          <p:spPr>
            <a:xfrm>
              <a:off x="10839282" y="2067222"/>
              <a:ext cx="163127" cy="540347"/>
            </a:xfrm>
            <a:custGeom>
              <a:avLst/>
              <a:gdLst>
                <a:gd name="connsiteX0" fmla="*/ 146610 w 163127"/>
                <a:gd name="connsiteY0" fmla="*/ 540348 h 540347"/>
                <a:gd name="connsiteX1" fmla="*/ 146610 w 163127"/>
                <a:gd name="connsiteY1" fmla="*/ 540348 h 540347"/>
                <a:gd name="connsiteX2" fmla="*/ 5732 w 163127"/>
                <a:gd name="connsiteY2" fmla="*/ 537310 h 540347"/>
                <a:gd name="connsiteX3" fmla="*/ 1555 w 163127"/>
                <a:gd name="connsiteY3" fmla="*/ 535412 h 540347"/>
                <a:gd name="connsiteX4" fmla="*/ 36 w 163127"/>
                <a:gd name="connsiteY4" fmla="*/ 531235 h 540347"/>
                <a:gd name="connsiteX5" fmla="*/ 14655 w 163127"/>
                <a:gd name="connsiteY5" fmla="*/ 5696 h 540347"/>
                <a:gd name="connsiteX6" fmla="*/ 20541 w 163127"/>
                <a:gd name="connsiteY6" fmla="*/ 0 h 540347"/>
                <a:gd name="connsiteX7" fmla="*/ 157242 w 163127"/>
                <a:gd name="connsiteY7" fmla="*/ 0 h 540347"/>
                <a:gd name="connsiteX8" fmla="*/ 161419 w 163127"/>
                <a:gd name="connsiteY8" fmla="*/ 1709 h 540347"/>
                <a:gd name="connsiteX9" fmla="*/ 163128 w 163127"/>
                <a:gd name="connsiteY9" fmla="*/ 5886 h 540347"/>
                <a:gd name="connsiteX10" fmla="*/ 152685 w 163127"/>
                <a:gd name="connsiteY10" fmla="*/ 534272 h 540347"/>
                <a:gd name="connsiteX11" fmla="*/ 150787 w 163127"/>
                <a:gd name="connsiteY11" fmla="*/ 538449 h 540347"/>
                <a:gd name="connsiteX12" fmla="*/ 146799 w 163127"/>
                <a:gd name="connsiteY12" fmla="*/ 539968 h 540347"/>
                <a:gd name="connsiteX13" fmla="*/ 146799 w 163127"/>
                <a:gd name="connsiteY13" fmla="*/ 539968 h 540347"/>
                <a:gd name="connsiteX14" fmla="*/ 11617 w 163127"/>
                <a:gd name="connsiteY14" fmla="*/ 525918 h 540347"/>
                <a:gd name="connsiteX15" fmla="*/ 140913 w 163127"/>
                <a:gd name="connsiteY15" fmla="*/ 528576 h 540347"/>
                <a:gd name="connsiteX16" fmla="*/ 151166 w 163127"/>
                <a:gd name="connsiteY16" fmla="*/ 11961 h 540347"/>
                <a:gd name="connsiteX17" fmla="*/ 26047 w 163127"/>
                <a:gd name="connsiteY17" fmla="*/ 11961 h 540347"/>
                <a:gd name="connsiteX18" fmla="*/ 11617 w 163127"/>
                <a:gd name="connsiteY18" fmla="*/ 525918 h 540347"/>
                <a:gd name="connsiteX19" fmla="*/ 11617 w 163127"/>
                <a:gd name="connsiteY19" fmla="*/ 525918 h 54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3127" h="540347">
                  <a:moveTo>
                    <a:pt x="146610" y="540348"/>
                  </a:moveTo>
                  <a:lnTo>
                    <a:pt x="146610" y="540348"/>
                  </a:lnTo>
                  <a:lnTo>
                    <a:pt x="5732" y="537310"/>
                  </a:lnTo>
                  <a:cubicBezTo>
                    <a:pt x="4213" y="537310"/>
                    <a:pt x="2694" y="536551"/>
                    <a:pt x="1555" y="535412"/>
                  </a:cubicBezTo>
                  <a:cubicBezTo>
                    <a:pt x="416" y="534272"/>
                    <a:pt x="-154" y="532943"/>
                    <a:pt x="36" y="531235"/>
                  </a:cubicBezTo>
                  <a:lnTo>
                    <a:pt x="14655" y="5696"/>
                  </a:lnTo>
                  <a:cubicBezTo>
                    <a:pt x="14655" y="2658"/>
                    <a:pt x="17314" y="0"/>
                    <a:pt x="20541" y="0"/>
                  </a:cubicBezTo>
                  <a:lnTo>
                    <a:pt x="157242" y="0"/>
                  </a:lnTo>
                  <a:cubicBezTo>
                    <a:pt x="158761" y="0"/>
                    <a:pt x="160280" y="570"/>
                    <a:pt x="161419" y="1709"/>
                  </a:cubicBezTo>
                  <a:cubicBezTo>
                    <a:pt x="162558" y="2848"/>
                    <a:pt x="163128" y="4177"/>
                    <a:pt x="163128" y="5886"/>
                  </a:cubicBezTo>
                  <a:lnTo>
                    <a:pt x="152685" y="534272"/>
                  </a:lnTo>
                  <a:cubicBezTo>
                    <a:pt x="152685" y="535791"/>
                    <a:pt x="151926" y="537310"/>
                    <a:pt x="150787" y="538449"/>
                  </a:cubicBezTo>
                  <a:cubicBezTo>
                    <a:pt x="149648" y="539399"/>
                    <a:pt x="148318" y="539968"/>
                    <a:pt x="146799" y="539968"/>
                  </a:cubicBezTo>
                  <a:lnTo>
                    <a:pt x="146799" y="539968"/>
                  </a:lnTo>
                  <a:close/>
                  <a:moveTo>
                    <a:pt x="11617" y="525918"/>
                  </a:moveTo>
                  <a:lnTo>
                    <a:pt x="140913" y="528576"/>
                  </a:lnTo>
                  <a:lnTo>
                    <a:pt x="151166" y="11961"/>
                  </a:lnTo>
                  <a:lnTo>
                    <a:pt x="26047" y="11961"/>
                  </a:lnTo>
                  <a:lnTo>
                    <a:pt x="11617" y="525918"/>
                  </a:lnTo>
                  <a:lnTo>
                    <a:pt x="11617" y="525918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1BE5C349-9CB6-3C3B-8E21-723FB2D16150}"/>
                </a:ext>
              </a:extLst>
            </p:cNvPr>
            <p:cNvSpPr/>
            <p:nvPr userDrawn="1"/>
          </p:nvSpPr>
          <p:spPr>
            <a:xfrm>
              <a:off x="10862376" y="2534712"/>
              <a:ext cx="65331" cy="54631"/>
            </a:xfrm>
            <a:custGeom>
              <a:avLst/>
              <a:gdLst>
                <a:gd name="connsiteX0" fmla="*/ 63709 w 65331"/>
                <a:gd name="connsiteY0" fmla="*/ 54632 h 54631"/>
                <a:gd name="connsiteX1" fmla="*/ 62380 w 65331"/>
                <a:gd name="connsiteY1" fmla="*/ 54252 h 54631"/>
                <a:gd name="connsiteX2" fmla="*/ 484 w 65331"/>
                <a:gd name="connsiteY2" fmla="*/ 3369 h 54631"/>
                <a:gd name="connsiteX3" fmla="*/ 294 w 65331"/>
                <a:gd name="connsiteY3" fmla="*/ 711 h 54631"/>
                <a:gd name="connsiteX4" fmla="*/ 2953 w 65331"/>
                <a:gd name="connsiteY4" fmla="*/ 331 h 54631"/>
                <a:gd name="connsiteX5" fmla="*/ 64848 w 65331"/>
                <a:gd name="connsiteY5" fmla="*/ 51214 h 54631"/>
                <a:gd name="connsiteX6" fmla="*/ 65037 w 65331"/>
                <a:gd name="connsiteY6" fmla="*/ 53872 h 54631"/>
                <a:gd name="connsiteX7" fmla="*/ 63519 w 65331"/>
                <a:gd name="connsiteY7" fmla="*/ 54632 h 54631"/>
                <a:gd name="connsiteX8" fmla="*/ 63519 w 65331"/>
                <a:gd name="connsiteY8" fmla="*/ 54632 h 5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331" h="54631">
                  <a:moveTo>
                    <a:pt x="63709" y="54632"/>
                  </a:moveTo>
                  <a:cubicBezTo>
                    <a:pt x="63709" y="54632"/>
                    <a:pt x="62949" y="54632"/>
                    <a:pt x="62380" y="54252"/>
                  </a:cubicBezTo>
                  <a:lnTo>
                    <a:pt x="484" y="3369"/>
                  </a:lnTo>
                  <a:cubicBezTo>
                    <a:pt x="484" y="3369"/>
                    <a:pt x="-465" y="1470"/>
                    <a:pt x="294" y="711"/>
                  </a:cubicBezTo>
                  <a:cubicBezTo>
                    <a:pt x="1054" y="-49"/>
                    <a:pt x="2193" y="-238"/>
                    <a:pt x="2953" y="331"/>
                  </a:cubicBezTo>
                  <a:lnTo>
                    <a:pt x="64848" y="51214"/>
                  </a:lnTo>
                  <a:cubicBezTo>
                    <a:pt x="64848" y="51214"/>
                    <a:pt x="65797" y="53113"/>
                    <a:pt x="65037" y="53872"/>
                  </a:cubicBezTo>
                  <a:cubicBezTo>
                    <a:pt x="64658" y="54252"/>
                    <a:pt x="64088" y="54632"/>
                    <a:pt x="63519" y="54632"/>
                  </a:cubicBezTo>
                  <a:lnTo>
                    <a:pt x="63519" y="54632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F9C02EC4-13EF-A916-BC59-42098323BA4D}"/>
                </a:ext>
              </a:extLst>
            </p:cNvPr>
            <p:cNvSpPr/>
            <p:nvPr userDrawn="1"/>
          </p:nvSpPr>
          <p:spPr>
            <a:xfrm>
              <a:off x="10865984" y="2479499"/>
              <a:ext cx="95519" cy="79656"/>
            </a:xfrm>
            <a:custGeom>
              <a:avLst/>
              <a:gdLst>
                <a:gd name="connsiteX0" fmla="*/ 93897 w 95519"/>
                <a:gd name="connsiteY0" fmla="*/ 79466 h 79656"/>
                <a:gd name="connsiteX1" fmla="*/ 92568 w 95519"/>
                <a:gd name="connsiteY1" fmla="*/ 79086 h 79656"/>
                <a:gd name="connsiteX2" fmla="*/ 484 w 95519"/>
                <a:gd name="connsiteY2" fmla="*/ 3331 h 79656"/>
                <a:gd name="connsiteX3" fmla="*/ 294 w 95519"/>
                <a:gd name="connsiteY3" fmla="*/ 673 h 79656"/>
                <a:gd name="connsiteX4" fmla="*/ 2953 w 95519"/>
                <a:gd name="connsiteY4" fmla="*/ 483 h 79656"/>
                <a:gd name="connsiteX5" fmla="*/ 95036 w 95519"/>
                <a:gd name="connsiteY5" fmla="*/ 76238 h 79656"/>
                <a:gd name="connsiteX6" fmla="*/ 95225 w 95519"/>
                <a:gd name="connsiteY6" fmla="*/ 78897 h 79656"/>
                <a:gd name="connsiteX7" fmla="*/ 93707 w 95519"/>
                <a:gd name="connsiteY7" fmla="*/ 79656 h 79656"/>
                <a:gd name="connsiteX8" fmla="*/ 93707 w 95519"/>
                <a:gd name="connsiteY8" fmla="*/ 79656 h 7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19" h="79656">
                  <a:moveTo>
                    <a:pt x="93897" y="79466"/>
                  </a:moveTo>
                  <a:cubicBezTo>
                    <a:pt x="93897" y="79466"/>
                    <a:pt x="93137" y="79466"/>
                    <a:pt x="92568" y="79086"/>
                  </a:cubicBezTo>
                  <a:lnTo>
                    <a:pt x="484" y="3331"/>
                  </a:lnTo>
                  <a:cubicBezTo>
                    <a:pt x="484" y="3331"/>
                    <a:pt x="-465" y="1433"/>
                    <a:pt x="294" y="673"/>
                  </a:cubicBezTo>
                  <a:cubicBezTo>
                    <a:pt x="1054" y="-86"/>
                    <a:pt x="2193" y="-276"/>
                    <a:pt x="2953" y="483"/>
                  </a:cubicBezTo>
                  <a:lnTo>
                    <a:pt x="95036" y="76238"/>
                  </a:lnTo>
                  <a:cubicBezTo>
                    <a:pt x="95036" y="76238"/>
                    <a:pt x="95985" y="78137"/>
                    <a:pt x="95225" y="78897"/>
                  </a:cubicBezTo>
                  <a:cubicBezTo>
                    <a:pt x="94846" y="79276"/>
                    <a:pt x="94276" y="79656"/>
                    <a:pt x="93707" y="79656"/>
                  </a:cubicBezTo>
                  <a:lnTo>
                    <a:pt x="93707" y="79656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DC7879DF-B960-7608-6F7A-009B5CD8DA13}"/>
                </a:ext>
              </a:extLst>
            </p:cNvPr>
            <p:cNvSpPr/>
            <p:nvPr userDrawn="1"/>
          </p:nvSpPr>
          <p:spPr>
            <a:xfrm>
              <a:off x="10868832" y="2421554"/>
              <a:ext cx="101215" cy="84250"/>
            </a:xfrm>
            <a:custGeom>
              <a:avLst/>
              <a:gdLst>
                <a:gd name="connsiteX0" fmla="*/ 99592 w 101215"/>
                <a:gd name="connsiteY0" fmla="*/ 84250 h 84250"/>
                <a:gd name="connsiteX1" fmla="*/ 98263 w 101215"/>
                <a:gd name="connsiteY1" fmla="*/ 83871 h 84250"/>
                <a:gd name="connsiteX2" fmla="*/ 484 w 101215"/>
                <a:gd name="connsiteY2" fmla="*/ 3369 h 84250"/>
                <a:gd name="connsiteX3" fmla="*/ 295 w 101215"/>
                <a:gd name="connsiteY3" fmla="*/ 711 h 84250"/>
                <a:gd name="connsiteX4" fmla="*/ 2952 w 101215"/>
                <a:gd name="connsiteY4" fmla="*/ 331 h 84250"/>
                <a:gd name="connsiteX5" fmla="*/ 100731 w 101215"/>
                <a:gd name="connsiteY5" fmla="*/ 80833 h 84250"/>
                <a:gd name="connsiteX6" fmla="*/ 100921 w 101215"/>
                <a:gd name="connsiteY6" fmla="*/ 83491 h 84250"/>
                <a:gd name="connsiteX7" fmla="*/ 99402 w 101215"/>
                <a:gd name="connsiteY7" fmla="*/ 84250 h 84250"/>
                <a:gd name="connsiteX8" fmla="*/ 99402 w 101215"/>
                <a:gd name="connsiteY8" fmla="*/ 84250 h 8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215" h="84250">
                  <a:moveTo>
                    <a:pt x="99592" y="84250"/>
                  </a:moveTo>
                  <a:cubicBezTo>
                    <a:pt x="99592" y="84250"/>
                    <a:pt x="98833" y="84250"/>
                    <a:pt x="98263" y="83871"/>
                  </a:cubicBezTo>
                  <a:lnTo>
                    <a:pt x="484" y="3369"/>
                  </a:lnTo>
                  <a:cubicBezTo>
                    <a:pt x="484" y="3369"/>
                    <a:pt x="-465" y="1470"/>
                    <a:pt x="295" y="711"/>
                  </a:cubicBezTo>
                  <a:cubicBezTo>
                    <a:pt x="1054" y="-49"/>
                    <a:pt x="2193" y="-238"/>
                    <a:pt x="2952" y="331"/>
                  </a:cubicBezTo>
                  <a:lnTo>
                    <a:pt x="100731" y="80833"/>
                  </a:lnTo>
                  <a:cubicBezTo>
                    <a:pt x="100731" y="80833"/>
                    <a:pt x="101681" y="82731"/>
                    <a:pt x="100921" y="83491"/>
                  </a:cubicBezTo>
                  <a:cubicBezTo>
                    <a:pt x="100542" y="83871"/>
                    <a:pt x="99972" y="84250"/>
                    <a:pt x="99402" y="84250"/>
                  </a:cubicBezTo>
                  <a:lnTo>
                    <a:pt x="99402" y="84250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F6DD5519-6640-1F12-C76B-07FCD99D7714}"/>
                </a:ext>
              </a:extLst>
            </p:cNvPr>
            <p:cNvSpPr/>
            <p:nvPr userDrawn="1"/>
          </p:nvSpPr>
          <p:spPr>
            <a:xfrm>
              <a:off x="10876806" y="2370139"/>
              <a:ext cx="85077" cy="71112"/>
            </a:xfrm>
            <a:custGeom>
              <a:avLst/>
              <a:gdLst>
                <a:gd name="connsiteX0" fmla="*/ 83454 w 85077"/>
                <a:gd name="connsiteY0" fmla="*/ 70922 h 71112"/>
                <a:gd name="connsiteX1" fmla="*/ 82125 w 85077"/>
                <a:gd name="connsiteY1" fmla="*/ 70543 h 71112"/>
                <a:gd name="connsiteX2" fmla="*/ 485 w 85077"/>
                <a:gd name="connsiteY2" fmla="*/ 3331 h 71112"/>
                <a:gd name="connsiteX3" fmla="*/ 295 w 85077"/>
                <a:gd name="connsiteY3" fmla="*/ 673 h 71112"/>
                <a:gd name="connsiteX4" fmla="*/ 2953 w 85077"/>
                <a:gd name="connsiteY4" fmla="*/ 483 h 71112"/>
                <a:gd name="connsiteX5" fmla="*/ 84593 w 85077"/>
                <a:gd name="connsiteY5" fmla="*/ 67695 h 71112"/>
                <a:gd name="connsiteX6" fmla="*/ 84783 w 85077"/>
                <a:gd name="connsiteY6" fmla="*/ 70353 h 71112"/>
                <a:gd name="connsiteX7" fmla="*/ 83264 w 85077"/>
                <a:gd name="connsiteY7" fmla="*/ 71112 h 71112"/>
                <a:gd name="connsiteX8" fmla="*/ 83264 w 85077"/>
                <a:gd name="connsiteY8" fmla="*/ 71112 h 7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077" h="71112">
                  <a:moveTo>
                    <a:pt x="83454" y="70922"/>
                  </a:moveTo>
                  <a:cubicBezTo>
                    <a:pt x="83454" y="70922"/>
                    <a:pt x="82695" y="70922"/>
                    <a:pt x="82125" y="70543"/>
                  </a:cubicBezTo>
                  <a:lnTo>
                    <a:pt x="485" y="3331"/>
                  </a:lnTo>
                  <a:cubicBezTo>
                    <a:pt x="485" y="3331"/>
                    <a:pt x="-465" y="1433"/>
                    <a:pt x="295" y="673"/>
                  </a:cubicBezTo>
                  <a:cubicBezTo>
                    <a:pt x="1054" y="-86"/>
                    <a:pt x="2193" y="-276"/>
                    <a:pt x="2953" y="483"/>
                  </a:cubicBezTo>
                  <a:lnTo>
                    <a:pt x="84593" y="67695"/>
                  </a:lnTo>
                  <a:cubicBezTo>
                    <a:pt x="84593" y="67695"/>
                    <a:pt x="85542" y="69593"/>
                    <a:pt x="84783" y="70353"/>
                  </a:cubicBezTo>
                  <a:cubicBezTo>
                    <a:pt x="84403" y="70733"/>
                    <a:pt x="83834" y="71112"/>
                    <a:pt x="83264" y="71112"/>
                  </a:cubicBezTo>
                  <a:lnTo>
                    <a:pt x="83264" y="71112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3203F577-CF7F-1109-5017-18FD721AFCA6}"/>
                </a:ext>
              </a:extLst>
            </p:cNvPr>
            <p:cNvSpPr/>
            <p:nvPr userDrawn="1"/>
          </p:nvSpPr>
          <p:spPr>
            <a:xfrm>
              <a:off x="10874148" y="2308776"/>
              <a:ext cx="89444" cy="74567"/>
            </a:xfrm>
            <a:custGeom>
              <a:avLst/>
              <a:gdLst>
                <a:gd name="connsiteX0" fmla="*/ 87821 w 89444"/>
                <a:gd name="connsiteY0" fmla="*/ 74567 h 74567"/>
                <a:gd name="connsiteX1" fmla="*/ 86492 w 89444"/>
                <a:gd name="connsiteY1" fmla="*/ 74188 h 74567"/>
                <a:gd name="connsiteX2" fmla="*/ 484 w 89444"/>
                <a:gd name="connsiteY2" fmla="*/ 3369 h 74567"/>
                <a:gd name="connsiteX3" fmla="*/ 295 w 89444"/>
                <a:gd name="connsiteY3" fmla="*/ 711 h 74567"/>
                <a:gd name="connsiteX4" fmla="*/ 2952 w 89444"/>
                <a:gd name="connsiteY4" fmla="*/ 331 h 74567"/>
                <a:gd name="connsiteX5" fmla="*/ 88960 w 89444"/>
                <a:gd name="connsiteY5" fmla="*/ 71150 h 74567"/>
                <a:gd name="connsiteX6" fmla="*/ 89150 w 89444"/>
                <a:gd name="connsiteY6" fmla="*/ 73808 h 74567"/>
                <a:gd name="connsiteX7" fmla="*/ 87631 w 89444"/>
                <a:gd name="connsiteY7" fmla="*/ 74567 h 74567"/>
                <a:gd name="connsiteX8" fmla="*/ 87631 w 89444"/>
                <a:gd name="connsiteY8" fmla="*/ 74567 h 7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44" h="74567">
                  <a:moveTo>
                    <a:pt x="87821" y="74567"/>
                  </a:moveTo>
                  <a:cubicBezTo>
                    <a:pt x="87821" y="74567"/>
                    <a:pt x="87061" y="74567"/>
                    <a:pt x="86492" y="74188"/>
                  </a:cubicBezTo>
                  <a:lnTo>
                    <a:pt x="484" y="3369"/>
                  </a:lnTo>
                  <a:cubicBezTo>
                    <a:pt x="484" y="3369"/>
                    <a:pt x="-465" y="1470"/>
                    <a:pt x="295" y="711"/>
                  </a:cubicBezTo>
                  <a:cubicBezTo>
                    <a:pt x="1054" y="-49"/>
                    <a:pt x="2193" y="-238"/>
                    <a:pt x="2952" y="331"/>
                  </a:cubicBezTo>
                  <a:lnTo>
                    <a:pt x="88960" y="71150"/>
                  </a:lnTo>
                  <a:cubicBezTo>
                    <a:pt x="88960" y="71150"/>
                    <a:pt x="89910" y="73048"/>
                    <a:pt x="89150" y="73808"/>
                  </a:cubicBezTo>
                  <a:cubicBezTo>
                    <a:pt x="88770" y="74188"/>
                    <a:pt x="88200" y="74567"/>
                    <a:pt x="87631" y="74567"/>
                  </a:cubicBezTo>
                  <a:lnTo>
                    <a:pt x="87631" y="74567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5E3918FE-C8C7-5085-7205-2B47E9D17D70}"/>
                </a:ext>
              </a:extLst>
            </p:cNvPr>
            <p:cNvSpPr/>
            <p:nvPr userDrawn="1"/>
          </p:nvSpPr>
          <p:spPr>
            <a:xfrm>
              <a:off x="10871679" y="2254323"/>
              <a:ext cx="96089" cy="80225"/>
            </a:xfrm>
            <a:custGeom>
              <a:avLst/>
              <a:gdLst>
                <a:gd name="connsiteX0" fmla="*/ 94466 w 96089"/>
                <a:gd name="connsiteY0" fmla="*/ 80036 h 80225"/>
                <a:gd name="connsiteX1" fmla="*/ 93137 w 96089"/>
                <a:gd name="connsiteY1" fmla="*/ 79656 h 80225"/>
                <a:gd name="connsiteX2" fmla="*/ 484 w 96089"/>
                <a:gd name="connsiteY2" fmla="*/ 3331 h 80225"/>
                <a:gd name="connsiteX3" fmla="*/ 295 w 96089"/>
                <a:gd name="connsiteY3" fmla="*/ 673 h 80225"/>
                <a:gd name="connsiteX4" fmla="*/ 2952 w 96089"/>
                <a:gd name="connsiteY4" fmla="*/ 483 h 80225"/>
                <a:gd name="connsiteX5" fmla="*/ 95605 w 96089"/>
                <a:gd name="connsiteY5" fmla="*/ 76808 h 80225"/>
                <a:gd name="connsiteX6" fmla="*/ 95795 w 96089"/>
                <a:gd name="connsiteY6" fmla="*/ 79466 h 80225"/>
                <a:gd name="connsiteX7" fmla="*/ 94276 w 96089"/>
                <a:gd name="connsiteY7" fmla="*/ 80226 h 80225"/>
                <a:gd name="connsiteX8" fmla="*/ 94276 w 96089"/>
                <a:gd name="connsiteY8" fmla="*/ 80226 h 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9" h="80225">
                  <a:moveTo>
                    <a:pt x="94466" y="80036"/>
                  </a:moveTo>
                  <a:cubicBezTo>
                    <a:pt x="94466" y="80036"/>
                    <a:pt x="93707" y="80036"/>
                    <a:pt x="93137" y="79656"/>
                  </a:cubicBezTo>
                  <a:lnTo>
                    <a:pt x="484" y="3331"/>
                  </a:lnTo>
                  <a:cubicBezTo>
                    <a:pt x="484" y="3331"/>
                    <a:pt x="-465" y="1433"/>
                    <a:pt x="295" y="673"/>
                  </a:cubicBezTo>
                  <a:cubicBezTo>
                    <a:pt x="1054" y="-86"/>
                    <a:pt x="2193" y="-276"/>
                    <a:pt x="2952" y="483"/>
                  </a:cubicBezTo>
                  <a:lnTo>
                    <a:pt x="95605" y="76808"/>
                  </a:lnTo>
                  <a:cubicBezTo>
                    <a:pt x="95605" y="76808"/>
                    <a:pt x="96554" y="78707"/>
                    <a:pt x="95795" y="79466"/>
                  </a:cubicBezTo>
                  <a:cubicBezTo>
                    <a:pt x="95415" y="79846"/>
                    <a:pt x="94846" y="80226"/>
                    <a:pt x="94276" y="80226"/>
                  </a:cubicBezTo>
                  <a:lnTo>
                    <a:pt x="94276" y="80226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941C300E-0CA8-E2D5-4C8C-F49B2B8F5506}"/>
                </a:ext>
              </a:extLst>
            </p:cNvPr>
            <p:cNvSpPr/>
            <p:nvPr userDrawn="1"/>
          </p:nvSpPr>
          <p:spPr>
            <a:xfrm>
              <a:off x="10873388" y="2196035"/>
              <a:ext cx="98747" cy="82503"/>
            </a:xfrm>
            <a:custGeom>
              <a:avLst/>
              <a:gdLst>
                <a:gd name="connsiteX0" fmla="*/ 97124 w 98747"/>
                <a:gd name="connsiteY0" fmla="*/ 82314 h 82503"/>
                <a:gd name="connsiteX1" fmla="*/ 95795 w 98747"/>
                <a:gd name="connsiteY1" fmla="*/ 81934 h 82503"/>
                <a:gd name="connsiteX2" fmla="*/ 485 w 98747"/>
                <a:gd name="connsiteY2" fmla="*/ 3331 h 82503"/>
                <a:gd name="connsiteX3" fmla="*/ 295 w 98747"/>
                <a:gd name="connsiteY3" fmla="*/ 673 h 82503"/>
                <a:gd name="connsiteX4" fmla="*/ 2952 w 98747"/>
                <a:gd name="connsiteY4" fmla="*/ 483 h 82503"/>
                <a:gd name="connsiteX5" fmla="*/ 98263 w 98747"/>
                <a:gd name="connsiteY5" fmla="*/ 79086 h 82503"/>
                <a:gd name="connsiteX6" fmla="*/ 98453 w 98747"/>
                <a:gd name="connsiteY6" fmla="*/ 81745 h 82503"/>
                <a:gd name="connsiteX7" fmla="*/ 96934 w 98747"/>
                <a:gd name="connsiteY7" fmla="*/ 82504 h 82503"/>
                <a:gd name="connsiteX8" fmla="*/ 96934 w 98747"/>
                <a:gd name="connsiteY8" fmla="*/ 82504 h 8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747" h="82503">
                  <a:moveTo>
                    <a:pt x="97124" y="82314"/>
                  </a:moveTo>
                  <a:cubicBezTo>
                    <a:pt x="97124" y="82314"/>
                    <a:pt x="96365" y="82314"/>
                    <a:pt x="95795" y="81934"/>
                  </a:cubicBezTo>
                  <a:lnTo>
                    <a:pt x="485" y="3331"/>
                  </a:lnTo>
                  <a:cubicBezTo>
                    <a:pt x="485" y="3331"/>
                    <a:pt x="-465" y="1433"/>
                    <a:pt x="295" y="673"/>
                  </a:cubicBezTo>
                  <a:cubicBezTo>
                    <a:pt x="1054" y="-86"/>
                    <a:pt x="2193" y="-276"/>
                    <a:pt x="2952" y="483"/>
                  </a:cubicBezTo>
                  <a:lnTo>
                    <a:pt x="98263" y="79086"/>
                  </a:lnTo>
                  <a:cubicBezTo>
                    <a:pt x="98263" y="79086"/>
                    <a:pt x="99213" y="80985"/>
                    <a:pt x="98453" y="81745"/>
                  </a:cubicBezTo>
                  <a:cubicBezTo>
                    <a:pt x="98073" y="82124"/>
                    <a:pt x="97504" y="82504"/>
                    <a:pt x="96934" y="82504"/>
                  </a:cubicBezTo>
                  <a:lnTo>
                    <a:pt x="96934" y="82504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C435AD9C-9283-EC9C-1495-73E2BBD869F8}"/>
                </a:ext>
              </a:extLst>
            </p:cNvPr>
            <p:cNvSpPr/>
            <p:nvPr userDrawn="1"/>
          </p:nvSpPr>
          <p:spPr>
            <a:xfrm>
              <a:off x="10874148" y="2139266"/>
              <a:ext cx="92102" cy="76808"/>
            </a:xfrm>
            <a:custGeom>
              <a:avLst/>
              <a:gdLst>
                <a:gd name="connsiteX0" fmla="*/ 90479 w 92102"/>
                <a:gd name="connsiteY0" fmla="*/ 76618 h 76808"/>
                <a:gd name="connsiteX1" fmla="*/ 89150 w 92102"/>
                <a:gd name="connsiteY1" fmla="*/ 76239 h 76808"/>
                <a:gd name="connsiteX2" fmla="*/ 484 w 92102"/>
                <a:gd name="connsiteY2" fmla="*/ 3331 h 76808"/>
                <a:gd name="connsiteX3" fmla="*/ 295 w 92102"/>
                <a:gd name="connsiteY3" fmla="*/ 673 h 76808"/>
                <a:gd name="connsiteX4" fmla="*/ 2952 w 92102"/>
                <a:gd name="connsiteY4" fmla="*/ 483 h 76808"/>
                <a:gd name="connsiteX5" fmla="*/ 91618 w 92102"/>
                <a:gd name="connsiteY5" fmla="*/ 73391 h 76808"/>
                <a:gd name="connsiteX6" fmla="*/ 91808 w 92102"/>
                <a:gd name="connsiteY6" fmla="*/ 76049 h 76808"/>
                <a:gd name="connsiteX7" fmla="*/ 90289 w 92102"/>
                <a:gd name="connsiteY7" fmla="*/ 76808 h 76808"/>
                <a:gd name="connsiteX8" fmla="*/ 90289 w 92102"/>
                <a:gd name="connsiteY8" fmla="*/ 76808 h 76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102" h="76808">
                  <a:moveTo>
                    <a:pt x="90479" y="76618"/>
                  </a:moveTo>
                  <a:cubicBezTo>
                    <a:pt x="90479" y="76618"/>
                    <a:pt x="89720" y="76618"/>
                    <a:pt x="89150" y="76239"/>
                  </a:cubicBezTo>
                  <a:lnTo>
                    <a:pt x="484" y="3331"/>
                  </a:lnTo>
                  <a:cubicBezTo>
                    <a:pt x="484" y="3331"/>
                    <a:pt x="-465" y="1433"/>
                    <a:pt x="295" y="673"/>
                  </a:cubicBezTo>
                  <a:cubicBezTo>
                    <a:pt x="1054" y="-86"/>
                    <a:pt x="2193" y="-276"/>
                    <a:pt x="2952" y="483"/>
                  </a:cubicBezTo>
                  <a:lnTo>
                    <a:pt x="91618" y="73391"/>
                  </a:lnTo>
                  <a:cubicBezTo>
                    <a:pt x="91618" y="73391"/>
                    <a:pt x="92567" y="75289"/>
                    <a:pt x="91808" y="76049"/>
                  </a:cubicBezTo>
                  <a:cubicBezTo>
                    <a:pt x="91428" y="76428"/>
                    <a:pt x="90859" y="76808"/>
                    <a:pt x="90289" y="76808"/>
                  </a:cubicBezTo>
                  <a:lnTo>
                    <a:pt x="90289" y="76808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A7EF6AE4-628B-A0E9-A3B5-D077BC13BB2E}"/>
                </a:ext>
              </a:extLst>
            </p:cNvPr>
            <p:cNvSpPr/>
            <p:nvPr userDrawn="1"/>
          </p:nvSpPr>
          <p:spPr>
            <a:xfrm>
              <a:off x="10876806" y="2084586"/>
              <a:ext cx="94001" cy="78516"/>
            </a:xfrm>
            <a:custGeom>
              <a:avLst/>
              <a:gdLst>
                <a:gd name="connsiteX0" fmla="*/ 92378 w 94001"/>
                <a:gd name="connsiteY0" fmla="*/ 78327 h 78516"/>
                <a:gd name="connsiteX1" fmla="*/ 91049 w 94001"/>
                <a:gd name="connsiteY1" fmla="*/ 77947 h 78516"/>
                <a:gd name="connsiteX2" fmla="*/ 485 w 94001"/>
                <a:gd name="connsiteY2" fmla="*/ 3331 h 78516"/>
                <a:gd name="connsiteX3" fmla="*/ 295 w 94001"/>
                <a:gd name="connsiteY3" fmla="*/ 673 h 78516"/>
                <a:gd name="connsiteX4" fmla="*/ 2953 w 94001"/>
                <a:gd name="connsiteY4" fmla="*/ 483 h 78516"/>
                <a:gd name="connsiteX5" fmla="*/ 93517 w 94001"/>
                <a:gd name="connsiteY5" fmla="*/ 75099 h 78516"/>
                <a:gd name="connsiteX6" fmla="*/ 93707 w 94001"/>
                <a:gd name="connsiteY6" fmla="*/ 77757 h 78516"/>
                <a:gd name="connsiteX7" fmla="*/ 92188 w 94001"/>
                <a:gd name="connsiteY7" fmla="*/ 78517 h 78516"/>
                <a:gd name="connsiteX8" fmla="*/ 92188 w 94001"/>
                <a:gd name="connsiteY8" fmla="*/ 78517 h 7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001" h="78516">
                  <a:moveTo>
                    <a:pt x="92378" y="78327"/>
                  </a:moveTo>
                  <a:cubicBezTo>
                    <a:pt x="92378" y="78327"/>
                    <a:pt x="91618" y="78327"/>
                    <a:pt x="91049" y="77947"/>
                  </a:cubicBezTo>
                  <a:lnTo>
                    <a:pt x="485" y="3331"/>
                  </a:lnTo>
                  <a:cubicBezTo>
                    <a:pt x="485" y="3331"/>
                    <a:pt x="-465" y="1433"/>
                    <a:pt x="295" y="673"/>
                  </a:cubicBezTo>
                  <a:cubicBezTo>
                    <a:pt x="1054" y="-86"/>
                    <a:pt x="2193" y="-276"/>
                    <a:pt x="2953" y="483"/>
                  </a:cubicBezTo>
                  <a:lnTo>
                    <a:pt x="93517" y="75099"/>
                  </a:lnTo>
                  <a:cubicBezTo>
                    <a:pt x="93517" y="75099"/>
                    <a:pt x="94466" y="76998"/>
                    <a:pt x="93707" y="77757"/>
                  </a:cubicBezTo>
                  <a:cubicBezTo>
                    <a:pt x="93327" y="78137"/>
                    <a:pt x="92757" y="78517"/>
                    <a:pt x="92188" y="78517"/>
                  </a:cubicBezTo>
                  <a:lnTo>
                    <a:pt x="92188" y="78517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E06D362-A329-7678-AC92-EDAAA502B4D1}"/>
                </a:ext>
              </a:extLst>
            </p:cNvPr>
            <p:cNvSpPr/>
            <p:nvPr userDrawn="1"/>
          </p:nvSpPr>
          <p:spPr>
            <a:xfrm>
              <a:off x="10938701" y="2089105"/>
              <a:ext cx="32485" cy="27671"/>
            </a:xfrm>
            <a:custGeom>
              <a:avLst/>
              <a:gdLst>
                <a:gd name="connsiteX0" fmla="*/ 30862 w 32485"/>
                <a:gd name="connsiteY0" fmla="*/ 27671 h 27671"/>
                <a:gd name="connsiteX1" fmla="*/ 29533 w 32485"/>
                <a:gd name="connsiteY1" fmla="*/ 27292 h 27671"/>
                <a:gd name="connsiteX2" fmla="*/ 484 w 32485"/>
                <a:gd name="connsiteY2" fmla="*/ 3369 h 27671"/>
                <a:gd name="connsiteX3" fmla="*/ 295 w 32485"/>
                <a:gd name="connsiteY3" fmla="*/ 711 h 27671"/>
                <a:gd name="connsiteX4" fmla="*/ 2952 w 32485"/>
                <a:gd name="connsiteY4" fmla="*/ 331 h 27671"/>
                <a:gd name="connsiteX5" fmla="*/ 32001 w 32485"/>
                <a:gd name="connsiteY5" fmla="*/ 24254 h 27671"/>
                <a:gd name="connsiteX6" fmla="*/ 32191 w 32485"/>
                <a:gd name="connsiteY6" fmla="*/ 26912 h 27671"/>
                <a:gd name="connsiteX7" fmla="*/ 30673 w 32485"/>
                <a:gd name="connsiteY7" fmla="*/ 27671 h 27671"/>
                <a:gd name="connsiteX8" fmla="*/ 30673 w 32485"/>
                <a:gd name="connsiteY8" fmla="*/ 27671 h 2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85" h="27671">
                  <a:moveTo>
                    <a:pt x="30862" y="27671"/>
                  </a:moveTo>
                  <a:cubicBezTo>
                    <a:pt x="30862" y="27671"/>
                    <a:pt x="30103" y="27671"/>
                    <a:pt x="29533" y="27292"/>
                  </a:cubicBezTo>
                  <a:lnTo>
                    <a:pt x="484" y="3369"/>
                  </a:lnTo>
                  <a:cubicBezTo>
                    <a:pt x="484" y="3369"/>
                    <a:pt x="-465" y="1470"/>
                    <a:pt x="295" y="711"/>
                  </a:cubicBezTo>
                  <a:cubicBezTo>
                    <a:pt x="1054" y="-49"/>
                    <a:pt x="2193" y="-238"/>
                    <a:pt x="2952" y="331"/>
                  </a:cubicBezTo>
                  <a:lnTo>
                    <a:pt x="32001" y="24254"/>
                  </a:lnTo>
                  <a:cubicBezTo>
                    <a:pt x="32001" y="24254"/>
                    <a:pt x="32951" y="26152"/>
                    <a:pt x="32191" y="26912"/>
                  </a:cubicBezTo>
                  <a:cubicBezTo>
                    <a:pt x="31812" y="27292"/>
                    <a:pt x="31242" y="27671"/>
                    <a:pt x="30673" y="27671"/>
                  </a:cubicBezTo>
                  <a:lnTo>
                    <a:pt x="30673" y="27671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sp>
        <p:nvSpPr>
          <p:cNvPr id="1348" name="Freeform: Shape 1347">
            <a:extLst>
              <a:ext uri="{FF2B5EF4-FFF2-40B4-BE49-F238E27FC236}">
                <a16:creationId xmlns:a16="http://schemas.microsoft.com/office/drawing/2014/main" id="{CEF3CA38-071E-EC70-5ACA-1495BCFCD20D}"/>
              </a:ext>
            </a:extLst>
          </p:cNvPr>
          <p:cNvSpPr/>
          <p:nvPr userDrawn="1"/>
        </p:nvSpPr>
        <p:spPr>
          <a:xfrm>
            <a:off x="7140156" y="5391520"/>
            <a:ext cx="1609158" cy="865201"/>
          </a:xfrm>
          <a:custGeom>
            <a:avLst/>
            <a:gdLst>
              <a:gd name="connsiteX0" fmla="*/ 1564161 w 1609158"/>
              <a:gd name="connsiteY0" fmla="*/ 756791 h 865201"/>
              <a:gd name="connsiteX1" fmla="*/ 1563401 w 1609158"/>
              <a:gd name="connsiteY1" fmla="*/ 755272 h 865201"/>
              <a:gd name="connsiteX2" fmla="*/ 1561313 w 1609158"/>
              <a:gd name="connsiteY2" fmla="*/ 751095 h 865201"/>
              <a:gd name="connsiteX3" fmla="*/ 1422524 w 1609158"/>
              <a:gd name="connsiteY3" fmla="*/ 466112 h 865201"/>
              <a:gd name="connsiteX4" fmla="*/ 1200385 w 1609158"/>
              <a:gd name="connsiteY4" fmla="*/ 9873 h 865201"/>
              <a:gd name="connsiteX5" fmla="*/ 1195069 w 1609158"/>
              <a:gd name="connsiteY5" fmla="*/ 6645 h 865201"/>
              <a:gd name="connsiteX6" fmla="*/ 5772 w 1609158"/>
              <a:gd name="connsiteY6" fmla="*/ 0 h 865201"/>
              <a:gd name="connsiteX7" fmla="*/ 1025 w 1609158"/>
              <a:gd name="connsiteY7" fmla="*/ 2848 h 865201"/>
              <a:gd name="connsiteX8" fmla="*/ 456 w 1609158"/>
              <a:gd name="connsiteY8" fmla="*/ 8354 h 865201"/>
              <a:gd name="connsiteX9" fmla="*/ 395369 w 1609158"/>
              <a:gd name="connsiteY9" fmla="*/ 853621 h 865201"/>
              <a:gd name="connsiteX10" fmla="*/ 398027 w 1609158"/>
              <a:gd name="connsiteY10" fmla="*/ 859316 h 865201"/>
              <a:gd name="connsiteX11" fmla="*/ 399926 w 1609158"/>
              <a:gd name="connsiteY11" fmla="*/ 863493 h 865201"/>
              <a:gd name="connsiteX12" fmla="*/ 401255 w 1609158"/>
              <a:gd name="connsiteY12" fmla="*/ 865202 h 865201"/>
              <a:gd name="connsiteX13" fmla="*/ 1005776 w 1609158"/>
              <a:gd name="connsiteY13" fmla="*/ 860645 h 865201"/>
              <a:gd name="connsiteX14" fmla="*/ 410558 w 1609158"/>
              <a:gd name="connsiteY14" fmla="*/ 861215 h 865201"/>
              <a:gd name="connsiteX15" fmla="*/ 406191 w 1609158"/>
              <a:gd name="connsiteY15" fmla="*/ 859127 h 865201"/>
              <a:gd name="connsiteX16" fmla="*/ 1522392 w 1609158"/>
              <a:gd name="connsiteY16" fmla="*/ 849444 h 865201"/>
              <a:gd name="connsiteX17" fmla="*/ 1522581 w 1609158"/>
              <a:gd name="connsiteY17" fmla="*/ 848684 h 865201"/>
              <a:gd name="connsiteX18" fmla="*/ 408849 w 1609158"/>
              <a:gd name="connsiteY18" fmla="*/ 855139 h 865201"/>
              <a:gd name="connsiteX19" fmla="*/ 14885 w 1609158"/>
              <a:gd name="connsiteY19" fmla="*/ 11771 h 865201"/>
              <a:gd name="connsiteX20" fmla="*/ 1191462 w 1609158"/>
              <a:gd name="connsiteY20" fmla="*/ 18037 h 865201"/>
              <a:gd name="connsiteX21" fmla="*/ 1420815 w 1609158"/>
              <a:gd name="connsiteY21" fmla="*/ 489275 h 865201"/>
              <a:gd name="connsiteX22" fmla="*/ 1548592 w 1609158"/>
              <a:gd name="connsiteY22" fmla="*/ 751475 h 865201"/>
              <a:gd name="connsiteX23" fmla="*/ 1548592 w 1609158"/>
              <a:gd name="connsiteY23" fmla="*/ 751475 h 865201"/>
              <a:gd name="connsiteX24" fmla="*/ 1556567 w 1609158"/>
              <a:gd name="connsiteY24" fmla="*/ 751475 h 865201"/>
              <a:gd name="connsiteX25" fmla="*/ 1559414 w 1609158"/>
              <a:gd name="connsiteY25" fmla="*/ 757171 h 865201"/>
              <a:gd name="connsiteX26" fmla="*/ 1564351 w 1609158"/>
              <a:gd name="connsiteY26" fmla="*/ 757171 h 865201"/>
              <a:gd name="connsiteX27" fmla="*/ 1564351 w 1609158"/>
              <a:gd name="connsiteY27" fmla="*/ 756791 h 865201"/>
              <a:gd name="connsiteX28" fmla="*/ 1608209 w 1609158"/>
              <a:gd name="connsiteY28" fmla="*/ 857987 h 865201"/>
              <a:gd name="connsiteX29" fmla="*/ 1605931 w 1609158"/>
              <a:gd name="connsiteY29" fmla="*/ 859696 h 865201"/>
              <a:gd name="connsiteX30" fmla="*/ 1609158 w 1609158"/>
              <a:gd name="connsiteY30" fmla="*/ 857987 h 865201"/>
              <a:gd name="connsiteX31" fmla="*/ 1608209 w 1609158"/>
              <a:gd name="connsiteY31" fmla="*/ 857987 h 865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609158" h="865201">
                <a:moveTo>
                  <a:pt x="1564161" y="756791"/>
                </a:moveTo>
                <a:lnTo>
                  <a:pt x="1563401" y="755272"/>
                </a:lnTo>
                <a:lnTo>
                  <a:pt x="1561313" y="751095"/>
                </a:lnTo>
                <a:lnTo>
                  <a:pt x="1422524" y="466112"/>
                </a:lnTo>
                <a:lnTo>
                  <a:pt x="1200385" y="9873"/>
                </a:lnTo>
                <a:cubicBezTo>
                  <a:pt x="1199436" y="7974"/>
                  <a:pt x="1197347" y="6645"/>
                  <a:pt x="1195069" y="6645"/>
                </a:cubicBezTo>
                <a:lnTo>
                  <a:pt x="5772" y="0"/>
                </a:lnTo>
                <a:cubicBezTo>
                  <a:pt x="3873" y="0"/>
                  <a:pt x="2165" y="1139"/>
                  <a:pt x="1025" y="2848"/>
                </a:cubicBezTo>
                <a:cubicBezTo>
                  <a:pt x="-114" y="4367"/>
                  <a:pt x="-304" y="6455"/>
                  <a:pt x="456" y="8354"/>
                </a:cubicBezTo>
                <a:lnTo>
                  <a:pt x="395369" y="853621"/>
                </a:lnTo>
                <a:lnTo>
                  <a:pt x="398027" y="859316"/>
                </a:lnTo>
                <a:lnTo>
                  <a:pt x="399926" y="863493"/>
                </a:lnTo>
                <a:cubicBezTo>
                  <a:pt x="399926" y="863493"/>
                  <a:pt x="400685" y="864822"/>
                  <a:pt x="401255" y="865202"/>
                </a:cubicBezTo>
                <a:cubicBezTo>
                  <a:pt x="602509" y="864063"/>
                  <a:pt x="803953" y="862354"/>
                  <a:pt x="1005776" y="860645"/>
                </a:cubicBezTo>
                <a:lnTo>
                  <a:pt x="410558" y="861215"/>
                </a:lnTo>
                <a:cubicBezTo>
                  <a:pt x="408849" y="861215"/>
                  <a:pt x="407331" y="860455"/>
                  <a:pt x="406191" y="859127"/>
                </a:cubicBezTo>
                <a:cubicBezTo>
                  <a:pt x="777562" y="856658"/>
                  <a:pt x="1149882" y="853431"/>
                  <a:pt x="1522392" y="849444"/>
                </a:cubicBezTo>
                <a:cubicBezTo>
                  <a:pt x="1522392" y="849254"/>
                  <a:pt x="1522581" y="849064"/>
                  <a:pt x="1522581" y="848684"/>
                </a:cubicBezTo>
                <a:lnTo>
                  <a:pt x="408849" y="855139"/>
                </a:lnTo>
                <a:lnTo>
                  <a:pt x="14885" y="11771"/>
                </a:lnTo>
                <a:lnTo>
                  <a:pt x="1191462" y="18037"/>
                </a:lnTo>
                <a:lnTo>
                  <a:pt x="1420815" y="489275"/>
                </a:lnTo>
                <a:lnTo>
                  <a:pt x="1548592" y="751475"/>
                </a:lnTo>
                <a:lnTo>
                  <a:pt x="1548592" y="751475"/>
                </a:lnTo>
                <a:cubicBezTo>
                  <a:pt x="1548592" y="751475"/>
                  <a:pt x="1556567" y="751475"/>
                  <a:pt x="1556567" y="751475"/>
                </a:cubicBezTo>
                <a:lnTo>
                  <a:pt x="1559414" y="757171"/>
                </a:lnTo>
                <a:lnTo>
                  <a:pt x="1564351" y="757171"/>
                </a:lnTo>
                <a:cubicBezTo>
                  <a:pt x="1564351" y="757171"/>
                  <a:pt x="1564351" y="756791"/>
                  <a:pt x="1564351" y="756791"/>
                </a:cubicBezTo>
                <a:close/>
                <a:moveTo>
                  <a:pt x="1608209" y="857987"/>
                </a:moveTo>
                <a:cubicBezTo>
                  <a:pt x="1607260" y="858747"/>
                  <a:pt x="1606500" y="859316"/>
                  <a:pt x="1605931" y="859696"/>
                </a:cubicBezTo>
                <a:cubicBezTo>
                  <a:pt x="1607260" y="859696"/>
                  <a:pt x="1608399" y="859127"/>
                  <a:pt x="1609158" y="857987"/>
                </a:cubicBezTo>
                <a:lnTo>
                  <a:pt x="1608209" y="857987"/>
                </a:ln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50" name="Freeform: Shape 1349">
            <a:extLst>
              <a:ext uri="{FF2B5EF4-FFF2-40B4-BE49-F238E27FC236}">
                <a16:creationId xmlns:a16="http://schemas.microsoft.com/office/drawing/2014/main" id="{C0EC02FD-04B6-7688-BA88-562C46DE6B02}"/>
              </a:ext>
            </a:extLst>
          </p:cNvPr>
          <p:cNvSpPr/>
          <p:nvPr userDrawn="1"/>
        </p:nvSpPr>
        <p:spPr>
          <a:xfrm>
            <a:off x="7541016" y="6252641"/>
            <a:ext cx="1224041" cy="14809"/>
          </a:xfrm>
          <a:custGeom>
            <a:avLst/>
            <a:gdLst>
              <a:gd name="connsiteX0" fmla="*/ 1224042 w 1224041"/>
              <a:gd name="connsiteY0" fmla="*/ 7025 h 14809"/>
              <a:gd name="connsiteX1" fmla="*/ 619520 w 1224041"/>
              <a:gd name="connsiteY1" fmla="*/ 11581 h 14809"/>
              <a:gd name="connsiteX2" fmla="*/ 6075 w 1224041"/>
              <a:gd name="connsiteY2" fmla="*/ 14809 h 14809"/>
              <a:gd name="connsiteX3" fmla="*/ 5886 w 1224041"/>
              <a:gd name="connsiteY3" fmla="*/ 14809 h 14809"/>
              <a:gd name="connsiteX4" fmla="*/ 0 w 1224041"/>
              <a:gd name="connsiteY4" fmla="*/ 9113 h 14809"/>
              <a:gd name="connsiteX5" fmla="*/ 5886 w 1224041"/>
              <a:gd name="connsiteY5" fmla="*/ 3228 h 14809"/>
              <a:gd name="connsiteX6" fmla="*/ 613635 w 1224041"/>
              <a:gd name="connsiteY6" fmla="*/ 0 h 14809"/>
              <a:gd name="connsiteX7" fmla="*/ 621609 w 1224041"/>
              <a:gd name="connsiteY7" fmla="*/ 0 h 14809"/>
              <a:gd name="connsiteX8" fmla="*/ 623507 w 1224041"/>
              <a:gd name="connsiteY8" fmla="*/ 4177 h 14809"/>
              <a:gd name="connsiteX9" fmla="*/ 624457 w 1224041"/>
              <a:gd name="connsiteY9" fmla="*/ 5506 h 14809"/>
              <a:gd name="connsiteX10" fmla="*/ 628824 w 1224041"/>
              <a:gd name="connsiteY10" fmla="*/ 7594 h 14809"/>
              <a:gd name="connsiteX11" fmla="*/ 1224042 w 1224041"/>
              <a:gd name="connsiteY11" fmla="*/ 7025 h 14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24041" h="14809">
                <a:moveTo>
                  <a:pt x="1224042" y="7025"/>
                </a:moveTo>
                <a:cubicBezTo>
                  <a:pt x="1022218" y="8734"/>
                  <a:pt x="820774" y="10442"/>
                  <a:pt x="619520" y="11581"/>
                </a:cubicBezTo>
                <a:cubicBezTo>
                  <a:pt x="414659" y="12910"/>
                  <a:pt x="210177" y="14050"/>
                  <a:pt x="6075" y="14809"/>
                </a:cubicBezTo>
                <a:lnTo>
                  <a:pt x="5886" y="14809"/>
                </a:lnTo>
                <a:cubicBezTo>
                  <a:pt x="2658" y="14809"/>
                  <a:pt x="0" y="12341"/>
                  <a:pt x="0" y="9113"/>
                </a:cubicBezTo>
                <a:cubicBezTo>
                  <a:pt x="0" y="5886"/>
                  <a:pt x="2658" y="3228"/>
                  <a:pt x="5886" y="3228"/>
                </a:cubicBezTo>
                <a:cubicBezTo>
                  <a:pt x="208089" y="2278"/>
                  <a:pt x="410862" y="1329"/>
                  <a:pt x="613635" y="0"/>
                </a:cubicBezTo>
                <a:lnTo>
                  <a:pt x="621609" y="0"/>
                </a:lnTo>
                <a:lnTo>
                  <a:pt x="623507" y="4177"/>
                </a:lnTo>
                <a:cubicBezTo>
                  <a:pt x="623507" y="4177"/>
                  <a:pt x="624077" y="5126"/>
                  <a:pt x="624457" y="5506"/>
                </a:cubicBezTo>
                <a:cubicBezTo>
                  <a:pt x="625596" y="6835"/>
                  <a:pt x="627115" y="7594"/>
                  <a:pt x="628824" y="7594"/>
                </a:cubicBezTo>
                <a:lnTo>
                  <a:pt x="1224042" y="7025"/>
                </a:lnTo>
                <a:close/>
              </a:path>
            </a:pathLst>
          </a:custGeom>
          <a:solidFill>
            <a:schemeClr val="accent1"/>
          </a:solidFill>
          <a:ln w="11770" cap="rnd">
            <a:noFill/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55" name="Freeform: Shape 1354">
            <a:extLst>
              <a:ext uri="{FF2B5EF4-FFF2-40B4-BE49-F238E27FC236}">
                <a16:creationId xmlns:a16="http://schemas.microsoft.com/office/drawing/2014/main" id="{B81A4B86-A787-CD5C-4142-95F2F1B827A3}"/>
              </a:ext>
            </a:extLst>
          </p:cNvPr>
          <p:cNvSpPr/>
          <p:nvPr userDrawn="1"/>
        </p:nvSpPr>
        <p:spPr>
          <a:xfrm>
            <a:off x="9208021" y="5063058"/>
            <a:ext cx="190393" cy="183419"/>
          </a:xfrm>
          <a:custGeom>
            <a:avLst/>
            <a:gdLst>
              <a:gd name="connsiteX0" fmla="*/ 190242 w 190393"/>
              <a:gd name="connsiteY0" fmla="*/ 0 h 183419"/>
              <a:gd name="connsiteX1" fmla="*/ 144485 w 190393"/>
              <a:gd name="connsiteY1" fmla="*/ 155497 h 183419"/>
              <a:gd name="connsiteX2" fmla="*/ 106133 w 190393"/>
              <a:gd name="connsiteY2" fmla="*/ 183407 h 183419"/>
              <a:gd name="connsiteX3" fmla="*/ 42719 w 190393"/>
              <a:gd name="connsiteY3" fmla="*/ 138030 h 183419"/>
              <a:gd name="connsiteX4" fmla="*/ 0 w 190393"/>
              <a:gd name="connsiteY4" fmla="*/ 21644 h 183419"/>
              <a:gd name="connsiteX5" fmla="*/ 20315 w 190393"/>
              <a:gd name="connsiteY5" fmla="*/ 24113 h 183419"/>
              <a:gd name="connsiteX6" fmla="*/ 60946 w 190393"/>
              <a:gd name="connsiteY6" fmla="*/ 25632 h 183419"/>
              <a:gd name="connsiteX7" fmla="*/ 78983 w 190393"/>
              <a:gd name="connsiteY7" fmla="*/ 25252 h 183419"/>
              <a:gd name="connsiteX8" fmla="*/ 190242 w 190393"/>
              <a:gd name="connsiteY8" fmla="*/ 0 h 183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393" h="183419">
                <a:moveTo>
                  <a:pt x="190242" y="0"/>
                </a:moveTo>
                <a:cubicBezTo>
                  <a:pt x="192521" y="58098"/>
                  <a:pt x="168598" y="124170"/>
                  <a:pt x="144485" y="155497"/>
                </a:cubicBezTo>
                <a:cubicBezTo>
                  <a:pt x="131195" y="172585"/>
                  <a:pt x="117335" y="182837"/>
                  <a:pt x="106133" y="183407"/>
                </a:cubicBezTo>
                <a:cubicBezTo>
                  <a:pt x="85249" y="183977"/>
                  <a:pt x="62085" y="164801"/>
                  <a:pt x="42719" y="138030"/>
                </a:cubicBezTo>
                <a:cubicBezTo>
                  <a:pt x="18417" y="104614"/>
                  <a:pt x="380" y="52972"/>
                  <a:pt x="0" y="21644"/>
                </a:cubicBezTo>
                <a:cubicBezTo>
                  <a:pt x="6835" y="22594"/>
                  <a:pt x="13670" y="23543"/>
                  <a:pt x="20315" y="24113"/>
                </a:cubicBezTo>
                <a:cubicBezTo>
                  <a:pt x="34365" y="25441"/>
                  <a:pt x="48035" y="26011"/>
                  <a:pt x="60946" y="25632"/>
                </a:cubicBezTo>
                <a:cubicBezTo>
                  <a:pt x="67021" y="25632"/>
                  <a:pt x="73097" y="25441"/>
                  <a:pt x="78983" y="25252"/>
                </a:cubicBezTo>
                <a:cubicBezTo>
                  <a:pt x="120563" y="22973"/>
                  <a:pt x="157206" y="13480"/>
                  <a:pt x="1902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1770" cap="rnd">
            <a:solidFill>
              <a:schemeClr val="accent4"/>
            </a:solidFill>
            <a:prstDash val="solid"/>
            <a:rou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57" name="Freeform: Shape 1356">
            <a:extLst>
              <a:ext uri="{FF2B5EF4-FFF2-40B4-BE49-F238E27FC236}">
                <a16:creationId xmlns:a16="http://schemas.microsoft.com/office/drawing/2014/main" id="{4ED64AAD-A80C-145B-1318-ED44E14C64CC}"/>
              </a:ext>
            </a:extLst>
          </p:cNvPr>
          <p:cNvSpPr/>
          <p:nvPr userDrawn="1"/>
        </p:nvSpPr>
        <p:spPr>
          <a:xfrm>
            <a:off x="8767188" y="4000904"/>
            <a:ext cx="922418" cy="1087786"/>
          </a:xfrm>
          <a:custGeom>
            <a:avLst/>
            <a:gdLst>
              <a:gd name="connsiteX0" fmla="*/ 922325 w 922418"/>
              <a:gd name="connsiteY0" fmla="*/ 569842 h 1087786"/>
              <a:gd name="connsiteX1" fmla="*/ 908465 w 922418"/>
              <a:gd name="connsiteY1" fmla="*/ 679962 h 1087786"/>
              <a:gd name="connsiteX2" fmla="*/ 894035 w 922418"/>
              <a:gd name="connsiteY2" fmla="*/ 791221 h 1087786"/>
              <a:gd name="connsiteX3" fmla="*/ 835558 w 922418"/>
              <a:gd name="connsiteY3" fmla="*/ 887671 h 1087786"/>
              <a:gd name="connsiteX4" fmla="*/ 817331 w 922418"/>
              <a:gd name="connsiteY4" fmla="*/ 917669 h 1087786"/>
              <a:gd name="connsiteX5" fmla="*/ 815812 w 922418"/>
              <a:gd name="connsiteY5" fmla="*/ 920138 h 1087786"/>
              <a:gd name="connsiteX6" fmla="*/ 798724 w 922418"/>
              <a:gd name="connsiteY6" fmla="*/ 946339 h 1087786"/>
              <a:gd name="connsiteX7" fmla="*/ 649493 w 922418"/>
              <a:gd name="connsiteY7" fmla="*/ 1052472 h 1087786"/>
              <a:gd name="connsiteX8" fmla="*/ 519817 w 922418"/>
              <a:gd name="connsiteY8" fmla="*/ 1087406 h 1087786"/>
              <a:gd name="connsiteX9" fmla="*/ 501779 w 922418"/>
              <a:gd name="connsiteY9" fmla="*/ 1087786 h 1087786"/>
              <a:gd name="connsiteX10" fmla="*/ 440834 w 922418"/>
              <a:gd name="connsiteY10" fmla="*/ 1082660 h 1087786"/>
              <a:gd name="connsiteX11" fmla="*/ 440834 w 922418"/>
              <a:gd name="connsiteY11" fmla="*/ 1083799 h 1087786"/>
              <a:gd name="connsiteX12" fmla="*/ 394507 w 922418"/>
              <a:gd name="connsiteY12" fmla="*/ 1074875 h 1087786"/>
              <a:gd name="connsiteX13" fmla="*/ 346852 w 922418"/>
              <a:gd name="connsiteY13" fmla="*/ 1054370 h 1087786"/>
              <a:gd name="connsiteX14" fmla="*/ 279261 w 922418"/>
              <a:gd name="connsiteY14" fmla="*/ 1021524 h 1087786"/>
              <a:gd name="connsiteX15" fmla="*/ 247744 w 922418"/>
              <a:gd name="connsiteY15" fmla="*/ 998361 h 1087786"/>
              <a:gd name="connsiteX16" fmla="*/ 185469 w 922418"/>
              <a:gd name="connsiteY16" fmla="*/ 944250 h 1087786"/>
              <a:gd name="connsiteX17" fmla="*/ 130029 w 922418"/>
              <a:gd name="connsiteY17" fmla="*/ 871343 h 1087786"/>
              <a:gd name="connsiteX18" fmla="*/ 129839 w 922418"/>
              <a:gd name="connsiteY18" fmla="*/ 871153 h 1087786"/>
              <a:gd name="connsiteX19" fmla="*/ 104398 w 922418"/>
              <a:gd name="connsiteY19" fmla="*/ 831852 h 1087786"/>
              <a:gd name="connsiteX20" fmla="*/ 83133 w 922418"/>
              <a:gd name="connsiteY20" fmla="*/ 800335 h 1087786"/>
              <a:gd name="connsiteX21" fmla="*/ 66236 w 922418"/>
              <a:gd name="connsiteY21" fmla="*/ 775842 h 1087786"/>
              <a:gd name="connsiteX22" fmla="*/ 62248 w 922418"/>
              <a:gd name="connsiteY22" fmla="*/ 769767 h 1087786"/>
              <a:gd name="connsiteX23" fmla="*/ 58831 w 922418"/>
              <a:gd name="connsiteY23" fmla="*/ 764071 h 1087786"/>
              <a:gd name="connsiteX24" fmla="*/ 45351 w 922418"/>
              <a:gd name="connsiteY24" fmla="*/ 736541 h 1087786"/>
              <a:gd name="connsiteX25" fmla="*/ 21808 w 922418"/>
              <a:gd name="connsiteY25" fmla="*/ 627750 h 1087786"/>
              <a:gd name="connsiteX26" fmla="*/ 164 w 922418"/>
              <a:gd name="connsiteY26" fmla="*/ 518199 h 1087786"/>
              <a:gd name="connsiteX27" fmla="*/ 11745 w 922418"/>
              <a:gd name="connsiteY27" fmla="*/ 407130 h 1087786"/>
              <a:gd name="connsiteX28" fmla="*/ 32060 w 922418"/>
              <a:gd name="connsiteY28" fmla="*/ 296820 h 1087786"/>
              <a:gd name="connsiteX29" fmla="*/ 84083 w 922418"/>
              <a:gd name="connsiteY29" fmla="*/ 196193 h 1087786"/>
              <a:gd name="connsiteX30" fmla="*/ 162306 w 922418"/>
              <a:gd name="connsiteY30" fmla="*/ 114932 h 1087786"/>
              <a:gd name="connsiteX31" fmla="*/ 247744 w 922418"/>
              <a:gd name="connsiteY31" fmla="*/ 41265 h 1087786"/>
              <a:gd name="connsiteX32" fmla="*/ 358244 w 922418"/>
              <a:gd name="connsiteY32" fmla="*/ 14305 h 1087786"/>
              <a:gd name="connsiteX33" fmla="*/ 410456 w 922418"/>
              <a:gd name="connsiteY33" fmla="*/ 4242 h 1087786"/>
              <a:gd name="connsiteX34" fmla="*/ 416341 w 922418"/>
              <a:gd name="connsiteY34" fmla="*/ 3103 h 1087786"/>
              <a:gd name="connsiteX35" fmla="*/ 422038 w 922418"/>
              <a:gd name="connsiteY35" fmla="*/ 2344 h 1087786"/>
              <a:gd name="connsiteX36" fmla="*/ 470642 w 922418"/>
              <a:gd name="connsiteY36" fmla="*/ 1015 h 1087786"/>
              <a:gd name="connsiteX37" fmla="*/ 577345 w 922418"/>
              <a:gd name="connsiteY37" fmla="*/ 38228 h 1087786"/>
              <a:gd name="connsiteX38" fmla="*/ 673795 w 922418"/>
              <a:gd name="connsiteY38" fmla="*/ 92718 h 1087786"/>
              <a:gd name="connsiteX39" fmla="*/ 758093 w 922418"/>
              <a:gd name="connsiteY39" fmla="*/ 165056 h 1087786"/>
              <a:gd name="connsiteX40" fmla="*/ 830051 w 922418"/>
              <a:gd name="connsiteY40" fmla="*/ 250873 h 1087786"/>
              <a:gd name="connsiteX41" fmla="*/ 872201 w 922418"/>
              <a:gd name="connsiteY41" fmla="*/ 354348 h 1087786"/>
              <a:gd name="connsiteX42" fmla="*/ 884162 w 922418"/>
              <a:gd name="connsiteY42" fmla="*/ 382638 h 1087786"/>
              <a:gd name="connsiteX43" fmla="*/ 911882 w 922418"/>
              <a:gd name="connsiteY43" fmla="*/ 458773 h 1087786"/>
              <a:gd name="connsiteX44" fmla="*/ 922325 w 922418"/>
              <a:gd name="connsiteY44" fmla="*/ 569842 h 108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922418" h="1087786">
                <a:moveTo>
                  <a:pt x="922325" y="569842"/>
                </a:moveTo>
                <a:cubicBezTo>
                  <a:pt x="923464" y="605916"/>
                  <a:pt x="913971" y="643888"/>
                  <a:pt x="908465" y="679962"/>
                </a:cubicBezTo>
                <a:cubicBezTo>
                  <a:pt x="902769" y="715846"/>
                  <a:pt x="906376" y="757236"/>
                  <a:pt x="894035" y="791221"/>
                </a:cubicBezTo>
                <a:cubicBezTo>
                  <a:pt x="881694" y="825396"/>
                  <a:pt x="854923" y="856724"/>
                  <a:pt x="835558" y="887671"/>
                </a:cubicBezTo>
                <a:cubicBezTo>
                  <a:pt x="829482" y="897544"/>
                  <a:pt x="823406" y="907607"/>
                  <a:pt x="817331" y="917669"/>
                </a:cubicBezTo>
                <a:cubicBezTo>
                  <a:pt x="816761" y="918429"/>
                  <a:pt x="816192" y="919378"/>
                  <a:pt x="815812" y="920138"/>
                </a:cubicBezTo>
                <a:cubicBezTo>
                  <a:pt x="810306" y="929061"/>
                  <a:pt x="804610" y="937795"/>
                  <a:pt x="798724" y="946339"/>
                </a:cubicBezTo>
                <a:cubicBezTo>
                  <a:pt x="756575" y="979944"/>
                  <a:pt x="710058" y="1022853"/>
                  <a:pt x="649493" y="1052472"/>
                </a:cubicBezTo>
                <a:cubicBezTo>
                  <a:pt x="612279" y="1070888"/>
                  <a:pt x="569750" y="1084179"/>
                  <a:pt x="519817" y="1087406"/>
                </a:cubicBezTo>
                <a:cubicBezTo>
                  <a:pt x="513931" y="1087596"/>
                  <a:pt x="507855" y="1087786"/>
                  <a:pt x="501779" y="1087786"/>
                </a:cubicBezTo>
                <a:cubicBezTo>
                  <a:pt x="482604" y="1087786"/>
                  <a:pt x="462288" y="1086078"/>
                  <a:pt x="440834" y="1082660"/>
                </a:cubicBezTo>
                <a:lnTo>
                  <a:pt x="440834" y="1083799"/>
                </a:lnTo>
                <a:cubicBezTo>
                  <a:pt x="426025" y="1081710"/>
                  <a:pt x="410646" y="1078863"/>
                  <a:pt x="394507" y="1074875"/>
                </a:cubicBezTo>
                <a:cubicBezTo>
                  <a:pt x="378369" y="1068230"/>
                  <a:pt x="362801" y="1060636"/>
                  <a:pt x="346852" y="1054370"/>
                </a:cubicBezTo>
                <a:cubicBezTo>
                  <a:pt x="323309" y="1044877"/>
                  <a:pt x="300715" y="1034055"/>
                  <a:pt x="279261" y="1021524"/>
                </a:cubicBezTo>
                <a:cubicBezTo>
                  <a:pt x="275084" y="1018866"/>
                  <a:pt x="262553" y="1009753"/>
                  <a:pt x="247744" y="998361"/>
                </a:cubicBezTo>
                <a:cubicBezTo>
                  <a:pt x="225720" y="981273"/>
                  <a:pt x="198380" y="958490"/>
                  <a:pt x="185469" y="944250"/>
                </a:cubicBezTo>
                <a:cubicBezTo>
                  <a:pt x="168761" y="925644"/>
                  <a:pt x="147877" y="897734"/>
                  <a:pt x="130029" y="871343"/>
                </a:cubicBezTo>
                <a:cubicBezTo>
                  <a:pt x="130029" y="871153"/>
                  <a:pt x="129839" y="871153"/>
                  <a:pt x="129839" y="871153"/>
                </a:cubicBezTo>
                <a:cubicBezTo>
                  <a:pt x="119967" y="856914"/>
                  <a:pt x="111233" y="843244"/>
                  <a:pt x="104398" y="831852"/>
                </a:cubicBezTo>
                <a:cubicBezTo>
                  <a:pt x="97753" y="820840"/>
                  <a:pt x="90348" y="810587"/>
                  <a:pt x="83133" y="800335"/>
                </a:cubicBezTo>
                <a:cubicBezTo>
                  <a:pt x="77438" y="792171"/>
                  <a:pt x="71552" y="784196"/>
                  <a:pt x="66236" y="775842"/>
                </a:cubicBezTo>
                <a:cubicBezTo>
                  <a:pt x="64907" y="773944"/>
                  <a:pt x="63578" y="771855"/>
                  <a:pt x="62248" y="769767"/>
                </a:cubicBezTo>
                <a:cubicBezTo>
                  <a:pt x="61109" y="767868"/>
                  <a:pt x="59970" y="765970"/>
                  <a:pt x="58831" y="764071"/>
                </a:cubicBezTo>
                <a:cubicBezTo>
                  <a:pt x="53705" y="755337"/>
                  <a:pt x="49148" y="746224"/>
                  <a:pt x="45351" y="736541"/>
                </a:cubicBezTo>
                <a:cubicBezTo>
                  <a:pt x="32060" y="701227"/>
                  <a:pt x="29213" y="665153"/>
                  <a:pt x="21808" y="627750"/>
                </a:cubicBezTo>
                <a:cubicBezTo>
                  <a:pt x="14213" y="590347"/>
                  <a:pt x="1113" y="554273"/>
                  <a:pt x="164" y="518199"/>
                </a:cubicBezTo>
                <a:cubicBezTo>
                  <a:pt x="-1165" y="482125"/>
                  <a:pt x="5859" y="442634"/>
                  <a:pt x="11745" y="407130"/>
                </a:cubicBezTo>
                <a:cubicBezTo>
                  <a:pt x="17251" y="371246"/>
                  <a:pt x="19910" y="330805"/>
                  <a:pt x="32060" y="296820"/>
                </a:cubicBezTo>
                <a:cubicBezTo>
                  <a:pt x="44401" y="262455"/>
                  <a:pt x="64717" y="227141"/>
                  <a:pt x="84083" y="196193"/>
                </a:cubicBezTo>
                <a:cubicBezTo>
                  <a:pt x="103449" y="165246"/>
                  <a:pt x="135536" y="140564"/>
                  <a:pt x="162306" y="114932"/>
                </a:cubicBezTo>
                <a:cubicBezTo>
                  <a:pt x="188507" y="89491"/>
                  <a:pt x="214518" y="59112"/>
                  <a:pt x="247744" y="41265"/>
                </a:cubicBezTo>
                <a:cubicBezTo>
                  <a:pt x="280970" y="23608"/>
                  <a:pt x="319892" y="21710"/>
                  <a:pt x="358244" y="14305"/>
                </a:cubicBezTo>
                <a:cubicBezTo>
                  <a:pt x="375711" y="10888"/>
                  <a:pt x="393179" y="6900"/>
                  <a:pt x="410456" y="4242"/>
                </a:cubicBezTo>
                <a:cubicBezTo>
                  <a:pt x="412354" y="3673"/>
                  <a:pt x="414253" y="3483"/>
                  <a:pt x="416341" y="3103"/>
                </a:cubicBezTo>
                <a:cubicBezTo>
                  <a:pt x="418240" y="2913"/>
                  <a:pt x="420139" y="2534"/>
                  <a:pt x="422038" y="2344"/>
                </a:cubicBezTo>
                <a:cubicBezTo>
                  <a:pt x="438176" y="65"/>
                  <a:pt x="454504" y="-884"/>
                  <a:pt x="470642" y="1015"/>
                </a:cubicBezTo>
                <a:cubicBezTo>
                  <a:pt x="507666" y="5381"/>
                  <a:pt x="541841" y="23608"/>
                  <a:pt x="577345" y="38228"/>
                </a:cubicBezTo>
                <a:cubicBezTo>
                  <a:pt x="612659" y="52467"/>
                  <a:pt x="642847" y="70315"/>
                  <a:pt x="673795" y="92718"/>
                </a:cubicBezTo>
                <a:cubicBezTo>
                  <a:pt x="704742" y="115122"/>
                  <a:pt x="732272" y="136387"/>
                  <a:pt x="758093" y="165056"/>
                </a:cubicBezTo>
                <a:cubicBezTo>
                  <a:pt x="784105" y="193725"/>
                  <a:pt x="810306" y="218407"/>
                  <a:pt x="830051" y="250873"/>
                </a:cubicBezTo>
                <a:cubicBezTo>
                  <a:pt x="849987" y="283530"/>
                  <a:pt x="858531" y="318464"/>
                  <a:pt x="872201" y="354348"/>
                </a:cubicBezTo>
                <a:cubicBezTo>
                  <a:pt x="875998" y="363841"/>
                  <a:pt x="880175" y="373145"/>
                  <a:pt x="884162" y="382638"/>
                </a:cubicBezTo>
                <a:cubicBezTo>
                  <a:pt x="895174" y="407510"/>
                  <a:pt x="906756" y="431432"/>
                  <a:pt x="911882" y="458773"/>
                </a:cubicBezTo>
                <a:cubicBezTo>
                  <a:pt x="919476" y="495986"/>
                  <a:pt x="921186" y="533768"/>
                  <a:pt x="922325" y="569842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prstDash val="solid"/>
            <a:rou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359" name="Freeform: Shape 1358">
            <a:extLst>
              <a:ext uri="{FF2B5EF4-FFF2-40B4-BE49-F238E27FC236}">
                <a16:creationId xmlns:a16="http://schemas.microsoft.com/office/drawing/2014/main" id="{B28F6F58-F40B-2CC8-8A7F-A1E78F811FAF}"/>
              </a:ext>
            </a:extLst>
          </p:cNvPr>
          <p:cNvSpPr/>
          <p:nvPr userDrawn="1"/>
        </p:nvSpPr>
        <p:spPr>
          <a:xfrm>
            <a:off x="8926266" y="4563151"/>
            <a:ext cx="23353" cy="118284"/>
          </a:xfrm>
          <a:custGeom>
            <a:avLst/>
            <a:gdLst>
              <a:gd name="connsiteX0" fmla="*/ 0 w 23353"/>
              <a:gd name="connsiteY0" fmla="*/ 0 h 118284"/>
              <a:gd name="connsiteX1" fmla="*/ 23353 w 23353"/>
              <a:gd name="connsiteY1" fmla="*/ 118284 h 118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353" h="118284">
                <a:moveTo>
                  <a:pt x="0" y="0"/>
                </a:moveTo>
                <a:lnTo>
                  <a:pt x="23353" y="118284"/>
                </a:lnTo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60" name="Freeform: Shape 1359">
            <a:extLst>
              <a:ext uri="{FF2B5EF4-FFF2-40B4-BE49-F238E27FC236}">
                <a16:creationId xmlns:a16="http://schemas.microsoft.com/office/drawing/2014/main" id="{6E133F10-F0B1-E971-7595-85A6ACD3DDB0}"/>
              </a:ext>
            </a:extLst>
          </p:cNvPr>
          <p:cNvSpPr/>
          <p:nvPr userDrawn="1"/>
        </p:nvSpPr>
        <p:spPr>
          <a:xfrm>
            <a:off x="9170618" y="4525938"/>
            <a:ext cx="23353" cy="118284"/>
          </a:xfrm>
          <a:custGeom>
            <a:avLst/>
            <a:gdLst>
              <a:gd name="connsiteX0" fmla="*/ 0 w 23353"/>
              <a:gd name="connsiteY0" fmla="*/ 0 h 118284"/>
              <a:gd name="connsiteX1" fmla="*/ 23353 w 23353"/>
              <a:gd name="connsiteY1" fmla="*/ 118284 h 118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353" h="118284">
                <a:moveTo>
                  <a:pt x="0" y="0"/>
                </a:moveTo>
                <a:lnTo>
                  <a:pt x="23353" y="118284"/>
                </a:lnTo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61" name="Freeform: Shape 1360">
            <a:extLst>
              <a:ext uri="{FF2B5EF4-FFF2-40B4-BE49-F238E27FC236}">
                <a16:creationId xmlns:a16="http://schemas.microsoft.com/office/drawing/2014/main" id="{EBE26EF1-0CD5-AE11-DABC-EBDFE4528725}"/>
              </a:ext>
            </a:extLst>
          </p:cNvPr>
          <p:cNvSpPr/>
          <p:nvPr userDrawn="1"/>
        </p:nvSpPr>
        <p:spPr>
          <a:xfrm>
            <a:off x="8897217" y="4701750"/>
            <a:ext cx="601103" cy="258656"/>
          </a:xfrm>
          <a:custGeom>
            <a:avLst/>
            <a:gdLst>
              <a:gd name="connsiteX0" fmla="*/ 0 w 601103"/>
              <a:gd name="connsiteY0" fmla="*/ 170496 h 258656"/>
              <a:gd name="connsiteX1" fmla="*/ 54870 w 601103"/>
              <a:gd name="connsiteY1" fmla="*/ 207330 h 258656"/>
              <a:gd name="connsiteX2" fmla="*/ 122651 w 601103"/>
              <a:gd name="connsiteY2" fmla="*/ 235050 h 258656"/>
              <a:gd name="connsiteX3" fmla="*/ 194419 w 601103"/>
              <a:gd name="connsiteY3" fmla="*/ 254985 h 258656"/>
              <a:gd name="connsiteX4" fmla="*/ 270744 w 601103"/>
              <a:gd name="connsiteY4" fmla="*/ 257833 h 258656"/>
              <a:gd name="connsiteX5" fmla="*/ 345929 w 601103"/>
              <a:gd name="connsiteY5" fmla="*/ 243973 h 258656"/>
              <a:gd name="connsiteX6" fmla="*/ 416178 w 601103"/>
              <a:gd name="connsiteY6" fmla="*/ 215114 h 258656"/>
              <a:gd name="connsiteX7" fmla="*/ 479592 w 601103"/>
              <a:gd name="connsiteY7" fmla="*/ 174104 h 258656"/>
              <a:gd name="connsiteX8" fmla="*/ 530285 w 601103"/>
              <a:gd name="connsiteY8" fmla="*/ 121132 h 258656"/>
              <a:gd name="connsiteX9" fmla="*/ 567498 w 601103"/>
              <a:gd name="connsiteY9" fmla="*/ 61136 h 258656"/>
              <a:gd name="connsiteX10" fmla="*/ 601104 w 601103"/>
              <a:gd name="connsiteY10" fmla="*/ 0 h 25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1103" h="258656">
                <a:moveTo>
                  <a:pt x="0" y="170496"/>
                </a:moveTo>
                <a:cubicBezTo>
                  <a:pt x="23733" y="189103"/>
                  <a:pt x="18417" y="188723"/>
                  <a:pt x="54870" y="207330"/>
                </a:cubicBezTo>
                <a:cubicBezTo>
                  <a:pt x="73857" y="217013"/>
                  <a:pt x="96830" y="226316"/>
                  <a:pt x="122651" y="235050"/>
                </a:cubicBezTo>
                <a:cubicBezTo>
                  <a:pt x="144865" y="242644"/>
                  <a:pt x="168408" y="250998"/>
                  <a:pt x="194419" y="254985"/>
                </a:cubicBezTo>
                <a:cubicBezTo>
                  <a:pt x="218532" y="258972"/>
                  <a:pt x="244353" y="259352"/>
                  <a:pt x="270744" y="257833"/>
                </a:cubicBezTo>
                <a:cubicBezTo>
                  <a:pt x="295426" y="256504"/>
                  <a:pt x="320297" y="251567"/>
                  <a:pt x="345929" y="243973"/>
                </a:cubicBezTo>
                <a:cubicBezTo>
                  <a:pt x="368902" y="236948"/>
                  <a:pt x="392825" y="228404"/>
                  <a:pt x="416178" y="215114"/>
                </a:cubicBezTo>
                <a:cubicBezTo>
                  <a:pt x="436304" y="203343"/>
                  <a:pt x="459846" y="191761"/>
                  <a:pt x="479592" y="174104"/>
                </a:cubicBezTo>
                <a:cubicBezTo>
                  <a:pt x="496680" y="159105"/>
                  <a:pt x="513767" y="141068"/>
                  <a:pt x="530285" y="121132"/>
                </a:cubicBezTo>
                <a:cubicBezTo>
                  <a:pt x="544335" y="104044"/>
                  <a:pt x="553828" y="82210"/>
                  <a:pt x="567498" y="61136"/>
                </a:cubicBezTo>
                <a:cubicBezTo>
                  <a:pt x="579270" y="42529"/>
                  <a:pt x="589712" y="21834"/>
                  <a:pt x="601104" y="0"/>
                </a:cubicBezTo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pic>
        <p:nvPicPr>
          <p:cNvPr id="1362" name="Graphic 1361">
            <a:extLst>
              <a:ext uri="{FF2B5EF4-FFF2-40B4-BE49-F238E27FC236}">
                <a16:creationId xmlns:a16="http://schemas.microsoft.com/office/drawing/2014/main" id="{EB58010D-F55B-9256-BB43-E2D7D0C84E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24749" y="6131472"/>
            <a:ext cx="2383195" cy="135978"/>
          </a:xfrm>
          <a:prstGeom prst="rect">
            <a:avLst/>
          </a:prstGeom>
        </p:spPr>
      </p:pic>
      <p:sp>
        <p:nvSpPr>
          <p:cNvPr id="1364" name="Freeform: Shape 1363">
            <a:extLst>
              <a:ext uri="{FF2B5EF4-FFF2-40B4-BE49-F238E27FC236}">
                <a16:creationId xmlns:a16="http://schemas.microsoft.com/office/drawing/2014/main" id="{9DD1780E-E647-F9E8-92FE-A447FAE0E0FB}"/>
              </a:ext>
            </a:extLst>
          </p:cNvPr>
          <p:cNvSpPr/>
          <p:nvPr userDrawn="1"/>
        </p:nvSpPr>
        <p:spPr>
          <a:xfrm>
            <a:off x="7033346" y="6244059"/>
            <a:ext cx="1256887" cy="36263"/>
          </a:xfrm>
          <a:custGeom>
            <a:avLst/>
            <a:gdLst>
              <a:gd name="connsiteX0" fmla="*/ 1256888 w 1256887"/>
              <a:gd name="connsiteY0" fmla="*/ 5696 h 36263"/>
              <a:gd name="connsiteX1" fmla="*/ 1251192 w 1256887"/>
              <a:gd name="connsiteY1" fmla="*/ 11771 h 36263"/>
              <a:gd name="connsiteX2" fmla="*/ 0 w 1256887"/>
              <a:gd name="connsiteY2" fmla="*/ 36264 h 36263"/>
              <a:gd name="connsiteX3" fmla="*/ 11581 w 1256887"/>
              <a:gd name="connsiteY3" fmla="*/ 24492 h 36263"/>
              <a:gd name="connsiteX4" fmla="*/ 1251002 w 1256887"/>
              <a:gd name="connsiteY4" fmla="*/ 0 h 36263"/>
              <a:gd name="connsiteX5" fmla="*/ 1256888 w 1256887"/>
              <a:gd name="connsiteY5" fmla="*/ 5696 h 36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6887" h="36263">
                <a:moveTo>
                  <a:pt x="1256888" y="5696"/>
                </a:moveTo>
                <a:cubicBezTo>
                  <a:pt x="1256888" y="8924"/>
                  <a:pt x="1254420" y="11582"/>
                  <a:pt x="1251192" y="11771"/>
                </a:cubicBezTo>
                <a:cubicBezTo>
                  <a:pt x="835394" y="21075"/>
                  <a:pt x="418076" y="29239"/>
                  <a:pt x="0" y="36264"/>
                </a:cubicBezTo>
                <a:cubicBezTo>
                  <a:pt x="4367" y="32656"/>
                  <a:pt x="8164" y="28669"/>
                  <a:pt x="11581" y="24492"/>
                </a:cubicBezTo>
                <a:cubicBezTo>
                  <a:pt x="425671" y="17278"/>
                  <a:pt x="839191" y="9113"/>
                  <a:pt x="1251002" y="0"/>
                </a:cubicBezTo>
                <a:cubicBezTo>
                  <a:pt x="1254230" y="0"/>
                  <a:pt x="1256698" y="2468"/>
                  <a:pt x="1256888" y="5696"/>
                </a:cubicBez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1365" name="Group 1364">
            <a:extLst>
              <a:ext uri="{FF2B5EF4-FFF2-40B4-BE49-F238E27FC236}">
                <a16:creationId xmlns:a16="http://schemas.microsoft.com/office/drawing/2014/main" id="{493D18FB-5E1B-D2C6-81B2-24761979B11E}"/>
              </a:ext>
            </a:extLst>
          </p:cNvPr>
          <p:cNvGrpSpPr>
            <a:grpSpLocks/>
          </p:cNvGrpSpPr>
          <p:nvPr userDrawn="1"/>
        </p:nvGrpSpPr>
        <p:grpSpPr>
          <a:xfrm>
            <a:off x="11687052" y="4255574"/>
            <a:ext cx="141637" cy="141637"/>
            <a:chOff x="6275410" y="2505045"/>
            <a:chExt cx="141637" cy="141637"/>
          </a:xfrm>
        </p:grpSpPr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A6A14F16-46F8-4028-14FD-242A5AA314EF}"/>
                </a:ext>
              </a:extLst>
            </p:cNvPr>
            <p:cNvSpPr/>
            <p:nvPr/>
          </p:nvSpPr>
          <p:spPr>
            <a:xfrm>
              <a:off x="6281106" y="2510740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rgbClr val="FBCCD0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7DB1D550-A49E-3F56-B33C-CF272400AFFD}"/>
                </a:ext>
              </a:extLst>
            </p:cNvPr>
            <p:cNvSpPr/>
            <p:nvPr/>
          </p:nvSpPr>
          <p:spPr>
            <a:xfrm>
              <a:off x="6275410" y="2505045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grpSp>
        <p:nvGrpSpPr>
          <p:cNvPr id="1366" name="Group 1365">
            <a:extLst>
              <a:ext uri="{FF2B5EF4-FFF2-40B4-BE49-F238E27FC236}">
                <a16:creationId xmlns:a16="http://schemas.microsoft.com/office/drawing/2014/main" id="{785BF231-3F66-CF40-0513-F255AFC07BDE}"/>
              </a:ext>
            </a:extLst>
          </p:cNvPr>
          <p:cNvGrpSpPr>
            <a:grpSpLocks/>
          </p:cNvGrpSpPr>
          <p:nvPr userDrawn="1"/>
        </p:nvGrpSpPr>
        <p:grpSpPr>
          <a:xfrm>
            <a:off x="10208595" y="4269434"/>
            <a:ext cx="77463" cy="77084"/>
            <a:chOff x="6275410" y="2505045"/>
            <a:chExt cx="141637" cy="141637"/>
          </a:xfrm>
        </p:grpSpPr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F8D3F0-42B7-FBF6-0432-CE0AB9FFBF77}"/>
                </a:ext>
              </a:extLst>
            </p:cNvPr>
            <p:cNvSpPr/>
            <p:nvPr/>
          </p:nvSpPr>
          <p:spPr>
            <a:xfrm>
              <a:off x="6281106" y="2510740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rgbClr val="FBCCD0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13CCC0-712A-7D6E-CC8B-C3E32C213958}"/>
                </a:ext>
              </a:extLst>
            </p:cNvPr>
            <p:cNvSpPr/>
            <p:nvPr/>
          </p:nvSpPr>
          <p:spPr>
            <a:xfrm>
              <a:off x="6275410" y="2505045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grpSp>
        <p:nvGrpSpPr>
          <p:cNvPr id="1367" name="Group 1366">
            <a:extLst>
              <a:ext uri="{FF2B5EF4-FFF2-40B4-BE49-F238E27FC236}">
                <a16:creationId xmlns:a16="http://schemas.microsoft.com/office/drawing/2014/main" id="{9CD1E8EA-B496-F5E0-20DF-BB312EE2B9FB}"/>
              </a:ext>
            </a:extLst>
          </p:cNvPr>
          <p:cNvGrpSpPr/>
          <p:nvPr userDrawn="1"/>
        </p:nvGrpSpPr>
        <p:grpSpPr>
          <a:xfrm rot="5110717" flipH="1">
            <a:off x="9542815" y="2944666"/>
            <a:ext cx="198223" cy="183548"/>
            <a:chOff x="6135102" y="3914251"/>
            <a:chExt cx="198223" cy="183548"/>
          </a:xfrm>
        </p:grpSpPr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93C6A415-9373-FE80-FCA8-7E3D4BDCC97F}"/>
                </a:ext>
              </a:extLst>
            </p:cNvPr>
            <p:cNvSpPr/>
            <p:nvPr/>
          </p:nvSpPr>
          <p:spPr>
            <a:xfrm>
              <a:off x="6140797" y="3919518"/>
              <a:ext cx="186857" cy="172204"/>
            </a:xfrm>
            <a:custGeom>
              <a:avLst/>
              <a:gdLst>
                <a:gd name="connsiteX0" fmla="*/ 186445 w 186857"/>
                <a:gd name="connsiteY0" fmla="*/ 172205 h 172204"/>
                <a:gd name="connsiteX1" fmla="*/ 0 w 186857"/>
                <a:gd name="connsiteY1" fmla="*/ 62085 h 172204"/>
                <a:gd name="connsiteX2" fmla="*/ 167458 w 186857"/>
                <a:gd name="connsiteY2" fmla="*/ 0 h 172204"/>
                <a:gd name="connsiteX3" fmla="*/ 186445 w 186857"/>
                <a:gd name="connsiteY3" fmla="*/ 172205 h 172204"/>
                <a:gd name="connsiteX4" fmla="*/ 186445 w 186857"/>
                <a:gd name="connsiteY4" fmla="*/ 172205 h 172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857" h="172204">
                  <a:moveTo>
                    <a:pt x="186445" y="172205"/>
                  </a:moveTo>
                  <a:cubicBezTo>
                    <a:pt x="125309" y="133853"/>
                    <a:pt x="63034" y="97209"/>
                    <a:pt x="0" y="62085"/>
                  </a:cubicBezTo>
                  <a:cubicBezTo>
                    <a:pt x="55250" y="41390"/>
                    <a:pt x="110689" y="20695"/>
                    <a:pt x="167458" y="0"/>
                  </a:cubicBezTo>
                  <a:cubicBezTo>
                    <a:pt x="178470" y="58857"/>
                    <a:pt x="189103" y="118094"/>
                    <a:pt x="186445" y="172205"/>
                  </a:cubicBezTo>
                  <a:lnTo>
                    <a:pt x="186445" y="17220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28C0D85C-D097-4805-C166-AB8D40EE4FF8}"/>
                </a:ext>
              </a:extLst>
            </p:cNvPr>
            <p:cNvSpPr/>
            <p:nvPr/>
          </p:nvSpPr>
          <p:spPr>
            <a:xfrm>
              <a:off x="6135102" y="3914251"/>
              <a:ext cx="198223" cy="183548"/>
            </a:xfrm>
            <a:custGeom>
              <a:avLst/>
              <a:gdLst>
                <a:gd name="connsiteX0" fmla="*/ 192140 w 198223"/>
                <a:gd name="connsiteY0" fmla="*/ 183359 h 183548"/>
                <a:gd name="connsiteX1" fmla="*/ 189103 w 198223"/>
                <a:gd name="connsiteY1" fmla="*/ 182599 h 183548"/>
                <a:gd name="connsiteX2" fmla="*/ 3038 w 198223"/>
                <a:gd name="connsiteY2" fmla="*/ 72859 h 183548"/>
                <a:gd name="connsiteX3" fmla="*/ 0 w 198223"/>
                <a:gd name="connsiteY3" fmla="*/ 67353 h 183548"/>
                <a:gd name="connsiteX4" fmla="*/ 3607 w 198223"/>
                <a:gd name="connsiteY4" fmla="*/ 62416 h 183548"/>
                <a:gd name="connsiteX5" fmla="*/ 4747 w 198223"/>
                <a:gd name="connsiteY5" fmla="*/ 62037 h 183548"/>
                <a:gd name="connsiteX6" fmla="*/ 171066 w 198223"/>
                <a:gd name="connsiteY6" fmla="*/ 331 h 183548"/>
                <a:gd name="connsiteX7" fmla="*/ 175812 w 198223"/>
                <a:gd name="connsiteY7" fmla="*/ 711 h 183548"/>
                <a:gd name="connsiteX8" fmla="*/ 178660 w 198223"/>
                <a:gd name="connsiteY8" fmla="*/ 4698 h 183548"/>
                <a:gd name="connsiteX9" fmla="*/ 197836 w 198223"/>
                <a:gd name="connsiteY9" fmla="*/ 178042 h 183548"/>
                <a:gd name="connsiteX10" fmla="*/ 194799 w 198223"/>
                <a:gd name="connsiteY10" fmla="*/ 182789 h 183548"/>
                <a:gd name="connsiteX11" fmla="*/ 192140 w 198223"/>
                <a:gd name="connsiteY11" fmla="*/ 183548 h 183548"/>
                <a:gd name="connsiteX12" fmla="*/ 192140 w 198223"/>
                <a:gd name="connsiteY12" fmla="*/ 183548 h 183548"/>
                <a:gd name="connsiteX13" fmla="*/ 19556 w 198223"/>
                <a:gd name="connsiteY13" fmla="*/ 68682 h 183548"/>
                <a:gd name="connsiteX14" fmla="*/ 186635 w 198223"/>
                <a:gd name="connsiteY14" fmla="*/ 167410 h 183548"/>
                <a:gd name="connsiteX15" fmla="*/ 168597 w 198223"/>
                <a:gd name="connsiteY15" fmla="*/ 13432 h 183548"/>
                <a:gd name="connsiteX16" fmla="*/ 19556 w 198223"/>
                <a:gd name="connsiteY16" fmla="*/ 68682 h 183548"/>
                <a:gd name="connsiteX17" fmla="*/ 19556 w 198223"/>
                <a:gd name="connsiteY17" fmla="*/ 68682 h 18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8223" h="183548">
                  <a:moveTo>
                    <a:pt x="192140" y="183359"/>
                  </a:moveTo>
                  <a:cubicBezTo>
                    <a:pt x="191001" y="183359"/>
                    <a:pt x="190052" y="182979"/>
                    <a:pt x="189103" y="182599"/>
                  </a:cubicBezTo>
                  <a:cubicBezTo>
                    <a:pt x="128347" y="144626"/>
                    <a:pt x="65692" y="107414"/>
                    <a:pt x="3038" y="72859"/>
                  </a:cubicBezTo>
                  <a:cubicBezTo>
                    <a:pt x="1139" y="71719"/>
                    <a:pt x="0" y="69631"/>
                    <a:pt x="0" y="67353"/>
                  </a:cubicBezTo>
                  <a:cubicBezTo>
                    <a:pt x="0" y="65074"/>
                    <a:pt x="1709" y="63176"/>
                    <a:pt x="3607" y="62416"/>
                  </a:cubicBezTo>
                  <a:lnTo>
                    <a:pt x="4747" y="62037"/>
                  </a:lnTo>
                  <a:cubicBezTo>
                    <a:pt x="58667" y="41721"/>
                    <a:pt x="114487" y="20836"/>
                    <a:pt x="171066" y="331"/>
                  </a:cubicBezTo>
                  <a:cubicBezTo>
                    <a:pt x="172585" y="-239"/>
                    <a:pt x="174483" y="-48"/>
                    <a:pt x="175812" y="711"/>
                  </a:cubicBezTo>
                  <a:cubicBezTo>
                    <a:pt x="177141" y="1470"/>
                    <a:pt x="178281" y="2989"/>
                    <a:pt x="178660" y="4698"/>
                  </a:cubicBezTo>
                  <a:cubicBezTo>
                    <a:pt x="190622" y="68112"/>
                    <a:pt x="200305" y="125071"/>
                    <a:pt x="197836" y="178042"/>
                  </a:cubicBezTo>
                  <a:cubicBezTo>
                    <a:pt x="197836" y="180131"/>
                    <a:pt x="196507" y="182029"/>
                    <a:pt x="194799" y="182789"/>
                  </a:cubicBezTo>
                  <a:cubicBezTo>
                    <a:pt x="194039" y="183168"/>
                    <a:pt x="193090" y="183548"/>
                    <a:pt x="192140" y="183548"/>
                  </a:cubicBezTo>
                  <a:lnTo>
                    <a:pt x="192140" y="183548"/>
                  </a:lnTo>
                  <a:close/>
                  <a:moveTo>
                    <a:pt x="19556" y="68682"/>
                  </a:moveTo>
                  <a:cubicBezTo>
                    <a:pt x="75755" y="100009"/>
                    <a:pt x="131954" y="133235"/>
                    <a:pt x="186635" y="167410"/>
                  </a:cubicBezTo>
                  <a:cubicBezTo>
                    <a:pt x="187394" y="120134"/>
                    <a:pt x="179040" y="69441"/>
                    <a:pt x="168597" y="13432"/>
                  </a:cubicBezTo>
                  <a:cubicBezTo>
                    <a:pt x="118094" y="31848"/>
                    <a:pt x="68160" y="50455"/>
                    <a:pt x="19556" y="68682"/>
                  </a:cubicBezTo>
                  <a:lnTo>
                    <a:pt x="19556" y="686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1368" name="Group 1367">
            <a:extLst>
              <a:ext uri="{FF2B5EF4-FFF2-40B4-BE49-F238E27FC236}">
                <a16:creationId xmlns:a16="http://schemas.microsoft.com/office/drawing/2014/main" id="{6E362C01-48EE-8370-3DE5-607DDD69E329}"/>
              </a:ext>
            </a:extLst>
          </p:cNvPr>
          <p:cNvGrpSpPr>
            <a:grpSpLocks/>
          </p:cNvGrpSpPr>
          <p:nvPr userDrawn="1"/>
        </p:nvGrpSpPr>
        <p:grpSpPr>
          <a:xfrm>
            <a:off x="11617753" y="3092478"/>
            <a:ext cx="88855" cy="88855"/>
            <a:chOff x="6275410" y="2505045"/>
            <a:chExt cx="141637" cy="141637"/>
          </a:xfrm>
        </p:grpSpPr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0A8A8661-733B-76F1-3627-8C3A5461862B}"/>
                </a:ext>
              </a:extLst>
            </p:cNvPr>
            <p:cNvSpPr/>
            <p:nvPr/>
          </p:nvSpPr>
          <p:spPr>
            <a:xfrm>
              <a:off x="6281106" y="2510740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rgbClr val="FBCCD0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AA580006-A39A-D95F-29C8-512550F2D25C}"/>
                </a:ext>
              </a:extLst>
            </p:cNvPr>
            <p:cNvSpPr/>
            <p:nvPr/>
          </p:nvSpPr>
          <p:spPr>
            <a:xfrm>
              <a:off x="6275410" y="2505045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sp>
        <p:nvSpPr>
          <p:cNvPr id="1394" name="Freeform: Shape 1393">
            <a:extLst>
              <a:ext uri="{FF2B5EF4-FFF2-40B4-BE49-F238E27FC236}">
                <a16:creationId xmlns:a16="http://schemas.microsoft.com/office/drawing/2014/main" id="{1ADA9F61-4729-7EE2-4932-929BC091BF09}"/>
              </a:ext>
            </a:extLst>
          </p:cNvPr>
          <p:cNvSpPr/>
          <p:nvPr userDrawn="1"/>
        </p:nvSpPr>
        <p:spPr>
          <a:xfrm>
            <a:off x="10276488" y="2514459"/>
            <a:ext cx="119769" cy="119769"/>
          </a:xfrm>
          <a:custGeom>
            <a:avLst/>
            <a:gdLst>
              <a:gd name="connsiteX0" fmla="*/ 0 w 130245"/>
              <a:gd name="connsiteY0" fmla="*/ 65123 h 130245"/>
              <a:gd name="connsiteX1" fmla="*/ 65123 w 130245"/>
              <a:gd name="connsiteY1" fmla="*/ 0 h 130245"/>
              <a:gd name="connsiteX2" fmla="*/ 130245 w 130245"/>
              <a:gd name="connsiteY2" fmla="*/ 65123 h 130245"/>
              <a:gd name="connsiteX3" fmla="*/ 65123 w 130245"/>
              <a:gd name="connsiteY3" fmla="*/ 130245 h 130245"/>
              <a:gd name="connsiteX4" fmla="*/ 0 w 130245"/>
              <a:gd name="connsiteY4" fmla="*/ 65123 h 130245"/>
              <a:gd name="connsiteX5" fmla="*/ 0 w 130245"/>
              <a:gd name="connsiteY5" fmla="*/ 65123 h 130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0245" h="130245">
                <a:moveTo>
                  <a:pt x="0" y="65123"/>
                </a:moveTo>
                <a:cubicBezTo>
                  <a:pt x="0" y="29239"/>
                  <a:pt x="29049" y="0"/>
                  <a:pt x="65123" y="0"/>
                </a:cubicBezTo>
                <a:cubicBezTo>
                  <a:pt x="101197" y="0"/>
                  <a:pt x="130245" y="29049"/>
                  <a:pt x="130245" y="65123"/>
                </a:cubicBezTo>
                <a:cubicBezTo>
                  <a:pt x="130245" y="101197"/>
                  <a:pt x="101197" y="130245"/>
                  <a:pt x="65123" y="130245"/>
                </a:cubicBezTo>
                <a:cubicBezTo>
                  <a:pt x="29049" y="130245"/>
                  <a:pt x="0" y="101197"/>
                  <a:pt x="0" y="65123"/>
                </a:cubicBezTo>
                <a:lnTo>
                  <a:pt x="0" y="65123"/>
                </a:lnTo>
                <a:close/>
              </a:path>
            </a:pathLst>
          </a:custGeom>
          <a:solidFill>
            <a:srgbClr val="FBCCD0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395" name="Freeform: Shape 1394">
            <a:extLst>
              <a:ext uri="{FF2B5EF4-FFF2-40B4-BE49-F238E27FC236}">
                <a16:creationId xmlns:a16="http://schemas.microsoft.com/office/drawing/2014/main" id="{AA7A9B9F-EEF9-D889-90F1-BB5504199971}"/>
              </a:ext>
            </a:extLst>
          </p:cNvPr>
          <p:cNvSpPr/>
          <p:nvPr userDrawn="1"/>
        </p:nvSpPr>
        <p:spPr>
          <a:xfrm>
            <a:off x="10271250" y="2509222"/>
            <a:ext cx="130245" cy="130245"/>
          </a:xfrm>
          <a:custGeom>
            <a:avLst/>
            <a:gdLst>
              <a:gd name="connsiteX0" fmla="*/ 70819 w 141637"/>
              <a:gd name="connsiteY0" fmla="*/ 141637 h 141637"/>
              <a:gd name="connsiteX1" fmla="*/ 0 w 141637"/>
              <a:gd name="connsiteY1" fmla="*/ 70819 h 141637"/>
              <a:gd name="connsiteX2" fmla="*/ 70819 w 141637"/>
              <a:gd name="connsiteY2" fmla="*/ 0 h 141637"/>
              <a:gd name="connsiteX3" fmla="*/ 141637 w 141637"/>
              <a:gd name="connsiteY3" fmla="*/ 70819 h 141637"/>
              <a:gd name="connsiteX4" fmla="*/ 70819 w 141637"/>
              <a:gd name="connsiteY4" fmla="*/ 141637 h 141637"/>
              <a:gd name="connsiteX5" fmla="*/ 70819 w 141637"/>
              <a:gd name="connsiteY5" fmla="*/ 141637 h 141637"/>
              <a:gd name="connsiteX6" fmla="*/ 70819 w 141637"/>
              <a:gd name="connsiteY6" fmla="*/ 11582 h 141637"/>
              <a:gd name="connsiteX7" fmla="*/ 11582 w 141637"/>
              <a:gd name="connsiteY7" fmla="*/ 70819 h 141637"/>
              <a:gd name="connsiteX8" fmla="*/ 70819 w 141637"/>
              <a:gd name="connsiteY8" fmla="*/ 130056 h 141637"/>
              <a:gd name="connsiteX9" fmla="*/ 130055 w 141637"/>
              <a:gd name="connsiteY9" fmla="*/ 70819 h 141637"/>
              <a:gd name="connsiteX10" fmla="*/ 70819 w 141637"/>
              <a:gd name="connsiteY10" fmla="*/ 11582 h 141637"/>
              <a:gd name="connsiteX11" fmla="*/ 70819 w 141637"/>
              <a:gd name="connsiteY11" fmla="*/ 11582 h 141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1637" h="141637">
                <a:moveTo>
                  <a:pt x="70819" y="141637"/>
                </a:moveTo>
                <a:cubicBezTo>
                  <a:pt x="31707" y="141637"/>
                  <a:pt x="0" y="109740"/>
                  <a:pt x="0" y="70819"/>
                </a:cubicBezTo>
                <a:cubicBezTo>
                  <a:pt x="0" y="31897"/>
                  <a:pt x="31897" y="0"/>
                  <a:pt x="70819" y="0"/>
                </a:cubicBezTo>
                <a:cubicBezTo>
                  <a:pt x="109740" y="0"/>
                  <a:pt x="141637" y="31897"/>
                  <a:pt x="141637" y="70819"/>
                </a:cubicBezTo>
                <a:cubicBezTo>
                  <a:pt x="141637" y="109740"/>
                  <a:pt x="109740" y="141637"/>
                  <a:pt x="70819" y="141637"/>
                </a:cubicBezTo>
                <a:lnTo>
                  <a:pt x="70819" y="141637"/>
                </a:lnTo>
                <a:close/>
                <a:moveTo>
                  <a:pt x="70819" y="11582"/>
                </a:moveTo>
                <a:cubicBezTo>
                  <a:pt x="38162" y="11582"/>
                  <a:pt x="11582" y="38162"/>
                  <a:pt x="11582" y="70819"/>
                </a:cubicBezTo>
                <a:cubicBezTo>
                  <a:pt x="11582" y="103475"/>
                  <a:pt x="38162" y="130056"/>
                  <a:pt x="70819" y="130056"/>
                </a:cubicBezTo>
                <a:cubicBezTo>
                  <a:pt x="103475" y="130056"/>
                  <a:pt x="130055" y="103475"/>
                  <a:pt x="130055" y="70819"/>
                </a:cubicBezTo>
                <a:cubicBezTo>
                  <a:pt x="130055" y="38162"/>
                  <a:pt x="103475" y="11582"/>
                  <a:pt x="70819" y="11582"/>
                </a:cubicBezTo>
                <a:lnTo>
                  <a:pt x="70819" y="11582"/>
                </a:lnTo>
                <a:close/>
              </a:path>
            </a:pathLst>
          </a:custGeom>
          <a:solidFill>
            <a:schemeClr val="accent6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371" name="Freeform: Shape 1370">
            <a:extLst>
              <a:ext uri="{FF2B5EF4-FFF2-40B4-BE49-F238E27FC236}">
                <a16:creationId xmlns:a16="http://schemas.microsoft.com/office/drawing/2014/main" id="{FBCD3566-190D-6935-57A7-2D6FBE0AA299}"/>
              </a:ext>
            </a:extLst>
          </p:cNvPr>
          <p:cNvSpPr/>
          <p:nvPr userDrawn="1"/>
        </p:nvSpPr>
        <p:spPr>
          <a:xfrm>
            <a:off x="6922029" y="4514926"/>
            <a:ext cx="442050" cy="621988"/>
          </a:xfrm>
          <a:custGeom>
            <a:avLst/>
            <a:gdLst>
              <a:gd name="connsiteX0" fmla="*/ 418697 w 442050"/>
              <a:gd name="connsiteY0" fmla="*/ 567498 h 621988"/>
              <a:gd name="connsiteX1" fmla="*/ 442050 w 442050"/>
              <a:gd name="connsiteY1" fmla="*/ 444847 h 621988"/>
              <a:gd name="connsiteX2" fmla="*/ 350916 w 442050"/>
              <a:gd name="connsiteY2" fmla="*/ 424532 h 621988"/>
              <a:gd name="connsiteX3" fmla="*/ 280667 w 442050"/>
              <a:gd name="connsiteY3" fmla="*/ 374598 h 621988"/>
              <a:gd name="connsiteX4" fmla="*/ 201305 w 442050"/>
              <a:gd name="connsiteY4" fmla="*/ 212456 h 621988"/>
              <a:gd name="connsiteX5" fmla="*/ 201305 w 442050"/>
              <a:gd name="connsiteY5" fmla="*/ 108032 h 621988"/>
              <a:gd name="connsiteX6" fmla="*/ 208899 w 442050"/>
              <a:gd name="connsiteY6" fmla="*/ 49364 h 621988"/>
              <a:gd name="connsiteX7" fmla="*/ 20176 w 442050"/>
              <a:gd name="connsiteY7" fmla="*/ 0 h 621988"/>
              <a:gd name="connsiteX8" fmla="*/ 31188 w 442050"/>
              <a:gd name="connsiteY8" fmla="*/ 343461 h 621988"/>
              <a:gd name="connsiteX9" fmla="*/ 405786 w 442050"/>
              <a:gd name="connsiteY9" fmla="*/ 621989 h 621988"/>
              <a:gd name="connsiteX10" fmla="*/ 418887 w 442050"/>
              <a:gd name="connsiteY10" fmla="*/ 567498 h 621988"/>
              <a:gd name="connsiteX11" fmla="*/ 418887 w 442050"/>
              <a:gd name="connsiteY11" fmla="*/ 567498 h 62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2050" h="621988">
                <a:moveTo>
                  <a:pt x="418697" y="567498"/>
                </a:moveTo>
                <a:cubicBezTo>
                  <a:pt x="425722" y="526488"/>
                  <a:pt x="433696" y="485478"/>
                  <a:pt x="442050" y="444847"/>
                </a:cubicBezTo>
                <a:cubicBezTo>
                  <a:pt x="411293" y="441809"/>
                  <a:pt x="379586" y="436303"/>
                  <a:pt x="350916" y="424532"/>
                </a:cubicBezTo>
                <a:cubicBezTo>
                  <a:pt x="324525" y="413710"/>
                  <a:pt x="300413" y="395293"/>
                  <a:pt x="280667" y="374598"/>
                </a:cubicBezTo>
                <a:cubicBezTo>
                  <a:pt x="238518" y="330930"/>
                  <a:pt x="209659" y="273401"/>
                  <a:pt x="201305" y="212456"/>
                </a:cubicBezTo>
                <a:cubicBezTo>
                  <a:pt x="196559" y="177711"/>
                  <a:pt x="199406" y="143156"/>
                  <a:pt x="201305" y="108032"/>
                </a:cubicBezTo>
                <a:cubicBezTo>
                  <a:pt x="202254" y="87336"/>
                  <a:pt x="204912" y="67781"/>
                  <a:pt x="208899" y="49364"/>
                </a:cubicBezTo>
                <a:cubicBezTo>
                  <a:pt x="145675" y="34365"/>
                  <a:pt x="83590" y="14240"/>
                  <a:pt x="20176" y="0"/>
                </a:cubicBezTo>
                <a:cubicBezTo>
                  <a:pt x="-6025" y="94172"/>
                  <a:pt x="-10961" y="209798"/>
                  <a:pt x="31188" y="343461"/>
                </a:cubicBezTo>
                <a:cubicBezTo>
                  <a:pt x="90236" y="530475"/>
                  <a:pt x="263959" y="599395"/>
                  <a:pt x="405786" y="621989"/>
                </a:cubicBezTo>
                <a:cubicBezTo>
                  <a:pt x="409774" y="603572"/>
                  <a:pt x="414140" y="585535"/>
                  <a:pt x="418887" y="567498"/>
                </a:cubicBezTo>
                <a:lnTo>
                  <a:pt x="418887" y="567498"/>
                </a:ln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72" name="Freeform: Shape 1371">
            <a:extLst>
              <a:ext uri="{FF2B5EF4-FFF2-40B4-BE49-F238E27FC236}">
                <a16:creationId xmlns:a16="http://schemas.microsoft.com/office/drawing/2014/main" id="{E87E3736-5CA2-9B87-ACC4-95967C5677CF}"/>
              </a:ext>
            </a:extLst>
          </p:cNvPr>
          <p:cNvSpPr/>
          <p:nvPr userDrawn="1"/>
        </p:nvSpPr>
        <p:spPr>
          <a:xfrm>
            <a:off x="7467365" y="4554607"/>
            <a:ext cx="427759" cy="591420"/>
          </a:xfrm>
          <a:custGeom>
            <a:avLst/>
            <a:gdLst>
              <a:gd name="connsiteX0" fmla="*/ 415988 w 427759"/>
              <a:gd name="connsiteY0" fmla="*/ 0 h 591420"/>
              <a:gd name="connsiteX1" fmla="*/ 244732 w 427759"/>
              <a:gd name="connsiteY1" fmla="*/ 33606 h 591420"/>
              <a:gd name="connsiteX2" fmla="*/ 254036 w 427759"/>
              <a:gd name="connsiteY2" fmla="*/ 88476 h 591420"/>
              <a:gd name="connsiteX3" fmla="*/ 250618 w 427759"/>
              <a:gd name="connsiteY3" fmla="*/ 142966 h 591420"/>
              <a:gd name="connsiteX4" fmla="*/ 222328 w 427759"/>
              <a:gd name="connsiteY4" fmla="*/ 239036 h 591420"/>
              <a:gd name="connsiteX5" fmla="*/ 111259 w 427759"/>
              <a:gd name="connsiteY5" fmla="*/ 375738 h 591420"/>
              <a:gd name="connsiteX6" fmla="*/ 13860 w 427759"/>
              <a:gd name="connsiteY6" fmla="*/ 403647 h 591420"/>
              <a:gd name="connsiteX7" fmla="*/ 0 w 427759"/>
              <a:gd name="connsiteY7" fmla="*/ 405166 h 591420"/>
              <a:gd name="connsiteX8" fmla="*/ 6835 w 427759"/>
              <a:gd name="connsiteY8" fmla="*/ 468770 h 591420"/>
              <a:gd name="connsiteX9" fmla="*/ 20505 w 427759"/>
              <a:gd name="connsiteY9" fmla="*/ 591421 h 591420"/>
              <a:gd name="connsiteX10" fmla="*/ 30758 w 427759"/>
              <a:gd name="connsiteY10" fmla="*/ 590661 h 591420"/>
              <a:gd name="connsiteX11" fmla="*/ 427760 w 427759"/>
              <a:gd name="connsiteY11" fmla="*/ 129296 h 591420"/>
              <a:gd name="connsiteX12" fmla="*/ 416178 w 427759"/>
              <a:gd name="connsiteY12" fmla="*/ 190 h 591420"/>
              <a:gd name="connsiteX13" fmla="*/ 416178 w 427759"/>
              <a:gd name="connsiteY13" fmla="*/ 190 h 59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27759" h="591420">
                <a:moveTo>
                  <a:pt x="415988" y="0"/>
                </a:moveTo>
                <a:cubicBezTo>
                  <a:pt x="358650" y="9873"/>
                  <a:pt x="301501" y="19936"/>
                  <a:pt x="244732" y="33606"/>
                </a:cubicBezTo>
                <a:cubicBezTo>
                  <a:pt x="249669" y="53161"/>
                  <a:pt x="252896" y="71768"/>
                  <a:pt x="254036" y="88476"/>
                </a:cubicBezTo>
                <a:cubicBezTo>
                  <a:pt x="254985" y="102146"/>
                  <a:pt x="254036" y="124740"/>
                  <a:pt x="250618" y="142966"/>
                </a:cubicBezTo>
                <a:cubicBezTo>
                  <a:pt x="244922" y="175623"/>
                  <a:pt x="234670" y="208469"/>
                  <a:pt x="222328" y="239036"/>
                </a:cubicBezTo>
                <a:cubicBezTo>
                  <a:pt x="199925" y="294476"/>
                  <a:pt x="164990" y="348587"/>
                  <a:pt x="111259" y="375738"/>
                </a:cubicBezTo>
                <a:cubicBezTo>
                  <a:pt x="80502" y="391306"/>
                  <a:pt x="47845" y="399280"/>
                  <a:pt x="13860" y="403647"/>
                </a:cubicBezTo>
                <a:cubicBezTo>
                  <a:pt x="9113" y="404217"/>
                  <a:pt x="4557" y="404786"/>
                  <a:pt x="0" y="405166"/>
                </a:cubicBezTo>
                <a:cubicBezTo>
                  <a:pt x="2278" y="426241"/>
                  <a:pt x="4367" y="447695"/>
                  <a:pt x="6835" y="468770"/>
                </a:cubicBezTo>
                <a:cubicBezTo>
                  <a:pt x="11202" y="509590"/>
                  <a:pt x="15948" y="550411"/>
                  <a:pt x="20505" y="591421"/>
                </a:cubicBezTo>
                <a:cubicBezTo>
                  <a:pt x="24113" y="591231"/>
                  <a:pt x="27530" y="591041"/>
                  <a:pt x="30758" y="590661"/>
                </a:cubicBezTo>
                <a:cubicBezTo>
                  <a:pt x="301311" y="567308"/>
                  <a:pt x="427760" y="280047"/>
                  <a:pt x="427760" y="129296"/>
                </a:cubicBezTo>
                <a:cubicBezTo>
                  <a:pt x="427760" y="82210"/>
                  <a:pt x="423583" y="39491"/>
                  <a:pt x="416178" y="190"/>
                </a:cubicBezTo>
                <a:lnTo>
                  <a:pt x="416178" y="190"/>
                </a:ln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73" name="Freeform: Shape 1372">
            <a:extLst>
              <a:ext uri="{FF2B5EF4-FFF2-40B4-BE49-F238E27FC236}">
                <a16:creationId xmlns:a16="http://schemas.microsoft.com/office/drawing/2014/main" id="{9EEE22C5-4C7B-A305-5AF5-1A4DC73CE34C}"/>
              </a:ext>
            </a:extLst>
          </p:cNvPr>
          <p:cNvSpPr/>
          <p:nvPr userDrawn="1"/>
        </p:nvSpPr>
        <p:spPr>
          <a:xfrm>
            <a:off x="6999164" y="4167858"/>
            <a:ext cx="831596" cy="339283"/>
          </a:xfrm>
          <a:custGeom>
            <a:avLst/>
            <a:gdLst>
              <a:gd name="connsiteX0" fmla="*/ 791725 w 831596"/>
              <a:gd name="connsiteY0" fmla="*/ 262579 h 339283"/>
              <a:gd name="connsiteX1" fmla="*/ 831597 w 831596"/>
              <a:gd name="connsiteY1" fmla="*/ 237518 h 339283"/>
              <a:gd name="connsiteX2" fmla="*/ 437063 w 831596"/>
              <a:gd name="connsiteY2" fmla="*/ 0 h 339283"/>
              <a:gd name="connsiteX3" fmla="*/ 125689 w 831596"/>
              <a:gd name="connsiteY3" fmla="*/ 78033 h 339283"/>
              <a:gd name="connsiteX4" fmla="*/ 0 w 831596"/>
              <a:gd name="connsiteY4" fmla="*/ 214165 h 339283"/>
              <a:gd name="connsiteX5" fmla="*/ 46516 w 831596"/>
              <a:gd name="connsiteY5" fmla="*/ 244163 h 339283"/>
              <a:gd name="connsiteX6" fmla="*/ 159674 w 831596"/>
              <a:gd name="connsiteY6" fmla="*/ 317639 h 339283"/>
              <a:gd name="connsiteX7" fmla="*/ 437443 w 831596"/>
              <a:gd name="connsiteY7" fmla="*/ 172585 h 339283"/>
              <a:gd name="connsiteX8" fmla="*/ 682555 w 831596"/>
              <a:gd name="connsiteY8" fmla="*/ 339284 h 339283"/>
              <a:gd name="connsiteX9" fmla="*/ 791536 w 831596"/>
              <a:gd name="connsiteY9" fmla="*/ 262389 h 339283"/>
              <a:gd name="connsiteX10" fmla="*/ 791536 w 831596"/>
              <a:gd name="connsiteY10" fmla="*/ 262769 h 339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1596" h="339283">
                <a:moveTo>
                  <a:pt x="791725" y="262579"/>
                </a:moveTo>
                <a:cubicBezTo>
                  <a:pt x="805016" y="254035"/>
                  <a:pt x="818306" y="245872"/>
                  <a:pt x="831597" y="237518"/>
                </a:cubicBezTo>
                <a:cubicBezTo>
                  <a:pt x="734957" y="61325"/>
                  <a:pt x="550791" y="8164"/>
                  <a:pt x="437063" y="0"/>
                </a:cubicBezTo>
                <a:cubicBezTo>
                  <a:pt x="328842" y="3607"/>
                  <a:pt x="254416" y="3607"/>
                  <a:pt x="125689" y="78033"/>
                </a:cubicBezTo>
                <a:cubicBezTo>
                  <a:pt x="93222" y="96830"/>
                  <a:pt x="42529" y="143536"/>
                  <a:pt x="0" y="214165"/>
                </a:cubicBezTo>
                <a:cubicBezTo>
                  <a:pt x="15569" y="224037"/>
                  <a:pt x="31137" y="234100"/>
                  <a:pt x="46516" y="244163"/>
                </a:cubicBezTo>
                <a:cubicBezTo>
                  <a:pt x="84299" y="268655"/>
                  <a:pt x="122082" y="292957"/>
                  <a:pt x="159674" y="317639"/>
                </a:cubicBezTo>
                <a:cubicBezTo>
                  <a:pt x="211886" y="221569"/>
                  <a:pt x="315171" y="172585"/>
                  <a:pt x="437443" y="172585"/>
                </a:cubicBezTo>
                <a:cubicBezTo>
                  <a:pt x="559714" y="172585"/>
                  <a:pt x="639456" y="253086"/>
                  <a:pt x="682555" y="339284"/>
                </a:cubicBezTo>
                <a:cubicBezTo>
                  <a:pt x="718059" y="312513"/>
                  <a:pt x="754133" y="286502"/>
                  <a:pt x="791536" y="262389"/>
                </a:cubicBezTo>
                <a:lnTo>
                  <a:pt x="791536" y="262769"/>
                </a:ln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39BF0E7-75B4-CEED-0ED6-5102F806A952}"/>
              </a:ext>
            </a:extLst>
          </p:cNvPr>
          <p:cNvSpPr/>
          <p:nvPr userDrawn="1"/>
        </p:nvSpPr>
        <p:spPr>
          <a:xfrm>
            <a:off x="8708225" y="1886509"/>
            <a:ext cx="604901" cy="610786"/>
          </a:xfrm>
          <a:custGeom>
            <a:avLst/>
            <a:gdLst>
              <a:gd name="connsiteX0" fmla="*/ 302450 w 604901"/>
              <a:gd name="connsiteY0" fmla="*/ 610787 h 610786"/>
              <a:gd name="connsiteX1" fmla="*/ 264288 w 604901"/>
              <a:gd name="connsiteY1" fmla="*/ 608319 h 610786"/>
              <a:gd name="connsiteX2" fmla="*/ 259162 w 604901"/>
              <a:gd name="connsiteY2" fmla="*/ 601863 h 610786"/>
              <a:gd name="connsiteX3" fmla="*/ 265617 w 604901"/>
              <a:gd name="connsiteY3" fmla="*/ 596927 h 610786"/>
              <a:gd name="connsiteX4" fmla="*/ 311184 w 604901"/>
              <a:gd name="connsiteY4" fmla="*/ 599015 h 610786"/>
              <a:gd name="connsiteX5" fmla="*/ 317070 w 604901"/>
              <a:gd name="connsiteY5" fmla="*/ 604711 h 610786"/>
              <a:gd name="connsiteX6" fmla="*/ 311374 w 604901"/>
              <a:gd name="connsiteY6" fmla="*/ 610597 h 610786"/>
              <a:gd name="connsiteX7" fmla="*/ 302071 w 604901"/>
              <a:gd name="connsiteY7" fmla="*/ 610597 h 610786"/>
              <a:gd name="connsiteX8" fmla="*/ 302071 w 604901"/>
              <a:gd name="connsiteY8" fmla="*/ 610597 h 610786"/>
              <a:gd name="connsiteX9" fmla="*/ 357700 w 604901"/>
              <a:gd name="connsiteY9" fmla="*/ 605471 h 610786"/>
              <a:gd name="connsiteX10" fmla="*/ 352004 w 604901"/>
              <a:gd name="connsiteY10" fmla="*/ 600724 h 610786"/>
              <a:gd name="connsiteX11" fmla="*/ 356751 w 604901"/>
              <a:gd name="connsiteY11" fmla="*/ 593889 h 610786"/>
              <a:gd name="connsiteX12" fmla="*/ 400609 w 604901"/>
              <a:gd name="connsiteY12" fmla="*/ 581738 h 610786"/>
              <a:gd name="connsiteX13" fmla="*/ 408014 w 604901"/>
              <a:gd name="connsiteY13" fmla="*/ 585345 h 610786"/>
              <a:gd name="connsiteX14" fmla="*/ 404407 w 604901"/>
              <a:gd name="connsiteY14" fmla="*/ 592750 h 610786"/>
              <a:gd name="connsiteX15" fmla="*/ 358650 w 604901"/>
              <a:gd name="connsiteY15" fmla="*/ 605281 h 610786"/>
              <a:gd name="connsiteX16" fmla="*/ 357511 w 604901"/>
              <a:gd name="connsiteY16" fmla="*/ 605281 h 610786"/>
              <a:gd name="connsiteX17" fmla="*/ 357511 w 604901"/>
              <a:gd name="connsiteY17" fmla="*/ 605281 h 610786"/>
              <a:gd name="connsiteX18" fmla="*/ 219670 w 604901"/>
              <a:gd name="connsiteY18" fmla="*/ 598825 h 610786"/>
              <a:gd name="connsiteX19" fmla="*/ 217962 w 604901"/>
              <a:gd name="connsiteY19" fmla="*/ 598636 h 610786"/>
              <a:gd name="connsiteX20" fmla="*/ 173724 w 604901"/>
              <a:gd name="connsiteY20" fmla="*/ 581738 h 610786"/>
              <a:gd name="connsiteX21" fmla="*/ 171066 w 604901"/>
              <a:gd name="connsiteY21" fmla="*/ 573953 h 610786"/>
              <a:gd name="connsiteX22" fmla="*/ 178850 w 604901"/>
              <a:gd name="connsiteY22" fmla="*/ 571295 h 610786"/>
              <a:gd name="connsiteX23" fmla="*/ 221379 w 604901"/>
              <a:gd name="connsiteY23" fmla="*/ 587624 h 610786"/>
              <a:gd name="connsiteX24" fmla="*/ 225366 w 604901"/>
              <a:gd name="connsiteY24" fmla="*/ 594838 h 610786"/>
              <a:gd name="connsiteX25" fmla="*/ 219860 w 604901"/>
              <a:gd name="connsiteY25" fmla="*/ 599015 h 610786"/>
              <a:gd name="connsiteX26" fmla="*/ 219860 w 604901"/>
              <a:gd name="connsiteY26" fmla="*/ 599015 h 610786"/>
              <a:gd name="connsiteX27" fmla="*/ 445037 w 604901"/>
              <a:gd name="connsiteY27" fmla="*/ 573953 h 610786"/>
              <a:gd name="connsiteX28" fmla="*/ 439911 w 604901"/>
              <a:gd name="connsiteY28" fmla="*/ 570916 h 610786"/>
              <a:gd name="connsiteX29" fmla="*/ 442189 w 604901"/>
              <a:gd name="connsiteY29" fmla="*/ 562942 h 610786"/>
              <a:gd name="connsiteX30" fmla="*/ 480351 w 604901"/>
              <a:gd name="connsiteY30" fmla="*/ 537880 h 610786"/>
              <a:gd name="connsiteX31" fmla="*/ 488515 w 604901"/>
              <a:gd name="connsiteY31" fmla="*/ 538829 h 610786"/>
              <a:gd name="connsiteX32" fmla="*/ 487566 w 604901"/>
              <a:gd name="connsiteY32" fmla="*/ 546993 h 610786"/>
              <a:gd name="connsiteX33" fmla="*/ 448075 w 604901"/>
              <a:gd name="connsiteY33" fmla="*/ 573194 h 610786"/>
              <a:gd name="connsiteX34" fmla="*/ 445227 w 604901"/>
              <a:gd name="connsiteY34" fmla="*/ 573953 h 610786"/>
              <a:gd name="connsiteX35" fmla="*/ 445227 w 604901"/>
              <a:gd name="connsiteY35" fmla="*/ 573953 h 610786"/>
              <a:gd name="connsiteX36" fmla="*/ 135941 w 604901"/>
              <a:gd name="connsiteY36" fmla="*/ 558954 h 610786"/>
              <a:gd name="connsiteX37" fmla="*/ 132714 w 604901"/>
              <a:gd name="connsiteY37" fmla="*/ 558005 h 610786"/>
              <a:gd name="connsiteX38" fmla="*/ 95880 w 604901"/>
              <a:gd name="connsiteY38" fmla="*/ 528197 h 610786"/>
              <a:gd name="connsiteX39" fmla="*/ 95690 w 604901"/>
              <a:gd name="connsiteY39" fmla="*/ 520033 h 610786"/>
              <a:gd name="connsiteX40" fmla="*/ 103855 w 604901"/>
              <a:gd name="connsiteY40" fmla="*/ 519843 h 610786"/>
              <a:gd name="connsiteX41" fmla="*/ 139359 w 604901"/>
              <a:gd name="connsiteY41" fmla="*/ 548512 h 610786"/>
              <a:gd name="connsiteX42" fmla="*/ 140878 w 604901"/>
              <a:gd name="connsiteY42" fmla="*/ 556676 h 610786"/>
              <a:gd name="connsiteX43" fmla="*/ 136131 w 604901"/>
              <a:gd name="connsiteY43" fmla="*/ 559144 h 610786"/>
              <a:gd name="connsiteX44" fmla="*/ 136131 w 604901"/>
              <a:gd name="connsiteY44" fmla="*/ 559144 h 610786"/>
              <a:gd name="connsiteX45" fmla="*/ 518134 w 604901"/>
              <a:gd name="connsiteY45" fmla="*/ 516995 h 610786"/>
              <a:gd name="connsiteX46" fmla="*/ 514147 w 604901"/>
              <a:gd name="connsiteY46" fmla="*/ 515476 h 610786"/>
              <a:gd name="connsiteX47" fmla="*/ 513957 w 604901"/>
              <a:gd name="connsiteY47" fmla="*/ 507312 h 610786"/>
              <a:gd name="connsiteX48" fmla="*/ 542436 w 604901"/>
              <a:gd name="connsiteY48" fmla="*/ 471618 h 610786"/>
              <a:gd name="connsiteX49" fmla="*/ 550600 w 604901"/>
              <a:gd name="connsiteY49" fmla="*/ 470099 h 610786"/>
              <a:gd name="connsiteX50" fmla="*/ 552119 w 604901"/>
              <a:gd name="connsiteY50" fmla="*/ 478263 h 610786"/>
              <a:gd name="connsiteX51" fmla="*/ 522501 w 604901"/>
              <a:gd name="connsiteY51" fmla="*/ 515286 h 610786"/>
              <a:gd name="connsiteX52" fmla="*/ 518324 w 604901"/>
              <a:gd name="connsiteY52" fmla="*/ 517185 h 610786"/>
              <a:gd name="connsiteX53" fmla="*/ 518324 w 604901"/>
              <a:gd name="connsiteY53" fmla="*/ 517185 h 610786"/>
              <a:gd name="connsiteX54" fmla="*/ 68540 w 604901"/>
              <a:gd name="connsiteY54" fmla="*/ 495351 h 610786"/>
              <a:gd name="connsiteX55" fmla="*/ 63983 w 604901"/>
              <a:gd name="connsiteY55" fmla="*/ 493072 h 610786"/>
              <a:gd name="connsiteX56" fmla="*/ 37972 w 604901"/>
              <a:gd name="connsiteY56" fmla="*/ 453391 h 610786"/>
              <a:gd name="connsiteX57" fmla="*/ 40251 w 604901"/>
              <a:gd name="connsiteY57" fmla="*/ 445417 h 610786"/>
              <a:gd name="connsiteX58" fmla="*/ 48225 w 604901"/>
              <a:gd name="connsiteY58" fmla="*/ 447695 h 610786"/>
              <a:gd name="connsiteX59" fmla="*/ 73287 w 604901"/>
              <a:gd name="connsiteY59" fmla="*/ 485668 h 610786"/>
              <a:gd name="connsiteX60" fmla="*/ 72337 w 604901"/>
              <a:gd name="connsiteY60" fmla="*/ 493832 h 610786"/>
              <a:gd name="connsiteX61" fmla="*/ 68730 w 604901"/>
              <a:gd name="connsiteY61" fmla="*/ 495161 h 610786"/>
              <a:gd name="connsiteX62" fmla="*/ 68730 w 604901"/>
              <a:gd name="connsiteY62" fmla="*/ 495161 h 610786"/>
              <a:gd name="connsiteX63" fmla="*/ 570156 w 604901"/>
              <a:gd name="connsiteY63" fmla="*/ 440480 h 610786"/>
              <a:gd name="connsiteX64" fmla="*/ 567688 w 604901"/>
              <a:gd name="connsiteY64" fmla="*/ 439911 h 610786"/>
              <a:gd name="connsiteX65" fmla="*/ 565030 w 604901"/>
              <a:gd name="connsiteY65" fmla="*/ 432126 h 610786"/>
              <a:gd name="connsiteX66" fmla="*/ 581358 w 604901"/>
              <a:gd name="connsiteY66" fmla="*/ 389597 h 610786"/>
              <a:gd name="connsiteX67" fmla="*/ 588573 w 604901"/>
              <a:gd name="connsiteY67" fmla="*/ 385610 h 610786"/>
              <a:gd name="connsiteX68" fmla="*/ 592560 w 604901"/>
              <a:gd name="connsiteY68" fmla="*/ 392825 h 610786"/>
              <a:gd name="connsiteX69" fmla="*/ 575662 w 604901"/>
              <a:gd name="connsiteY69" fmla="*/ 437063 h 610786"/>
              <a:gd name="connsiteX70" fmla="*/ 570346 w 604901"/>
              <a:gd name="connsiteY70" fmla="*/ 440291 h 610786"/>
              <a:gd name="connsiteX71" fmla="*/ 570346 w 604901"/>
              <a:gd name="connsiteY71" fmla="*/ 440291 h 610786"/>
              <a:gd name="connsiteX72" fmla="*/ 23923 w 604901"/>
              <a:gd name="connsiteY72" fmla="*/ 414279 h 610786"/>
              <a:gd name="connsiteX73" fmla="*/ 18417 w 604901"/>
              <a:gd name="connsiteY73" fmla="*/ 410482 h 610786"/>
              <a:gd name="connsiteX74" fmla="*/ 5696 w 604901"/>
              <a:gd name="connsiteY74" fmla="*/ 364725 h 610786"/>
              <a:gd name="connsiteX75" fmla="*/ 10252 w 604901"/>
              <a:gd name="connsiteY75" fmla="*/ 357890 h 610786"/>
              <a:gd name="connsiteX76" fmla="*/ 17087 w 604901"/>
              <a:gd name="connsiteY76" fmla="*/ 362447 h 610786"/>
              <a:gd name="connsiteX77" fmla="*/ 29239 w 604901"/>
              <a:gd name="connsiteY77" fmla="*/ 406305 h 610786"/>
              <a:gd name="connsiteX78" fmla="*/ 25631 w 604901"/>
              <a:gd name="connsiteY78" fmla="*/ 413710 h 610786"/>
              <a:gd name="connsiteX79" fmla="*/ 23733 w 604901"/>
              <a:gd name="connsiteY79" fmla="*/ 413900 h 610786"/>
              <a:gd name="connsiteX80" fmla="*/ 23733 w 604901"/>
              <a:gd name="connsiteY80" fmla="*/ 413900 h 610786"/>
              <a:gd name="connsiteX81" fmla="*/ 596547 w 604901"/>
              <a:gd name="connsiteY81" fmla="*/ 351435 h 610786"/>
              <a:gd name="connsiteX82" fmla="*/ 595787 w 604901"/>
              <a:gd name="connsiteY82" fmla="*/ 351435 h 610786"/>
              <a:gd name="connsiteX83" fmla="*/ 590851 w 604901"/>
              <a:gd name="connsiteY83" fmla="*/ 344980 h 610786"/>
              <a:gd name="connsiteX84" fmla="*/ 593319 w 604901"/>
              <a:gd name="connsiteY84" fmla="*/ 305298 h 610786"/>
              <a:gd name="connsiteX85" fmla="*/ 593319 w 604901"/>
              <a:gd name="connsiteY85" fmla="*/ 299413 h 610786"/>
              <a:gd name="connsiteX86" fmla="*/ 599015 w 604901"/>
              <a:gd name="connsiteY86" fmla="*/ 293527 h 610786"/>
              <a:gd name="connsiteX87" fmla="*/ 604901 w 604901"/>
              <a:gd name="connsiteY87" fmla="*/ 299223 h 610786"/>
              <a:gd name="connsiteX88" fmla="*/ 604901 w 604901"/>
              <a:gd name="connsiteY88" fmla="*/ 305298 h 610786"/>
              <a:gd name="connsiteX89" fmla="*/ 602243 w 604901"/>
              <a:gd name="connsiteY89" fmla="*/ 346499 h 610786"/>
              <a:gd name="connsiteX90" fmla="*/ 596357 w 604901"/>
              <a:gd name="connsiteY90" fmla="*/ 351625 h 610786"/>
              <a:gd name="connsiteX91" fmla="*/ 596357 w 604901"/>
              <a:gd name="connsiteY91" fmla="*/ 351625 h 610786"/>
              <a:gd name="connsiteX92" fmla="*/ 6075 w 604901"/>
              <a:gd name="connsiteY92" fmla="*/ 323145 h 610786"/>
              <a:gd name="connsiteX93" fmla="*/ 190 w 604901"/>
              <a:gd name="connsiteY93" fmla="*/ 317639 h 610786"/>
              <a:gd name="connsiteX94" fmla="*/ 0 w 604901"/>
              <a:gd name="connsiteY94" fmla="*/ 305298 h 610786"/>
              <a:gd name="connsiteX95" fmla="*/ 3607 w 604901"/>
              <a:gd name="connsiteY95" fmla="*/ 258023 h 610786"/>
              <a:gd name="connsiteX96" fmla="*/ 10252 w 604901"/>
              <a:gd name="connsiteY96" fmla="*/ 253276 h 610786"/>
              <a:gd name="connsiteX97" fmla="*/ 14999 w 604901"/>
              <a:gd name="connsiteY97" fmla="*/ 259921 h 610786"/>
              <a:gd name="connsiteX98" fmla="*/ 11582 w 604901"/>
              <a:gd name="connsiteY98" fmla="*/ 305298 h 610786"/>
              <a:gd name="connsiteX99" fmla="*/ 11771 w 604901"/>
              <a:gd name="connsiteY99" fmla="*/ 317260 h 610786"/>
              <a:gd name="connsiteX100" fmla="*/ 6265 w 604901"/>
              <a:gd name="connsiteY100" fmla="*/ 323335 h 610786"/>
              <a:gd name="connsiteX101" fmla="*/ 6075 w 604901"/>
              <a:gd name="connsiteY101" fmla="*/ 323335 h 610786"/>
              <a:gd name="connsiteX102" fmla="*/ 594648 w 604901"/>
              <a:gd name="connsiteY102" fmla="*/ 258592 h 610786"/>
              <a:gd name="connsiteX103" fmla="*/ 588953 w 604901"/>
              <a:gd name="connsiteY103" fmla="*/ 253846 h 610786"/>
              <a:gd name="connsiteX104" fmla="*/ 577751 w 604901"/>
              <a:gd name="connsiteY104" fmla="*/ 209608 h 610786"/>
              <a:gd name="connsiteX105" fmla="*/ 581358 w 604901"/>
              <a:gd name="connsiteY105" fmla="*/ 202203 h 610786"/>
              <a:gd name="connsiteX106" fmla="*/ 588763 w 604901"/>
              <a:gd name="connsiteY106" fmla="*/ 205811 h 610786"/>
              <a:gd name="connsiteX107" fmla="*/ 600534 w 604901"/>
              <a:gd name="connsiteY107" fmla="*/ 251757 h 610786"/>
              <a:gd name="connsiteX108" fmla="*/ 595787 w 604901"/>
              <a:gd name="connsiteY108" fmla="*/ 258402 h 610786"/>
              <a:gd name="connsiteX109" fmla="*/ 594458 w 604901"/>
              <a:gd name="connsiteY109" fmla="*/ 258402 h 610786"/>
              <a:gd name="connsiteX110" fmla="*/ 19935 w 604901"/>
              <a:gd name="connsiteY110" fmla="*/ 219481 h 610786"/>
              <a:gd name="connsiteX111" fmla="*/ 18227 w 604901"/>
              <a:gd name="connsiteY111" fmla="*/ 219101 h 610786"/>
              <a:gd name="connsiteX112" fmla="*/ 14429 w 604901"/>
              <a:gd name="connsiteY112" fmla="*/ 211886 h 610786"/>
              <a:gd name="connsiteX113" fmla="*/ 32277 w 604901"/>
              <a:gd name="connsiteY113" fmla="*/ 168028 h 610786"/>
              <a:gd name="connsiteX114" fmla="*/ 40061 w 604901"/>
              <a:gd name="connsiteY114" fmla="*/ 165560 h 610786"/>
              <a:gd name="connsiteX115" fmla="*/ 42529 w 604901"/>
              <a:gd name="connsiteY115" fmla="*/ 173344 h 610786"/>
              <a:gd name="connsiteX116" fmla="*/ 25252 w 604901"/>
              <a:gd name="connsiteY116" fmla="*/ 215683 h 610786"/>
              <a:gd name="connsiteX117" fmla="*/ 19746 w 604901"/>
              <a:gd name="connsiteY117" fmla="*/ 219860 h 610786"/>
              <a:gd name="connsiteX118" fmla="*/ 19746 w 604901"/>
              <a:gd name="connsiteY118" fmla="*/ 219860 h 610786"/>
              <a:gd name="connsiteX119" fmla="*/ 564840 w 604901"/>
              <a:gd name="connsiteY119" fmla="*/ 171066 h 610786"/>
              <a:gd name="connsiteX120" fmla="*/ 559714 w 604901"/>
              <a:gd name="connsiteY120" fmla="*/ 168028 h 610786"/>
              <a:gd name="connsiteX121" fmla="*/ 535411 w 604901"/>
              <a:gd name="connsiteY121" fmla="*/ 129486 h 610786"/>
              <a:gd name="connsiteX122" fmla="*/ 536551 w 604901"/>
              <a:gd name="connsiteY122" fmla="*/ 121322 h 610786"/>
              <a:gd name="connsiteX123" fmla="*/ 544714 w 604901"/>
              <a:gd name="connsiteY123" fmla="*/ 122651 h 610786"/>
              <a:gd name="connsiteX124" fmla="*/ 569776 w 604901"/>
              <a:gd name="connsiteY124" fmla="*/ 162712 h 610786"/>
              <a:gd name="connsiteX125" fmla="*/ 567308 w 604901"/>
              <a:gd name="connsiteY125" fmla="*/ 170496 h 610786"/>
              <a:gd name="connsiteX126" fmla="*/ 564650 w 604901"/>
              <a:gd name="connsiteY126" fmla="*/ 171256 h 610786"/>
              <a:gd name="connsiteX127" fmla="*/ 564650 w 604901"/>
              <a:gd name="connsiteY127" fmla="*/ 171256 h 610786"/>
              <a:gd name="connsiteX128" fmla="*/ 61325 w 604901"/>
              <a:gd name="connsiteY128" fmla="*/ 136511 h 610786"/>
              <a:gd name="connsiteX129" fmla="*/ 57908 w 604901"/>
              <a:gd name="connsiteY129" fmla="*/ 135372 h 610786"/>
              <a:gd name="connsiteX130" fmla="*/ 56579 w 604901"/>
              <a:gd name="connsiteY130" fmla="*/ 127208 h 610786"/>
              <a:gd name="connsiteX131" fmla="*/ 86957 w 604901"/>
              <a:gd name="connsiteY131" fmla="*/ 90944 h 610786"/>
              <a:gd name="connsiteX132" fmla="*/ 95121 w 604901"/>
              <a:gd name="connsiteY132" fmla="*/ 90944 h 610786"/>
              <a:gd name="connsiteX133" fmla="*/ 95121 w 604901"/>
              <a:gd name="connsiteY133" fmla="*/ 99108 h 610786"/>
              <a:gd name="connsiteX134" fmla="*/ 65882 w 604901"/>
              <a:gd name="connsiteY134" fmla="*/ 134233 h 610786"/>
              <a:gd name="connsiteX135" fmla="*/ 61136 w 604901"/>
              <a:gd name="connsiteY135" fmla="*/ 136701 h 610786"/>
              <a:gd name="connsiteX136" fmla="*/ 61136 w 604901"/>
              <a:gd name="connsiteY136" fmla="*/ 136701 h 610786"/>
              <a:gd name="connsiteX137" fmla="*/ 509590 w 604901"/>
              <a:gd name="connsiteY137" fmla="*/ 96640 h 610786"/>
              <a:gd name="connsiteX138" fmla="*/ 505413 w 604901"/>
              <a:gd name="connsiteY138" fmla="*/ 94931 h 610786"/>
              <a:gd name="connsiteX139" fmla="*/ 470668 w 604901"/>
              <a:gd name="connsiteY139" fmla="*/ 65502 h 610786"/>
              <a:gd name="connsiteX140" fmla="*/ 469339 w 604901"/>
              <a:gd name="connsiteY140" fmla="*/ 57338 h 610786"/>
              <a:gd name="connsiteX141" fmla="*/ 477504 w 604901"/>
              <a:gd name="connsiteY141" fmla="*/ 56009 h 610786"/>
              <a:gd name="connsiteX142" fmla="*/ 513767 w 604901"/>
              <a:gd name="connsiteY142" fmla="*/ 86577 h 610786"/>
              <a:gd name="connsiteX143" fmla="*/ 513767 w 604901"/>
              <a:gd name="connsiteY143" fmla="*/ 94741 h 610786"/>
              <a:gd name="connsiteX144" fmla="*/ 509590 w 604901"/>
              <a:gd name="connsiteY144" fmla="*/ 96450 h 610786"/>
              <a:gd name="connsiteX145" fmla="*/ 509590 w 604901"/>
              <a:gd name="connsiteY145" fmla="*/ 96450 h 610786"/>
              <a:gd name="connsiteX146" fmla="*/ 126069 w 604901"/>
              <a:gd name="connsiteY146" fmla="*/ 70249 h 610786"/>
              <a:gd name="connsiteX147" fmla="*/ 121322 w 604901"/>
              <a:gd name="connsiteY147" fmla="*/ 67971 h 610786"/>
              <a:gd name="connsiteX148" fmla="*/ 122461 w 604901"/>
              <a:gd name="connsiteY148" fmla="*/ 59807 h 610786"/>
              <a:gd name="connsiteX149" fmla="*/ 162522 w 604901"/>
              <a:gd name="connsiteY149" fmla="*/ 34555 h 610786"/>
              <a:gd name="connsiteX150" fmla="*/ 170306 w 604901"/>
              <a:gd name="connsiteY150" fmla="*/ 37023 h 610786"/>
              <a:gd name="connsiteX151" fmla="*/ 167838 w 604901"/>
              <a:gd name="connsiteY151" fmla="*/ 44807 h 610786"/>
              <a:gd name="connsiteX152" fmla="*/ 129296 w 604901"/>
              <a:gd name="connsiteY152" fmla="*/ 69300 h 610786"/>
              <a:gd name="connsiteX153" fmla="*/ 125689 w 604901"/>
              <a:gd name="connsiteY153" fmla="*/ 70439 h 610786"/>
              <a:gd name="connsiteX154" fmla="*/ 125689 w 604901"/>
              <a:gd name="connsiteY154" fmla="*/ 70439 h 610786"/>
              <a:gd name="connsiteX155" fmla="*/ 434215 w 604901"/>
              <a:gd name="connsiteY155" fmla="*/ 42719 h 610786"/>
              <a:gd name="connsiteX156" fmla="*/ 431747 w 604901"/>
              <a:gd name="connsiteY156" fmla="*/ 42149 h 610786"/>
              <a:gd name="connsiteX157" fmla="*/ 389597 w 604901"/>
              <a:gd name="connsiteY157" fmla="*/ 24872 h 610786"/>
              <a:gd name="connsiteX158" fmla="*/ 385800 w 604901"/>
              <a:gd name="connsiteY158" fmla="*/ 17657 h 610786"/>
              <a:gd name="connsiteX159" fmla="*/ 393015 w 604901"/>
              <a:gd name="connsiteY159" fmla="*/ 13860 h 610786"/>
              <a:gd name="connsiteX160" fmla="*/ 436873 w 604901"/>
              <a:gd name="connsiteY160" fmla="*/ 31707 h 610786"/>
              <a:gd name="connsiteX161" fmla="*/ 439341 w 604901"/>
              <a:gd name="connsiteY161" fmla="*/ 39491 h 610786"/>
              <a:gd name="connsiteX162" fmla="*/ 434025 w 604901"/>
              <a:gd name="connsiteY162" fmla="*/ 42719 h 610786"/>
              <a:gd name="connsiteX163" fmla="*/ 434025 w 604901"/>
              <a:gd name="connsiteY163" fmla="*/ 42719 h 610786"/>
              <a:gd name="connsiteX164" fmla="*/ 208089 w 604901"/>
              <a:gd name="connsiteY164" fmla="*/ 27150 h 610786"/>
              <a:gd name="connsiteX165" fmla="*/ 202583 w 604901"/>
              <a:gd name="connsiteY165" fmla="*/ 23163 h 610786"/>
              <a:gd name="connsiteX166" fmla="*/ 206190 w 604901"/>
              <a:gd name="connsiteY166" fmla="*/ 15759 h 610786"/>
              <a:gd name="connsiteX167" fmla="*/ 252137 w 604901"/>
              <a:gd name="connsiteY167" fmla="*/ 4177 h 610786"/>
              <a:gd name="connsiteX168" fmla="*/ 258782 w 604901"/>
              <a:gd name="connsiteY168" fmla="*/ 8924 h 610786"/>
              <a:gd name="connsiteX169" fmla="*/ 254035 w 604901"/>
              <a:gd name="connsiteY169" fmla="*/ 15569 h 610786"/>
              <a:gd name="connsiteX170" fmla="*/ 209798 w 604901"/>
              <a:gd name="connsiteY170" fmla="*/ 26581 h 610786"/>
              <a:gd name="connsiteX171" fmla="*/ 207899 w 604901"/>
              <a:gd name="connsiteY171" fmla="*/ 26960 h 610786"/>
              <a:gd name="connsiteX172" fmla="*/ 207899 w 604901"/>
              <a:gd name="connsiteY172" fmla="*/ 26960 h 610786"/>
              <a:gd name="connsiteX173" fmla="*/ 345929 w 604901"/>
              <a:gd name="connsiteY173" fmla="*/ 14809 h 610786"/>
              <a:gd name="connsiteX174" fmla="*/ 345169 w 604901"/>
              <a:gd name="connsiteY174" fmla="*/ 14809 h 610786"/>
              <a:gd name="connsiteX175" fmla="*/ 302640 w 604901"/>
              <a:gd name="connsiteY175" fmla="*/ 11771 h 610786"/>
              <a:gd name="connsiteX176" fmla="*/ 299603 w 604901"/>
              <a:gd name="connsiteY176" fmla="*/ 11771 h 610786"/>
              <a:gd name="connsiteX177" fmla="*/ 293717 w 604901"/>
              <a:gd name="connsiteY177" fmla="*/ 5886 h 610786"/>
              <a:gd name="connsiteX178" fmla="*/ 299603 w 604901"/>
              <a:gd name="connsiteY178" fmla="*/ 0 h 610786"/>
              <a:gd name="connsiteX179" fmla="*/ 302640 w 604901"/>
              <a:gd name="connsiteY179" fmla="*/ 0 h 610786"/>
              <a:gd name="connsiteX180" fmla="*/ 346878 w 604901"/>
              <a:gd name="connsiteY180" fmla="*/ 3228 h 610786"/>
              <a:gd name="connsiteX181" fmla="*/ 351815 w 604901"/>
              <a:gd name="connsiteY181" fmla="*/ 9873 h 610786"/>
              <a:gd name="connsiteX182" fmla="*/ 346119 w 604901"/>
              <a:gd name="connsiteY182" fmla="*/ 14809 h 610786"/>
              <a:gd name="connsiteX183" fmla="*/ 345929 w 604901"/>
              <a:gd name="connsiteY183" fmla="*/ 14809 h 610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604901" h="610786">
                <a:moveTo>
                  <a:pt x="302450" y="610787"/>
                </a:moveTo>
                <a:cubicBezTo>
                  <a:pt x="289730" y="610787"/>
                  <a:pt x="276819" y="610027"/>
                  <a:pt x="264288" y="608319"/>
                </a:cubicBezTo>
                <a:cubicBezTo>
                  <a:pt x="261250" y="607939"/>
                  <a:pt x="258972" y="605091"/>
                  <a:pt x="259162" y="601863"/>
                </a:cubicBezTo>
                <a:cubicBezTo>
                  <a:pt x="259542" y="598825"/>
                  <a:pt x="262579" y="596547"/>
                  <a:pt x="265617" y="596927"/>
                </a:cubicBezTo>
                <a:cubicBezTo>
                  <a:pt x="280616" y="598825"/>
                  <a:pt x="295995" y="599395"/>
                  <a:pt x="311184" y="599015"/>
                </a:cubicBezTo>
                <a:cubicBezTo>
                  <a:pt x="314222" y="599015"/>
                  <a:pt x="317070" y="601484"/>
                  <a:pt x="317070" y="604711"/>
                </a:cubicBezTo>
                <a:cubicBezTo>
                  <a:pt x="317070" y="607939"/>
                  <a:pt x="314602" y="610597"/>
                  <a:pt x="311374" y="610597"/>
                </a:cubicBezTo>
                <a:cubicBezTo>
                  <a:pt x="308336" y="610597"/>
                  <a:pt x="305298" y="610597"/>
                  <a:pt x="302071" y="610597"/>
                </a:cubicBezTo>
                <a:lnTo>
                  <a:pt x="302071" y="610597"/>
                </a:lnTo>
                <a:close/>
                <a:moveTo>
                  <a:pt x="357700" y="605471"/>
                </a:moveTo>
                <a:cubicBezTo>
                  <a:pt x="355042" y="605471"/>
                  <a:pt x="352574" y="603572"/>
                  <a:pt x="352004" y="600724"/>
                </a:cubicBezTo>
                <a:cubicBezTo>
                  <a:pt x="351435" y="597686"/>
                  <a:pt x="353334" y="594459"/>
                  <a:pt x="356751" y="593889"/>
                </a:cubicBezTo>
                <a:cubicBezTo>
                  <a:pt x="371750" y="591041"/>
                  <a:pt x="386369" y="586864"/>
                  <a:pt x="400609" y="581738"/>
                </a:cubicBezTo>
                <a:cubicBezTo>
                  <a:pt x="403647" y="580599"/>
                  <a:pt x="407064" y="582118"/>
                  <a:pt x="408014" y="585345"/>
                </a:cubicBezTo>
                <a:cubicBezTo>
                  <a:pt x="409153" y="588383"/>
                  <a:pt x="407634" y="591801"/>
                  <a:pt x="404407" y="592750"/>
                </a:cubicBezTo>
                <a:cubicBezTo>
                  <a:pt x="389597" y="598066"/>
                  <a:pt x="374218" y="602433"/>
                  <a:pt x="358650" y="605281"/>
                </a:cubicBezTo>
                <a:lnTo>
                  <a:pt x="357511" y="605281"/>
                </a:lnTo>
                <a:lnTo>
                  <a:pt x="357511" y="605281"/>
                </a:lnTo>
                <a:close/>
                <a:moveTo>
                  <a:pt x="219670" y="598825"/>
                </a:moveTo>
                <a:cubicBezTo>
                  <a:pt x="219670" y="598825"/>
                  <a:pt x="218531" y="598825"/>
                  <a:pt x="217962" y="598636"/>
                </a:cubicBezTo>
                <a:cubicBezTo>
                  <a:pt x="202773" y="594269"/>
                  <a:pt x="187963" y="588573"/>
                  <a:pt x="173724" y="581738"/>
                </a:cubicBezTo>
                <a:cubicBezTo>
                  <a:pt x="170876" y="580409"/>
                  <a:pt x="169547" y="576991"/>
                  <a:pt x="171066" y="573953"/>
                </a:cubicBezTo>
                <a:cubicBezTo>
                  <a:pt x="172395" y="571106"/>
                  <a:pt x="175812" y="569777"/>
                  <a:pt x="178850" y="571295"/>
                </a:cubicBezTo>
                <a:cubicBezTo>
                  <a:pt x="192710" y="577751"/>
                  <a:pt x="206760" y="583447"/>
                  <a:pt x="221379" y="587624"/>
                </a:cubicBezTo>
                <a:cubicBezTo>
                  <a:pt x="224417" y="588383"/>
                  <a:pt x="226126" y="591801"/>
                  <a:pt x="225366" y="594838"/>
                </a:cubicBezTo>
                <a:cubicBezTo>
                  <a:pt x="224607" y="597307"/>
                  <a:pt x="222328" y="599015"/>
                  <a:pt x="219860" y="599015"/>
                </a:cubicBezTo>
                <a:lnTo>
                  <a:pt x="219860" y="599015"/>
                </a:lnTo>
                <a:close/>
                <a:moveTo>
                  <a:pt x="445037" y="573953"/>
                </a:moveTo>
                <a:cubicBezTo>
                  <a:pt x="443138" y="573953"/>
                  <a:pt x="441050" y="572814"/>
                  <a:pt x="439911" y="570916"/>
                </a:cubicBezTo>
                <a:cubicBezTo>
                  <a:pt x="438392" y="568068"/>
                  <a:pt x="439341" y="564460"/>
                  <a:pt x="442189" y="562942"/>
                </a:cubicBezTo>
                <a:cubicBezTo>
                  <a:pt x="455480" y="555537"/>
                  <a:pt x="468200" y="547183"/>
                  <a:pt x="480351" y="537880"/>
                </a:cubicBezTo>
                <a:cubicBezTo>
                  <a:pt x="482820" y="535981"/>
                  <a:pt x="486617" y="536361"/>
                  <a:pt x="488515" y="538829"/>
                </a:cubicBezTo>
                <a:cubicBezTo>
                  <a:pt x="490414" y="541297"/>
                  <a:pt x="490034" y="545094"/>
                  <a:pt x="487566" y="546993"/>
                </a:cubicBezTo>
                <a:cubicBezTo>
                  <a:pt x="475035" y="556676"/>
                  <a:pt x="461935" y="565410"/>
                  <a:pt x="448075" y="573194"/>
                </a:cubicBezTo>
                <a:cubicBezTo>
                  <a:pt x="447315" y="573574"/>
                  <a:pt x="446176" y="573953"/>
                  <a:pt x="445227" y="573953"/>
                </a:cubicBezTo>
                <a:lnTo>
                  <a:pt x="445227" y="573953"/>
                </a:lnTo>
                <a:close/>
                <a:moveTo>
                  <a:pt x="135941" y="558954"/>
                </a:moveTo>
                <a:cubicBezTo>
                  <a:pt x="134802" y="558954"/>
                  <a:pt x="133663" y="558765"/>
                  <a:pt x="132714" y="558005"/>
                </a:cubicBezTo>
                <a:cubicBezTo>
                  <a:pt x="119803" y="549082"/>
                  <a:pt x="107272" y="539209"/>
                  <a:pt x="95880" y="528197"/>
                </a:cubicBezTo>
                <a:cubicBezTo>
                  <a:pt x="93602" y="525918"/>
                  <a:pt x="93412" y="522311"/>
                  <a:pt x="95690" y="520033"/>
                </a:cubicBezTo>
                <a:cubicBezTo>
                  <a:pt x="97969" y="517754"/>
                  <a:pt x="101576" y="517564"/>
                  <a:pt x="103855" y="519843"/>
                </a:cubicBezTo>
                <a:cubicBezTo>
                  <a:pt x="114866" y="530285"/>
                  <a:pt x="126828" y="539778"/>
                  <a:pt x="139359" y="548512"/>
                </a:cubicBezTo>
                <a:cubicBezTo>
                  <a:pt x="142017" y="550411"/>
                  <a:pt x="142586" y="553828"/>
                  <a:pt x="140878" y="556676"/>
                </a:cubicBezTo>
                <a:cubicBezTo>
                  <a:pt x="139739" y="558385"/>
                  <a:pt x="137840" y="559144"/>
                  <a:pt x="136131" y="559144"/>
                </a:cubicBezTo>
                <a:lnTo>
                  <a:pt x="136131" y="559144"/>
                </a:lnTo>
                <a:close/>
                <a:moveTo>
                  <a:pt x="518134" y="516995"/>
                </a:moveTo>
                <a:cubicBezTo>
                  <a:pt x="516805" y="516995"/>
                  <a:pt x="515286" y="516425"/>
                  <a:pt x="514147" y="515476"/>
                </a:cubicBezTo>
                <a:cubicBezTo>
                  <a:pt x="511869" y="513387"/>
                  <a:pt x="511679" y="509590"/>
                  <a:pt x="513957" y="507312"/>
                </a:cubicBezTo>
                <a:cubicBezTo>
                  <a:pt x="524399" y="496300"/>
                  <a:pt x="533892" y="484339"/>
                  <a:pt x="542436" y="471618"/>
                </a:cubicBezTo>
                <a:cubicBezTo>
                  <a:pt x="544335" y="468960"/>
                  <a:pt x="547752" y="468200"/>
                  <a:pt x="550600" y="470099"/>
                </a:cubicBezTo>
                <a:cubicBezTo>
                  <a:pt x="553259" y="471997"/>
                  <a:pt x="554018" y="475415"/>
                  <a:pt x="552119" y="478263"/>
                </a:cubicBezTo>
                <a:cubicBezTo>
                  <a:pt x="543196" y="491363"/>
                  <a:pt x="533133" y="503894"/>
                  <a:pt x="522501" y="515286"/>
                </a:cubicBezTo>
                <a:cubicBezTo>
                  <a:pt x="521362" y="516615"/>
                  <a:pt x="519843" y="517185"/>
                  <a:pt x="518324" y="517185"/>
                </a:cubicBezTo>
                <a:lnTo>
                  <a:pt x="518324" y="517185"/>
                </a:lnTo>
                <a:close/>
                <a:moveTo>
                  <a:pt x="68540" y="495351"/>
                </a:moveTo>
                <a:cubicBezTo>
                  <a:pt x="66831" y="495351"/>
                  <a:pt x="65123" y="494591"/>
                  <a:pt x="63983" y="493072"/>
                </a:cubicBezTo>
                <a:cubicBezTo>
                  <a:pt x="54301" y="480541"/>
                  <a:pt x="45567" y="467251"/>
                  <a:pt x="37972" y="453391"/>
                </a:cubicBezTo>
                <a:cubicBezTo>
                  <a:pt x="36454" y="450543"/>
                  <a:pt x="37403" y="446936"/>
                  <a:pt x="40251" y="445417"/>
                </a:cubicBezTo>
                <a:cubicBezTo>
                  <a:pt x="43099" y="443898"/>
                  <a:pt x="46706" y="444847"/>
                  <a:pt x="48225" y="447695"/>
                </a:cubicBezTo>
                <a:cubicBezTo>
                  <a:pt x="55440" y="460985"/>
                  <a:pt x="63983" y="473896"/>
                  <a:pt x="73287" y="485668"/>
                </a:cubicBezTo>
                <a:cubicBezTo>
                  <a:pt x="75185" y="488136"/>
                  <a:pt x="74805" y="491933"/>
                  <a:pt x="72337" y="493832"/>
                </a:cubicBezTo>
                <a:cubicBezTo>
                  <a:pt x="71388" y="494591"/>
                  <a:pt x="70059" y="495161"/>
                  <a:pt x="68730" y="495161"/>
                </a:cubicBezTo>
                <a:lnTo>
                  <a:pt x="68730" y="495161"/>
                </a:lnTo>
                <a:close/>
                <a:moveTo>
                  <a:pt x="570156" y="440480"/>
                </a:moveTo>
                <a:cubicBezTo>
                  <a:pt x="570156" y="440480"/>
                  <a:pt x="568447" y="440480"/>
                  <a:pt x="567688" y="439911"/>
                </a:cubicBezTo>
                <a:cubicBezTo>
                  <a:pt x="564840" y="438582"/>
                  <a:pt x="563511" y="435164"/>
                  <a:pt x="565030" y="432126"/>
                </a:cubicBezTo>
                <a:cubicBezTo>
                  <a:pt x="571485" y="418266"/>
                  <a:pt x="576991" y="404217"/>
                  <a:pt x="581358" y="389597"/>
                </a:cubicBezTo>
                <a:cubicBezTo>
                  <a:pt x="582117" y="386559"/>
                  <a:pt x="585535" y="384851"/>
                  <a:pt x="588573" y="385610"/>
                </a:cubicBezTo>
                <a:cubicBezTo>
                  <a:pt x="591610" y="386370"/>
                  <a:pt x="593319" y="389787"/>
                  <a:pt x="592560" y="392825"/>
                </a:cubicBezTo>
                <a:cubicBezTo>
                  <a:pt x="588193" y="408014"/>
                  <a:pt x="582307" y="423013"/>
                  <a:pt x="575662" y="437063"/>
                </a:cubicBezTo>
                <a:cubicBezTo>
                  <a:pt x="574713" y="439151"/>
                  <a:pt x="572624" y="440291"/>
                  <a:pt x="570346" y="440291"/>
                </a:cubicBezTo>
                <a:lnTo>
                  <a:pt x="570346" y="440291"/>
                </a:lnTo>
                <a:close/>
                <a:moveTo>
                  <a:pt x="23923" y="414279"/>
                </a:moveTo>
                <a:cubicBezTo>
                  <a:pt x="21454" y="414279"/>
                  <a:pt x="19366" y="412950"/>
                  <a:pt x="18417" y="410482"/>
                </a:cubicBezTo>
                <a:cubicBezTo>
                  <a:pt x="13100" y="395673"/>
                  <a:pt x="8734" y="380294"/>
                  <a:pt x="5696" y="364725"/>
                </a:cubicBezTo>
                <a:cubicBezTo>
                  <a:pt x="5126" y="361688"/>
                  <a:pt x="7025" y="358460"/>
                  <a:pt x="10252" y="357890"/>
                </a:cubicBezTo>
                <a:cubicBezTo>
                  <a:pt x="13290" y="357321"/>
                  <a:pt x="16518" y="359219"/>
                  <a:pt x="17087" y="362447"/>
                </a:cubicBezTo>
                <a:cubicBezTo>
                  <a:pt x="19935" y="377446"/>
                  <a:pt x="24112" y="392065"/>
                  <a:pt x="29239" y="406305"/>
                </a:cubicBezTo>
                <a:cubicBezTo>
                  <a:pt x="30378" y="409343"/>
                  <a:pt x="28859" y="412760"/>
                  <a:pt x="25631" y="413710"/>
                </a:cubicBezTo>
                <a:cubicBezTo>
                  <a:pt x="24872" y="413900"/>
                  <a:pt x="24302" y="413900"/>
                  <a:pt x="23733" y="413900"/>
                </a:cubicBezTo>
                <a:lnTo>
                  <a:pt x="23733" y="413900"/>
                </a:lnTo>
                <a:close/>
                <a:moveTo>
                  <a:pt x="596547" y="351435"/>
                </a:moveTo>
                <a:lnTo>
                  <a:pt x="595787" y="351435"/>
                </a:lnTo>
                <a:cubicBezTo>
                  <a:pt x="592750" y="351055"/>
                  <a:pt x="590471" y="348017"/>
                  <a:pt x="590851" y="344980"/>
                </a:cubicBezTo>
                <a:cubicBezTo>
                  <a:pt x="592560" y="331879"/>
                  <a:pt x="593319" y="318779"/>
                  <a:pt x="593319" y="305298"/>
                </a:cubicBezTo>
                <a:lnTo>
                  <a:pt x="593319" y="299413"/>
                </a:lnTo>
                <a:cubicBezTo>
                  <a:pt x="593319" y="296185"/>
                  <a:pt x="595787" y="293527"/>
                  <a:pt x="599015" y="293527"/>
                </a:cubicBezTo>
                <a:cubicBezTo>
                  <a:pt x="602243" y="293527"/>
                  <a:pt x="604901" y="295995"/>
                  <a:pt x="604901" y="299223"/>
                </a:cubicBezTo>
                <a:lnTo>
                  <a:pt x="604901" y="305298"/>
                </a:lnTo>
                <a:cubicBezTo>
                  <a:pt x="604901" y="319158"/>
                  <a:pt x="604141" y="332828"/>
                  <a:pt x="602243" y="346499"/>
                </a:cubicBezTo>
                <a:cubicBezTo>
                  <a:pt x="601863" y="349536"/>
                  <a:pt x="599395" y="351625"/>
                  <a:pt x="596357" y="351625"/>
                </a:cubicBezTo>
                <a:lnTo>
                  <a:pt x="596357" y="351625"/>
                </a:lnTo>
                <a:close/>
                <a:moveTo>
                  <a:pt x="6075" y="323145"/>
                </a:moveTo>
                <a:cubicBezTo>
                  <a:pt x="3038" y="323145"/>
                  <a:pt x="380" y="320677"/>
                  <a:pt x="190" y="317639"/>
                </a:cubicBezTo>
                <a:cubicBezTo>
                  <a:pt x="190" y="313463"/>
                  <a:pt x="0" y="309475"/>
                  <a:pt x="0" y="305298"/>
                </a:cubicBezTo>
                <a:cubicBezTo>
                  <a:pt x="0" y="289540"/>
                  <a:pt x="1329" y="273591"/>
                  <a:pt x="3607" y="258023"/>
                </a:cubicBezTo>
                <a:cubicBezTo>
                  <a:pt x="3987" y="254985"/>
                  <a:pt x="7025" y="252707"/>
                  <a:pt x="10252" y="253276"/>
                </a:cubicBezTo>
                <a:cubicBezTo>
                  <a:pt x="13290" y="253656"/>
                  <a:pt x="15569" y="256694"/>
                  <a:pt x="14999" y="259921"/>
                </a:cubicBezTo>
                <a:cubicBezTo>
                  <a:pt x="12721" y="274920"/>
                  <a:pt x="11582" y="290109"/>
                  <a:pt x="11582" y="305298"/>
                </a:cubicBezTo>
                <a:cubicBezTo>
                  <a:pt x="11582" y="309286"/>
                  <a:pt x="11582" y="313273"/>
                  <a:pt x="11771" y="317260"/>
                </a:cubicBezTo>
                <a:cubicBezTo>
                  <a:pt x="11771" y="320487"/>
                  <a:pt x="9303" y="323145"/>
                  <a:pt x="6265" y="323335"/>
                </a:cubicBezTo>
                <a:lnTo>
                  <a:pt x="6075" y="323335"/>
                </a:lnTo>
                <a:close/>
                <a:moveTo>
                  <a:pt x="594648" y="258592"/>
                </a:moveTo>
                <a:cubicBezTo>
                  <a:pt x="591801" y="258592"/>
                  <a:pt x="589332" y="256694"/>
                  <a:pt x="588953" y="253846"/>
                </a:cubicBezTo>
                <a:cubicBezTo>
                  <a:pt x="586484" y="238847"/>
                  <a:pt x="582497" y="224037"/>
                  <a:pt x="577751" y="209608"/>
                </a:cubicBezTo>
                <a:cubicBezTo>
                  <a:pt x="576801" y="206570"/>
                  <a:pt x="578320" y="203153"/>
                  <a:pt x="581358" y="202203"/>
                </a:cubicBezTo>
                <a:cubicBezTo>
                  <a:pt x="584396" y="201254"/>
                  <a:pt x="587814" y="202773"/>
                  <a:pt x="588763" y="205811"/>
                </a:cubicBezTo>
                <a:cubicBezTo>
                  <a:pt x="593889" y="220810"/>
                  <a:pt x="597686" y="236189"/>
                  <a:pt x="600534" y="251757"/>
                </a:cubicBezTo>
                <a:cubicBezTo>
                  <a:pt x="601104" y="254795"/>
                  <a:pt x="599015" y="258023"/>
                  <a:pt x="595787" y="258402"/>
                </a:cubicBezTo>
                <a:lnTo>
                  <a:pt x="594458" y="258402"/>
                </a:lnTo>
                <a:close/>
                <a:moveTo>
                  <a:pt x="19935" y="219481"/>
                </a:moveTo>
                <a:cubicBezTo>
                  <a:pt x="19935" y="219481"/>
                  <a:pt x="18796" y="219481"/>
                  <a:pt x="18227" y="219101"/>
                </a:cubicBezTo>
                <a:cubicBezTo>
                  <a:pt x="15189" y="218152"/>
                  <a:pt x="13480" y="214924"/>
                  <a:pt x="14429" y="211886"/>
                </a:cubicBezTo>
                <a:cubicBezTo>
                  <a:pt x="19176" y="196887"/>
                  <a:pt x="25252" y="182078"/>
                  <a:pt x="32277" y="168028"/>
                </a:cubicBezTo>
                <a:cubicBezTo>
                  <a:pt x="33605" y="165180"/>
                  <a:pt x="37213" y="164041"/>
                  <a:pt x="40061" y="165560"/>
                </a:cubicBezTo>
                <a:cubicBezTo>
                  <a:pt x="42909" y="166889"/>
                  <a:pt x="44048" y="170496"/>
                  <a:pt x="42529" y="173344"/>
                </a:cubicBezTo>
                <a:cubicBezTo>
                  <a:pt x="35694" y="187014"/>
                  <a:pt x="29998" y="201254"/>
                  <a:pt x="25252" y="215683"/>
                </a:cubicBezTo>
                <a:cubicBezTo>
                  <a:pt x="24492" y="218152"/>
                  <a:pt x="22214" y="219860"/>
                  <a:pt x="19746" y="219860"/>
                </a:cubicBezTo>
                <a:lnTo>
                  <a:pt x="19746" y="219860"/>
                </a:lnTo>
                <a:close/>
                <a:moveTo>
                  <a:pt x="564840" y="171066"/>
                </a:moveTo>
                <a:cubicBezTo>
                  <a:pt x="562752" y="171066"/>
                  <a:pt x="560663" y="169927"/>
                  <a:pt x="559714" y="168028"/>
                </a:cubicBezTo>
                <a:cubicBezTo>
                  <a:pt x="552689" y="154738"/>
                  <a:pt x="544525" y="141637"/>
                  <a:pt x="535411" y="129486"/>
                </a:cubicBezTo>
                <a:cubicBezTo>
                  <a:pt x="533513" y="127018"/>
                  <a:pt x="534082" y="123221"/>
                  <a:pt x="536551" y="121322"/>
                </a:cubicBezTo>
                <a:cubicBezTo>
                  <a:pt x="539019" y="119423"/>
                  <a:pt x="542816" y="119993"/>
                  <a:pt x="544714" y="122651"/>
                </a:cubicBezTo>
                <a:cubicBezTo>
                  <a:pt x="554018" y="135372"/>
                  <a:pt x="562562" y="148852"/>
                  <a:pt x="569776" y="162712"/>
                </a:cubicBezTo>
                <a:cubicBezTo>
                  <a:pt x="571295" y="165560"/>
                  <a:pt x="570156" y="169167"/>
                  <a:pt x="567308" y="170496"/>
                </a:cubicBezTo>
                <a:cubicBezTo>
                  <a:pt x="566549" y="170876"/>
                  <a:pt x="565409" y="171256"/>
                  <a:pt x="564650" y="171256"/>
                </a:cubicBezTo>
                <a:lnTo>
                  <a:pt x="564650" y="171256"/>
                </a:lnTo>
                <a:close/>
                <a:moveTo>
                  <a:pt x="61325" y="136511"/>
                </a:moveTo>
                <a:cubicBezTo>
                  <a:pt x="60186" y="136511"/>
                  <a:pt x="58857" y="136131"/>
                  <a:pt x="57908" y="135372"/>
                </a:cubicBezTo>
                <a:cubicBezTo>
                  <a:pt x="55440" y="133473"/>
                  <a:pt x="54680" y="129866"/>
                  <a:pt x="56579" y="127208"/>
                </a:cubicBezTo>
                <a:cubicBezTo>
                  <a:pt x="65692" y="114297"/>
                  <a:pt x="75945" y="102146"/>
                  <a:pt x="86957" y="90944"/>
                </a:cubicBezTo>
                <a:cubicBezTo>
                  <a:pt x="89235" y="88666"/>
                  <a:pt x="92843" y="88476"/>
                  <a:pt x="95121" y="90944"/>
                </a:cubicBezTo>
                <a:cubicBezTo>
                  <a:pt x="97399" y="93222"/>
                  <a:pt x="97589" y="96830"/>
                  <a:pt x="95121" y="99108"/>
                </a:cubicBezTo>
                <a:cubicBezTo>
                  <a:pt x="84489" y="109930"/>
                  <a:pt x="74616" y="121702"/>
                  <a:pt x="65882" y="134233"/>
                </a:cubicBezTo>
                <a:cubicBezTo>
                  <a:pt x="64743" y="135751"/>
                  <a:pt x="62844" y="136701"/>
                  <a:pt x="61136" y="136701"/>
                </a:cubicBezTo>
                <a:lnTo>
                  <a:pt x="61136" y="136701"/>
                </a:lnTo>
                <a:close/>
                <a:moveTo>
                  <a:pt x="509590" y="96640"/>
                </a:moveTo>
                <a:cubicBezTo>
                  <a:pt x="508261" y="96640"/>
                  <a:pt x="506553" y="96070"/>
                  <a:pt x="505413" y="94931"/>
                </a:cubicBezTo>
                <a:cubicBezTo>
                  <a:pt x="494591" y="84299"/>
                  <a:pt x="482820" y="74426"/>
                  <a:pt x="470668" y="65502"/>
                </a:cubicBezTo>
                <a:cubicBezTo>
                  <a:pt x="468200" y="63604"/>
                  <a:pt x="467440" y="59996"/>
                  <a:pt x="469339" y="57338"/>
                </a:cubicBezTo>
                <a:cubicBezTo>
                  <a:pt x="471238" y="54870"/>
                  <a:pt x="474845" y="54111"/>
                  <a:pt x="477504" y="56009"/>
                </a:cubicBezTo>
                <a:cubicBezTo>
                  <a:pt x="490224" y="65313"/>
                  <a:pt x="502565" y="75375"/>
                  <a:pt x="513767" y="86577"/>
                </a:cubicBezTo>
                <a:cubicBezTo>
                  <a:pt x="516046" y="88855"/>
                  <a:pt x="516046" y="92463"/>
                  <a:pt x="513767" y="94741"/>
                </a:cubicBezTo>
                <a:cubicBezTo>
                  <a:pt x="512628" y="95880"/>
                  <a:pt x="511109" y="96450"/>
                  <a:pt x="509590" y="96450"/>
                </a:cubicBezTo>
                <a:lnTo>
                  <a:pt x="509590" y="96450"/>
                </a:lnTo>
                <a:close/>
                <a:moveTo>
                  <a:pt x="126069" y="70249"/>
                </a:moveTo>
                <a:cubicBezTo>
                  <a:pt x="124360" y="70249"/>
                  <a:pt x="122461" y="69490"/>
                  <a:pt x="121322" y="67971"/>
                </a:cubicBezTo>
                <a:cubicBezTo>
                  <a:pt x="119423" y="65502"/>
                  <a:pt x="119993" y="61705"/>
                  <a:pt x="122461" y="59807"/>
                </a:cubicBezTo>
                <a:cubicBezTo>
                  <a:pt x="135182" y="50313"/>
                  <a:pt x="148662" y="41770"/>
                  <a:pt x="162522" y="34555"/>
                </a:cubicBezTo>
                <a:cubicBezTo>
                  <a:pt x="165370" y="33036"/>
                  <a:pt x="168977" y="34175"/>
                  <a:pt x="170306" y="37023"/>
                </a:cubicBezTo>
                <a:cubicBezTo>
                  <a:pt x="171635" y="39871"/>
                  <a:pt x="170686" y="43478"/>
                  <a:pt x="167838" y="44807"/>
                </a:cubicBezTo>
                <a:cubicBezTo>
                  <a:pt x="154548" y="51832"/>
                  <a:pt x="141637" y="59996"/>
                  <a:pt x="129296" y="69300"/>
                </a:cubicBezTo>
                <a:cubicBezTo>
                  <a:pt x="128347" y="70059"/>
                  <a:pt x="127018" y="70439"/>
                  <a:pt x="125689" y="70439"/>
                </a:cubicBezTo>
                <a:lnTo>
                  <a:pt x="125689" y="70439"/>
                </a:lnTo>
                <a:close/>
                <a:moveTo>
                  <a:pt x="434215" y="42719"/>
                </a:moveTo>
                <a:cubicBezTo>
                  <a:pt x="434215" y="42719"/>
                  <a:pt x="432506" y="42719"/>
                  <a:pt x="431747" y="42149"/>
                </a:cubicBezTo>
                <a:cubicBezTo>
                  <a:pt x="418077" y="35314"/>
                  <a:pt x="403837" y="29429"/>
                  <a:pt x="389597" y="24872"/>
                </a:cubicBezTo>
                <a:cubicBezTo>
                  <a:pt x="386559" y="23923"/>
                  <a:pt x="384851" y="20695"/>
                  <a:pt x="385800" y="17657"/>
                </a:cubicBezTo>
                <a:cubicBezTo>
                  <a:pt x="386749" y="14619"/>
                  <a:pt x="389977" y="12911"/>
                  <a:pt x="393015" y="13860"/>
                </a:cubicBezTo>
                <a:cubicBezTo>
                  <a:pt x="408014" y="18606"/>
                  <a:pt x="422823" y="24682"/>
                  <a:pt x="436873" y="31707"/>
                </a:cubicBezTo>
                <a:cubicBezTo>
                  <a:pt x="439721" y="33036"/>
                  <a:pt x="440860" y="36643"/>
                  <a:pt x="439341" y="39491"/>
                </a:cubicBezTo>
                <a:cubicBezTo>
                  <a:pt x="438392" y="41390"/>
                  <a:pt x="436303" y="42719"/>
                  <a:pt x="434025" y="42719"/>
                </a:cubicBezTo>
                <a:lnTo>
                  <a:pt x="434025" y="42719"/>
                </a:lnTo>
                <a:close/>
                <a:moveTo>
                  <a:pt x="208089" y="27150"/>
                </a:moveTo>
                <a:cubicBezTo>
                  <a:pt x="205621" y="27150"/>
                  <a:pt x="203342" y="25631"/>
                  <a:pt x="202583" y="23163"/>
                </a:cubicBezTo>
                <a:cubicBezTo>
                  <a:pt x="201634" y="20125"/>
                  <a:pt x="203153" y="16708"/>
                  <a:pt x="206190" y="15759"/>
                </a:cubicBezTo>
                <a:cubicBezTo>
                  <a:pt x="221189" y="10632"/>
                  <a:pt x="236568" y="6835"/>
                  <a:pt x="252137" y="4177"/>
                </a:cubicBezTo>
                <a:cubicBezTo>
                  <a:pt x="255175" y="3607"/>
                  <a:pt x="258212" y="5696"/>
                  <a:pt x="258782" y="8924"/>
                </a:cubicBezTo>
                <a:cubicBezTo>
                  <a:pt x="259352" y="11961"/>
                  <a:pt x="257263" y="14999"/>
                  <a:pt x="254035" y="15569"/>
                </a:cubicBezTo>
                <a:cubicBezTo>
                  <a:pt x="239036" y="18037"/>
                  <a:pt x="224227" y="21834"/>
                  <a:pt x="209798" y="26581"/>
                </a:cubicBezTo>
                <a:cubicBezTo>
                  <a:pt x="209228" y="26581"/>
                  <a:pt x="208469" y="26960"/>
                  <a:pt x="207899" y="26960"/>
                </a:cubicBezTo>
                <a:lnTo>
                  <a:pt x="207899" y="26960"/>
                </a:lnTo>
                <a:close/>
                <a:moveTo>
                  <a:pt x="345929" y="14809"/>
                </a:moveTo>
                <a:lnTo>
                  <a:pt x="345169" y="14809"/>
                </a:lnTo>
                <a:cubicBezTo>
                  <a:pt x="331310" y="12721"/>
                  <a:pt x="316880" y="11771"/>
                  <a:pt x="302640" y="11771"/>
                </a:cubicBezTo>
                <a:lnTo>
                  <a:pt x="299603" y="11771"/>
                </a:lnTo>
                <a:cubicBezTo>
                  <a:pt x="296565" y="11771"/>
                  <a:pt x="293717" y="9303"/>
                  <a:pt x="293717" y="5886"/>
                </a:cubicBezTo>
                <a:cubicBezTo>
                  <a:pt x="293717" y="2468"/>
                  <a:pt x="296185" y="0"/>
                  <a:pt x="299603" y="0"/>
                </a:cubicBezTo>
                <a:lnTo>
                  <a:pt x="302640" y="0"/>
                </a:lnTo>
                <a:cubicBezTo>
                  <a:pt x="317450" y="0"/>
                  <a:pt x="332259" y="1139"/>
                  <a:pt x="346878" y="3228"/>
                </a:cubicBezTo>
                <a:cubicBezTo>
                  <a:pt x="349916" y="3607"/>
                  <a:pt x="352194" y="6645"/>
                  <a:pt x="351815" y="9873"/>
                </a:cubicBezTo>
                <a:cubicBezTo>
                  <a:pt x="351435" y="12721"/>
                  <a:pt x="348967" y="14809"/>
                  <a:pt x="346119" y="14809"/>
                </a:cubicBezTo>
                <a:lnTo>
                  <a:pt x="345929" y="14809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282" name="Freeform: Shape 1281">
            <a:extLst>
              <a:ext uri="{FF2B5EF4-FFF2-40B4-BE49-F238E27FC236}">
                <a16:creationId xmlns:a16="http://schemas.microsoft.com/office/drawing/2014/main" id="{E9AA8070-0E74-604D-B485-5C299605E3A3}"/>
              </a:ext>
            </a:extLst>
          </p:cNvPr>
          <p:cNvSpPr/>
          <p:nvPr userDrawn="1"/>
        </p:nvSpPr>
        <p:spPr>
          <a:xfrm>
            <a:off x="8164898" y="1615230"/>
            <a:ext cx="234166" cy="242254"/>
          </a:xfrm>
          <a:custGeom>
            <a:avLst/>
            <a:gdLst>
              <a:gd name="connsiteX0" fmla="*/ 4497 w 234166"/>
              <a:gd name="connsiteY0" fmla="*/ 103250 h 242254"/>
              <a:gd name="connsiteX1" fmla="*/ 53862 w 234166"/>
              <a:gd name="connsiteY1" fmla="*/ 226661 h 242254"/>
              <a:gd name="connsiteX2" fmla="*/ 190562 w 234166"/>
              <a:gd name="connsiteY2" fmla="*/ 215649 h 242254"/>
              <a:gd name="connsiteX3" fmla="*/ 229294 w 234166"/>
              <a:gd name="connsiteY3" fmla="*/ 86732 h 242254"/>
              <a:gd name="connsiteX4" fmla="*/ 148413 w 234166"/>
              <a:gd name="connsiteY4" fmla="*/ 4522 h 242254"/>
              <a:gd name="connsiteX5" fmla="*/ 38103 w 234166"/>
              <a:gd name="connsiteY5" fmla="*/ 33571 h 242254"/>
              <a:gd name="connsiteX6" fmla="*/ 4497 w 234166"/>
              <a:gd name="connsiteY6" fmla="*/ 103250 h 242254"/>
              <a:gd name="connsiteX7" fmla="*/ 4497 w 234166"/>
              <a:gd name="connsiteY7" fmla="*/ 103250 h 242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166" h="242254">
                <a:moveTo>
                  <a:pt x="4497" y="103250"/>
                </a:moveTo>
                <a:cubicBezTo>
                  <a:pt x="-10122" y="148438"/>
                  <a:pt x="12092" y="201979"/>
                  <a:pt x="53862" y="226661"/>
                </a:cubicBezTo>
                <a:cubicBezTo>
                  <a:pt x="95821" y="251343"/>
                  <a:pt x="153349" y="246027"/>
                  <a:pt x="190562" y="215649"/>
                </a:cubicBezTo>
                <a:cubicBezTo>
                  <a:pt x="227775" y="185271"/>
                  <a:pt x="242775" y="132489"/>
                  <a:pt x="229294" y="86732"/>
                </a:cubicBezTo>
                <a:cubicBezTo>
                  <a:pt x="217903" y="48760"/>
                  <a:pt x="187145" y="16104"/>
                  <a:pt x="148413" y="4522"/>
                </a:cubicBezTo>
                <a:cubicBezTo>
                  <a:pt x="109681" y="-7059"/>
                  <a:pt x="64114" y="3953"/>
                  <a:pt x="38103" y="33571"/>
                </a:cubicBezTo>
                <a:cubicBezTo>
                  <a:pt x="23104" y="50848"/>
                  <a:pt x="14370" y="73252"/>
                  <a:pt x="4497" y="103250"/>
                </a:cubicBezTo>
                <a:lnTo>
                  <a:pt x="4497" y="103250"/>
                </a:lnTo>
                <a:close/>
              </a:path>
            </a:pathLst>
          </a:custGeom>
          <a:solidFill>
            <a:srgbClr val="EAECF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da-DK"/>
          </a:p>
        </p:txBody>
      </p:sp>
      <p:sp>
        <p:nvSpPr>
          <p:cNvPr id="1283" name="Freeform: Shape 1282">
            <a:extLst>
              <a:ext uri="{FF2B5EF4-FFF2-40B4-BE49-F238E27FC236}">
                <a16:creationId xmlns:a16="http://schemas.microsoft.com/office/drawing/2014/main" id="{4D35FF43-7B26-99FC-5599-2FC436C81379}"/>
              </a:ext>
            </a:extLst>
          </p:cNvPr>
          <p:cNvSpPr/>
          <p:nvPr userDrawn="1"/>
        </p:nvSpPr>
        <p:spPr>
          <a:xfrm>
            <a:off x="8159213" y="1609276"/>
            <a:ext cx="245815" cy="254069"/>
          </a:xfrm>
          <a:custGeom>
            <a:avLst/>
            <a:gdLst>
              <a:gd name="connsiteX0" fmla="*/ 119164 w 245815"/>
              <a:gd name="connsiteY0" fmla="*/ 254069 h 254069"/>
              <a:gd name="connsiteX1" fmla="*/ 56699 w 245815"/>
              <a:gd name="connsiteY1" fmla="*/ 237741 h 254069"/>
              <a:gd name="connsiteX2" fmla="*/ 4677 w 245815"/>
              <a:gd name="connsiteY2" fmla="*/ 107496 h 254069"/>
              <a:gd name="connsiteX3" fmla="*/ 39421 w 245815"/>
              <a:gd name="connsiteY3" fmla="*/ 35728 h 254069"/>
              <a:gd name="connsiteX4" fmla="*/ 155997 w 245815"/>
              <a:gd name="connsiteY4" fmla="*/ 4780 h 254069"/>
              <a:gd name="connsiteX5" fmla="*/ 240676 w 245815"/>
              <a:gd name="connsiteY5" fmla="*/ 90978 h 254069"/>
              <a:gd name="connsiteX6" fmla="*/ 200045 w 245815"/>
              <a:gd name="connsiteY6" fmla="*/ 225970 h 254069"/>
              <a:gd name="connsiteX7" fmla="*/ 119164 w 245815"/>
              <a:gd name="connsiteY7" fmla="*/ 253879 h 254069"/>
              <a:gd name="connsiteX8" fmla="*/ 119164 w 245815"/>
              <a:gd name="connsiteY8" fmla="*/ 253879 h 254069"/>
              <a:gd name="connsiteX9" fmla="*/ 122771 w 245815"/>
              <a:gd name="connsiteY9" fmla="*/ 11615 h 254069"/>
              <a:gd name="connsiteX10" fmla="*/ 48155 w 245815"/>
              <a:gd name="connsiteY10" fmla="*/ 43512 h 254069"/>
              <a:gd name="connsiteX11" fmla="*/ 15689 w 245815"/>
              <a:gd name="connsiteY11" fmla="*/ 111103 h 254069"/>
              <a:gd name="connsiteX12" fmla="*/ 15689 w 245815"/>
              <a:gd name="connsiteY12" fmla="*/ 111103 h 254069"/>
              <a:gd name="connsiteX13" fmla="*/ 62585 w 245815"/>
              <a:gd name="connsiteY13" fmla="*/ 227679 h 254069"/>
              <a:gd name="connsiteX14" fmla="*/ 192640 w 245815"/>
              <a:gd name="connsiteY14" fmla="*/ 217236 h 254069"/>
              <a:gd name="connsiteX15" fmla="*/ 229474 w 245815"/>
              <a:gd name="connsiteY15" fmla="*/ 94585 h 254069"/>
              <a:gd name="connsiteX16" fmla="*/ 152579 w 245815"/>
              <a:gd name="connsiteY16" fmla="*/ 16172 h 254069"/>
              <a:gd name="connsiteX17" fmla="*/ 122771 w 245815"/>
              <a:gd name="connsiteY17" fmla="*/ 11805 h 254069"/>
              <a:gd name="connsiteX18" fmla="*/ 122771 w 245815"/>
              <a:gd name="connsiteY18" fmla="*/ 11805 h 254069"/>
              <a:gd name="connsiteX19" fmla="*/ 10373 w 245815"/>
              <a:gd name="connsiteY19" fmla="*/ 109205 h 254069"/>
              <a:gd name="connsiteX20" fmla="*/ 10373 w 245815"/>
              <a:gd name="connsiteY20" fmla="*/ 109205 h 254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45815" h="254069">
                <a:moveTo>
                  <a:pt x="119164" y="254069"/>
                </a:moveTo>
                <a:cubicBezTo>
                  <a:pt x="97329" y="254069"/>
                  <a:pt x="75495" y="248753"/>
                  <a:pt x="56699" y="237741"/>
                </a:cubicBezTo>
                <a:cubicBezTo>
                  <a:pt x="12461" y="211540"/>
                  <a:pt x="-10512" y="154582"/>
                  <a:pt x="4677" y="107496"/>
                </a:cubicBezTo>
                <a:cubicBezTo>
                  <a:pt x="15119" y="75029"/>
                  <a:pt x="24233" y="53195"/>
                  <a:pt x="39421" y="35728"/>
                </a:cubicBezTo>
                <a:cubicBezTo>
                  <a:pt x="66382" y="4970"/>
                  <a:pt x="114227" y="-7751"/>
                  <a:pt x="155997" y="4780"/>
                </a:cubicBezTo>
                <a:cubicBezTo>
                  <a:pt x="195298" y="16742"/>
                  <a:pt x="228524" y="50537"/>
                  <a:pt x="240676" y="90978"/>
                </a:cubicBezTo>
                <a:cubicBezTo>
                  <a:pt x="255105" y="139203"/>
                  <a:pt x="238397" y="194832"/>
                  <a:pt x="200045" y="225970"/>
                </a:cubicBezTo>
                <a:cubicBezTo>
                  <a:pt x="177641" y="244386"/>
                  <a:pt x="148402" y="253879"/>
                  <a:pt x="119164" y="253879"/>
                </a:cubicBezTo>
                <a:lnTo>
                  <a:pt x="119164" y="253879"/>
                </a:lnTo>
                <a:close/>
                <a:moveTo>
                  <a:pt x="122771" y="11615"/>
                </a:moveTo>
                <a:cubicBezTo>
                  <a:pt x="94292" y="11615"/>
                  <a:pt x="66002" y="23197"/>
                  <a:pt x="48155" y="43512"/>
                </a:cubicBezTo>
                <a:cubicBezTo>
                  <a:pt x="34295" y="59271"/>
                  <a:pt x="25941" y="80345"/>
                  <a:pt x="15689" y="111103"/>
                </a:cubicBezTo>
                <a:lnTo>
                  <a:pt x="15689" y="111103"/>
                </a:lnTo>
                <a:cubicBezTo>
                  <a:pt x="2019" y="153063"/>
                  <a:pt x="22714" y="204136"/>
                  <a:pt x="62585" y="227679"/>
                </a:cubicBezTo>
                <a:cubicBezTo>
                  <a:pt x="102076" y="251032"/>
                  <a:pt x="156756" y="246475"/>
                  <a:pt x="192640" y="217236"/>
                </a:cubicBezTo>
                <a:cubicBezTo>
                  <a:pt x="227385" y="188757"/>
                  <a:pt x="242574" y="138253"/>
                  <a:pt x="229474" y="94585"/>
                </a:cubicBezTo>
                <a:cubicBezTo>
                  <a:pt x="218462" y="57752"/>
                  <a:pt x="188274" y="26994"/>
                  <a:pt x="152579" y="16172"/>
                </a:cubicBezTo>
                <a:cubicBezTo>
                  <a:pt x="142897" y="13134"/>
                  <a:pt x="132834" y="11805"/>
                  <a:pt x="122771" y="11805"/>
                </a:cubicBezTo>
                <a:lnTo>
                  <a:pt x="122771" y="11805"/>
                </a:lnTo>
                <a:close/>
                <a:moveTo>
                  <a:pt x="10373" y="109205"/>
                </a:moveTo>
                <a:lnTo>
                  <a:pt x="10373" y="109205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284" name="Freeform: Shape 1283">
            <a:extLst>
              <a:ext uri="{FF2B5EF4-FFF2-40B4-BE49-F238E27FC236}">
                <a16:creationId xmlns:a16="http://schemas.microsoft.com/office/drawing/2014/main" id="{10718284-5BC9-D6A3-CAC0-C906DA43EF41}"/>
              </a:ext>
            </a:extLst>
          </p:cNvPr>
          <p:cNvSpPr/>
          <p:nvPr userDrawn="1"/>
        </p:nvSpPr>
        <p:spPr>
          <a:xfrm>
            <a:off x="7820678" y="2278798"/>
            <a:ext cx="234166" cy="242254"/>
          </a:xfrm>
          <a:custGeom>
            <a:avLst/>
            <a:gdLst>
              <a:gd name="connsiteX0" fmla="*/ 4497 w 234166"/>
              <a:gd name="connsiteY0" fmla="*/ 103250 h 242254"/>
              <a:gd name="connsiteX1" fmla="*/ 53862 w 234166"/>
              <a:gd name="connsiteY1" fmla="*/ 226661 h 242254"/>
              <a:gd name="connsiteX2" fmla="*/ 190562 w 234166"/>
              <a:gd name="connsiteY2" fmla="*/ 215649 h 242254"/>
              <a:gd name="connsiteX3" fmla="*/ 229294 w 234166"/>
              <a:gd name="connsiteY3" fmla="*/ 86732 h 242254"/>
              <a:gd name="connsiteX4" fmla="*/ 148413 w 234166"/>
              <a:gd name="connsiteY4" fmla="*/ 4522 h 242254"/>
              <a:gd name="connsiteX5" fmla="*/ 38103 w 234166"/>
              <a:gd name="connsiteY5" fmla="*/ 33571 h 242254"/>
              <a:gd name="connsiteX6" fmla="*/ 4497 w 234166"/>
              <a:gd name="connsiteY6" fmla="*/ 103250 h 242254"/>
              <a:gd name="connsiteX7" fmla="*/ 4497 w 234166"/>
              <a:gd name="connsiteY7" fmla="*/ 103250 h 242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166" h="242254">
                <a:moveTo>
                  <a:pt x="4497" y="103250"/>
                </a:moveTo>
                <a:cubicBezTo>
                  <a:pt x="-10122" y="148438"/>
                  <a:pt x="12092" y="201979"/>
                  <a:pt x="53862" y="226661"/>
                </a:cubicBezTo>
                <a:cubicBezTo>
                  <a:pt x="95821" y="251343"/>
                  <a:pt x="153349" y="246027"/>
                  <a:pt x="190562" y="215649"/>
                </a:cubicBezTo>
                <a:cubicBezTo>
                  <a:pt x="227775" y="185271"/>
                  <a:pt x="242774" y="132489"/>
                  <a:pt x="229294" y="86732"/>
                </a:cubicBezTo>
                <a:cubicBezTo>
                  <a:pt x="217902" y="48760"/>
                  <a:pt x="187145" y="16104"/>
                  <a:pt x="148413" y="4522"/>
                </a:cubicBezTo>
                <a:cubicBezTo>
                  <a:pt x="109681" y="-7060"/>
                  <a:pt x="64114" y="3953"/>
                  <a:pt x="38103" y="33571"/>
                </a:cubicBezTo>
                <a:cubicBezTo>
                  <a:pt x="23104" y="50848"/>
                  <a:pt x="14370" y="73252"/>
                  <a:pt x="4497" y="103250"/>
                </a:cubicBezTo>
                <a:lnTo>
                  <a:pt x="4497" y="10325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285" name="Freeform: Shape 1284">
            <a:extLst>
              <a:ext uri="{FF2B5EF4-FFF2-40B4-BE49-F238E27FC236}">
                <a16:creationId xmlns:a16="http://schemas.microsoft.com/office/drawing/2014/main" id="{22AEC3FA-5685-AB99-5CE4-FD8B0E930C89}"/>
              </a:ext>
            </a:extLst>
          </p:cNvPr>
          <p:cNvSpPr/>
          <p:nvPr userDrawn="1"/>
        </p:nvSpPr>
        <p:spPr>
          <a:xfrm>
            <a:off x="7814992" y="2272844"/>
            <a:ext cx="245815" cy="254069"/>
          </a:xfrm>
          <a:custGeom>
            <a:avLst/>
            <a:gdLst>
              <a:gd name="connsiteX0" fmla="*/ 119164 w 245815"/>
              <a:gd name="connsiteY0" fmla="*/ 254069 h 254069"/>
              <a:gd name="connsiteX1" fmla="*/ 56699 w 245815"/>
              <a:gd name="connsiteY1" fmla="*/ 237741 h 254069"/>
              <a:gd name="connsiteX2" fmla="*/ 4677 w 245815"/>
              <a:gd name="connsiteY2" fmla="*/ 107496 h 254069"/>
              <a:gd name="connsiteX3" fmla="*/ 39422 w 245815"/>
              <a:gd name="connsiteY3" fmla="*/ 35728 h 254069"/>
              <a:gd name="connsiteX4" fmla="*/ 155997 w 245815"/>
              <a:gd name="connsiteY4" fmla="*/ 4780 h 254069"/>
              <a:gd name="connsiteX5" fmla="*/ 240675 w 245815"/>
              <a:gd name="connsiteY5" fmla="*/ 90978 h 254069"/>
              <a:gd name="connsiteX6" fmla="*/ 200045 w 245815"/>
              <a:gd name="connsiteY6" fmla="*/ 225970 h 254069"/>
              <a:gd name="connsiteX7" fmla="*/ 119164 w 245815"/>
              <a:gd name="connsiteY7" fmla="*/ 253879 h 254069"/>
              <a:gd name="connsiteX8" fmla="*/ 119164 w 245815"/>
              <a:gd name="connsiteY8" fmla="*/ 253879 h 254069"/>
              <a:gd name="connsiteX9" fmla="*/ 122771 w 245815"/>
              <a:gd name="connsiteY9" fmla="*/ 11615 h 254069"/>
              <a:gd name="connsiteX10" fmla="*/ 48155 w 245815"/>
              <a:gd name="connsiteY10" fmla="*/ 43512 h 254069"/>
              <a:gd name="connsiteX11" fmla="*/ 15689 w 245815"/>
              <a:gd name="connsiteY11" fmla="*/ 111103 h 254069"/>
              <a:gd name="connsiteX12" fmla="*/ 15689 w 245815"/>
              <a:gd name="connsiteY12" fmla="*/ 111103 h 254069"/>
              <a:gd name="connsiteX13" fmla="*/ 62585 w 245815"/>
              <a:gd name="connsiteY13" fmla="*/ 227678 h 254069"/>
              <a:gd name="connsiteX14" fmla="*/ 192640 w 245815"/>
              <a:gd name="connsiteY14" fmla="*/ 217236 h 254069"/>
              <a:gd name="connsiteX15" fmla="*/ 229474 w 245815"/>
              <a:gd name="connsiteY15" fmla="*/ 94585 h 254069"/>
              <a:gd name="connsiteX16" fmla="*/ 152579 w 245815"/>
              <a:gd name="connsiteY16" fmla="*/ 16172 h 254069"/>
              <a:gd name="connsiteX17" fmla="*/ 122771 w 245815"/>
              <a:gd name="connsiteY17" fmla="*/ 11805 h 254069"/>
              <a:gd name="connsiteX18" fmla="*/ 122771 w 245815"/>
              <a:gd name="connsiteY18" fmla="*/ 11805 h 254069"/>
              <a:gd name="connsiteX19" fmla="*/ 10373 w 245815"/>
              <a:gd name="connsiteY19" fmla="*/ 109205 h 254069"/>
              <a:gd name="connsiteX20" fmla="*/ 10373 w 245815"/>
              <a:gd name="connsiteY20" fmla="*/ 109205 h 254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45815" h="254069">
                <a:moveTo>
                  <a:pt x="119164" y="254069"/>
                </a:moveTo>
                <a:cubicBezTo>
                  <a:pt x="97330" y="254069"/>
                  <a:pt x="75495" y="248753"/>
                  <a:pt x="56699" y="237741"/>
                </a:cubicBezTo>
                <a:cubicBezTo>
                  <a:pt x="12461" y="211540"/>
                  <a:pt x="-10512" y="154582"/>
                  <a:pt x="4677" y="107496"/>
                </a:cubicBezTo>
                <a:cubicBezTo>
                  <a:pt x="15119" y="75029"/>
                  <a:pt x="24233" y="53195"/>
                  <a:pt x="39422" y="35728"/>
                </a:cubicBezTo>
                <a:cubicBezTo>
                  <a:pt x="66382" y="4970"/>
                  <a:pt x="114227" y="-7751"/>
                  <a:pt x="155997" y="4780"/>
                </a:cubicBezTo>
                <a:cubicBezTo>
                  <a:pt x="195298" y="16742"/>
                  <a:pt x="228524" y="50537"/>
                  <a:pt x="240675" y="90978"/>
                </a:cubicBezTo>
                <a:cubicBezTo>
                  <a:pt x="255105" y="139203"/>
                  <a:pt x="238397" y="194832"/>
                  <a:pt x="200045" y="225970"/>
                </a:cubicBezTo>
                <a:cubicBezTo>
                  <a:pt x="177641" y="244386"/>
                  <a:pt x="148402" y="253879"/>
                  <a:pt x="119164" y="253879"/>
                </a:cubicBezTo>
                <a:lnTo>
                  <a:pt x="119164" y="253879"/>
                </a:lnTo>
                <a:close/>
                <a:moveTo>
                  <a:pt x="122771" y="11615"/>
                </a:moveTo>
                <a:cubicBezTo>
                  <a:pt x="94292" y="11615"/>
                  <a:pt x="66002" y="23197"/>
                  <a:pt x="48155" y="43512"/>
                </a:cubicBezTo>
                <a:cubicBezTo>
                  <a:pt x="34295" y="59271"/>
                  <a:pt x="25941" y="80345"/>
                  <a:pt x="15689" y="111103"/>
                </a:cubicBezTo>
                <a:lnTo>
                  <a:pt x="15689" y="111103"/>
                </a:lnTo>
                <a:cubicBezTo>
                  <a:pt x="2019" y="153063"/>
                  <a:pt x="22714" y="204325"/>
                  <a:pt x="62585" y="227678"/>
                </a:cubicBezTo>
                <a:cubicBezTo>
                  <a:pt x="102076" y="251032"/>
                  <a:pt x="156756" y="246475"/>
                  <a:pt x="192640" y="217236"/>
                </a:cubicBezTo>
                <a:cubicBezTo>
                  <a:pt x="227385" y="188757"/>
                  <a:pt x="242574" y="138253"/>
                  <a:pt x="229474" y="94585"/>
                </a:cubicBezTo>
                <a:cubicBezTo>
                  <a:pt x="218462" y="57752"/>
                  <a:pt x="188274" y="26994"/>
                  <a:pt x="152579" y="16172"/>
                </a:cubicBezTo>
                <a:cubicBezTo>
                  <a:pt x="142897" y="13134"/>
                  <a:pt x="132834" y="11805"/>
                  <a:pt x="122771" y="11805"/>
                </a:cubicBezTo>
                <a:lnTo>
                  <a:pt x="122771" y="11805"/>
                </a:lnTo>
                <a:close/>
                <a:moveTo>
                  <a:pt x="10373" y="109205"/>
                </a:moveTo>
                <a:lnTo>
                  <a:pt x="10373" y="109205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286" name="Freeform: Shape 1285">
            <a:extLst>
              <a:ext uri="{FF2B5EF4-FFF2-40B4-BE49-F238E27FC236}">
                <a16:creationId xmlns:a16="http://schemas.microsoft.com/office/drawing/2014/main" id="{AC09D649-B223-8714-0C01-D8941EBF8202}"/>
              </a:ext>
            </a:extLst>
          </p:cNvPr>
          <p:cNvSpPr/>
          <p:nvPr userDrawn="1"/>
        </p:nvSpPr>
        <p:spPr>
          <a:xfrm>
            <a:off x="7977339" y="1836568"/>
            <a:ext cx="249929" cy="447322"/>
          </a:xfrm>
          <a:custGeom>
            <a:avLst/>
            <a:gdLst>
              <a:gd name="connsiteX0" fmla="*/ 5611 w 249929"/>
              <a:gd name="connsiteY0" fmla="*/ 447323 h 447322"/>
              <a:gd name="connsiteX1" fmla="*/ 3143 w 249929"/>
              <a:gd name="connsiteY1" fmla="*/ 446753 h 447322"/>
              <a:gd name="connsiteX2" fmla="*/ 675 w 249929"/>
              <a:gd name="connsiteY2" fmla="*/ 438969 h 447322"/>
              <a:gd name="connsiteX3" fmla="*/ 239142 w 249929"/>
              <a:gd name="connsiteY3" fmla="*/ 2855 h 447322"/>
              <a:gd name="connsiteX4" fmla="*/ 247116 w 249929"/>
              <a:gd name="connsiteY4" fmla="*/ 767 h 447322"/>
              <a:gd name="connsiteX5" fmla="*/ 249205 w 249929"/>
              <a:gd name="connsiteY5" fmla="*/ 8741 h 447322"/>
              <a:gd name="connsiteX6" fmla="*/ 10928 w 249929"/>
              <a:gd name="connsiteY6" fmla="*/ 444285 h 447322"/>
              <a:gd name="connsiteX7" fmla="*/ 5611 w 249929"/>
              <a:gd name="connsiteY7" fmla="*/ 447323 h 447322"/>
              <a:gd name="connsiteX8" fmla="*/ 5611 w 249929"/>
              <a:gd name="connsiteY8" fmla="*/ 447323 h 4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9929" h="447322">
                <a:moveTo>
                  <a:pt x="5611" y="447323"/>
                </a:moveTo>
                <a:cubicBezTo>
                  <a:pt x="5611" y="447323"/>
                  <a:pt x="3713" y="447323"/>
                  <a:pt x="3143" y="446753"/>
                </a:cubicBezTo>
                <a:cubicBezTo>
                  <a:pt x="295" y="445424"/>
                  <a:pt x="-844" y="441817"/>
                  <a:pt x="675" y="438969"/>
                </a:cubicBezTo>
                <a:cubicBezTo>
                  <a:pt x="75481" y="291636"/>
                  <a:pt x="155603" y="145062"/>
                  <a:pt x="239142" y="2855"/>
                </a:cubicBezTo>
                <a:cubicBezTo>
                  <a:pt x="240661" y="7"/>
                  <a:pt x="244458" y="-752"/>
                  <a:pt x="247116" y="767"/>
                </a:cubicBezTo>
                <a:cubicBezTo>
                  <a:pt x="249774" y="2286"/>
                  <a:pt x="250724" y="6083"/>
                  <a:pt x="249205" y="8741"/>
                </a:cubicBezTo>
                <a:cubicBezTo>
                  <a:pt x="165855" y="150758"/>
                  <a:pt x="85733" y="297142"/>
                  <a:pt x="10928" y="444285"/>
                </a:cubicBezTo>
                <a:cubicBezTo>
                  <a:pt x="9978" y="446183"/>
                  <a:pt x="7890" y="447323"/>
                  <a:pt x="5611" y="447323"/>
                </a:cubicBezTo>
                <a:lnTo>
                  <a:pt x="5611" y="44732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287" name="Freeform: Shape 1286">
            <a:extLst>
              <a:ext uri="{FF2B5EF4-FFF2-40B4-BE49-F238E27FC236}">
                <a16:creationId xmlns:a16="http://schemas.microsoft.com/office/drawing/2014/main" id="{0631EA99-001A-3EAF-BC06-380692B5D605}"/>
              </a:ext>
            </a:extLst>
          </p:cNvPr>
          <p:cNvSpPr/>
          <p:nvPr userDrawn="1"/>
        </p:nvSpPr>
        <p:spPr>
          <a:xfrm>
            <a:off x="8380139" y="1786136"/>
            <a:ext cx="275140" cy="237643"/>
          </a:xfrm>
          <a:custGeom>
            <a:avLst/>
            <a:gdLst>
              <a:gd name="connsiteX0" fmla="*/ 269417 w 275140"/>
              <a:gd name="connsiteY0" fmla="*/ 237643 h 237643"/>
              <a:gd name="connsiteX1" fmla="*/ 265810 w 275140"/>
              <a:gd name="connsiteY1" fmla="*/ 236314 h 237643"/>
              <a:gd name="connsiteX2" fmla="*/ 1902 w 275140"/>
              <a:gd name="connsiteY2" fmla="*/ 9998 h 237643"/>
              <a:gd name="connsiteX3" fmla="*/ 1522 w 275140"/>
              <a:gd name="connsiteY3" fmla="*/ 1834 h 237643"/>
              <a:gd name="connsiteX4" fmla="*/ 9686 w 275140"/>
              <a:gd name="connsiteY4" fmla="*/ 1455 h 237643"/>
              <a:gd name="connsiteX5" fmla="*/ 273025 w 275140"/>
              <a:gd name="connsiteY5" fmla="*/ 227201 h 237643"/>
              <a:gd name="connsiteX6" fmla="*/ 273785 w 275140"/>
              <a:gd name="connsiteY6" fmla="*/ 235365 h 237643"/>
              <a:gd name="connsiteX7" fmla="*/ 269228 w 275140"/>
              <a:gd name="connsiteY7" fmla="*/ 237453 h 237643"/>
              <a:gd name="connsiteX8" fmla="*/ 269228 w 275140"/>
              <a:gd name="connsiteY8" fmla="*/ 237453 h 237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5140" h="237643">
                <a:moveTo>
                  <a:pt x="269417" y="237643"/>
                </a:moveTo>
                <a:cubicBezTo>
                  <a:pt x="268089" y="237643"/>
                  <a:pt x="266949" y="237264"/>
                  <a:pt x="265810" y="236314"/>
                </a:cubicBezTo>
                <a:cubicBezTo>
                  <a:pt x="176765" y="163217"/>
                  <a:pt x="88099" y="87083"/>
                  <a:pt x="1902" y="9998"/>
                </a:cubicBezTo>
                <a:cubicBezTo>
                  <a:pt x="-567" y="7910"/>
                  <a:pt x="-567" y="4113"/>
                  <a:pt x="1522" y="1834"/>
                </a:cubicBezTo>
                <a:cubicBezTo>
                  <a:pt x="3610" y="-444"/>
                  <a:pt x="7408" y="-634"/>
                  <a:pt x="9686" y="1455"/>
                </a:cubicBezTo>
                <a:cubicBezTo>
                  <a:pt x="95694" y="78349"/>
                  <a:pt x="184359" y="154294"/>
                  <a:pt x="273025" y="227201"/>
                </a:cubicBezTo>
                <a:cubicBezTo>
                  <a:pt x="275493" y="229100"/>
                  <a:pt x="275873" y="232897"/>
                  <a:pt x="273785" y="235365"/>
                </a:cubicBezTo>
                <a:cubicBezTo>
                  <a:pt x="272645" y="236694"/>
                  <a:pt x="270936" y="237453"/>
                  <a:pt x="269228" y="237453"/>
                </a:cubicBezTo>
                <a:lnTo>
                  <a:pt x="269228" y="23745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2147" name="Group 2146">
            <a:extLst>
              <a:ext uri="{FF2B5EF4-FFF2-40B4-BE49-F238E27FC236}">
                <a16:creationId xmlns:a16="http://schemas.microsoft.com/office/drawing/2014/main" id="{0A02F86F-2F1D-1897-7CD2-2A06E4E29700}"/>
              </a:ext>
            </a:extLst>
          </p:cNvPr>
          <p:cNvGrpSpPr/>
          <p:nvPr userDrawn="1"/>
        </p:nvGrpSpPr>
        <p:grpSpPr>
          <a:xfrm>
            <a:off x="7667094" y="1455975"/>
            <a:ext cx="185982" cy="197952"/>
            <a:chOff x="7667094" y="1455975"/>
            <a:chExt cx="185982" cy="197952"/>
          </a:xfrm>
        </p:grpSpPr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EAF7CDA9-3A93-DF56-1FB8-E4A2DCC0C9D1}"/>
                </a:ext>
              </a:extLst>
            </p:cNvPr>
            <p:cNvSpPr/>
            <p:nvPr userDrawn="1"/>
          </p:nvSpPr>
          <p:spPr>
            <a:xfrm>
              <a:off x="7667094" y="1455975"/>
              <a:ext cx="145476" cy="197952"/>
            </a:xfrm>
            <a:custGeom>
              <a:avLst/>
              <a:gdLst>
                <a:gd name="connsiteX0" fmla="*/ 5812 w 145476"/>
                <a:gd name="connsiteY0" fmla="*/ 197952 h 197952"/>
                <a:gd name="connsiteX1" fmla="*/ 2394 w 145476"/>
                <a:gd name="connsiteY1" fmla="*/ 196813 h 197952"/>
                <a:gd name="connsiteX2" fmla="*/ 1065 w 145476"/>
                <a:gd name="connsiteY2" fmla="*/ 188649 h 197952"/>
                <a:gd name="connsiteX3" fmla="*/ 134918 w 145476"/>
                <a:gd name="connsiteY3" fmla="*/ 2394 h 197952"/>
                <a:gd name="connsiteX4" fmla="*/ 143082 w 145476"/>
                <a:gd name="connsiteY4" fmla="*/ 1065 h 197952"/>
                <a:gd name="connsiteX5" fmla="*/ 144411 w 145476"/>
                <a:gd name="connsiteY5" fmla="*/ 9229 h 197952"/>
                <a:gd name="connsiteX6" fmla="*/ 10558 w 145476"/>
                <a:gd name="connsiteY6" fmla="*/ 195484 h 197952"/>
                <a:gd name="connsiteX7" fmla="*/ 5812 w 145476"/>
                <a:gd name="connsiteY7" fmla="*/ 197952 h 197952"/>
                <a:gd name="connsiteX8" fmla="*/ 5812 w 145476"/>
                <a:gd name="connsiteY8" fmla="*/ 197952 h 19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76" h="197952">
                  <a:moveTo>
                    <a:pt x="5812" y="197952"/>
                  </a:moveTo>
                  <a:cubicBezTo>
                    <a:pt x="4672" y="197952"/>
                    <a:pt x="3344" y="197762"/>
                    <a:pt x="2394" y="196813"/>
                  </a:cubicBezTo>
                  <a:cubicBezTo>
                    <a:pt x="-74" y="194914"/>
                    <a:pt x="-833" y="191307"/>
                    <a:pt x="1065" y="188649"/>
                  </a:cubicBezTo>
                  <a:lnTo>
                    <a:pt x="134918" y="2394"/>
                  </a:lnTo>
                  <a:cubicBezTo>
                    <a:pt x="136817" y="-74"/>
                    <a:pt x="140424" y="-833"/>
                    <a:pt x="143082" y="1065"/>
                  </a:cubicBezTo>
                  <a:cubicBezTo>
                    <a:pt x="145550" y="2964"/>
                    <a:pt x="146310" y="6571"/>
                    <a:pt x="144411" y="9229"/>
                  </a:cubicBezTo>
                  <a:lnTo>
                    <a:pt x="10558" y="195484"/>
                  </a:lnTo>
                  <a:cubicBezTo>
                    <a:pt x="9419" y="197003"/>
                    <a:pt x="7520" y="197952"/>
                    <a:pt x="5812" y="197952"/>
                  </a:cubicBezTo>
                  <a:lnTo>
                    <a:pt x="5812" y="197952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9F522E92-96DB-223D-9E89-9474C26A9B34}"/>
                </a:ext>
              </a:extLst>
            </p:cNvPr>
            <p:cNvSpPr/>
            <p:nvPr userDrawn="1"/>
          </p:nvSpPr>
          <p:spPr>
            <a:xfrm>
              <a:off x="7670257" y="1497870"/>
              <a:ext cx="182819" cy="139349"/>
            </a:xfrm>
            <a:custGeom>
              <a:avLst/>
              <a:gdLst>
                <a:gd name="connsiteX0" fmla="*/ 176943 w 182819"/>
                <a:gd name="connsiteY0" fmla="*/ 139350 h 139349"/>
                <a:gd name="connsiteX1" fmla="*/ 173525 w 182819"/>
                <a:gd name="connsiteY1" fmla="*/ 138211 h 139349"/>
                <a:gd name="connsiteX2" fmla="*/ 2269 w 182819"/>
                <a:gd name="connsiteY2" fmla="*/ 10433 h 139349"/>
                <a:gd name="connsiteX3" fmla="*/ 1130 w 182819"/>
                <a:gd name="connsiteY3" fmla="*/ 2269 h 139349"/>
                <a:gd name="connsiteX4" fmla="*/ 9294 w 182819"/>
                <a:gd name="connsiteY4" fmla="*/ 1130 h 139349"/>
                <a:gd name="connsiteX5" fmla="*/ 180550 w 182819"/>
                <a:gd name="connsiteY5" fmla="*/ 128907 h 139349"/>
                <a:gd name="connsiteX6" fmla="*/ 181689 w 182819"/>
                <a:gd name="connsiteY6" fmla="*/ 137071 h 139349"/>
                <a:gd name="connsiteX7" fmla="*/ 176943 w 182819"/>
                <a:gd name="connsiteY7" fmla="*/ 139350 h 139349"/>
                <a:gd name="connsiteX8" fmla="*/ 176943 w 182819"/>
                <a:gd name="connsiteY8" fmla="*/ 139350 h 139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819" h="139349">
                  <a:moveTo>
                    <a:pt x="176943" y="139350"/>
                  </a:moveTo>
                  <a:cubicBezTo>
                    <a:pt x="175614" y="139350"/>
                    <a:pt x="174474" y="138970"/>
                    <a:pt x="173525" y="138211"/>
                  </a:cubicBezTo>
                  <a:lnTo>
                    <a:pt x="2269" y="10433"/>
                  </a:lnTo>
                  <a:cubicBezTo>
                    <a:pt x="-199" y="8535"/>
                    <a:pt x="-769" y="4927"/>
                    <a:pt x="1130" y="2269"/>
                  </a:cubicBezTo>
                  <a:cubicBezTo>
                    <a:pt x="3029" y="-199"/>
                    <a:pt x="6636" y="-768"/>
                    <a:pt x="9294" y="1130"/>
                  </a:cubicBezTo>
                  <a:lnTo>
                    <a:pt x="180550" y="128907"/>
                  </a:lnTo>
                  <a:cubicBezTo>
                    <a:pt x="183018" y="130806"/>
                    <a:pt x="183588" y="134413"/>
                    <a:pt x="181689" y="137071"/>
                  </a:cubicBezTo>
                  <a:cubicBezTo>
                    <a:pt x="180550" y="138590"/>
                    <a:pt x="178841" y="139350"/>
                    <a:pt x="176943" y="139350"/>
                  </a:cubicBezTo>
                  <a:lnTo>
                    <a:pt x="176943" y="139350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grpSp>
        <p:nvGrpSpPr>
          <p:cNvPr id="2151" name="Group 2150">
            <a:extLst>
              <a:ext uri="{FF2B5EF4-FFF2-40B4-BE49-F238E27FC236}">
                <a16:creationId xmlns:a16="http://schemas.microsoft.com/office/drawing/2014/main" id="{BDE5C498-8905-8071-C08D-FBC4AE0ACBB7}"/>
              </a:ext>
            </a:extLst>
          </p:cNvPr>
          <p:cNvGrpSpPr/>
          <p:nvPr userDrawn="1"/>
        </p:nvGrpSpPr>
        <p:grpSpPr>
          <a:xfrm>
            <a:off x="8616201" y="1982234"/>
            <a:ext cx="234166" cy="242254"/>
            <a:chOff x="8616201" y="1982234"/>
            <a:chExt cx="234166" cy="242254"/>
          </a:xfrm>
        </p:grpSpPr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83B9E362-4ABA-08EE-9020-41D323BD06DB}"/>
                </a:ext>
              </a:extLst>
            </p:cNvPr>
            <p:cNvSpPr/>
            <p:nvPr userDrawn="1"/>
          </p:nvSpPr>
          <p:spPr>
            <a:xfrm>
              <a:off x="8616201" y="1982234"/>
              <a:ext cx="234166" cy="242254"/>
            </a:xfrm>
            <a:custGeom>
              <a:avLst/>
              <a:gdLst>
                <a:gd name="connsiteX0" fmla="*/ 4497 w 234166"/>
                <a:gd name="connsiteY0" fmla="*/ 103250 h 242254"/>
                <a:gd name="connsiteX1" fmla="*/ 53861 w 234166"/>
                <a:gd name="connsiteY1" fmla="*/ 226661 h 242254"/>
                <a:gd name="connsiteX2" fmla="*/ 190562 w 234166"/>
                <a:gd name="connsiteY2" fmla="*/ 215649 h 242254"/>
                <a:gd name="connsiteX3" fmla="*/ 229294 w 234166"/>
                <a:gd name="connsiteY3" fmla="*/ 86732 h 242254"/>
                <a:gd name="connsiteX4" fmla="*/ 148413 w 234166"/>
                <a:gd name="connsiteY4" fmla="*/ 4522 h 242254"/>
                <a:gd name="connsiteX5" fmla="*/ 38103 w 234166"/>
                <a:gd name="connsiteY5" fmla="*/ 33571 h 242254"/>
                <a:gd name="connsiteX6" fmla="*/ 4497 w 234166"/>
                <a:gd name="connsiteY6" fmla="*/ 103250 h 242254"/>
                <a:gd name="connsiteX7" fmla="*/ 4497 w 234166"/>
                <a:gd name="connsiteY7" fmla="*/ 103250 h 24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166" h="242254">
                  <a:moveTo>
                    <a:pt x="4497" y="103250"/>
                  </a:moveTo>
                  <a:cubicBezTo>
                    <a:pt x="-10122" y="148438"/>
                    <a:pt x="12092" y="201979"/>
                    <a:pt x="53861" y="226661"/>
                  </a:cubicBezTo>
                  <a:cubicBezTo>
                    <a:pt x="95821" y="251343"/>
                    <a:pt x="153349" y="246027"/>
                    <a:pt x="190562" y="215649"/>
                  </a:cubicBezTo>
                  <a:cubicBezTo>
                    <a:pt x="227775" y="185271"/>
                    <a:pt x="242774" y="132489"/>
                    <a:pt x="229294" y="86732"/>
                  </a:cubicBezTo>
                  <a:cubicBezTo>
                    <a:pt x="217902" y="48760"/>
                    <a:pt x="187145" y="16104"/>
                    <a:pt x="148413" y="4522"/>
                  </a:cubicBezTo>
                  <a:cubicBezTo>
                    <a:pt x="109681" y="-7059"/>
                    <a:pt x="64114" y="3952"/>
                    <a:pt x="38103" y="33571"/>
                  </a:cubicBezTo>
                  <a:cubicBezTo>
                    <a:pt x="23104" y="50848"/>
                    <a:pt x="14370" y="73252"/>
                    <a:pt x="4497" y="103250"/>
                  </a:cubicBezTo>
                  <a:lnTo>
                    <a:pt x="4497" y="10325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E054C6D2-E522-3D83-A4C8-599ECF6FE1B5}"/>
                </a:ext>
              </a:extLst>
            </p:cNvPr>
            <p:cNvSpPr/>
            <p:nvPr userDrawn="1"/>
          </p:nvSpPr>
          <p:spPr>
            <a:xfrm>
              <a:off x="8633315" y="2129064"/>
              <a:ext cx="58961" cy="63312"/>
            </a:xfrm>
            <a:custGeom>
              <a:avLst/>
              <a:gdLst>
                <a:gd name="connsiteX0" fmla="*/ 57442 w 58961"/>
                <a:gd name="connsiteY0" fmla="*/ 63123 h 63312"/>
                <a:gd name="connsiteX1" fmla="*/ 56113 w 58961"/>
                <a:gd name="connsiteY1" fmla="*/ 62743 h 63312"/>
                <a:gd name="connsiteX2" fmla="*/ 484 w 58961"/>
                <a:gd name="connsiteY2" fmla="*/ 3127 h 63312"/>
                <a:gd name="connsiteX3" fmla="*/ 673 w 58961"/>
                <a:gd name="connsiteY3" fmla="*/ 469 h 63312"/>
                <a:gd name="connsiteX4" fmla="*/ 3331 w 58961"/>
                <a:gd name="connsiteY4" fmla="*/ 848 h 63312"/>
                <a:gd name="connsiteX5" fmla="*/ 58391 w 58961"/>
                <a:gd name="connsiteY5" fmla="*/ 59895 h 63312"/>
                <a:gd name="connsiteX6" fmla="*/ 58391 w 58961"/>
                <a:gd name="connsiteY6" fmla="*/ 62554 h 63312"/>
                <a:gd name="connsiteX7" fmla="*/ 57062 w 58961"/>
                <a:gd name="connsiteY7" fmla="*/ 63313 h 63312"/>
                <a:gd name="connsiteX8" fmla="*/ 57062 w 58961"/>
                <a:gd name="connsiteY8" fmla="*/ 63313 h 63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961" h="63312">
                  <a:moveTo>
                    <a:pt x="57442" y="63123"/>
                  </a:moveTo>
                  <a:cubicBezTo>
                    <a:pt x="57442" y="63123"/>
                    <a:pt x="56683" y="63123"/>
                    <a:pt x="56113" y="62743"/>
                  </a:cubicBezTo>
                  <a:cubicBezTo>
                    <a:pt x="35988" y="44707"/>
                    <a:pt x="17191" y="24771"/>
                    <a:pt x="484" y="3127"/>
                  </a:cubicBezTo>
                  <a:cubicBezTo>
                    <a:pt x="-276" y="2367"/>
                    <a:pt x="-86" y="1038"/>
                    <a:pt x="673" y="469"/>
                  </a:cubicBezTo>
                  <a:cubicBezTo>
                    <a:pt x="1433" y="-291"/>
                    <a:pt x="2762" y="-101"/>
                    <a:pt x="3331" y="848"/>
                  </a:cubicBezTo>
                  <a:cubicBezTo>
                    <a:pt x="19849" y="22113"/>
                    <a:pt x="38456" y="42048"/>
                    <a:pt x="58391" y="59895"/>
                  </a:cubicBezTo>
                  <a:cubicBezTo>
                    <a:pt x="59151" y="60655"/>
                    <a:pt x="59151" y="61794"/>
                    <a:pt x="58391" y="62554"/>
                  </a:cubicBezTo>
                  <a:cubicBezTo>
                    <a:pt x="58012" y="62933"/>
                    <a:pt x="57632" y="63313"/>
                    <a:pt x="57062" y="63313"/>
                  </a:cubicBezTo>
                  <a:lnTo>
                    <a:pt x="57062" y="63313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59767BC-AD52-4B6A-D8AF-342700921A47}"/>
                </a:ext>
              </a:extLst>
            </p:cNvPr>
            <p:cNvSpPr/>
            <p:nvPr userDrawn="1"/>
          </p:nvSpPr>
          <p:spPr>
            <a:xfrm>
              <a:off x="8638587" y="2087383"/>
              <a:ext cx="102820" cy="111449"/>
            </a:xfrm>
            <a:custGeom>
              <a:avLst/>
              <a:gdLst>
                <a:gd name="connsiteX0" fmla="*/ 101154 w 102820"/>
                <a:gd name="connsiteY0" fmla="*/ 111449 h 111449"/>
                <a:gd name="connsiteX1" fmla="*/ 99825 w 102820"/>
                <a:gd name="connsiteY1" fmla="*/ 110880 h 111449"/>
                <a:gd name="connsiteX2" fmla="*/ 337 w 102820"/>
                <a:gd name="connsiteY2" fmla="*/ 3228 h 111449"/>
                <a:gd name="connsiteX3" fmla="*/ 337 w 102820"/>
                <a:gd name="connsiteY3" fmla="*/ 570 h 111449"/>
                <a:gd name="connsiteX4" fmla="*/ 2996 w 102820"/>
                <a:gd name="connsiteY4" fmla="*/ 570 h 111449"/>
                <a:gd name="connsiteX5" fmla="*/ 102483 w 102820"/>
                <a:gd name="connsiteY5" fmla="*/ 108222 h 111449"/>
                <a:gd name="connsiteX6" fmla="*/ 102483 w 102820"/>
                <a:gd name="connsiteY6" fmla="*/ 110880 h 111449"/>
                <a:gd name="connsiteX7" fmla="*/ 101154 w 102820"/>
                <a:gd name="connsiteY7" fmla="*/ 111449 h 111449"/>
                <a:gd name="connsiteX8" fmla="*/ 101154 w 102820"/>
                <a:gd name="connsiteY8" fmla="*/ 111449 h 11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820" h="111449">
                  <a:moveTo>
                    <a:pt x="101154" y="111449"/>
                  </a:moveTo>
                  <a:cubicBezTo>
                    <a:pt x="101154" y="111449"/>
                    <a:pt x="100205" y="111449"/>
                    <a:pt x="99825" y="110880"/>
                  </a:cubicBezTo>
                  <a:lnTo>
                    <a:pt x="337" y="3228"/>
                  </a:lnTo>
                  <a:cubicBezTo>
                    <a:pt x="337" y="3228"/>
                    <a:pt x="-422" y="1329"/>
                    <a:pt x="337" y="570"/>
                  </a:cubicBezTo>
                  <a:cubicBezTo>
                    <a:pt x="1097" y="-190"/>
                    <a:pt x="2236" y="-190"/>
                    <a:pt x="2996" y="570"/>
                  </a:cubicBezTo>
                  <a:lnTo>
                    <a:pt x="102483" y="108222"/>
                  </a:lnTo>
                  <a:cubicBezTo>
                    <a:pt x="102483" y="108222"/>
                    <a:pt x="103243" y="110120"/>
                    <a:pt x="102483" y="110880"/>
                  </a:cubicBezTo>
                  <a:cubicBezTo>
                    <a:pt x="102104" y="111069"/>
                    <a:pt x="101724" y="111449"/>
                    <a:pt x="101154" y="111449"/>
                  </a:cubicBezTo>
                  <a:lnTo>
                    <a:pt x="101154" y="111449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EC947A1-A387-5AAA-C575-501D3636D7C2}"/>
                </a:ext>
              </a:extLst>
            </p:cNvPr>
            <p:cNvSpPr/>
            <p:nvPr userDrawn="1"/>
          </p:nvSpPr>
          <p:spPr>
            <a:xfrm>
              <a:off x="8651877" y="2057005"/>
              <a:ext cx="126743" cy="130815"/>
            </a:xfrm>
            <a:custGeom>
              <a:avLst/>
              <a:gdLst>
                <a:gd name="connsiteX0" fmla="*/ 125077 w 126743"/>
                <a:gd name="connsiteY0" fmla="*/ 130815 h 130815"/>
                <a:gd name="connsiteX1" fmla="*/ 123748 w 126743"/>
                <a:gd name="connsiteY1" fmla="*/ 130245 h 130815"/>
                <a:gd name="connsiteX2" fmla="*/ 337 w 126743"/>
                <a:gd name="connsiteY2" fmla="*/ 3228 h 130815"/>
                <a:gd name="connsiteX3" fmla="*/ 337 w 126743"/>
                <a:gd name="connsiteY3" fmla="*/ 570 h 130815"/>
                <a:gd name="connsiteX4" fmla="*/ 2996 w 126743"/>
                <a:gd name="connsiteY4" fmla="*/ 570 h 130815"/>
                <a:gd name="connsiteX5" fmla="*/ 126406 w 126743"/>
                <a:gd name="connsiteY5" fmla="*/ 127587 h 130815"/>
                <a:gd name="connsiteX6" fmla="*/ 126406 w 126743"/>
                <a:gd name="connsiteY6" fmla="*/ 130245 h 130815"/>
                <a:gd name="connsiteX7" fmla="*/ 125077 w 126743"/>
                <a:gd name="connsiteY7" fmla="*/ 130815 h 130815"/>
                <a:gd name="connsiteX8" fmla="*/ 125077 w 126743"/>
                <a:gd name="connsiteY8" fmla="*/ 130815 h 130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743" h="130815">
                  <a:moveTo>
                    <a:pt x="125077" y="130815"/>
                  </a:moveTo>
                  <a:cubicBezTo>
                    <a:pt x="125077" y="130815"/>
                    <a:pt x="124128" y="130815"/>
                    <a:pt x="123748" y="130245"/>
                  </a:cubicBezTo>
                  <a:lnTo>
                    <a:pt x="337" y="3228"/>
                  </a:lnTo>
                  <a:cubicBezTo>
                    <a:pt x="337" y="3228"/>
                    <a:pt x="-422" y="1329"/>
                    <a:pt x="337" y="570"/>
                  </a:cubicBezTo>
                  <a:cubicBezTo>
                    <a:pt x="1097" y="-190"/>
                    <a:pt x="2236" y="-190"/>
                    <a:pt x="2996" y="570"/>
                  </a:cubicBezTo>
                  <a:lnTo>
                    <a:pt x="126406" y="127587"/>
                  </a:lnTo>
                  <a:cubicBezTo>
                    <a:pt x="126406" y="127587"/>
                    <a:pt x="127166" y="129486"/>
                    <a:pt x="126406" y="130245"/>
                  </a:cubicBezTo>
                  <a:cubicBezTo>
                    <a:pt x="126026" y="130625"/>
                    <a:pt x="125647" y="130815"/>
                    <a:pt x="125077" y="130815"/>
                  </a:cubicBezTo>
                  <a:lnTo>
                    <a:pt x="125077" y="130815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B1E3106C-84ED-56D7-89FD-69E4620317A1}"/>
                </a:ext>
              </a:extLst>
            </p:cNvPr>
            <p:cNvSpPr/>
            <p:nvPr userDrawn="1"/>
          </p:nvSpPr>
          <p:spPr>
            <a:xfrm>
              <a:off x="8675421" y="2031943"/>
              <a:ext cx="138894" cy="133093"/>
            </a:xfrm>
            <a:custGeom>
              <a:avLst/>
              <a:gdLst>
                <a:gd name="connsiteX0" fmla="*/ 137228 w 138894"/>
                <a:gd name="connsiteY0" fmla="*/ 133093 h 133093"/>
                <a:gd name="connsiteX1" fmla="*/ 135899 w 138894"/>
                <a:gd name="connsiteY1" fmla="*/ 132524 h 133093"/>
                <a:gd name="connsiteX2" fmla="*/ 337 w 138894"/>
                <a:gd name="connsiteY2" fmla="*/ 3228 h 133093"/>
                <a:gd name="connsiteX3" fmla="*/ 337 w 138894"/>
                <a:gd name="connsiteY3" fmla="*/ 570 h 133093"/>
                <a:gd name="connsiteX4" fmla="*/ 2996 w 138894"/>
                <a:gd name="connsiteY4" fmla="*/ 570 h 133093"/>
                <a:gd name="connsiteX5" fmla="*/ 138557 w 138894"/>
                <a:gd name="connsiteY5" fmla="*/ 129866 h 133093"/>
                <a:gd name="connsiteX6" fmla="*/ 138557 w 138894"/>
                <a:gd name="connsiteY6" fmla="*/ 132524 h 133093"/>
                <a:gd name="connsiteX7" fmla="*/ 137228 w 138894"/>
                <a:gd name="connsiteY7" fmla="*/ 133093 h 133093"/>
                <a:gd name="connsiteX8" fmla="*/ 137228 w 138894"/>
                <a:gd name="connsiteY8" fmla="*/ 133093 h 13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894" h="133093">
                  <a:moveTo>
                    <a:pt x="137228" y="133093"/>
                  </a:moveTo>
                  <a:cubicBezTo>
                    <a:pt x="137228" y="133093"/>
                    <a:pt x="136279" y="133093"/>
                    <a:pt x="135899" y="132524"/>
                  </a:cubicBezTo>
                  <a:lnTo>
                    <a:pt x="337" y="3228"/>
                  </a:lnTo>
                  <a:cubicBezTo>
                    <a:pt x="337" y="3228"/>
                    <a:pt x="-422" y="1329"/>
                    <a:pt x="337" y="570"/>
                  </a:cubicBezTo>
                  <a:cubicBezTo>
                    <a:pt x="1097" y="-190"/>
                    <a:pt x="2236" y="-190"/>
                    <a:pt x="2996" y="570"/>
                  </a:cubicBezTo>
                  <a:lnTo>
                    <a:pt x="138557" y="129866"/>
                  </a:lnTo>
                  <a:cubicBezTo>
                    <a:pt x="138557" y="129866"/>
                    <a:pt x="139317" y="131764"/>
                    <a:pt x="138557" y="132524"/>
                  </a:cubicBezTo>
                  <a:cubicBezTo>
                    <a:pt x="138177" y="132904"/>
                    <a:pt x="137798" y="133093"/>
                    <a:pt x="137228" y="133093"/>
                  </a:cubicBezTo>
                  <a:lnTo>
                    <a:pt x="137228" y="133093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F6A8C443-A1FC-C7EF-33A9-4EA326DF6D32}"/>
                </a:ext>
              </a:extLst>
            </p:cNvPr>
            <p:cNvSpPr/>
            <p:nvPr userDrawn="1"/>
          </p:nvSpPr>
          <p:spPr>
            <a:xfrm>
              <a:off x="8706938" y="2011248"/>
              <a:ext cx="116490" cy="110879"/>
            </a:xfrm>
            <a:custGeom>
              <a:avLst/>
              <a:gdLst>
                <a:gd name="connsiteX0" fmla="*/ 114825 w 116490"/>
                <a:gd name="connsiteY0" fmla="*/ 110880 h 110879"/>
                <a:gd name="connsiteX1" fmla="*/ 113495 w 116490"/>
                <a:gd name="connsiteY1" fmla="*/ 110310 h 110879"/>
                <a:gd name="connsiteX2" fmla="*/ 338 w 116490"/>
                <a:gd name="connsiteY2" fmla="*/ 3228 h 110879"/>
                <a:gd name="connsiteX3" fmla="*/ 338 w 116490"/>
                <a:gd name="connsiteY3" fmla="*/ 570 h 110879"/>
                <a:gd name="connsiteX4" fmla="*/ 2996 w 116490"/>
                <a:gd name="connsiteY4" fmla="*/ 570 h 110879"/>
                <a:gd name="connsiteX5" fmla="*/ 116153 w 116490"/>
                <a:gd name="connsiteY5" fmla="*/ 107652 h 110879"/>
                <a:gd name="connsiteX6" fmla="*/ 116153 w 116490"/>
                <a:gd name="connsiteY6" fmla="*/ 110310 h 110879"/>
                <a:gd name="connsiteX7" fmla="*/ 114825 w 116490"/>
                <a:gd name="connsiteY7" fmla="*/ 110880 h 110879"/>
                <a:gd name="connsiteX8" fmla="*/ 114825 w 116490"/>
                <a:gd name="connsiteY8" fmla="*/ 110880 h 11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490" h="110879">
                  <a:moveTo>
                    <a:pt x="114825" y="110880"/>
                  </a:moveTo>
                  <a:cubicBezTo>
                    <a:pt x="114825" y="110880"/>
                    <a:pt x="113875" y="110880"/>
                    <a:pt x="113495" y="110310"/>
                  </a:cubicBezTo>
                  <a:lnTo>
                    <a:pt x="338" y="3228"/>
                  </a:lnTo>
                  <a:cubicBezTo>
                    <a:pt x="338" y="3228"/>
                    <a:pt x="-422" y="1329"/>
                    <a:pt x="338" y="570"/>
                  </a:cubicBezTo>
                  <a:cubicBezTo>
                    <a:pt x="1097" y="-190"/>
                    <a:pt x="2236" y="-190"/>
                    <a:pt x="2996" y="570"/>
                  </a:cubicBezTo>
                  <a:lnTo>
                    <a:pt x="116153" y="107652"/>
                  </a:lnTo>
                  <a:cubicBezTo>
                    <a:pt x="116153" y="107652"/>
                    <a:pt x="116913" y="109550"/>
                    <a:pt x="116153" y="110310"/>
                  </a:cubicBezTo>
                  <a:cubicBezTo>
                    <a:pt x="115774" y="110690"/>
                    <a:pt x="115394" y="110880"/>
                    <a:pt x="114825" y="110880"/>
                  </a:cubicBezTo>
                  <a:lnTo>
                    <a:pt x="114825" y="110880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F5E182C7-F0F6-8FDC-7B51-A42B9EABB8FE}"/>
                </a:ext>
              </a:extLst>
            </p:cNvPr>
            <p:cNvSpPr/>
            <p:nvPr userDrawn="1"/>
          </p:nvSpPr>
          <p:spPr>
            <a:xfrm>
              <a:off x="8749846" y="2003653"/>
              <a:ext cx="69595" cy="69489"/>
            </a:xfrm>
            <a:custGeom>
              <a:avLst/>
              <a:gdLst>
                <a:gd name="connsiteX0" fmla="*/ 67928 w 69595"/>
                <a:gd name="connsiteY0" fmla="*/ 69490 h 69489"/>
                <a:gd name="connsiteX1" fmla="*/ 66599 w 69595"/>
                <a:gd name="connsiteY1" fmla="*/ 68920 h 69489"/>
                <a:gd name="connsiteX2" fmla="*/ 337 w 69595"/>
                <a:gd name="connsiteY2" fmla="*/ 3228 h 69489"/>
                <a:gd name="connsiteX3" fmla="*/ 337 w 69595"/>
                <a:gd name="connsiteY3" fmla="*/ 570 h 69489"/>
                <a:gd name="connsiteX4" fmla="*/ 2996 w 69595"/>
                <a:gd name="connsiteY4" fmla="*/ 570 h 69489"/>
                <a:gd name="connsiteX5" fmla="*/ 69258 w 69595"/>
                <a:gd name="connsiteY5" fmla="*/ 66262 h 69489"/>
                <a:gd name="connsiteX6" fmla="*/ 69258 w 69595"/>
                <a:gd name="connsiteY6" fmla="*/ 68920 h 69489"/>
                <a:gd name="connsiteX7" fmla="*/ 67928 w 69595"/>
                <a:gd name="connsiteY7" fmla="*/ 69490 h 69489"/>
                <a:gd name="connsiteX8" fmla="*/ 67928 w 69595"/>
                <a:gd name="connsiteY8" fmla="*/ 69490 h 69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595" h="69489">
                  <a:moveTo>
                    <a:pt x="67928" y="69490"/>
                  </a:moveTo>
                  <a:cubicBezTo>
                    <a:pt x="67928" y="69490"/>
                    <a:pt x="66979" y="69490"/>
                    <a:pt x="66599" y="68920"/>
                  </a:cubicBezTo>
                  <a:lnTo>
                    <a:pt x="337" y="3228"/>
                  </a:lnTo>
                  <a:cubicBezTo>
                    <a:pt x="337" y="3228"/>
                    <a:pt x="-422" y="1329"/>
                    <a:pt x="337" y="570"/>
                  </a:cubicBezTo>
                  <a:cubicBezTo>
                    <a:pt x="1097" y="-190"/>
                    <a:pt x="2236" y="-190"/>
                    <a:pt x="2996" y="570"/>
                  </a:cubicBezTo>
                  <a:lnTo>
                    <a:pt x="69258" y="66262"/>
                  </a:lnTo>
                  <a:cubicBezTo>
                    <a:pt x="69258" y="66262"/>
                    <a:pt x="70017" y="68161"/>
                    <a:pt x="69258" y="68920"/>
                  </a:cubicBezTo>
                  <a:cubicBezTo>
                    <a:pt x="68878" y="69300"/>
                    <a:pt x="68498" y="69490"/>
                    <a:pt x="67928" y="69490"/>
                  </a:cubicBezTo>
                  <a:lnTo>
                    <a:pt x="67928" y="69490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sp>
        <p:nvSpPr>
          <p:cNvPr id="1393" name="Freeform: Shape 1392">
            <a:extLst>
              <a:ext uri="{FF2B5EF4-FFF2-40B4-BE49-F238E27FC236}">
                <a16:creationId xmlns:a16="http://schemas.microsoft.com/office/drawing/2014/main" id="{AC7D5068-7E04-C58F-B6F6-3A41012A601C}"/>
              </a:ext>
            </a:extLst>
          </p:cNvPr>
          <p:cNvSpPr/>
          <p:nvPr userDrawn="1"/>
        </p:nvSpPr>
        <p:spPr>
          <a:xfrm>
            <a:off x="8610325" y="1976280"/>
            <a:ext cx="245815" cy="254069"/>
          </a:xfrm>
          <a:custGeom>
            <a:avLst/>
            <a:gdLst>
              <a:gd name="connsiteX0" fmla="*/ 119164 w 245815"/>
              <a:gd name="connsiteY0" fmla="*/ 254069 h 254069"/>
              <a:gd name="connsiteX1" fmla="*/ 56699 w 245815"/>
              <a:gd name="connsiteY1" fmla="*/ 237741 h 254069"/>
              <a:gd name="connsiteX2" fmla="*/ 4677 w 245815"/>
              <a:gd name="connsiteY2" fmla="*/ 107496 h 254069"/>
              <a:gd name="connsiteX3" fmla="*/ 39422 w 245815"/>
              <a:gd name="connsiteY3" fmla="*/ 35728 h 254069"/>
              <a:gd name="connsiteX4" fmla="*/ 155997 w 245815"/>
              <a:gd name="connsiteY4" fmla="*/ 4780 h 254069"/>
              <a:gd name="connsiteX5" fmla="*/ 240675 w 245815"/>
              <a:gd name="connsiteY5" fmla="*/ 90978 h 254069"/>
              <a:gd name="connsiteX6" fmla="*/ 200045 w 245815"/>
              <a:gd name="connsiteY6" fmla="*/ 225970 h 254069"/>
              <a:gd name="connsiteX7" fmla="*/ 119164 w 245815"/>
              <a:gd name="connsiteY7" fmla="*/ 253880 h 254069"/>
              <a:gd name="connsiteX8" fmla="*/ 119164 w 245815"/>
              <a:gd name="connsiteY8" fmla="*/ 253880 h 254069"/>
              <a:gd name="connsiteX9" fmla="*/ 122771 w 245815"/>
              <a:gd name="connsiteY9" fmla="*/ 11615 h 254069"/>
              <a:gd name="connsiteX10" fmla="*/ 48155 w 245815"/>
              <a:gd name="connsiteY10" fmla="*/ 43512 h 254069"/>
              <a:gd name="connsiteX11" fmla="*/ 15689 w 245815"/>
              <a:gd name="connsiteY11" fmla="*/ 111103 h 254069"/>
              <a:gd name="connsiteX12" fmla="*/ 15689 w 245815"/>
              <a:gd name="connsiteY12" fmla="*/ 111103 h 254069"/>
              <a:gd name="connsiteX13" fmla="*/ 62585 w 245815"/>
              <a:gd name="connsiteY13" fmla="*/ 227679 h 254069"/>
              <a:gd name="connsiteX14" fmla="*/ 192640 w 245815"/>
              <a:gd name="connsiteY14" fmla="*/ 217236 h 254069"/>
              <a:gd name="connsiteX15" fmla="*/ 229474 w 245815"/>
              <a:gd name="connsiteY15" fmla="*/ 94585 h 254069"/>
              <a:gd name="connsiteX16" fmla="*/ 152579 w 245815"/>
              <a:gd name="connsiteY16" fmla="*/ 16172 h 254069"/>
              <a:gd name="connsiteX17" fmla="*/ 122771 w 245815"/>
              <a:gd name="connsiteY17" fmla="*/ 11805 h 254069"/>
              <a:gd name="connsiteX18" fmla="*/ 122771 w 245815"/>
              <a:gd name="connsiteY18" fmla="*/ 11805 h 254069"/>
              <a:gd name="connsiteX19" fmla="*/ 10373 w 245815"/>
              <a:gd name="connsiteY19" fmla="*/ 109204 h 254069"/>
              <a:gd name="connsiteX20" fmla="*/ 10373 w 245815"/>
              <a:gd name="connsiteY20" fmla="*/ 109204 h 254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45815" h="254069">
                <a:moveTo>
                  <a:pt x="119164" y="254069"/>
                </a:moveTo>
                <a:cubicBezTo>
                  <a:pt x="97330" y="254069"/>
                  <a:pt x="75495" y="248753"/>
                  <a:pt x="56699" y="237741"/>
                </a:cubicBezTo>
                <a:cubicBezTo>
                  <a:pt x="12461" y="211540"/>
                  <a:pt x="-10512" y="154582"/>
                  <a:pt x="4677" y="107496"/>
                </a:cubicBezTo>
                <a:cubicBezTo>
                  <a:pt x="15119" y="75029"/>
                  <a:pt x="24233" y="53195"/>
                  <a:pt x="39422" y="35728"/>
                </a:cubicBezTo>
                <a:cubicBezTo>
                  <a:pt x="66382" y="4970"/>
                  <a:pt x="114227" y="-7751"/>
                  <a:pt x="155997" y="4780"/>
                </a:cubicBezTo>
                <a:cubicBezTo>
                  <a:pt x="195298" y="16742"/>
                  <a:pt x="228524" y="50537"/>
                  <a:pt x="240675" y="90978"/>
                </a:cubicBezTo>
                <a:cubicBezTo>
                  <a:pt x="255105" y="139203"/>
                  <a:pt x="238397" y="194832"/>
                  <a:pt x="200045" y="225970"/>
                </a:cubicBezTo>
                <a:cubicBezTo>
                  <a:pt x="177641" y="244386"/>
                  <a:pt x="148402" y="253880"/>
                  <a:pt x="119164" y="253880"/>
                </a:cubicBezTo>
                <a:lnTo>
                  <a:pt x="119164" y="253880"/>
                </a:lnTo>
                <a:close/>
                <a:moveTo>
                  <a:pt x="122771" y="11615"/>
                </a:moveTo>
                <a:cubicBezTo>
                  <a:pt x="94292" y="11615"/>
                  <a:pt x="66002" y="23197"/>
                  <a:pt x="48155" y="43512"/>
                </a:cubicBezTo>
                <a:cubicBezTo>
                  <a:pt x="34295" y="59271"/>
                  <a:pt x="25941" y="80345"/>
                  <a:pt x="15689" y="111103"/>
                </a:cubicBezTo>
                <a:lnTo>
                  <a:pt x="15689" y="111103"/>
                </a:lnTo>
                <a:cubicBezTo>
                  <a:pt x="2019" y="153063"/>
                  <a:pt x="22714" y="204325"/>
                  <a:pt x="62585" y="227679"/>
                </a:cubicBezTo>
                <a:cubicBezTo>
                  <a:pt x="102076" y="251032"/>
                  <a:pt x="156756" y="246475"/>
                  <a:pt x="192640" y="217236"/>
                </a:cubicBezTo>
                <a:cubicBezTo>
                  <a:pt x="227385" y="188757"/>
                  <a:pt x="242574" y="138253"/>
                  <a:pt x="229474" y="94585"/>
                </a:cubicBezTo>
                <a:cubicBezTo>
                  <a:pt x="218462" y="57752"/>
                  <a:pt x="188274" y="26994"/>
                  <a:pt x="152579" y="16172"/>
                </a:cubicBezTo>
                <a:cubicBezTo>
                  <a:pt x="142897" y="13134"/>
                  <a:pt x="132834" y="11805"/>
                  <a:pt x="122771" y="11805"/>
                </a:cubicBezTo>
                <a:lnTo>
                  <a:pt x="122771" y="11805"/>
                </a:lnTo>
                <a:close/>
                <a:moveTo>
                  <a:pt x="10373" y="109204"/>
                </a:moveTo>
                <a:lnTo>
                  <a:pt x="10373" y="109204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grpSp>
        <p:nvGrpSpPr>
          <p:cNvPr id="2152" name="Group 2151">
            <a:extLst>
              <a:ext uri="{FF2B5EF4-FFF2-40B4-BE49-F238E27FC236}">
                <a16:creationId xmlns:a16="http://schemas.microsoft.com/office/drawing/2014/main" id="{231224E8-D382-9FF0-A46B-B9DDD0434B95}"/>
              </a:ext>
            </a:extLst>
          </p:cNvPr>
          <p:cNvGrpSpPr/>
          <p:nvPr userDrawn="1"/>
        </p:nvGrpSpPr>
        <p:grpSpPr>
          <a:xfrm>
            <a:off x="8798291" y="1395028"/>
            <a:ext cx="265831" cy="266793"/>
            <a:chOff x="8798291" y="1395028"/>
            <a:chExt cx="265831" cy="266793"/>
          </a:xfrm>
        </p:grpSpPr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12B9DB45-4808-D7E7-3117-EBF817D0B3B0}"/>
                </a:ext>
              </a:extLst>
            </p:cNvPr>
            <p:cNvSpPr/>
            <p:nvPr userDrawn="1"/>
          </p:nvSpPr>
          <p:spPr>
            <a:xfrm rot="2343413" flipH="1" flipV="1">
              <a:off x="8804023" y="1400851"/>
              <a:ext cx="254225" cy="254984"/>
            </a:xfrm>
            <a:custGeom>
              <a:avLst/>
              <a:gdLst>
                <a:gd name="connsiteX0" fmla="*/ 239416 w 254225"/>
                <a:gd name="connsiteY0" fmla="*/ 254985 h 254984"/>
                <a:gd name="connsiteX1" fmla="*/ 0 w 254225"/>
                <a:gd name="connsiteY1" fmla="*/ 84489 h 254984"/>
                <a:gd name="connsiteX2" fmla="*/ 254225 w 254225"/>
                <a:gd name="connsiteY2" fmla="*/ 0 h 254984"/>
                <a:gd name="connsiteX3" fmla="*/ 239416 w 254225"/>
                <a:gd name="connsiteY3" fmla="*/ 254985 h 254984"/>
                <a:gd name="connsiteX4" fmla="*/ 239416 w 254225"/>
                <a:gd name="connsiteY4" fmla="*/ 254985 h 25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225" h="254984">
                  <a:moveTo>
                    <a:pt x="239416" y="254985"/>
                  </a:moveTo>
                  <a:cubicBezTo>
                    <a:pt x="159484" y="198216"/>
                    <a:pt x="79742" y="141258"/>
                    <a:pt x="0" y="84489"/>
                  </a:cubicBezTo>
                  <a:cubicBezTo>
                    <a:pt x="86767" y="54111"/>
                    <a:pt x="171256" y="24492"/>
                    <a:pt x="254225" y="0"/>
                  </a:cubicBezTo>
                  <a:cubicBezTo>
                    <a:pt x="250998" y="80881"/>
                    <a:pt x="246631" y="161953"/>
                    <a:pt x="239416" y="254985"/>
                  </a:cubicBezTo>
                  <a:lnTo>
                    <a:pt x="239416" y="254985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22AAF36A-B4FF-25C7-85BF-B93DC2B5168A}"/>
                </a:ext>
              </a:extLst>
            </p:cNvPr>
            <p:cNvSpPr/>
            <p:nvPr userDrawn="1"/>
          </p:nvSpPr>
          <p:spPr>
            <a:xfrm rot="2343413" flipH="1" flipV="1">
              <a:off x="8798291" y="1395028"/>
              <a:ext cx="265831" cy="266793"/>
            </a:xfrm>
            <a:custGeom>
              <a:avLst/>
              <a:gdLst>
                <a:gd name="connsiteX0" fmla="*/ 245326 w 265831"/>
                <a:gd name="connsiteY0" fmla="*/ 266794 h 266793"/>
                <a:gd name="connsiteX1" fmla="*/ 241908 w 265831"/>
                <a:gd name="connsiteY1" fmla="*/ 265655 h 266793"/>
                <a:gd name="connsiteX2" fmla="*/ 2492 w 265831"/>
                <a:gd name="connsiteY2" fmla="*/ 95158 h 266793"/>
                <a:gd name="connsiteX3" fmla="*/ 24 w 265831"/>
                <a:gd name="connsiteY3" fmla="*/ 89652 h 266793"/>
                <a:gd name="connsiteX4" fmla="*/ 3821 w 265831"/>
                <a:gd name="connsiteY4" fmla="*/ 84906 h 266793"/>
                <a:gd name="connsiteX5" fmla="*/ 258237 w 265831"/>
                <a:gd name="connsiteY5" fmla="*/ 227 h 266793"/>
                <a:gd name="connsiteX6" fmla="*/ 263553 w 265831"/>
                <a:gd name="connsiteY6" fmla="*/ 1176 h 266793"/>
                <a:gd name="connsiteX7" fmla="*/ 265831 w 265831"/>
                <a:gd name="connsiteY7" fmla="*/ 5923 h 266793"/>
                <a:gd name="connsiteX8" fmla="*/ 251022 w 265831"/>
                <a:gd name="connsiteY8" fmla="*/ 261098 h 266793"/>
                <a:gd name="connsiteX9" fmla="*/ 247794 w 265831"/>
                <a:gd name="connsiteY9" fmla="*/ 265844 h 266793"/>
                <a:gd name="connsiteX10" fmla="*/ 245326 w 265831"/>
                <a:gd name="connsiteY10" fmla="*/ 266414 h 266793"/>
                <a:gd name="connsiteX11" fmla="*/ 245326 w 265831"/>
                <a:gd name="connsiteY11" fmla="*/ 266414 h 266793"/>
                <a:gd name="connsiteX12" fmla="*/ 18441 w 265831"/>
                <a:gd name="connsiteY12" fmla="*/ 92310 h 266793"/>
                <a:gd name="connsiteX13" fmla="*/ 240390 w 265831"/>
                <a:gd name="connsiteY13" fmla="*/ 250466 h 266793"/>
                <a:gd name="connsiteX14" fmla="*/ 254060 w 265831"/>
                <a:gd name="connsiteY14" fmla="*/ 14087 h 266793"/>
                <a:gd name="connsiteX15" fmla="*/ 18441 w 265831"/>
                <a:gd name="connsiteY15" fmla="*/ 92500 h 266793"/>
                <a:gd name="connsiteX16" fmla="*/ 18441 w 265831"/>
                <a:gd name="connsiteY16" fmla="*/ 92500 h 26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5831" h="266793">
                  <a:moveTo>
                    <a:pt x="245326" y="266794"/>
                  </a:moveTo>
                  <a:cubicBezTo>
                    <a:pt x="244187" y="266794"/>
                    <a:pt x="242857" y="266414"/>
                    <a:pt x="241908" y="265655"/>
                  </a:cubicBezTo>
                  <a:lnTo>
                    <a:pt x="2492" y="95158"/>
                  </a:lnTo>
                  <a:cubicBezTo>
                    <a:pt x="783" y="93829"/>
                    <a:pt x="-166" y="91741"/>
                    <a:pt x="24" y="89652"/>
                  </a:cubicBezTo>
                  <a:cubicBezTo>
                    <a:pt x="213" y="87564"/>
                    <a:pt x="1923" y="85665"/>
                    <a:pt x="3821" y="84906"/>
                  </a:cubicBezTo>
                  <a:cubicBezTo>
                    <a:pt x="83184" y="56996"/>
                    <a:pt x="173178" y="25479"/>
                    <a:pt x="258237" y="227"/>
                  </a:cubicBezTo>
                  <a:cubicBezTo>
                    <a:pt x="260135" y="-342"/>
                    <a:pt x="261844" y="227"/>
                    <a:pt x="263553" y="1176"/>
                  </a:cubicBezTo>
                  <a:cubicBezTo>
                    <a:pt x="264881" y="2316"/>
                    <a:pt x="265831" y="4214"/>
                    <a:pt x="265831" y="5923"/>
                  </a:cubicBezTo>
                  <a:cubicBezTo>
                    <a:pt x="263173" y="70286"/>
                    <a:pt x="259186" y="157243"/>
                    <a:pt x="251022" y="261098"/>
                  </a:cubicBezTo>
                  <a:cubicBezTo>
                    <a:pt x="251022" y="263186"/>
                    <a:pt x="249693" y="265085"/>
                    <a:pt x="247794" y="265844"/>
                  </a:cubicBezTo>
                  <a:cubicBezTo>
                    <a:pt x="247034" y="266224"/>
                    <a:pt x="246275" y="266414"/>
                    <a:pt x="245326" y="266414"/>
                  </a:cubicBezTo>
                  <a:lnTo>
                    <a:pt x="245326" y="266414"/>
                  </a:lnTo>
                  <a:close/>
                  <a:moveTo>
                    <a:pt x="18441" y="92310"/>
                  </a:moveTo>
                  <a:lnTo>
                    <a:pt x="240390" y="250466"/>
                  </a:lnTo>
                  <a:cubicBezTo>
                    <a:pt x="247604" y="155535"/>
                    <a:pt x="251401" y="75223"/>
                    <a:pt x="254060" y="14087"/>
                  </a:cubicBezTo>
                  <a:cubicBezTo>
                    <a:pt x="175266" y="37630"/>
                    <a:pt x="92677" y="66489"/>
                    <a:pt x="18441" y="92500"/>
                  </a:cubicBezTo>
                  <a:lnTo>
                    <a:pt x="18441" y="92500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grpSp>
        <p:nvGrpSpPr>
          <p:cNvPr id="2134" name="Group 2133">
            <a:extLst>
              <a:ext uri="{FF2B5EF4-FFF2-40B4-BE49-F238E27FC236}">
                <a16:creationId xmlns:a16="http://schemas.microsoft.com/office/drawing/2014/main" id="{AE07BCF7-1AA5-D771-0006-D0E258387578}"/>
              </a:ext>
            </a:extLst>
          </p:cNvPr>
          <p:cNvGrpSpPr/>
          <p:nvPr userDrawn="1"/>
        </p:nvGrpSpPr>
        <p:grpSpPr>
          <a:xfrm>
            <a:off x="9547043" y="1895038"/>
            <a:ext cx="141637" cy="141637"/>
            <a:chOff x="9547043" y="1895038"/>
            <a:chExt cx="141637" cy="141637"/>
          </a:xfrm>
        </p:grpSpPr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310A0CB7-0425-6A90-9F48-41D1D049B73D}"/>
                </a:ext>
              </a:extLst>
            </p:cNvPr>
            <p:cNvSpPr/>
            <p:nvPr userDrawn="1"/>
          </p:nvSpPr>
          <p:spPr>
            <a:xfrm>
              <a:off x="9552739" y="1900733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F30589F1-2E7F-A1B5-61A2-B1349E4D5CED}"/>
                </a:ext>
              </a:extLst>
            </p:cNvPr>
            <p:cNvSpPr/>
            <p:nvPr userDrawn="1"/>
          </p:nvSpPr>
          <p:spPr>
            <a:xfrm>
              <a:off x="9547043" y="1895038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grpSp>
        <p:nvGrpSpPr>
          <p:cNvPr id="1377" name="Group 1376">
            <a:extLst>
              <a:ext uri="{FF2B5EF4-FFF2-40B4-BE49-F238E27FC236}">
                <a16:creationId xmlns:a16="http://schemas.microsoft.com/office/drawing/2014/main" id="{0E8F8949-3CED-C0AC-518D-8A6A59D8CFE5}"/>
              </a:ext>
            </a:extLst>
          </p:cNvPr>
          <p:cNvGrpSpPr>
            <a:grpSpLocks/>
          </p:cNvGrpSpPr>
          <p:nvPr userDrawn="1"/>
        </p:nvGrpSpPr>
        <p:grpSpPr>
          <a:xfrm>
            <a:off x="6652505" y="4929206"/>
            <a:ext cx="141637" cy="141637"/>
            <a:chOff x="6275410" y="2505045"/>
            <a:chExt cx="141637" cy="141637"/>
          </a:xfrm>
        </p:grpSpPr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2B92841E-5EFB-BF1F-C780-85EF60822294}"/>
                </a:ext>
              </a:extLst>
            </p:cNvPr>
            <p:cNvSpPr/>
            <p:nvPr/>
          </p:nvSpPr>
          <p:spPr>
            <a:xfrm>
              <a:off x="6281106" y="2510740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rgbClr val="FBCCD0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64736DB2-AB7D-F7AD-D950-24DD60129D97}"/>
                </a:ext>
              </a:extLst>
            </p:cNvPr>
            <p:cNvSpPr/>
            <p:nvPr/>
          </p:nvSpPr>
          <p:spPr>
            <a:xfrm>
              <a:off x="6275410" y="2505045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</p:grp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B20064FC-7915-86BB-83DD-F5F846F02456}"/>
              </a:ext>
            </a:extLst>
          </p:cNvPr>
          <p:cNvSpPr/>
          <p:nvPr userDrawn="1"/>
        </p:nvSpPr>
        <p:spPr>
          <a:xfrm rot="21248695">
            <a:off x="5098464" y="4278687"/>
            <a:ext cx="985382" cy="1049511"/>
          </a:xfrm>
          <a:custGeom>
            <a:avLst/>
            <a:gdLst>
              <a:gd name="connsiteX0" fmla="*/ 985383 w 985382"/>
              <a:gd name="connsiteY0" fmla="*/ 1032614 h 1049511"/>
              <a:gd name="connsiteX1" fmla="*/ 985383 w 985382"/>
              <a:gd name="connsiteY1" fmla="*/ 1049512 h 1049511"/>
              <a:gd name="connsiteX2" fmla="*/ 407253 w 985382"/>
              <a:gd name="connsiteY2" fmla="*/ 1038879 h 1049511"/>
              <a:gd name="connsiteX3" fmla="*/ 249477 w 985382"/>
              <a:gd name="connsiteY3" fmla="*/ 1039069 h 1049511"/>
              <a:gd name="connsiteX4" fmla="*/ 5504 w 985382"/>
              <a:gd name="connsiteY4" fmla="*/ 1036791 h 1049511"/>
              <a:gd name="connsiteX5" fmla="*/ 3226 w 985382"/>
              <a:gd name="connsiteY5" fmla="*/ 1033753 h 1049511"/>
              <a:gd name="connsiteX6" fmla="*/ 4555 w 985382"/>
              <a:gd name="connsiteY6" fmla="*/ 7927 h 1049511"/>
              <a:gd name="connsiteX7" fmla="*/ 6833 w 985382"/>
              <a:gd name="connsiteY7" fmla="*/ 5080 h 1049511"/>
              <a:gd name="connsiteX8" fmla="*/ 306246 w 985382"/>
              <a:gd name="connsiteY8" fmla="*/ 2801 h 1049511"/>
              <a:gd name="connsiteX9" fmla="*/ 972093 w 985382"/>
              <a:gd name="connsiteY9" fmla="*/ 1472 h 1049511"/>
              <a:gd name="connsiteX10" fmla="*/ 974181 w 985382"/>
              <a:gd name="connsiteY10" fmla="*/ 4510 h 1049511"/>
              <a:gd name="connsiteX11" fmla="*/ 985383 w 985382"/>
              <a:gd name="connsiteY11" fmla="*/ 1032614 h 1049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5382" h="1049511">
                <a:moveTo>
                  <a:pt x="985383" y="1032614"/>
                </a:moveTo>
                <a:lnTo>
                  <a:pt x="985383" y="1049512"/>
                </a:lnTo>
                <a:cubicBezTo>
                  <a:pt x="789255" y="1049512"/>
                  <a:pt x="509588" y="1038690"/>
                  <a:pt x="407253" y="1038879"/>
                </a:cubicBezTo>
                <a:cubicBezTo>
                  <a:pt x="342130" y="1038879"/>
                  <a:pt x="292006" y="1039069"/>
                  <a:pt x="249477" y="1039069"/>
                </a:cubicBezTo>
                <a:cubicBezTo>
                  <a:pt x="157014" y="1039069"/>
                  <a:pt x="100815" y="1038499"/>
                  <a:pt x="5504" y="1036791"/>
                </a:cubicBezTo>
                <a:cubicBezTo>
                  <a:pt x="4175" y="1036791"/>
                  <a:pt x="3226" y="1035272"/>
                  <a:pt x="3226" y="1033753"/>
                </a:cubicBezTo>
                <a:cubicBezTo>
                  <a:pt x="568" y="793957"/>
                  <a:pt x="-3040" y="341895"/>
                  <a:pt x="4555" y="7927"/>
                </a:cubicBezTo>
                <a:cubicBezTo>
                  <a:pt x="4555" y="6219"/>
                  <a:pt x="5504" y="5080"/>
                  <a:pt x="6833" y="5080"/>
                </a:cubicBezTo>
                <a:cubicBezTo>
                  <a:pt x="87335" y="5080"/>
                  <a:pt x="193658" y="3940"/>
                  <a:pt x="306246" y="2801"/>
                </a:cubicBezTo>
                <a:cubicBezTo>
                  <a:pt x="524777" y="713"/>
                  <a:pt x="772547" y="-1566"/>
                  <a:pt x="972093" y="1472"/>
                </a:cubicBezTo>
                <a:cubicBezTo>
                  <a:pt x="973232" y="1472"/>
                  <a:pt x="974181" y="2801"/>
                  <a:pt x="974181" y="4510"/>
                </a:cubicBezTo>
                <a:cubicBezTo>
                  <a:pt x="975890" y="206144"/>
                  <a:pt x="985383" y="810285"/>
                  <a:pt x="985383" y="1032614"/>
                </a:cubicBezTo>
                <a:close/>
              </a:path>
            </a:pathLst>
          </a:custGeom>
          <a:solidFill>
            <a:schemeClr val="bg1"/>
          </a:solidFill>
          <a:ln w="9525" cap="rnd">
            <a:solidFill>
              <a:srgbClr val="005950"/>
            </a:solidFill>
            <a:prstDash val="solid"/>
            <a:rou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6A9B622-1CCA-BA11-3133-666042F1A1BA}"/>
              </a:ext>
            </a:extLst>
          </p:cNvPr>
          <p:cNvSpPr/>
          <p:nvPr userDrawn="1"/>
        </p:nvSpPr>
        <p:spPr>
          <a:xfrm rot="21248695">
            <a:off x="5192300" y="4366359"/>
            <a:ext cx="1055064" cy="1103858"/>
          </a:xfrm>
          <a:custGeom>
            <a:avLst/>
            <a:gdLst>
              <a:gd name="connsiteX0" fmla="*/ 1053735 w 1055064"/>
              <a:gd name="connsiteY0" fmla="*/ 1027345 h 1103858"/>
              <a:gd name="connsiteX1" fmla="*/ 1055064 w 1055064"/>
              <a:gd name="connsiteY1" fmla="*/ 1044242 h 1103858"/>
              <a:gd name="connsiteX2" fmla="*/ 477693 w 1055064"/>
              <a:gd name="connsiteY2" fmla="*/ 1076329 h 1103858"/>
              <a:gd name="connsiteX3" fmla="*/ 320298 w 1055064"/>
              <a:gd name="connsiteY3" fmla="*/ 1088100 h 1103858"/>
              <a:gd name="connsiteX4" fmla="*/ 76894 w 1055064"/>
              <a:gd name="connsiteY4" fmla="*/ 1103859 h 1103858"/>
              <a:gd name="connsiteX5" fmla="*/ 74426 w 1055064"/>
              <a:gd name="connsiteY5" fmla="*/ 1101011 h 1103858"/>
              <a:gd name="connsiteX6" fmla="*/ 0 w 1055064"/>
              <a:gd name="connsiteY6" fmla="*/ 77844 h 1103858"/>
              <a:gd name="connsiteX7" fmla="*/ 2088 w 1055064"/>
              <a:gd name="connsiteY7" fmla="*/ 74806 h 1103858"/>
              <a:gd name="connsiteX8" fmla="*/ 300552 w 1055064"/>
              <a:gd name="connsiteY8" fmla="*/ 50503 h 1103858"/>
              <a:gd name="connsiteX9" fmla="*/ 964500 w 1055064"/>
              <a:gd name="connsiteY9" fmla="*/ 0 h 1103858"/>
              <a:gd name="connsiteX10" fmla="*/ 966778 w 1055064"/>
              <a:gd name="connsiteY10" fmla="*/ 2848 h 1103858"/>
              <a:gd name="connsiteX11" fmla="*/ 1053735 w 1055064"/>
              <a:gd name="connsiteY11" fmla="*/ 1027345 h 1103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5064" h="1103858">
                <a:moveTo>
                  <a:pt x="1053735" y="1027345"/>
                </a:moveTo>
                <a:lnTo>
                  <a:pt x="1055064" y="1044242"/>
                </a:lnTo>
                <a:cubicBezTo>
                  <a:pt x="859506" y="1058672"/>
                  <a:pt x="579839" y="1068545"/>
                  <a:pt x="477693" y="1076329"/>
                </a:cubicBezTo>
                <a:cubicBezTo>
                  <a:pt x="412760" y="1081076"/>
                  <a:pt x="362827" y="1085063"/>
                  <a:pt x="320298" y="1088100"/>
                </a:cubicBezTo>
                <a:cubicBezTo>
                  <a:pt x="228025" y="1094935"/>
                  <a:pt x="172015" y="1098543"/>
                  <a:pt x="76894" y="1103859"/>
                </a:cubicBezTo>
                <a:cubicBezTo>
                  <a:pt x="75565" y="1103859"/>
                  <a:pt x="74426" y="1102530"/>
                  <a:pt x="74426" y="1101011"/>
                </a:cubicBezTo>
                <a:cubicBezTo>
                  <a:pt x="54111" y="861975"/>
                  <a:pt x="17088" y="411431"/>
                  <a:pt x="0" y="77844"/>
                </a:cubicBezTo>
                <a:cubicBezTo>
                  <a:pt x="0" y="76135"/>
                  <a:pt x="759" y="74996"/>
                  <a:pt x="2088" y="74806"/>
                </a:cubicBezTo>
                <a:cubicBezTo>
                  <a:pt x="82400" y="68920"/>
                  <a:pt x="188343" y="59807"/>
                  <a:pt x="300552" y="50503"/>
                </a:cubicBezTo>
                <a:cubicBezTo>
                  <a:pt x="518324" y="32277"/>
                  <a:pt x="765335" y="11772"/>
                  <a:pt x="964500" y="0"/>
                </a:cubicBezTo>
                <a:cubicBezTo>
                  <a:pt x="965639" y="0"/>
                  <a:pt x="966589" y="1139"/>
                  <a:pt x="966778" y="2848"/>
                </a:cubicBezTo>
                <a:cubicBezTo>
                  <a:pt x="983296" y="203722"/>
                  <a:pt x="1037407" y="805586"/>
                  <a:pt x="1053735" y="1027345"/>
                </a:cubicBezTo>
                <a:close/>
              </a:path>
            </a:pathLst>
          </a:custGeom>
          <a:solidFill>
            <a:schemeClr val="bg1"/>
          </a:solidFill>
          <a:ln w="9525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lvl="0" rtl="0"/>
            <a:endParaRPr lang="da-DK"/>
          </a:p>
        </p:txBody>
      </p:sp>
      <p:grpSp>
        <p:nvGrpSpPr>
          <p:cNvPr id="62" name="Graphic 580">
            <a:extLst>
              <a:ext uri="{FF2B5EF4-FFF2-40B4-BE49-F238E27FC236}">
                <a16:creationId xmlns:a16="http://schemas.microsoft.com/office/drawing/2014/main" id="{1CDA83A4-771E-E0CF-4FD0-A0E93A00EF0C}"/>
              </a:ext>
            </a:extLst>
          </p:cNvPr>
          <p:cNvGrpSpPr/>
          <p:nvPr userDrawn="1"/>
        </p:nvGrpSpPr>
        <p:grpSpPr>
          <a:xfrm rot="21248695">
            <a:off x="5291640" y="4543472"/>
            <a:ext cx="584987" cy="384871"/>
            <a:chOff x="4796182" y="4344989"/>
            <a:chExt cx="584987" cy="384871"/>
          </a:xfrm>
          <a:solidFill>
            <a:schemeClr val="accent1"/>
          </a:solidFill>
        </p:grpSpPr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C52A8485-8676-B21C-7301-CB87D785AA5A}"/>
                </a:ext>
              </a:extLst>
            </p:cNvPr>
            <p:cNvSpPr/>
            <p:nvPr/>
          </p:nvSpPr>
          <p:spPr>
            <a:xfrm>
              <a:off x="4860166" y="4344989"/>
              <a:ext cx="503914" cy="40461"/>
            </a:xfrm>
            <a:custGeom>
              <a:avLst/>
              <a:gdLst>
                <a:gd name="connsiteX0" fmla="*/ 498589 w 503914"/>
                <a:gd name="connsiteY0" fmla="*/ 11592 h 40461"/>
                <a:gd name="connsiteX1" fmla="*/ 498589 w 503914"/>
                <a:gd name="connsiteY1" fmla="*/ 11592 h 40461"/>
                <a:gd name="connsiteX2" fmla="*/ 6086 w 503914"/>
                <a:gd name="connsiteY2" fmla="*/ 40451 h 40461"/>
                <a:gd name="connsiteX3" fmla="*/ 10 w 503914"/>
                <a:gd name="connsiteY3" fmla="*/ 34945 h 40461"/>
                <a:gd name="connsiteX4" fmla="*/ 5326 w 503914"/>
                <a:gd name="connsiteY4" fmla="*/ 28869 h 40461"/>
                <a:gd name="connsiteX5" fmla="*/ 5326 w 503914"/>
                <a:gd name="connsiteY5" fmla="*/ 28869 h 40461"/>
                <a:gd name="connsiteX6" fmla="*/ 497829 w 503914"/>
                <a:gd name="connsiteY6" fmla="*/ 10 h 40461"/>
                <a:gd name="connsiteX7" fmla="*/ 503905 w 503914"/>
                <a:gd name="connsiteY7" fmla="*/ 5516 h 40461"/>
                <a:gd name="connsiteX8" fmla="*/ 498589 w 503914"/>
                <a:gd name="connsiteY8" fmla="*/ 11592 h 40461"/>
                <a:gd name="connsiteX9" fmla="*/ 498589 w 503914"/>
                <a:gd name="connsiteY9" fmla="*/ 11592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914" h="40461">
                  <a:moveTo>
                    <a:pt x="498589" y="11592"/>
                  </a:moveTo>
                  <a:lnTo>
                    <a:pt x="498589" y="11592"/>
                  </a:lnTo>
                  <a:lnTo>
                    <a:pt x="6086" y="40451"/>
                  </a:lnTo>
                  <a:cubicBezTo>
                    <a:pt x="2858" y="40641"/>
                    <a:pt x="10" y="38172"/>
                    <a:pt x="10" y="34945"/>
                  </a:cubicBezTo>
                  <a:cubicBezTo>
                    <a:pt x="-180" y="31907"/>
                    <a:pt x="2289" y="29059"/>
                    <a:pt x="5326" y="28869"/>
                  </a:cubicBezTo>
                  <a:lnTo>
                    <a:pt x="5326" y="28869"/>
                  </a:lnTo>
                  <a:lnTo>
                    <a:pt x="497829" y="10"/>
                  </a:lnTo>
                  <a:cubicBezTo>
                    <a:pt x="501057" y="-180"/>
                    <a:pt x="503905" y="2289"/>
                    <a:pt x="503905" y="5516"/>
                  </a:cubicBezTo>
                  <a:cubicBezTo>
                    <a:pt x="504094" y="8554"/>
                    <a:pt x="501626" y="11402"/>
                    <a:pt x="498589" y="11592"/>
                  </a:cubicBezTo>
                  <a:lnTo>
                    <a:pt x="498589" y="11592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93C8133D-DF3E-F0C6-72A6-64C97F05AE5F}"/>
                </a:ext>
              </a:extLst>
            </p:cNvPr>
            <p:cNvSpPr/>
            <p:nvPr/>
          </p:nvSpPr>
          <p:spPr>
            <a:xfrm>
              <a:off x="4796182" y="4522699"/>
              <a:ext cx="357532" cy="40652"/>
            </a:xfrm>
            <a:custGeom>
              <a:avLst/>
              <a:gdLst>
                <a:gd name="connsiteX0" fmla="*/ 6277 w 357532"/>
                <a:gd name="connsiteY0" fmla="*/ 40642 h 40652"/>
                <a:gd name="connsiteX1" fmla="*/ 11 w 357532"/>
                <a:gd name="connsiteY1" fmla="*/ 35325 h 40652"/>
                <a:gd name="connsiteX2" fmla="*/ 5327 w 357532"/>
                <a:gd name="connsiteY2" fmla="*/ 29060 h 40652"/>
                <a:gd name="connsiteX3" fmla="*/ 351256 w 357532"/>
                <a:gd name="connsiteY3" fmla="*/ 11 h 40652"/>
                <a:gd name="connsiteX4" fmla="*/ 351256 w 357532"/>
                <a:gd name="connsiteY4" fmla="*/ 11 h 40652"/>
                <a:gd name="connsiteX5" fmla="*/ 357522 w 357532"/>
                <a:gd name="connsiteY5" fmla="*/ 5327 h 40652"/>
                <a:gd name="connsiteX6" fmla="*/ 352206 w 357532"/>
                <a:gd name="connsiteY6" fmla="*/ 11593 h 40652"/>
                <a:gd name="connsiteX7" fmla="*/ 6277 w 357532"/>
                <a:gd name="connsiteY7" fmla="*/ 40642 h 40652"/>
                <a:gd name="connsiteX8" fmla="*/ 6277 w 357532"/>
                <a:gd name="connsiteY8" fmla="*/ 40642 h 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7532" h="40652">
                  <a:moveTo>
                    <a:pt x="6277" y="40642"/>
                  </a:moveTo>
                  <a:cubicBezTo>
                    <a:pt x="3049" y="40831"/>
                    <a:pt x="201" y="38553"/>
                    <a:pt x="11" y="35325"/>
                  </a:cubicBezTo>
                  <a:cubicBezTo>
                    <a:pt x="-179" y="32098"/>
                    <a:pt x="2100" y="29250"/>
                    <a:pt x="5327" y="29060"/>
                  </a:cubicBezTo>
                  <a:lnTo>
                    <a:pt x="351256" y="11"/>
                  </a:lnTo>
                  <a:lnTo>
                    <a:pt x="351256" y="11"/>
                  </a:lnTo>
                  <a:cubicBezTo>
                    <a:pt x="354484" y="-179"/>
                    <a:pt x="357332" y="2100"/>
                    <a:pt x="357522" y="5327"/>
                  </a:cubicBezTo>
                  <a:cubicBezTo>
                    <a:pt x="357712" y="8555"/>
                    <a:pt x="355433" y="11403"/>
                    <a:pt x="352206" y="11593"/>
                  </a:cubicBezTo>
                  <a:lnTo>
                    <a:pt x="6277" y="40642"/>
                  </a:lnTo>
                  <a:lnTo>
                    <a:pt x="6277" y="40642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58A2EA82-01DF-4E27-8283-8930888ED7DC}"/>
                </a:ext>
              </a:extLst>
            </p:cNvPr>
            <p:cNvSpPr/>
            <p:nvPr/>
          </p:nvSpPr>
          <p:spPr>
            <a:xfrm>
              <a:off x="4887127" y="4686740"/>
              <a:ext cx="494042" cy="43119"/>
            </a:xfrm>
            <a:custGeom>
              <a:avLst/>
              <a:gdLst>
                <a:gd name="connsiteX0" fmla="*/ 390747 w 494042"/>
                <a:gd name="connsiteY0" fmla="*/ 20326 h 43119"/>
                <a:gd name="connsiteX1" fmla="*/ 6086 w 494042"/>
                <a:gd name="connsiteY1" fmla="*/ 43110 h 43119"/>
                <a:gd name="connsiteX2" fmla="*/ 10 w 494042"/>
                <a:gd name="connsiteY2" fmla="*/ 37414 h 43119"/>
                <a:gd name="connsiteX3" fmla="*/ 5706 w 494042"/>
                <a:gd name="connsiteY3" fmla="*/ 31338 h 43119"/>
                <a:gd name="connsiteX4" fmla="*/ 487766 w 494042"/>
                <a:gd name="connsiteY4" fmla="*/ 11 h 43119"/>
                <a:gd name="connsiteX5" fmla="*/ 487766 w 494042"/>
                <a:gd name="connsiteY5" fmla="*/ 11 h 43119"/>
                <a:gd name="connsiteX6" fmla="*/ 494032 w 494042"/>
                <a:gd name="connsiteY6" fmla="*/ 5327 h 43119"/>
                <a:gd name="connsiteX7" fmla="*/ 488716 w 494042"/>
                <a:gd name="connsiteY7" fmla="*/ 11593 h 43119"/>
                <a:gd name="connsiteX8" fmla="*/ 390747 w 494042"/>
                <a:gd name="connsiteY8" fmla="*/ 20136 h 43119"/>
                <a:gd name="connsiteX9" fmla="*/ 390747 w 494042"/>
                <a:gd name="connsiteY9" fmla="*/ 20136 h 4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042" h="43119">
                  <a:moveTo>
                    <a:pt x="390747" y="20326"/>
                  </a:moveTo>
                  <a:cubicBezTo>
                    <a:pt x="262780" y="30769"/>
                    <a:pt x="133863" y="38363"/>
                    <a:pt x="6086" y="43110"/>
                  </a:cubicBezTo>
                  <a:cubicBezTo>
                    <a:pt x="2858" y="43300"/>
                    <a:pt x="200" y="40831"/>
                    <a:pt x="10" y="37414"/>
                  </a:cubicBezTo>
                  <a:cubicBezTo>
                    <a:pt x="-180" y="34186"/>
                    <a:pt x="2289" y="31338"/>
                    <a:pt x="5706" y="31338"/>
                  </a:cubicBezTo>
                  <a:cubicBezTo>
                    <a:pt x="165760" y="25263"/>
                    <a:pt x="328092" y="14820"/>
                    <a:pt x="487766" y="11"/>
                  </a:cubicBezTo>
                  <a:lnTo>
                    <a:pt x="487766" y="11"/>
                  </a:lnTo>
                  <a:cubicBezTo>
                    <a:pt x="490804" y="-179"/>
                    <a:pt x="493842" y="2100"/>
                    <a:pt x="494032" y="5327"/>
                  </a:cubicBezTo>
                  <a:cubicBezTo>
                    <a:pt x="494222" y="8555"/>
                    <a:pt x="491943" y="11403"/>
                    <a:pt x="488716" y="11593"/>
                  </a:cubicBezTo>
                  <a:cubicBezTo>
                    <a:pt x="456249" y="14630"/>
                    <a:pt x="423403" y="17478"/>
                    <a:pt x="390747" y="20136"/>
                  </a:cubicBezTo>
                  <a:lnTo>
                    <a:pt x="390747" y="20136"/>
                  </a:lnTo>
                  <a:close/>
                </a:path>
              </a:pathLst>
            </a:custGeom>
            <a:grpFill/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2096" name="Group 2095">
            <a:extLst>
              <a:ext uri="{FF2B5EF4-FFF2-40B4-BE49-F238E27FC236}">
                <a16:creationId xmlns:a16="http://schemas.microsoft.com/office/drawing/2014/main" id="{CE9C51EF-6C6C-C403-2042-DE6AFF0C843A}"/>
              </a:ext>
            </a:extLst>
          </p:cNvPr>
          <p:cNvGrpSpPr>
            <a:grpSpLocks/>
          </p:cNvGrpSpPr>
          <p:nvPr userDrawn="1"/>
        </p:nvGrpSpPr>
        <p:grpSpPr>
          <a:xfrm>
            <a:off x="11008722" y="3690322"/>
            <a:ext cx="554886" cy="533545"/>
            <a:chOff x="11215255" y="1003300"/>
            <a:chExt cx="754074" cy="725328"/>
          </a:xfrm>
        </p:grpSpPr>
        <p:sp>
          <p:nvSpPr>
            <p:cNvPr id="2097" name="Freeform: Shape 2096">
              <a:extLst>
                <a:ext uri="{FF2B5EF4-FFF2-40B4-BE49-F238E27FC236}">
                  <a16:creationId xmlns:a16="http://schemas.microsoft.com/office/drawing/2014/main" id="{0846697B-F548-3D67-566D-3CB7A8C83672}"/>
                </a:ext>
              </a:extLst>
            </p:cNvPr>
            <p:cNvSpPr/>
            <p:nvPr/>
          </p:nvSpPr>
          <p:spPr>
            <a:xfrm>
              <a:off x="11222035" y="1016244"/>
              <a:ext cx="729019" cy="705160"/>
            </a:xfrm>
            <a:custGeom>
              <a:avLst/>
              <a:gdLst>
                <a:gd name="connsiteX0" fmla="*/ 458227 w 536449"/>
                <a:gd name="connsiteY0" fmla="*/ 215304 h 518893"/>
                <a:gd name="connsiteX1" fmla="*/ 436962 w 536449"/>
                <a:gd name="connsiteY1" fmla="*/ 143346 h 518893"/>
                <a:gd name="connsiteX2" fmla="*/ 481960 w 536449"/>
                <a:gd name="connsiteY2" fmla="*/ 78413 h 518893"/>
                <a:gd name="connsiteX3" fmla="*/ 371080 w 536449"/>
                <a:gd name="connsiteY3" fmla="*/ 0 h 518893"/>
                <a:gd name="connsiteX4" fmla="*/ 328171 w 536449"/>
                <a:gd name="connsiteY4" fmla="*/ 71388 h 518893"/>
                <a:gd name="connsiteX5" fmla="*/ 325323 w 536449"/>
                <a:gd name="connsiteY5" fmla="*/ 74806 h 518893"/>
                <a:gd name="connsiteX6" fmla="*/ 319627 w 536449"/>
                <a:gd name="connsiteY6" fmla="*/ 75945 h 518893"/>
                <a:gd name="connsiteX7" fmla="*/ 245581 w 536449"/>
                <a:gd name="connsiteY7" fmla="*/ 74616 h 518893"/>
                <a:gd name="connsiteX8" fmla="*/ 208368 w 536449"/>
                <a:gd name="connsiteY8" fmla="*/ 7215 h 518893"/>
                <a:gd name="connsiteX9" fmla="*/ 204191 w 536449"/>
                <a:gd name="connsiteY9" fmla="*/ 3228 h 518893"/>
                <a:gd name="connsiteX10" fmla="*/ 198685 w 536449"/>
                <a:gd name="connsiteY10" fmla="*/ 4936 h 518893"/>
                <a:gd name="connsiteX11" fmla="*/ 110779 w 536449"/>
                <a:gd name="connsiteY11" fmla="*/ 58857 h 518893"/>
                <a:gd name="connsiteX12" fmla="*/ 108880 w 536449"/>
                <a:gd name="connsiteY12" fmla="*/ 60566 h 518893"/>
                <a:gd name="connsiteX13" fmla="*/ 109830 w 536449"/>
                <a:gd name="connsiteY13" fmla="*/ 67021 h 518893"/>
                <a:gd name="connsiteX14" fmla="*/ 149131 w 536449"/>
                <a:gd name="connsiteY14" fmla="*/ 122841 h 518893"/>
                <a:gd name="connsiteX15" fmla="*/ 106602 w 536449"/>
                <a:gd name="connsiteY15" fmla="*/ 193090 h 518893"/>
                <a:gd name="connsiteX16" fmla="*/ 92742 w 536449"/>
                <a:gd name="connsiteY16" fmla="*/ 205811 h 518893"/>
                <a:gd name="connsiteX17" fmla="*/ 77173 w 536449"/>
                <a:gd name="connsiteY17" fmla="*/ 204482 h 518893"/>
                <a:gd name="connsiteX18" fmla="*/ 15848 w 536449"/>
                <a:gd name="connsiteY18" fmla="*/ 184166 h 518893"/>
                <a:gd name="connsiteX19" fmla="*/ 6544 w 536449"/>
                <a:gd name="connsiteY19" fmla="*/ 316690 h 518893"/>
                <a:gd name="connsiteX20" fmla="*/ 84768 w 536449"/>
                <a:gd name="connsiteY20" fmla="*/ 308906 h 518893"/>
                <a:gd name="connsiteX21" fmla="*/ 130335 w 536449"/>
                <a:gd name="connsiteY21" fmla="*/ 389787 h 518893"/>
                <a:gd name="connsiteX22" fmla="*/ 93691 w 536449"/>
                <a:gd name="connsiteY22" fmla="*/ 451302 h 518893"/>
                <a:gd name="connsiteX23" fmla="*/ 177610 w 536449"/>
                <a:gd name="connsiteY23" fmla="*/ 513767 h 518893"/>
                <a:gd name="connsiteX24" fmla="*/ 221279 w 536449"/>
                <a:gd name="connsiteY24" fmla="*/ 448644 h 518893"/>
                <a:gd name="connsiteX25" fmla="*/ 298363 w 536449"/>
                <a:gd name="connsiteY25" fmla="*/ 450163 h 518893"/>
                <a:gd name="connsiteX26" fmla="*/ 327981 w 536449"/>
                <a:gd name="connsiteY26" fmla="*/ 518893 h 518893"/>
                <a:gd name="connsiteX27" fmla="*/ 442848 w 536449"/>
                <a:gd name="connsiteY27" fmla="*/ 478453 h 518893"/>
                <a:gd name="connsiteX28" fmla="*/ 414938 w 536449"/>
                <a:gd name="connsiteY28" fmla="*/ 408014 h 518893"/>
                <a:gd name="connsiteX29" fmla="*/ 456138 w 536449"/>
                <a:gd name="connsiteY29" fmla="*/ 339664 h 518893"/>
                <a:gd name="connsiteX30" fmla="*/ 533982 w 536449"/>
                <a:gd name="connsiteY30" fmla="*/ 333208 h 518893"/>
                <a:gd name="connsiteX31" fmla="*/ 536450 w 536449"/>
                <a:gd name="connsiteY31" fmla="*/ 236378 h 518893"/>
                <a:gd name="connsiteX32" fmla="*/ 458227 w 536449"/>
                <a:gd name="connsiteY32" fmla="*/ 215304 h 518893"/>
                <a:gd name="connsiteX33" fmla="*/ 458227 w 536449"/>
                <a:gd name="connsiteY33" fmla="*/ 215304 h 518893"/>
                <a:gd name="connsiteX34" fmla="*/ 325893 w 536449"/>
                <a:gd name="connsiteY34" fmla="*/ 251947 h 518893"/>
                <a:gd name="connsiteX35" fmla="*/ 322475 w 536449"/>
                <a:gd name="connsiteY35" fmla="*/ 265238 h 518893"/>
                <a:gd name="connsiteX36" fmla="*/ 318678 w 536449"/>
                <a:gd name="connsiteY36" fmla="*/ 272832 h 518893"/>
                <a:gd name="connsiteX37" fmla="*/ 308236 w 536449"/>
                <a:gd name="connsiteY37" fmla="*/ 285553 h 518893"/>
                <a:gd name="connsiteX38" fmla="*/ 280326 w 536449"/>
                <a:gd name="connsiteY38" fmla="*/ 302830 h 518893"/>
                <a:gd name="connsiteX39" fmla="*/ 267035 w 536449"/>
                <a:gd name="connsiteY39" fmla="*/ 306248 h 518893"/>
                <a:gd name="connsiteX40" fmla="*/ 255454 w 536449"/>
                <a:gd name="connsiteY40" fmla="*/ 306817 h 518893"/>
                <a:gd name="connsiteX41" fmla="*/ 248049 w 536449"/>
                <a:gd name="connsiteY41" fmla="*/ 305678 h 518893"/>
                <a:gd name="connsiteX42" fmla="*/ 244822 w 536449"/>
                <a:gd name="connsiteY42" fmla="*/ 304919 h 518893"/>
                <a:gd name="connsiteX43" fmla="*/ 215773 w 536449"/>
                <a:gd name="connsiteY43" fmla="*/ 280616 h 518893"/>
                <a:gd name="connsiteX44" fmla="*/ 208938 w 536449"/>
                <a:gd name="connsiteY44" fmla="*/ 258972 h 518893"/>
                <a:gd name="connsiteX45" fmla="*/ 213115 w 536449"/>
                <a:gd name="connsiteY45" fmla="*/ 238847 h 518893"/>
                <a:gd name="connsiteX46" fmla="*/ 226595 w 536449"/>
                <a:gd name="connsiteY46" fmla="*/ 212646 h 518893"/>
                <a:gd name="connsiteX47" fmla="*/ 250328 w 536449"/>
                <a:gd name="connsiteY47" fmla="*/ 189293 h 518893"/>
                <a:gd name="connsiteX48" fmla="*/ 280516 w 536449"/>
                <a:gd name="connsiteY48" fmla="*/ 187204 h 518893"/>
                <a:gd name="connsiteX49" fmla="*/ 292857 w 536449"/>
                <a:gd name="connsiteY49" fmla="*/ 186255 h 518893"/>
                <a:gd name="connsiteX50" fmla="*/ 311084 w 536449"/>
                <a:gd name="connsiteY50" fmla="*/ 198596 h 518893"/>
                <a:gd name="connsiteX51" fmla="*/ 322096 w 536449"/>
                <a:gd name="connsiteY51" fmla="*/ 217582 h 518893"/>
                <a:gd name="connsiteX52" fmla="*/ 324184 w 536449"/>
                <a:gd name="connsiteY52" fmla="*/ 224607 h 518893"/>
                <a:gd name="connsiteX53" fmla="*/ 324944 w 536449"/>
                <a:gd name="connsiteY53" fmla="*/ 228784 h 518893"/>
                <a:gd name="connsiteX54" fmla="*/ 325703 w 536449"/>
                <a:gd name="connsiteY54" fmla="*/ 235239 h 518893"/>
                <a:gd name="connsiteX55" fmla="*/ 325703 w 536449"/>
                <a:gd name="connsiteY55" fmla="*/ 233910 h 518893"/>
                <a:gd name="connsiteX56" fmla="*/ 325703 w 536449"/>
                <a:gd name="connsiteY56" fmla="*/ 233720 h 518893"/>
                <a:gd name="connsiteX57" fmla="*/ 326462 w 536449"/>
                <a:gd name="connsiteY57" fmla="*/ 240176 h 518893"/>
                <a:gd name="connsiteX58" fmla="*/ 326462 w 536449"/>
                <a:gd name="connsiteY58" fmla="*/ 243403 h 518893"/>
                <a:gd name="connsiteX59" fmla="*/ 325513 w 536449"/>
                <a:gd name="connsiteY59" fmla="*/ 251567 h 518893"/>
                <a:gd name="connsiteX60" fmla="*/ 325513 w 536449"/>
                <a:gd name="connsiteY60" fmla="*/ 251947 h 51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36449" h="518893">
                  <a:moveTo>
                    <a:pt x="458227" y="215304"/>
                  </a:moveTo>
                  <a:lnTo>
                    <a:pt x="436962" y="143346"/>
                  </a:lnTo>
                  <a:lnTo>
                    <a:pt x="481960" y="78413"/>
                  </a:lnTo>
                  <a:lnTo>
                    <a:pt x="371080" y="0"/>
                  </a:lnTo>
                  <a:cubicBezTo>
                    <a:pt x="356650" y="23923"/>
                    <a:pt x="342601" y="47655"/>
                    <a:pt x="328171" y="71388"/>
                  </a:cubicBezTo>
                  <a:cubicBezTo>
                    <a:pt x="327412" y="72717"/>
                    <a:pt x="326652" y="73856"/>
                    <a:pt x="325323" y="74806"/>
                  </a:cubicBezTo>
                  <a:cubicBezTo>
                    <a:pt x="323614" y="75945"/>
                    <a:pt x="321716" y="75945"/>
                    <a:pt x="319627" y="75945"/>
                  </a:cubicBezTo>
                  <a:cubicBezTo>
                    <a:pt x="294945" y="75755"/>
                    <a:pt x="270263" y="75185"/>
                    <a:pt x="245581" y="74616"/>
                  </a:cubicBezTo>
                  <a:cubicBezTo>
                    <a:pt x="233430" y="51073"/>
                    <a:pt x="221658" y="28669"/>
                    <a:pt x="208368" y="7215"/>
                  </a:cubicBezTo>
                  <a:cubicBezTo>
                    <a:pt x="207419" y="5506"/>
                    <a:pt x="206090" y="3607"/>
                    <a:pt x="204191" y="3228"/>
                  </a:cubicBezTo>
                  <a:cubicBezTo>
                    <a:pt x="202292" y="2848"/>
                    <a:pt x="200394" y="3797"/>
                    <a:pt x="198685" y="4936"/>
                  </a:cubicBezTo>
                  <a:cubicBezTo>
                    <a:pt x="169446" y="22973"/>
                    <a:pt x="140018" y="40820"/>
                    <a:pt x="110779" y="58857"/>
                  </a:cubicBezTo>
                  <a:cubicBezTo>
                    <a:pt x="110019" y="59237"/>
                    <a:pt x="109260" y="59807"/>
                    <a:pt x="108880" y="60566"/>
                  </a:cubicBezTo>
                  <a:cubicBezTo>
                    <a:pt x="107551" y="62465"/>
                    <a:pt x="108880" y="64933"/>
                    <a:pt x="109830" y="67021"/>
                  </a:cubicBezTo>
                  <a:cubicBezTo>
                    <a:pt x="120842" y="86957"/>
                    <a:pt x="134132" y="105753"/>
                    <a:pt x="149131" y="122841"/>
                  </a:cubicBezTo>
                  <a:cubicBezTo>
                    <a:pt x="135841" y="147903"/>
                    <a:pt x="121981" y="171066"/>
                    <a:pt x="106602" y="193090"/>
                  </a:cubicBezTo>
                  <a:cubicBezTo>
                    <a:pt x="102995" y="198406"/>
                    <a:pt x="98818" y="204102"/>
                    <a:pt x="92742" y="205811"/>
                  </a:cubicBezTo>
                  <a:cubicBezTo>
                    <a:pt x="87616" y="207330"/>
                    <a:pt x="82299" y="205811"/>
                    <a:pt x="77173" y="204482"/>
                  </a:cubicBezTo>
                  <a:cubicBezTo>
                    <a:pt x="56478" y="198596"/>
                    <a:pt x="36163" y="191761"/>
                    <a:pt x="15848" y="184166"/>
                  </a:cubicBezTo>
                  <a:cubicBezTo>
                    <a:pt x="-1430" y="225556"/>
                    <a:pt x="-4657" y="273022"/>
                    <a:pt x="6544" y="316690"/>
                  </a:cubicBezTo>
                  <a:cubicBezTo>
                    <a:pt x="8253" y="320108"/>
                    <a:pt x="84768" y="308906"/>
                    <a:pt x="84768" y="308906"/>
                  </a:cubicBezTo>
                  <a:lnTo>
                    <a:pt x="130335" y="389787"/>
                  </a:lnTo>
                  <a:lnTo>
                    <a:pt x="93691" y="451302"/>
                  </a:lnTo>
                  <a:lnTo>
                    <a:pt x="177610" y="513767"/>
                  </a:lnTo>
                  <a:lnTo>
                    <a:pt x="221279" y="448644"/>
                  </a:lnTo>
                  <a:lnTo>
                    <a:pt x="298363" y="450163"/>
                  </a:lnTo>
                  <a:lnTo>
                    <a:pt x="327981" y="518893"/>
                  </a:lnTo>
                  <a:lnTo>
                    <a:pt x="442848" y="478453"/>
                  </a:lnTo>
                  <a:lnTo>
                    <a:pt x="414938" y="408014"/>
                  </a:lnTo>
                  <a:lnTo>
                    <a:pt x="456138" y="339664"/>
                  </a:lnTo>
                  <a:lnTo>
                    <a:pt x="533982" y="333208"/>
                  </a:lnTo>
                  <a:lnTo>
                    <a:pt x="536450" y="236378"/>
                  </a:lnTo>
                  <a:lnTo>
                    <a:pt x="458227" y="215304"/>
                  </a:lnTo>
                  <a:lnTo>
                    <a:pt x="458227" y="215304"/>
                  </a:lnTo>
                  <a:close/>
                  <a:moveTo>
                    <a:pt x="325893" y="251947"/>
                  </a:moveTo>
                  <a:cubicBezTo>
                    <a:pt x="326652" y="255365"/>
                    <a:pt x="323804" y="262010"/>
                    <a:pt x="322475" y="265238"/>
                  </a:cubicBezTo>
                  <a:cubicBezTo>
                    <a:pt x="321336" y="267896"/>
                    <a:pt x="320197" y="270554"/>
                    <a:pt x="318678" y="272832"/>
                  </a:cubicBezTo>
                  <a:cubicBezTo>
                    <a:pt x="315830" y="277389"/>
                    <a:pt x="312033" y="281755"/>
                    <a:pt x="308236" y="285553"/>
                  </a:cubicBezTo>
                  <a:cubicBezTo>
                    <a:pt x="300071" y="293337"/>
                    <a:pt x="290958" y="299033"/>
                    <a:pt x="280326" y="302830"/>
                  </a:cubicBezTo>
                  <a:cubicBezTo>
                    <a:pt x="276149" y="304349"/>
                    <a:pt x="271592" y="305488"/>
                    <a:pt x="267035" y="306248"/>
                  </a:cubicBezTo>
                  <a:cubicBezTo>
                    <a:pt x="263048" y="307007"/>
                    <a:pt x="259441" y="307197"/>
                    <a:pt x="255454" y="306817"/>
                  </a:cubicBezTo>
                  <a:cubicBezTo>
                    <a:pt x="252986" y="306628"/>
                    <a:pt x="250517" y="305868"/>
                    <a:pt x="248049" y="305678"/>
                  </a:cubicBezTo>
                  <a:cubicBezTo>
                    <a:pt x="254884" y="305678"/>
                    <a:pt x="247480" y="305678"/>
                    <a:pt x="244822" y="304919"/>
                  </a:cubicBezTo>
                  <a:cubicBezTo>
                    <a:pt x="233050" y="301501"/>
                    <a:pt x="221469" y="291628"/>
                    <a:pt x="215773" y="280616"/>
                  </a:cubicBezTo>
                  <a:cubicBezTo>
                    <a:pt x="212355" y="273971"/>
                    <a:pt x="209317" y="266567"/>
                    <a:pt x="208938" y="258972"/>
                  </a:cubicBezTo>
                  <a:cubicBezTo>
                    <a:pt x="208748" y="252137"/>
                    <a:pt x="210456" y="245112"/>
                    <a:pt x="213115" y="238847"/>
                  </a:cubicBezTo>
                  <a:cubicBezTo>
                    <a:pt x="216722" y="229923"/>
                    <a:pt x="221089" y="220810"/>
                    <a:pt x="226595" y="212646"/>
                  </a:cubicBezTo>
                  <a:cubicBezTo>
                    <a:pt x="232670" y="203532"/>
                    <a:pt x="240455" y="194229"/>
                    <a:pt x="250328" y="189293"/>
                  </a:cubicBezTo>
                  <a:cubicBezTo>
                    <a:pt x="260200" y="184166"/>
                    <a:pt x="271023" y="183407"/>
                    <a:pt x="280516" y="187204"/>
                  </a:cubicBezTo>
                  <a:cubicBezTo>
                    <a:pt x="284503" y="185305"/>
                    <a:pt x="289060" y="184736"/>
                    <a:pt x="292857" y="186255"/>
                  </a:cubicBezTo>
                  <a:cubicBezTo>
                    <a:pt x="300071" y="188913"/>
                    <a:pt x="306147" y="192520"/>
                    <a:pt x="311084" y="198596"/>
                  </a:cubicBezTo>
                  <a:cubicBezTo>
                    <a:pt x="316020" y="204482"/>
                    <a:pt x="319248" y="210367"/>
                    <a:pt x="322096" y="217582"/>
                  </a:cubicBezTo>
                  <a:cubicBezTo>
                    <a:pt x="322855" y="219860"/>
                    <a:pt x="323614" y="222139"/>
                    <a:pt x="324184" y="224607"/>
                  </a:cubicBezTo>
                  <a:cubicBezTo>
                    <a:pt x="324374" y="225936"/>
                    <a:pt x="324754" y="227265"/>
                    <a:pt x="324944" y="228784"/>
                  </a:cubicBezTo>
                  <a:cubicBezTo>
                    <a:pt x="325133" y="230872"/>
                    <a:pt x="325513" y="232961"/>
                    <a:pt x="325703" y="235239"/>
                  </a:cubicBezTo>
                  <a:lnTo>
                    <a:pt x="325703" y="233910"/>
                  </a:lnTo>
                  <a:cubicBezTo>
                    <a:pt x="325703" y="232012"/>
                    <a:pt x="325703" y="232012"/>
                    <a:pt x="325703" y="233720"/>
                  </a:cubicBezTo>
                  <a:cubicBezTo>
                    <a:pt x="325893" y="235809"/>
                    <a:pt x="326273" y="238087"/>
                    <a:pt x="326462" y="240176"/>
                  </a:cubicBezTo>
                  <a:cubicBezTo>
                    <a:pt x="326462" y="241315"/>
                    <a:pt x="326462" y="242454"/>
                    <a:pt x="326462" y="243403"/>
                  </a:cubicBezTo>
                  <a:cubicBezTo>
                    <a:pt x="326462" y="246061"/>
                    <a:pt x="326273" y="249099"/>
                    <a:pt x="325513" y="251567"/>
                  </a:cubicBezTo>
                  <a:lnTo>
                    <a:pt x="325513" y="251947"/>
                  </a:lnTo>
                  <a:close/>
                </a:path>
              </a:pathLst>
            </a:custGeom>
            <a:solidFill>
              <a:srgbClr val="B6C2D6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2098" name="Freeform: Shape 2097">
              <a:extLst>
                <a:ext uri="{FF2B5EF4-FFF2-40B4-BE49-F238E27FC236}">
                  <a16:creationId xmlns:a16="http://schemas.microsoft.com/office/drawing/2014/main" id="{02E95315-DA3B-F9B4-94FB-E5B232764DAF}"/>
                </a:ext>
              </a:extLst>
            </p:cNvPr>
            <p:cNvSpPr/>
            <p:nvPr/>
          </p:nvSpPr>
          <p:spPr>
            <a:xfrm>
              <a:off x="11383626" y="1111807"/>
              <a:ext cx="109513" cy="313393"/>
            </a:xfrm>
            <a:custGeom>
              <a:avLst/>
              <a:gdLst>
                <a:gd name="connsiteX0" fmla="*/ 1935 w 80585"/>
                <a:gd name="connsiteY0" fmla="*/ 230612 h 230611"/>
                <a:gd name="connsiteX1" fmla="*/ 1365 w 80585"/>
                <a:gd name="connsiteY1" fmla="*/ 230612 h 230611"/>
                <a:gd name="connsiteX2" fmla="*/ 36 w 80585"/>
                <a:gd name="connsiteY2" fmla="*/ 228144 h 230611"/>
                <a:gd name="connsiteX3" fmla="*/ 76931 w 80585"/>
                <a:gd name="connsiteY3" fmla="*/ 1258 h 230611"/>
                <a:gd name="connsiteX4" fmla="*/ 79399 w 80585"/>
                <a:gd name="connsiteY4" fmla="*/ 119 h 230611"/>
                <a:gd name="connsiteX5" fmla="*/ 80538 w 80585"/>
                <a:gd name="connsiteY5" fmla="*/ 2587 h 230611"/>
                <a:gd name="connsiteX6" fmla="*/ 3834 w 80585"/>
                <a:gd name="connsiteY6" fmla="*/ 229093 h 230611"/>
                <a:gd name="connsiteX7" fmla="*/ 1935 w 80585"/>
                <a:gd name="connsiteY7" fmla="*/ 230422 h 230611"/>
                <a:gd name="connsiteX8" fmla="*/ 1935 w 80585"/>
                <a:gd name="connsiteY8" fmla="*/ 230422 h 230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585" h="230611">
                  <a:moveTo>
                    <a:pt x="1935" y="230612"/>
                  </a:moveTo>
                  <a:lnTo>
                    <a:pt x="1365" y="230612"/>
                  </a:lnTo>
                  <a:cubicBezTo>
                    <a:pt x="416" y="230422"/>
                    <a:pt x="-153" y="229283"/>
                    <a:pt x="36" y="228144"/>
                  </a:cubicBezTo>
                  <a:cubicBezTo>
                    <a:pt x="21871" y="151629"/>
                    <a:pt x="47692" y="75114"/>
                    <a:pt x="76931" y="1258"/>
                  </a:cubicBezTo>
                  <a:cubicBezTo>
                    <a:pt x="77310" y="309"/>
                    <a:pt x="78450" y="-261"/>
                    <a:pt x="79399" y="119"/>
                  </a:cubicBezTo>
                  <a:cubicBezTo>
                    <a:pt x="80348" y="499"/>
                    <a:pt x="80728" y="1638"/>
                    <a:pt x="80538" y="2587"/>
                  </a:cubicBezTo>
                  <a:cubicBezTo>
                    <a:pt x="51489" y="76444"/>
                    <a:pt x="25478" y="152768"/>
                    <a:pt x="3834" y="229093"/>
                  </a:cubicBezTo>
                  <a:cubicBezTo>
                    <a:pt x="3644" y="229852"/>
                    <a:pt x="2884" y="230422"/>
                    <a:pt x="1935" y="230422"/>
                  </a:cubicBezTo>
                  <a:lnTo>
                    <a:pt x="1935" y="23042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099" name="Freeform: Shape 2098">
              <a:extLst>
                <a:ext uri="{FF2B5EF4-FFF2-40B4-BE49-F238E27FC236}">
                  <a16:creationId xmlns:a16="http://schemas.microsoft.com/office/drawing/2014/main" id="{61AEC22D-BDD0-F253-F101-20F22B320F49}"/>
                </a:ext>
              </a:extLst>
            </p:cNvPr>
            <p:cNvSpPr/>
            <p:nvPr/>
          </p:nvSpPr>
          <p:spPr>
            <a:xfrm>
              <a:off x="11429467" y="1151081"/>
              <a:ext cx="112736" cy="290890"/>
            </a:xfrm>
            <a:custGeom>
              <a:avLst/>
              <a:gdLst>
                <a:gd name="connsiteX0" fmla="*/ 1998 w 82957"/>
                <a:gd name="connsiteY0" fmla="*/ 214053 h 214052"/>
                <a:gd name="connsiteX1" fmla="*/ 1429 w 82957"/>
                <a:gd name="connsiteY1" fmla="*/ 214053 h 214052"/>
                <a:gd name="connsiteX2" fmla="*/ 100 w 82957"/>
                <a:gd name="connsiteY2" fmla="*/ 211584 h 214052"/>
                <a:gd name="connsiteX3" fmla="*/ 79462 w 82957"/>
                <a:gd name="connsiteY3" fmla="*/ 1027 h 214052"/>
                <a:gd name="connsiteX4" fmla="*/ 81930 w 82957"/>
                <a:gd name="connsiteY4" fmla="*/ 268 h 214052"/>
                <a:gd name="connsiteX5" fmla="*/ 82690 w 82957"/>
                <a:gd name="connsiteY5" fmla="*/ 2736 h 214052"/>
                <a:gd name="connsiteX6" fmla="*/ 3328 w 82957"/>
                <a:gd name="connsiteY6" fmla="*/ 212723 h 214052"/>
                <a:gd name="connsiteX7" fmla="*/ 1429 w 82957"/>
                <a:gd name="connsiteY7" fmla="*/ 214053 h 214052"/>
                <a:gd name="connsiteX8" fmla="*/ 1429 w 82957"/>
                <a:gd name="connsiteY8" fmla="*/ 214053 h 21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957" h="214052">
                  <a:moveTo>
                    <a:pt x="1998" y="214053"/>
                  </a:moveTo>
                  <a:lnTo>
                    <a:pt x="1429" y="214053"/>
                  </a:lnTo>
                  <a:cubicBezTo>
                    <a:pt x="480" y="213673"/>
                    <a:pt x="-280" y="212723"/>
                    <a:pt x="100" y="211584"/>
                  </a:cubicBezTo>
                  <a:cubicBezTo>
                    <a:pt x="20225" y="139247"/>
                    <a:pt x="47186" y="68428"/>
                    <a:pt x="79462" y="1027"/>
                  </a:cubicBezTo>
                  <a:cubicBezTo>
                    <a:pt x="79842" y="78"/>
                    <a:pt x="80981" y="-302"/>
                    <a:pt x="81930" y="268"/>
                  </a:cubicBezTo>
                  <a:cubicBezTo>
                    <a:pt x="82880" y="647"/>
                    <a:pt x="83259" y="1787"/>
                    <a:pt x="82690" y="2736"/>
                  </a:cubicBezTo>
                  <a:cubicBezTo>
                    <a:pt x="50224" y="69947"/>
                    <a:pt x="23643" y="140576"/>
                    <a:pt x="3328" y="212723"/>
                  </a:cubicBezTo>
                  <a:cubicBezTo>
                    <a:pt x="3138" y="213483"/>
                    <a:pt x="2378" y="214053"/>
                    <a:pt x="1429" y="214053"/>
                  </a:cubicBezTo>
                  <a:lnTo>
                    <a:pt x="1429" y="21405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0" name="Freeform: Shape 2099">
              <a:extLst>
                <a:ext uri="{FF2B5EF4-FFF2-40B4-BE49-F238E27FC236}">
                  <a16:creationId xmlns:a16="http://schemas.microsoft.com/office/drawing/2014/main" id="{A6F8CA1E-4437-7E0B-6F88-09837E0472AF}"/>
                </a:ext>
              </a:extLst>
            </p:cNvPr>
            <p:cNvSpPr/>
            <p:nvPr/>
          </p:nvSpPr>
          <p:spPr>
            <a:xfrm>
              <a:off x="11412251" y="1438937"/>
              <a:ext cx="80629" cy="191904"/>
            </a:xfrm>
            <a:custGeom>
              <a:avLst/>
              <a:gdLst>
                <a:gd name="connsiteX0" fmla="*/ 1946 w 59331"/>
                <a:gd name="connsiteY0" fmla="*/ 140833 h 141213"/>
                <a:gd name="connsiteX1" fmla="*/ 1187 w 59331"/>
                <a:gd name="connsiteY1" fmla="*/ 140833 h 141213"/>
                <a:gd name="connsiteX2" fmla="*/ 47 w 59331"/>
                <a:gd name="connsiteY2" fmla="*/ 138365 h 141213"/>
                <a:gd name="connsiteX3" fmla="*/ 55677 w 59331"/>
                <a:gd name="connsiteY3" fmla="*/ 1095 h 141213"/>
                <a:gd name="connsiteX4" fmla="*/ 58145 w 59331"/>
                <a:gd name="connsiteY4" fmla="*/ 146 h 141213"/>
                <a:gd name="connsiteX5" fmla="*/ 59284 w 59331"/>
                <a:gd name="connsiteY5" fmla="*/ 2614 h 141213"/>
                <a:gd name="connsiteX6" fmla="*/ 3655 w 59331"/>
                <a:gd name="connsiteY6" fmla="*/ 139884 h 141213"/>
                <a:gd name="connsiteX7" fmla="*/ 1756 w 59331"/>
                <a:gd name="connsiteY7" fmla="*/ 141213 h 141213"/>
                <a:gd name="connsiteX8" fmla="*/ 1756 w 59331"/>
                <a:gd name="connsiteY8" fmla="*/ 141213 h 14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331" h="141213">
                  <a:moveTo>
                    <a:pt x="1946" y="140833"/>
                  </a:moveTo>
                  <a:cubicBezTo>
                    <a:pt x="1946" y="140833"/>
                    <a:pt x="1566" y="140833"/>
                    <a:pt x="1187" y="140833"/>
                  </a:cubicBezTo>
                  <a:cubicBezTo>
                    <a:pt x="237" y="140454"/>
                    <a:pt x="-142" y="139315"/>
                    <a:pt x="47" y="138365"/>
                  </a:cubicBezTo>
                  <a:lnTo>
                    <a:pt x="55677" y="1095"/>
                  </a:lnTo>
                  <a:cubicBezTo>
                    <a:pt x="56057" y="146"/>
                    <a:pt x="57196" y="-234"/>
                    <a:pt x="58145" y="146"/>
                  </a:cubicBezTo>
                  <a:cubicBezTo>
                    <a:pt x="59095" y="525"/>
                    <a:pt x="59474" y="1664"/>
                    <a:pt x="59284" y="2614"/>
                  </a:cubicBezTo>
                  <a:lnTo>
                    <a:pt x="3655" y="139884"/>
                  </a:lnTo>
                  <a:cubicBezTo>
                    <a:pt x="3655" y="139884"/>
                    <a:pt x="2705" y="141213"/>
                    <a:pt x="1756" y="141213"/>
                  </a:cubicBezTo>
                  <a:lnTo>
                    <a:pt x="1756" y="14121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1" name="Freeform: Shape 2100">
              <a:extLst>
                <a:ext uri="{FF2B5EF4-FFF2-40B4-BE49-F238E27FC236}">
                  <a16:creationId xmlns:a16="http://schemas.microsoft.com/office/drawing/2014/main" id="{2A26C490-3F9B-7DD2-F70E-41C12AC6E12C}"/>
                </a:ext>
              </a:extLst>
            </p:cNvPr>
            <p:cNvSpPr/>
            <p:nvPr/>
          </p:nvSpPr>
          <p:spPr>
            <a:xfrm>
              <a:off x="11511845" y="1478190"/>
              <a:ext cx="47345" cy="112398"/>
            </a:xfrm>
            <a:custGeom>
              <a:avLst/>
              <a:gdLst>
                <a:gd name="connsiteX0" fmla="*/ 1946 w 34839"/>
                <a:gd name="connsiteY0" fmla="*/ 82519 h 82708"/>
                <a:gd name="connsiteX1" fmla="*/ 1187 w 34839"/>
                <a:gd name="connsiteY1" fmla="*/ 82519 h 82708"/>
                <a:gd name="connsiteX2" fmla="*/ 47 w 34839"/>
                <a:gd name="connsiteY2" fmla="*/ 80051 h 82708"/>
                <a:gd name="connsiteX3" fmla="*/ 31185 w 34839"/>
                <a:gd name="connsiteY3" fmla="*/ 1258 h 82708"/>
                <a:gd name="connsiteX4" fmla="*/ 33653 w 34839"/>
                <a:gd name="connsiteY4" fmla="*/ 119 h 82708"/>
                <a:gd name="connsiteX5" fmla="*/ 34792 w 34839"/>
                <a:gd name="connsiteY5" fmla="*/ 2587 h 82708"/>
                <a:gd name="connsiteX6" fmla="*/ 3655 w 34839"/>
                <a:gd name="connsiteY6" fmla="*/ 81380 h 82708"/>
                <a:gd name="connsiteX7" fmla="*/ 1756 w 34839"/>
                <a:gd name="connsiteY7" fmla="*/ 82709 h 82708"/>
                <a:gd name="connsiteX8" fmla="*/ 1756 w 34839"/>
                <a:gd name="connsiteY8" fmla="*/ 82709 h 8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39" h="82708">
                  <a:moveTo>
                    <a:pt x="1946" y="82519"/>
                  </a:moveTo>
                  <a:lnTo>
                    <a:pt x="1187" y="82519"/>
                  </a:lnTo>
                  <a:cubicBezTo>
                    <a:pt x="237" y="82139"/>
                    <a:pt x="-142" y="81000"/>
                    <a:pt x="47" y="80051"/>
                  </a:cubicBezTo>
                  <a:lnTo>
                    <a:pt x="31185" y="1258"/>
                  </a:lnTo>
                  <a:cubicBezTo>
                    <a:pt x="31565" y="309"/>
                    <a:pt x="32704" y="-261"/>
                    <a:pt x="33653" y="119"/>
                  </a:cubicBezTo>
                  <a:cubicBezTo>
                    <a:pt x="34602" y="499"/>
                    <a:pt x="34982" y="1638"/>
                    <a:pt x="34792" y="2587"/>
                  </a:cubicBezTo>
                  <a:lnTo>
                    <a:pt x="3655" y="81380"/>
                  </a:lnTo>
                  <a:cubicBezTo>
                    <a:pt x="3655" y="81380"/>
                    <a:pt x="2705" y="82709"/>
                    <a:pt x="1756" y="82709"/>
                  </a:cubicBezTo>
                  <a:lnTo>
                    <a:pt x="1756" y="8270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2" name="Freeform: Shape 2101">
              <a:extLst>
                <a:ext uri="{FF2B5EF4-FFF2-40B4-BE49-F238E27FC236}">
                  <a16:creationId xmlns:a16="http://schemas.microsoft.com/office/drawing/2014/main" id="{1CC29C4C-A72D-8EC6-B1ED-81188BC3EB6A}"/>
                </a:ext>
              </a:extLst>
            </p:cNvPr>
            <p:cNvSpPr/>
            <p:nvPr/>
          </p:nvSpPr>
          <p:spPr>
            <a:xfrm>
              <a:off x="11590813" y="1166102"/>
              <a:ext cx="25384" cy="71003"/>
            </a:xfrm>
            <a:custGeom>
              <a:avLst/>
              <a:gdLst>
                <a:gd name="connsiteX0" fmla="*/ 1935 w 18679"/>
                <a:gd name="connsiteY0" fmla="*/ 52249 h 52248"/>
                <a:gd name="connsiteX1" fmla="*/ 1365 w 18679"/>
                <a:gd name="connsiteY1" fmla="*/ 52249 h 52248"/>
                <a:gd name="connsiteX2" fmla="*/ 36 w 18679"/>
                <a:gd name="connsiteY2" fmla="*/ 49780 h 52248"/>
                <a:gd name="connsiteX3" fmla="*/ 14846 w 18679"/>
                <a:gd name="connsiteY3" fmla="*/ 1365 h 52248"/>
                <a:gd name="connsiteX4" fmla="*/ 17314 w 18679"/>
                <a:gd name="connsiteY4" fmla="*/ 36 h 52248"/>
                <a:gd name="connsiteX5" fmla="*/ 18643 w 18679"/>
                <a:gd name="connsiteY5" fmla="*/ 2505 h 52248"/>
                <a:gd name="connsiteX6" fmla="*/ 3834 w 18679"/>
                <a:gd name="connsiteY6" fmla="*/ 50919 h 52248"/>
                <a:gd name="connsiteX7" fmla="*/ 1935 w 18679"/>
                <a:gd name="connsiteY7" fmla="*/ 52249 h 52248"/>
                <a:gd name="connsiteX8" fmla="*/ 1935 w 18679"/>
                <a:gd name="connsiteY8" fmla="*/ 52249 h 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79" h="52248">
                  <a:moveTo>
                    <a:pt x="1935" y="52249"/>
                  </a:moveTo>
                  <a:lnTo>
                    <a:pt x="1365" y="52249"/>
                  </a:lnTo>
                  <a:cubicBezTo>
                    <a:pt x="416" y="52059"/>
                    <a:pt x="-154" y="50919"/>
                    <a:pt x="36" y="49780"/>
                  </a:cubicBezTo>
                  <a:lnTo>
                    <a:pt x="14846" y="1365"/>
                  </a:lnTo>
                  <a:cubicBezTo>
                    <a:pt x="15035" y="416"/>
                    <a:pt x="16175" y="-154"/>
                    <a:pt x="17314" y="36"/>
                  </a:cubicBezTo>
                  <a:cubicBezTo>
                    <a:pt x="18263" y="226"/>
                    <a:pt x="18833" y="1365"/>
                    <a:pt x="18643" y="2505"/>
                  </a:cubicBezTo>
                  <a:lnTo>
                    <a:pt x="3834" y="50919"/>
                  </a:lnTo>
                  <a:cubicBezTo>
                    <a:pt x="3834" y="50919"/>
                    <a:pt x="2884" y="52249"/>
                    <a:pt x="1935" y="52249"/>
                  </a:cubicBezTo>
                  <a:lnTo>
                    <a:pt x="1935" y="5224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3" name="Freeform: Shape 2102">
              <a:extLst>
                <a:ext uri="{FF2B5EF4-FFF2-40B4-BE49-F238E27FC236}">
                  <a16:creationId xmlns:a16="http://schemas.microsoft.com/office/drawing/2014/main" id="{DC157099-F797-D654-0032-DB6CDF3AD33F}"/>
                </a:ext>
              </a:extLst>
            </p:cNvPr>
            <p:cNvSpPr/>
            <p:nvPr/>
          </p:nvSpPr>
          <p:spPr>
            <a:xfrm>
              <a:off x="11670429" y="1083739"/>
              <a:ext cx="75350" cy="171170"/>
            </a:xfrm>
            <a:custGeom>
              <a:avLst/>
              <a:gdLst>
                <a:gd name="connsiteX0" fmla="*/ 2018 w 55446"/>
                <a:gd name="connsiteY0" fmla="*/ 125577 h 125956"/>
                <a:gd name="connsiteX1" fmla="*/ 1258 w 55446"/>
                <a:gd name="connsiteY1" fmla="*/ 125577 h 125956"/>
                <a:gd name="connsiteX2" fmla="*/ 119 w 55446"/>
                <a:gd name="connsiteY2" fmla="*/ 123108 h 125956"/>
                <a:gd name="connsiteX3" fmla="*/ 51951 w 55446"/>
                <a:gd name="connsiteY3" fmla="*/ 1027 h 125956"/>
                <a:gd name="connsiteX4" fmla="*/ 54420 w 55446"/>
                <a:gd name="connsiteY4" fmla="*/ 268 h 125956"/>
                <a:gd name="connsiteX5" fmla="*/ 55179 w 55446"/>
                <a:gd name="connsiteY5" fmla="*/ 2736 h 125956"/>
                <a:gd name="connsiteX6" fmla="*/ 3536 w 55446"/>
                <a:gd name="connsiteY6" fmla="*/ 124627 h 125956"/>
                <a:gd name="connsiteX7" fmla="*/ 1638 w 55446"/>
                <a:gd name="connsiteY7" fmla="*/ 125956 h 125956"/>
                <a:gd name="connsiteX8" fmla="*/ 1638 w 55446"/>
                <a:gd name="connsiteY8" fmla="*/ 125956 h 12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446" h="125956">
                  <a:moveTo>
                    <a:pt x="2018" y="125577"/>
                  </a:moveTo>
                  <a:lnTo>
                    <a:pt x="1258" y="125577"/>
                  </a:lnTo>
                  <a:cubicBezTo>
                    <a:pt x="309" y="125197"/>
                    <a:pt x="-261" y="124248"/>
                    <a:pt x="119" y="123108"/>
                  </a:cubicBezTo>
                  <a:cubicBezTo>
                    <a:pt x="15308" y="81719"/>
                    <a:pt x="32775" y="40518"/>
                    <a:pt x="51951" y="1027"/>
                  </a:cubicBezTo>
                  <a:cubicBezTo>
                    <a:pt x="52331" y="78"/>
                    <a:pt x="53470" y="-302"/>
                    <a:pt x="54420" y="268"/>
                  </a:cubicBezTo>
                  <a:cubicBezTo>
                    <a:pt x="55369" y="647"/>
                    <a:pt x="55749" y="1787"/>
                    <a:pt x="55179" y="2736"/>
                  </a:cubicBezTo>
                  <a:cubicBezTo>
                    <a:pt x="36003" y="42227"/>
                    <a:pt x="18725" y="83237"/>
                    <a:pt x="3536" y="124627"/>
                  </a:cubicBezTo>
                  <a:cubicBezTo>
                    <a:pt x="3347" y="125387"/>
                    <a:pt x="2587" y="125956"/>
                    <a:pt x="1638" y="125956"/>
                  </a:cubicBezTo>
                  <a:lnTo>
                    <a:pt x="1638" y="12595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4" name="Freeform: Shape 2103">
              <a:extLst>
                <a:ext uri="{FF2B5EF4-FFF2-40B4-BE49-F238E27FC236}">
                  <a16:creationId xmlns:a16="http://schemas.microsoft.com/office/drawing/2014/main" id="{C37F61C5-BEDE-DB02-7850-7D0A3038B7CD}"/>
                </a:ext>
              </a:extLst>
            </p:cNvPr>
            <p:cNvSpPr/>
            <p:nvPr/>
          </p:nvSpPr>
          <p:spPr>
            <a:xfrm>
              <a:off x="11590665" y="1170340"/>
              <a:ext cx="197261" cy="421280"/>
            </a:xfrm>
            <a:custGeom>
              <a:avLst/>
              <a:gdLst>
                <a:gd name="connsiteX0" fmla="*/ 1854 w 145155"/>
                <a:gd name="connsiteY0" fmla="*/ 309811 h 310000"/>
                <a:gd name="connsiteX1" fmla="*/ 1095 w 145155"/>
                <a:gd name="connsiteY1" fmla="*/ 309811 h 310000"/>
                <a:gd name="connsiteX2" fmla="*/ 146 w 145155"/>
                <a:gd name="connsiteY2" fmla="*/ 307343 h 310000"/>
                <a:gd name="connsiteX3" fmla="*/ 141593 w 145155"/>
                <a:gd name="connsiteY3" fmla="*/ 1095 h 310000"/>
                <a:gd name="connsiteX4" fmla="*/ 144061 w 145155"/>
                <a:gd name="connsiteY4" fmla="*/ 145 h 310000"/>
                <a:gd name="connsiteX5" fmla="*/ 145010 w 145155"/>
                <a:gd name="connsiteY5" fmla="*/ 2614 h 310000"/>
                <a:gd name="connsiteX6" fmla="*/ 3563 w 145155"/>
                <a:gd name="connsiteY6" fmla="*/ 308862 h 310000"/>
                <a:gd name="connsiteX7" fmla="*/ 1854 w 145155"/>
                <a:gd name="connsiteY7" fmla="*/ 310001 h 310000"/>
                <a:gd name="connsiteX8" fmla="*/ 1854 w 145155"/>
                <a:gd name="connsiteY8" fmla="*/ 310001 h 3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155" h="310000">
                  <a:moveTo>
                    <a:pt x="1854" y="309811"/>
                  </a:moveTo>
                  <a:cubicBezTo>
                    <a:pt x="1854" y="309811"/>
                    <a:pt x="1285" y="309811"/>
                    <a:pt x="1095" y="309811"/>
                  </a:cubicBezTo>
                  <a:cubicBezTo>
                    <a:pt x="146" y="309431"/>
                    <a:pt x="-234" y="308292"/>
                    <a:pt x="146" y="307343"/>
                  </a:cubicBezTo>
                  <a:lnTo>
                    <a:pt x="141593" y="1095"/>
                  </a:lnTo>
                  <a:cubicBezTo>
                    <a:pt x="141973" y="145"/>
                    <a:pt x="143112" y="-234"/>
                    <a:pt x="144061" y="145"/>
                  </a:cubicBezTo>
                  <a:cubicBezTo>
                    <a:pt x="145010" y="525"/>
                    <a:pt x="145390" y="1664"/>
                    <a:pt x="145010" y="2614"/>
                  </a:cubicBezTo>
                  <a:lnTo>
                    <a:pt x="3563" y="308862"/>
                  </a:lnTo>
                  <a:cubicBezTo>
                    <a:pt x="3563" y="308862"/>
                    <a:pt x="2614" y="310001"/>
                    <a:pt x="1854" y="310001"/>
                  </a:cubicBezTo>
                  <a:lnTo>
                    <a:pt x="1854" y="310001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5" name="Freeform: Shape 2104">
              <a:extLst>
                <a:ext uri="{FF2B5EF4-FFF2-40B4-BE49-F238E27FC236}">
                  <a16:creationId xmlns:a16="http://schemas.microsoft.com/office/drawing/2014/main" id="{15B8478B-3AF3-848C-5A5D-9318FEF2593B}"/>
                </a:ext>
              </a:extLst>
            </p:cNvPr>
            <p:cNvSpPr/>
            <p:nvPr/>
          </p:nvSpPr>
          <p:spPr>
            <a:xfrm>
              <a:off x="11667813" y="1320248"/>
              <a:ext cx="134048" cy="288144"/>
            </a:xfrm>
            <a:custGeom>
              <a:avLst/>
              <a:gdLst>
                <a:gd name="connsiteX0" fmla="*/ 1854 w 98639"/>
                <a:gd name="connsiteY0" fmla="*/ 211842 h 212031"/>
                <a:gd name="connsiteX1" fmla="*/ 1095 w 98639"/>
                <a:gd name="connsiteY1" fmla="*/ 211842 h 212031"/>
                <a:gd name="connsiteX2" fmla="*/ 146 w 98639"/>
                <a:gd name="connsiteY2" fmla="*/ 209374 h 212031"/>
                <a:gd name="connsiteX3" fmla="*/ 95077 w 98639"/>
                <a:gd name="connsiteY3" fmla="*/ 1095 h 212031"/>
                <a:gd name="connsiteX4" fmla="*/ 97545 w 98639"/>
                <a:gd name="connsiteY4" fmla="*/ 146 h 212031"/>
                <a:gd name="connsiteX5" fmla="*/ 98494 w 98639"/>
                <a:gd name="connsiteY5" fmla="*/ 2614 h 212031"/>
                <a:gd name="connsiteX6" fmla="*/ 3563 w 98639"/>
                <a:gd name="connsiteY6" fmla="*/ 210893 h 212031"/>
                <a:gd name="connsiteX7" fmla="*/ 1854 w 98639"/>
                <a:gd name="connsiteY7" fmla="*/ 212032 h 212031"/>
                <a:gd name="connsiteX8" fmla="*/ 1854 w 98639"/>
                <a:gd name="connsiteY8" fmla="*/ 212032 h 2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39" h="212031">
                  <a:moveTo>
                    <a:pt x="1854" y="211842"/>
                  </a:moveTo>
                  <a:cubicBezTo>
                    <a:pt x="1854" y="211842"/>
                    <a:pt x="1285" y="211842"/>
                    <a:pt x="1095" y="211842"/>
                  </a:cubicBezTo>
                  <a:cubicBezTo>
                    <a:pt x="146" y="211462"/>
                    <a:pt x="-234" y="210323"/>
                    <a:pt x="146" y="209374"/>
                  </a:cubicBezTo>
                  <a:lnTo>
                    <a:pt x="95077" y="1095"/>
                  </a:lnTo>
                  <a:cubicBezTo>
                    <a:pt x="95456" y="146"/>
                    <a:pt x="96596" y="-234"/>
                    <a:pt x="97545" y="146"/>
                  </a:cubicBezTo>
                  <a:cubicBezTo>
                    <a:pt x="98494" y="525"/>
                    <a:pt x="98874" y="1664"/>
                    <a:pt x="98494" y="2614"/>
                  </a:cubicBezTo>
                  <a:lnTo>
                    <a:pt x="3563" y="210893"/>
                  </a:lnTo>
                  <a:cubicBezTo>
                    <a:pt x="3563" y="210893"/>
                    <a:pt x="2614" y="212032"/>
                    <a:pt x="1854" y="212032"/>
                  </a:cubicBezTo>
                  <a:lnTo>
                    <a:pt x="1854" y="21203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6" name="Freeform: Shape 2105">
              <a:extLst>
                <a:ext uri="{FF2B5EF4-FFF2-40B4-BE49-F238E27FC236}">
                  <a16:creationId xmlns:a16="http://schemas.microsoft.com/office/drawing/2014/main" id="{F1408081-7344-0D0A-88A4-5E659D3054FF}"/>
                </a:ext>
              </a:extLst>
            </p:cNvPr>
            <p:cNvSpPr/>
            <p:nvPr/>
          </p:nvSpPr>
          <p:spPr>
            <a:xfrm>
              <a:off x="11805169" y="1355689"/>
              <a:ext cx="61877" cy="110794"/>
            </a:xfrm>
            <a:custGeom>
              <a:avLst/>
              <a:gdLst>
                <a:gd name="connsiteX0" fmla="*/ 1786 w 45532"/>
                <a:gd name="connsiteY0" fmla="*/ 81529 h 81528"/>
                <a:gd name="connsiteX1" fmla="*/ 1027 w 45532"/>
                <a:gd name="connsiteY1" fmla="*/ 81149 h 81528"/>
                <a:gd name="connsiteX2" fmla="*/ 268 w 45532"/>
                <a:gd name="connsiteY2" fmla="*/ 78491 h 81528"/>
                <a:gd name="connsiteX3" fmla="*/ 42037 w 45532"/>
                <a:gd name="connsiteY3" fmla="*/ 1027 h 81528"/>
                <a:gd name="connsiteX4" fmla="*/ 44505 w 45532"/>
                <a:gd name="connsiteY4" fmla="*/ 268 h 81528"/>
                <a:gd name="connsiteX5" fmla="*/ 45265 w 45532"/>
                <a:gd name="connsiteY5" fmla="*/ 2926 h 81528"/>
                <a:gd name="connsiteX6" fmla="*/ 3495 w 45532"/>
                <a:gd name="connsiteY6" fmla="*/ 80389 h 81528"/>
                <a:gd name="connsiteX7" fmla="*/ 1786 w 45532"/>
                <a:gd name="connsiteY7" fmla="*/ 81339 h 81528"/>
                <a:gd name="connsiteX8" fmla="*/ 1786 w 45532"/>
                <a:gd name="connsiteY8" fmla="*/ 81339 h 8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32" h="81528">
                  <a:moveTo>
                    <a:pt x="1786" y="81529"/>
                  </a:moveTo>
                  <a:cubicBezTo>
                    <a:pt x="1786" y="81529"/>
                    <a:pt x="1217" y="81529"/>
                    <a:pt x="1027" y="81149"/>
                  </a:cubicBezTo>
                  <a:cubicBezTo>
                    <a:pt x="78" y="80579"/>
                    <a:pt x="-302" y="79440"/>
                    <a:pt x="268" y="78491"/>
                  </a:cubicBezTo>
                  <a:lnTo>
                    <a:pt x="42037" y="1027"/>
                  </a:lnTo>
                  <a:cubicBezTo>
                    <a:pt x="42607" y="78"/>
                    <a:pt x="43746" y="-302"/>
                    <a:pt x="44505" y="268"/>
                  </a:cubicBezTo>
                  <a:cubicBezTo>
                    <a:pt x="45455" y="837"/>
                    <a:pt x="45835" y="1976"/>
                    <a:pt x="45265" y="2926"/>
                  </a:cubicBezTo>
                  <a:lnTo>
                    <a:pt x="3495" y="80389"/>
                  </a:lnTo>
                  <a:cubicBezTo>
                    <a:pt x="3495" y="80389"/>
                    <a:pt x="2546" y="81339"/>
                    <a:pt x="1786" y="81339"/>
                  </a:cubicBezTo>
                  <a:lnTo>
                    <a:pt x="1786" y="8133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7" name="Freeform: Shape 2106">
              <a:extLst>
                <a:ext uri="{FF2B5EF4-FFF2-40B4-BE49-F238E27FC236}">
                  <a16:creationId xmlns:a16="http://schemas.microsoft.com/office/drawing/2014/main" id="{64C17BA8-05E2-1D72-1F21-4FF7944CDC76}"/>
                </a:ext>
              </a:extLst>
            </p:cNvPr>
            <p:cNvSpPr/>
            <p:nvPr/>
          </p:nvSpPr>
          <p:spPr>
            <a:xfrm>
              <a:off x="11710219" y="1608287"/>
              <a:ext cx="30915" cy="57900"/>
            </a:xfrm>
            <a:custGeom>
              <a:avLst/>
              <a:gdLst>
                <a:gd name="connsiteX0" fmla="*/ 1786 w 22749"/>
                <a:gd name="connsiteY0" fmla="*/ 42227 h 42606"/>
                <a:gd name="connsiteX1" fmla="*/ 1027 w 22749"/>
                <a:gd name="connsiteY1" fmla="*/ 42227 h 42606"/>
                <a:gd name="connsiteX2" fmla="*/ 268 w 22749"/>
                <a:gd name="connsiteY2" fmla="*/ 39759 h 42606"/>
                <a:gd name="connsiteX3" fmla="*/ 19254 w 22749"/>
                <a:gd name="connsiteY3" fmla="*/ 1027 h 42606"/>
                <a:gd name="connsiteX4" fmla="*/ 21722 w 22749"/>
                <a:gd name="connsiteY4" fmla="*/ 268 h 42606"/>
                <a:gd name="connsiteX5" fmla="*/ 22482 w 22749"/>
                <a:gd name="connsiteY5" fmla="*/ 2736 h 42606"/>
                <a:gd name="connsiteX6" fmla="*/ 3495 w 22749"/>
                <a:gd name="connsiteY6" fmla="*/ 41468 h 42606"/>
                <a:gd name="connsiteX7" fmla="*/ 1786 w 22749"/>
                <a:gd name="connsiteY7" fmla="*/ 42607 h 42606"/>
                <a:gd name="connsiteX8" fmla="*/ 1786 w 22749"/>
                <a:gd name="connsiteY8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9" h="42606">
                  <a:moveTo>
                    <a:pt x="1786" y="42227"/>
                  </a:moveTo>
                  <a:cubicBezTo>
                    <a:pt x="1786" y="42227"/>
                    <a:pt x="1217" y="42227"/>
                    <a:pt x="1027" y="42227"/>
                  </a:cubicBezTo>
                  <a:cubicBezTo>
                    <a:pt x="78" y="41847"/>
                    <a:pt x="-302" y="40708"/>
                    <a:pt x="268" y="39759"/>
                  </a:cubicBezTo>
                  <a:lnTo>
                    <a:pt x="19254" y="1027"/>
                  </a:lnTo>
                  <a:cubicBezTo>
                    <a:pt x="19634" y="78"/>
                    <a:pt x="20773" y="-302"/>
                    <a:pt x="21722" y="268"/>
                  </a:cubicBezTo>
                  <a:cubicBezTo>
                    <a:pt x="22671" y="647"/>
                    <a:pt x="23051" y="1787"/>
                    <a:pt x="22482" y="2736"/>
                  </a:cubicBezTo>
                  <a:lnTo>
                    <a:pt x="3495" y="41468"/>
                  </a:lnTo>
                  <a:cubicBezTo>
                    <a:pt x="3495" y="41468"/>
                    <a:pt x="2546" y="42607"/>
                    <a:pt x="1786" y="42607"/>
                  </a:cubicBezTo>
                  <a:lnTo>
                    <a:pt x="1786" y="42607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8" name="Freeform: Shape 2107">
              <a:extLst>
                <a:ext uri="{FF2B5EF4-FFF2-40B4-BE49-F238E27FC236}">
                  <a16:creationId xmlns:a16="http://schemas.microsoft.com/office/drawing/2014/main" id="{37D5C27C-935F-54A1-F676-0FD58AC85182}"/>
                </a:ext>
              </a:extLst>
            </p:cNvPr>
            <p:cNvSpPr/>
            <p:nvPr/>
          </p:nvSpPr>
          <p:spPr>
            <a:xfrm>
              <a:off x="11275977" y="1322662"/>
              <a:ext cx="39946" cy="78542"/>
            </a:xfrm>
            <a:custGeom>
              <a:avLst/>
              <a:gdLst>
                <a:gd name="connsiteX0" fmla="*/ 1787 w 29394"/>
                <a:gd name="connsiteY0" fmla="*/ 57416 h 57795"/>
                <a:gd name="connsiteX1" fmla="*/ 1027 w 29394"/>
                <a:gd name="connsiteY1" fmla="*/ 57416 h 57795"/>
                <a:gd name="connsiteX2" fmla="*/ 268 w 29394"/>
                <a:gd name="connsiteY2" fmla="*/ 54948 h 57795"/>
                <a:gd name="connsiteX3" fmla="*/ 25899 w 29394"/>
                <a:gd name="connsiteY3" fmla="*/ 1027 h 57795"/>
                <a:gd name="connsiteX4" fmla="*/ 28367 w 29394"/>
                <a:gd name="connsiteY4" fmla="*/ 268 h 57795"/>
                <a:gd name="connsiteX5" fmla="*/ 29127 w 29394"/>
                <a:gd name="connsiteY5" fmla="*/ 2736 h 57795"/>
                <a:gd name="connsiteX6" fmla="*/ 3495 w 29394"/>
                <a:gd name="connsiteY6" fmla="*/ 56657 h 57795"/>
                <a:gd name="connsiteX7" fmla="*/ 1787 w 29394"/>
                <a:gd name="connsiteY7" fmla="*/ 57796 h 57795"/>
                <a:gd name="connsiteX8" fmla="*/ 1787 w 29394"/>
                <a:gd name="connsiteY8" fmla="*/ 57796 h 5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57795">
                  <a:moveTo>
                    <a:pt x="1787" y="57416"/>
                  </a:moveTo>
                  <a:cubicBezTo>
                    <a:pt x="1787" y="57416"/>
                    <a:pt x="1217" y="57416"/>
                    <a:pt x="1027" y="57416"/>
                  </a:cubicBezTo>
                  <a:cubicBezTo>
                    <a:pt x="78" y="57036"/>
                    <a:pt x="-302" y="55897"/>
                    <a:pt x="268" y="54948"/>
                  </a:cubicBezTo>
                  <a:lnTo>
                    <a:pt x="25899" y="1027"/>
                  </a:lnTo>
                  <a:cubicBezTo>
                    <a:pt x="26279" y="78"/>
                    <a:pt x="27418" y="-302"/>
                    <a:pt x="28367" y="268"/>
                  </a:cubicBezTo>
                  <a:cubicBezTo>
                    <a:pt x="29317" y="647"/>
                    <a:pt x="29696" y="1787"/>
                    <a:pt x="29127" y="2736"/>
                  </a:cubicBezTo>
                  <a:lnTo>
                    <a:pt x="3495" y="56657"/>
                  </a:lnTo>
                  <a:cubicBezTo>
                    <a:pt x="3495" y="56657"/>
                    <a:pt x="2546" y="57796"/>
                    <a:pt x="1787" y="57796"/>
                  </a:cubicBezTo>
                  <a:lnTo>
                    <a:pt x="1787" y="5779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09" name="Freeform: Shape 2108">
              <a:extLst>
                <a:ext uri="{FF2B5EF4-FFF2-40B4-BE49-F238E27FC236}">
                  <a16:creationId xmlns:a16="http://schemas.microsoft.com/office/drawing/2014/main" id="{FC1297AA-F969-F0D0-C736-4CD4882C7399}"/>
                </a:ext>
              </a:extLst>
            </p:cNvPr>
            <p:cNvSpPr/>
            <p:nvPr/>
          </p:nvSpPr>
          <p:spPr>
            <a:xfrm>
              <a:off x="11422272" y="1072128"/>
              <a:ext cx="31172" cy="52224"/>
            </a:xfrm>
            <a:custGeom>
              <a:avLst/>
              <a:gdLst>
                <a:gd name="connsiteX0" fmla="*/ 1976 w 22938"/>
                <a:gd name="connsiteY0" fmla="*/ 38430 h 38429"/>
                <a:gd name="connsiteX1" fmla="*/ 1027 w 22938"/>
                <a:gd name="connsiteY1" fmla="*/ 38240 h 38429"/>
                <a:gd name="connsiteX2" fmla="*/ 268 w 22938"/>
                <a:gd name="connsiteY2" fmla="*/ 35582 h 38429"/>
                <a:gd name="connsiteX3" fmla="*/ 19254 w 22938"/>
                <a:gd name="connsiteY3" fmla="*/ 1027 h 38429"/>
                <a:gd name="connsiteX4" fmla="*/ 21912 w 22938"/>
                <a:gd name="connsiteY4" fmla="*/ 268 h 38429"/>
                <a:gd name="connsiteX5" fmla="*/ 22671 w 22938"/>
                <a:gd name="connsiteY5" fmla="*/ 2926 h 38429"/>
                <a:gd name="connsiteX6" fmla="*/ 3685 w 22938"/>
                <a:gd name="connsiteY6" fmla="*/ 37481 h 38429"/>
                <a:gd name="connsiteX7" fmla="*/ 1976 w 22938"/>
                <a:gd name="connsiteY7" fmla="*/ 38430 h 38429"/>
                <a:gd name="connsiteX8" fmla="*/ 1976 w 22938"/>
                <a:gd name="connsiteY8" fmla="*/ 38430 h 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38" h="38429">
                  <a:moveTo>
                    <a:pt x="1976" y="38430"/>
                  </a:moveTo>
                  <a:cubicBezTo>
                    <a:pt x="1976" y="38430"/>
                    <a:pt x="1407" y="38430"/>
                    <a:pt x="1027" y="38240"/>
                  </a:cubicBezTo>
                  <a:cubicBezTo>
                    <a:pt x="78" y="37670"/>
                    <a:pt x="-302" y="36531"/>
                    <a:pt x="268" y="35582"/>
                  </a:cubicBezTo>
                  <a:lnTo>
                    <a:pt x="19254" y="1027"/>
                  </a:lnTo>
                  <a:cubicBezTo>
                    <a:pt x="19823" y="78"/>
                    <a:pt x="20963" y="-302"/>
                    <a:pt x="21912" y="268"/>
                  </a:cubicBezTo>
                  <a:cubicBezTo>
                    <a:pt x="22861" y="837"/>
                    <a:pt x="23241" y="1976"/>
                    <a:pt x="22671" y="2926"/>
                  </a:cubicBezTo>
                  <a:lnTo>
                    <a:pt x="3685" y="37481"/>
                  </a:lnTo>
                  <a:cubicBezTo>
                    <a:pt x="3685" y="37481"/>
                    <a:pt x="2736" y="38430"/>
                    <a:pt x="1976" y="38430"/>
                  </a:cubicBezTo>
                  <a:lnTo>
                    <a:pt x="1976" y="38430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0" name="Freeform: Shape 2109">
              <a:extLst>
                <a:ext uri="{FF2B5EF4-FFF2-40B4-BE49-F238E27FC236}">
                  <a16:creationId xmlns:a16="http://schemas.microsoft.com/office/drawing/2014/main" id="{CB5C5E58-4C80-987A-D8CB-132816E768F2}"/>
                </a:ext>
              </a:extLst>
            </p:cNvPr>
            <p:cNvSpPr/>
            <p:nvPr/>
          </p:nvSpPr>
          <p:spPr>
            <a:xfrm>
              <a:off x="11215255" y="1003300"/>
              <a:ext cx="754074" cy="725328"/>
            </a:xfrm>
            <a:custGeom>
              <a:avLst/>
              <a:gdLst>
                <a:gd name="connsiteX0" fmla="*/ 332022 w 554886"/>
                <a:gd name="connsiteY0" fmla="*/ 533355 h 533734"/>
                <a:gd name="connsiteX1" fmla="*/ 326705 w 554886"/>
                <a:gd name="connsiteY1" fmla="*/ 529748 h 533734"/>
                <a:gd name="connsiteX2" fmla="*/ 296327 w 554886"/>
                <a:gd name="connsiteY2" fmla="*/ 465005 h 533734"/>
                <a:gd name="connsiteX3" fmla="*/ 222091 w 554886"/>
                <a:gd name="connsiteY3" fmla="*/ 464245 h 533734"/>
                <a:gd name="connsiteX4" fmla="*/ 201017 w 554886"/>
                <a:gd name="connsiteY4" fmla="*/ 503927 h 533734"/>
                <a:gd name="connsiteX5" fmla="*/ 188865 w 554886"/>
                <a:gd name="connsiteY5" fmla="*/ 527280 h 533734"/>
                <a:gd name="connsiteX6" fmla="*/ 181651 w 554886"/>
                <a:gd name="connsiteY6" fmla="*/ 529938 h 533734"/>
                <a:gd name="connsiteX7" fmla="*/ 89188 w 554886"/>
                <a:gd name="connsiteY7" fmla="*/ 461777 h 533734"/>
                <a:gd name="connsiteX8" fmla="*/ 89188 w 554886"/>
                <a:gd name="connsiteY8" fmla="*/ 454752 h 533734"/>
                <a:gd name="connsiteX9" fmla="*/ 129818 w 554886"/>
                <a:gd name="connsiteY9" fmla="*/ 394756 h 533734"/>
                <a:gd name="connsiteX10" fmla="*/ 88238 w 554886"/>
                <a:gd name="connsiteY10" fmla="*/ 321279 h 533734"/>
                <a:gd name="connsiteX11" fmla="*/ 69632 w 554886"/>
                <a:gd name="connsiteY11" fmla="*/ 325076 h 533734"/>
                <a:gd name="connsiteX12" fmla="*/ 13053 w 554886"/>
                <a:gd name="connsiteY12" fmla="*/ 335709 h 533734"/>
                <a:gd name="connsiteX13" fmla="*/ 6598 w 554886"/>
                <a:gd name="connsiteY13" fmla="*/ 331532 h 533734"/>
                <a:gd name="connsiteX14" fmla="*/ 15901 w 554886"/>
                <a:gd name="connsiteY14" fmla="*/ 190654 h 533734"/>
                <a:gd name="connsiteX15" fmla="*/ 22926 w 554886"/>
                <a:gd name="connsiteY15" fmla="*/ 186857 h 533734"/>
                <a:gd name="connsiteX16" fmla="*/ 103427 w 554886"/>
                <a:gd name="connsiteY16" fmla="*/ 206982 h 533734"/>
                <a:gd name="connsiteX17" fmla="*/ 143868 w 554886"/>
                <a:gd name="connsiteY17" fmla="*/ 135784 h 533734"/>
                <a:gd name="connsiteX18" fmla="*/ 104187 w 554886"/>
                <a:gd name="connsiteY18" fmla="*/ 75597 h 533734"/>
                <a:gd name="connsiteX19" fmla="*/ 105326 w 554886"/>
                <a:gd name="connsiteY19" fmla="*/ 68573 h 533734"/>
                <a:gd name="connsiteX20" fmla="*/ 208041 w 554886"/>
                <a:gd name="connsiteY20" fmla="*/ 3640 h 533734"/>
                <a:gd name="connsiteX21" fmla="*/ 215446 w 554886"/>
                <a:gd name="connsiteY21" fmla="*/ 6108 h 533734"/>
                <a:gd name="connsiteX22" fmla="*/ 250001 w 554886"/>
                <a:gd name="connsiteY22" fmla="*/ 77496 h 533734"/>
                <a:gd name="connsiteX23" fmla="*/ 331452 w 554886"/>
                <a:gd name="connsiteY23" fmla="*/ 74458 h 533734"/>
                <a:gd name="connsiteX24" fmla="*/ 371513 w 554886"/>
                <a:gd name="connsiteY24" fmla="*/ 2690 h 533734"/>
                <a:gd name="connsiteX25" fmla="*/ 379107 w 554886"/>
                <a:gd name="connsiteY25" fmla="*/ 602 h 533734"/>
                <a:gd name="connsiteX26" fmla="*/ 463026 w 554886"/>
                <a:gd name="connsiteY26" fmla="*/ 56991 h 533734"/>
                <a:gd name="connsiteX27" fmla="*/ 483721 w 554886"/>
                <a:gd name="connsiteY27" fmla="*/ 75218 h 533734"/>
                <a:gd name="connsiteX28" fmla="*/ 491885 w 554886"/>
                <a:gd name="connsiteY28" fmla="*/ 86230 h 533734"/>
                <a:gd name="connsiteX29" fmla="*/ 491126 w 554886"/>
                <a:gd name="connsiteY29" fmla="*/ 90976 h 533734"/>
                <a:gd name="connsiteX30" fmla="*/ 472899 w 554886"/>
                <a:gd name="connsiteY30" fmla="*/ 117557 h 533734"/>
                <a:gd name="connsiteX31" fmla="*/ 445939 w 554886"/>
                <a:gd name="connsiteY31" fmla="*/ 157238 h 533734"/>
                <a:gd name="connsiteX32" fmla="*/ 469672 w 554886"/>
                <a:gd name="connsiteY32" fmla="*/ 218943 h 533734"/>
                <a:gd name="connsiteX33" fmla="*/ 550743 w 554886"/>
                <a:gd name="connsiteY33" fmla="*/ 237740 h 533734"/>
                <a:gd name="connsiteX34" fmla="*/ 554350 w 554886"/>
                <a:gd name="connsiteY34" fmla="*/ 242676 h 533734"/>
                <a:gd name="connsiteX35" fmla="*/ 538782 w 554886"/>
                <a:gd name="connsiteY35" fmla="*/ 351087 h 533734"/>
                <a:gd name="connsiteX36" fmla="*/ 533086 w 554886"/>
                <a:gd name="connsiteY36" fmla="*/ 354885 h 533734"/>
                <a:gd name="connsiteX37" fmla="*/ 524542 w 554886"/>
                <a:gd name="connsiteY37" fmla="*/ 354885 h 533734"/>
                <a:gd name="connsiteX38" fmla="*/ 461508 w 554886"/>
                <a:gd name="connsiteY38" fmla="*/ 354885 h 533734"/>
                <a:gd name="connsiteX39" fmla="*/ 421636 w 554886"/>
                <a:gd name="connsiteY39" fmla="*/ 419438 h 533734"/>
                <a:gd name="connsiteX40" fmla="*/ 455812 w 554886"/>
                <a:gd name="connsiteY40" fmla="*/ 487219 h 533734"/>
                <a:gd name="connsiteX41" fmla="*/ 453343 w 554886"/>
                <a:gd name="connsiteY41" fmla="*/ 494623 h 533734"/>
                <a:gd name="connsiteX42" fmla="*/ 333351 w 554886"/>
                <a:gd name="connsiteY42" fmla="*/ 533355 h 533734"/>
                <a:gd name="connsiteX43" fmla="*/ 332781 w 554886"/>
                <a:gd name="connsiteY43" fmla="*/ 533355 h 533734"/>
                <a:gd name="connsiteX44" fmla="*/ 332401 w 554886"/>
                <a:gd name="connsiteY44" fmla="*/ 533735 h 533734"/>
                <a:gd name="connsiteX45" fmla="*/ 298985 w 554886"/>
                <a:gd name="connsiteY45" fmla="*/ 452854 h 533734"/>
                <a:gd name="connsiteX46" fmla="*/ 303732 w 554886"/>
                <a:gd name="connsiteY46" fmla="*/ 455512 h 533734"/>
                <a:gd name="connsiteX47" fmla="*/ 335629 w 554886"/>
                <a:gd name="connsiteY47" fmla="*/ 521204 h 533734"/>
                <a:gd name="connsiteX48" fmla="*/ 442142 w 554886"/>
                <a:gd name="connsiteY48" fmla="*/ 486649 h 533734"/>
                <a:gd name="connsiteX49" fmla="*/ 408536 w 554886"/>
                <a:gd name="connsiteY49" fmla="*/ 421526 h 533734"/>
                <a:gd name="connsiteX50" fmla="*/ 409106 w 554886"/>
                <a:gd name="connsiteY50" fmla="*/ 415071 h 533734"/>
                <a:gd name="connsiteX51" fmla="*/ 450875 w 554886"/>
                <a:gd name="connsiteY51" fmla="*/ 347480 h 533734"/>
                <a:gd name="connsiteX52" fmla="*/ 455622 w 554886"/>
                <a:gd name="connsiteY52" fmla="*/ 343873 h 533734"/>
                <a:gd name="connsiteX53" fmla="*/ 523592 w 554886"/>
                <a:gd name="connsiteY53" fmla="*/ 343303 h 533734"/>
                <a:gd name="connsiteX54" fmla="*/ 527959 w 554886"/>
                <a:gd name="connsiteY54" fmla="*/ 343303 h 533734"/>
                <a:gd name="connsiteX55" fmla="*/ 541629 w 554886"/>
                <a:gd name="connsiteY55" fmla="*/ 247423 h 533734"/>
                <a:gd name="connsiteX56" fmla="*/ 463786 w 554886"/>
                <a:gd name="connsiteY56" fmla="*/ 230525 h 533734"/>
                <a:gd name="connsiteX57" fmla="*/ 458849 w 554886"/>
                <a:gd name="connsiteY57" fmla="*/ 226728 h 533734"/>
                <a:gd name="connsiteX58" fmla="*/ 433028 w 554886"/>
                <a:gd name="connsiteY58" fmla="*/ 159327 h 533734"/>
                <a:gd name="connsiteX59" fmla="*/ 433408 w 554886"/>
                <a:gd name="connsiteY59" fmla="*/ 153821 h 533734"/>
                <a:gd name="connsiteX60" fmla="*/ 462267 w 554886"/>
                <a:gd name="connsiteY60" fmla="*/ 111292 h 533734"/>
                <a:gd name="connsiteX61" fmla="*/ 478405 w 554886"/>
                <a:gd name="connsiteY61" fmla="*/ 87749 h 533734"/>
                <a:gd name="connsiteX62" fmla="*/ 474798 w 554886"/>
                <a:gd name="connsiteY62" fmla="*/ 84141 h 533734"/>
                <a:gd name="connsiteX63" fmla="*/ 454483 w 554886"/>
                <a:gd name="connsiteY63" fmla="*/ 66294 h 533734"/>
                <a:gd name="connsiteX64" fmla="*/ 377399 w 554886"/>
                <a:gd name="connsiteY64" fmla="*/ 13702 h 533734"/>
                <a:gd name="connsiteX65" fmla="*/ 338856 w 554886"/>
                <a:gd name="connsiteY65" fmla="*/ 83382 h 533734"/>
                <a:gd name="connsiteX66" fmla="*/ 332971 w 554886"/>
                <a:gd name="connsiteY66" fmla="*/ 86419 h 533734"/>
                <a:gd name="connsiteX67" fmla="*/ 246204 w 554886"/>
                <a:gd name="connsiteY67" fmla="*/ 89647 h 533734"/>
                <a:gd name="connsiteX68" fmla="*/ 239748 w 554886"/>
                <a:gd name="connsiteY68" fmla="*/ 86040 h 533734"/>
                <a:gd name="connsiteX69" fmla="*/ 206712 w 554886"/>
                <a:gd name="connsiteY69" fmla="*/ 16360 h 533734"/>
                <a:gd name="connsiteX70" fmla="*/ 115389 w 554886"/>
                <a:gd name="connsiteY70" fmla="*/ 74079 h 533734"/>
                <a:gd name="connsiteX71" fmla="*/ 154310 w 554886"/>
                <a:gd name="connsiteY71" fmla="*/ 131986 h 533734"/>
                <a:gd name="connsiteX72" fmla="*/ 154500 w 554886"/>
                <a:gd name="connsiteY72" fmla="*/ 138442 h 533734"/>
                <a:gd name="connsiteX73" fmla="*/ 110832 w 554886"/>
                <a:gd name="connsiteY73" fmla="*/ 215906 h 533734"/>
                <a:gd name="connsiteX74" fmla="*/ 104187 w 554886"/>
                <a:gd name="connsiteY74" fmla="*/ 219133 h 533734"/>
                <a:gd name="connsiteX75" fmla="*/ 24255 w 554886"/>
                <a:gd name="connsiteY75" fmla="*/ 199198 h 533734"/>
                <a:gd name="connsiteX76" fmla="*/ 15521 w 554886"/>
                <a:gd name="connsiteY76" fmla="*/ 323178 h 533734"/>
                <a:gd name="connsiteX77" fmla="*/ 66025 w 554886"/>
                <a:gd name="connsiteY77" fmla="*/ 313495 h 533734"/>
                <a:gd name="connsiteX78" fmla="*/ 89378 w 554886"/>
                <a:gd name="connsiteY78" fmla="*/ 308748 h 533734"/>
                <a:gd name="connsiteX79" fmla="*/ 95833 w 554886"/>
                <a:gd name="connsiteY79" fmla="*/ 312356 h 533734"/>
                <a:gd name="connsiteX80" fmla="*/ 140071 w 554886"/>
                <a:gd name="connsiteY80" fmla="*/ 390579 h 533734"/>
                <a:gd name="connsiteX81" fmla="*/ 140450 w 554886"/>
                <a:gd name="connsiteY81" fmla="*/ 397224 h 533734"/>
                <a:gd name="connsiteX82" fmla="*/ 99820 w 554886"/>
                <a:gd name="connsiteY82" fmla="*/ 457790 h 533734"/>
                <a:gd name="connsiteX83" fmla="*/ 179942 w 554886"/>
                <a:gd name="connsiteY83" fmla="*/ 517027 h 533734"/>
                <a:gd name="connsiteX84" fmla="*/ 189815 w 554886"/>
                <a:gd name="connsiteY84" fmla="*/ 498421 h 533734"/>
                <a:gd name="connsiteX85" fmla="*/ 212978 w 554886"/>
                <a:gd name="connsiteY85" fmla="*/ 455132 h 533734"/>
                <a:gd name="connsiteX86" fmla="*/ 218674 w 554886"/>
                <a:gd name="connsiteY86" fmla="*/ 452094 h 533734"/>
                <a:gd name="connsiteX87" fmla="*/ 297656 w 554886"/>
                <a:gd name="connsiteY87" fmla="*/ 452854 h 533734"/>
                <a:gd name="connsiteX88" fmla="*/ 298416 w 554886"/>
                <a:gd name="connsiteY88" fmla="*/ 452854 h 533734"/>
                <a:gd name="connsiteX89" fmla="*/ 298416 w 554886"/>
                <a:gd name="connsiteY89" fmla="*/ 452854 h 53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54886" h="533734">
                  <a:moveTo>
                    <a:pt x="332022" y="533355"/>
                  </a:moveTo>
                  <a:cubicBezTo>
                    <a:pt x="329553" y="533355"/>
                    <a:pt x="327465" y="532026"/>
                    <a:pt x="326705" y="529748"/>
                  </a:cubicBezTo>
                  <a:cubicBezTo>
                    <a:pt x="318351" y="508483"/>
                    <a:pt x="309618" y="486649"/>
                    <a:pt x="296327" y="465005"/>
                  </a:cubicBezTo>
                  <a:cubicBezTo>
                    <a:pt x="271266" y="468232"/>
                    <a:pt x="245824" y="466714"/>
                    <a:pt x="222091" y="464245"/>
                  </a:cubicBezTo>
                  <a:cubicBezTo>
                    <a:pt x="215066" y="476966"/>
                    <a:pt x="208231" y="490067"/>
                    <a:pt x="201017" y="503927"/>
                  </a:cubicBezTo>
                  <a:cubicBezTo>
                    <a:pt x="197029" y="511521"/>
                    <a:pt x="193042" y="519305"/>
                    <a:pt x="188865" y="527280"/>
                  </a:cubicBezTo>
                  <a:cubicBezTo>
                    <a:pt x="187536" y="529748"/>
                    <a:pt x="184309" y="531077"/>
                    <a:pt x="181651" y="529938"/>
                  </a:cubicBezTo>
                  <a:cubicBezTo>
                    <a:pt x="144817" y="515508"/>
                    <a:pt x="112921" y="491965"/>
                    <a:pt x="89188" y="461777"/>
                  </a:cubicBezTo>
                  <a:cubicBezTo>
                    <a:pt x="87669" y="459879"/>
                    <a:pt x="87479" y="457031"/>
                    <a:pt x="89188" y="454752"/>
                  </a:cubicBezTo>
                  <a:cubicBezTo>
                    <a:pt x="102098" y="436336"/>
                    <a:pt x="115389" y="417729"/>
                    <a:pt x="129818" y="394756"/>
                  </a:cubicBezTo>
                  <a:cubicBezTo>
                    <a:pt x="114439" y="374820"/>
                    <a:pt x="100769" y="350708"/>
                    <a:pt x="88238" y="321279"/>
                  </a:cubicBezTo>
                  <a:cubicBezTo>
                    <a:pt x="81973" y="322608"/>
                    <a:pt x="75897" y="323747"/>
                    <a:pt x="69632" y="325076"/>
                  </a:cubicBezTo>
                  <a:cubicBezTo>
                    <a:pt x="51785" y="328874"/>
                    <a:pt x="33178" y="332861"/>
                    <a:pt x="13053" y="335709"/>
                  </a:cubicBezTo>
                  <a:cubicBezTo>
                    <a:pt x="10015" y="336088"/>
                    <a:pt x="7357" y="334380"/>
                    <a:pt x="6598" y="331532"/>
                  </a:cubicBezTo>
                  <a:cubicBezTo>
                    <a:pt x="-4604" y="289572"/>
                    <a:pt x="-1567" y="242296"/>
                    <a:pt x="15901" y="190654"/>
                  </a:cubicBezTo>
                  <a:cubicBezTo>
                    <a:pt x="16850" y="187806"/>
                    <a:pt x="19888" y="186097"/>
                    <a:pt x="22926" y="186857"/>
                  </a:cubicBezTo>
                  <a:cubicBezTo>
                    <a:pt x="48747" y="193312"/>
                    <a:pt x="75518" y="200147"/>
                    <a:pt x="103427" y="206982"/>
                  </a:cubicBezTo>
                  <a:cubicBezTo>
                    <a:pt x="114629" y="182490"/>
                    <a:pt x="128869" y="159706"/>
                    <a:pt x="143868" y="135784"/>
                  </a:cubicBezTo>
                  <a:cubicBezTo>
                    <a:pt x="131147" y="118696"/>
                    <a:pt x="116908" y="98950"/>
                    <a:pt x="104187" y="75597"/>
                  </a:cubicBezTo>
                  <a:cubicBezTo>
                    <a:pt x="102858" y="73129"/>
                    <a:pt x="103427" y="70281"/>
                    <a:pt x="105326" y="68573"/>
                  </a:cubicBezTo>
                  <a:cubicBezTo>
                    <a:pt x="132666" y="43511"/>
                    <a:pt x="167221" y="21677"/>
                    <a:pt x="208041" y="3640"/>
                  </a:cubicBezTo>
                  <a:cubicBezTo>
                    <a:pt x="210699" y="2311"/>
                    <a:pt x="213927" y="3640"/>
                    <a:pt x="215446" y="6108"/>
                  </a:cubicBezTo>
                  <a:cubicBezTo>
                    <a:pt x="228357" y="29081"/>
                    <a:pt x="239938" y="53194"/>
                    <a:pt x="250001" y="77496"/>
                  </a:cubicBezTo>
                  <a:cubicBezTo>
                    <a:pt x="276772" y="73129"/>
                    <a:pt x="304302" y="72180"/>
                    <a:pt x="331452" y="74458"/>
                  </a:cubicBezTo>
                  <a:cubicBezTo>
                    <a:pt x="343413" y="51485"/>
                    <a:pt x="355944" y="27562"/>
                    <a:pt x="371513" y="2690"/>
                  </a:cubicBezTo>
                  <a:cubicBezTo>
                    <a:pt x="373032" y="222"/>
                    <a:pt x="376449" y="-727"/>
                    <a:pt x="379107" y="602"/>
                  </a:cubicBezTo>
                  <a:cubicBezTo>
                    <a:pt x="408916" y="16171"/>
                    <a:pt x="437205" y="35157"/>
                    <a:pt x="463026" y="56991"/>
                  </a:cubicBezTo>
                  <a:cubicBezTo>
                    <a:pt x="470051" y="62877"/>
                    <a:pt x="476886" y="69142"/>
                    <a:pt x="483721" y="75218"/>
                  </a:cubicBezTo>
                  <a:cubicBezTo>
                    <a:pt x="486949" y="78255"/>
                    <a:pt x="490746" y="81483"/>
                    <a:pt x="491885" y="86230"/>
                  </a:cubicBezTo>
                  <a:cubicBezTo>
                    <a:pt x="492265" y="87749"/>
                    <a:pt x="491885" y="89457"/>
                    <a:pt x="491126" y="90976"/>
                  </a:cubicBezTo>
                  <a:cubicBezTo>
                    <a:pt x="485240" y="99710"/>
                    <a:pt x="479165" y="108444"/>
                    <a:pt x="472899" y="117557"/>
                  </a:cubicBezTo>
                  <a:cubicBezTo>
                    <a:pt x="464166" y="130088"/>
                    <a:pt x="455242" y="142999"/>
                    <a:pt x="445939" y="157238"/>
                  </a:cubicBezTo>
                  <a:cubicBezTo>
                    <a:pt x="454103" y="177553"/>
                    <a:pt x="462267" y="198248"/>
                    <a:pt x="469672" y="218943"/>
                  </a:cubicBezTo>
                  <a:cubicBezTo>
                    <a:pt x="491696" y="220842"/>
                    <a:pt x="520175" y="225209"/>
                    <a:pt x="550743" y="237740"/>
                  </a:cubicBezTo>
                  <a:cubicBezTo>
                    <a:pt x="552641" y="238499"/>
                    <a:pt x="554160" y="240588"/>
                    <a:pt x="554350" y="242676"/>
                  </a:cubicBezTo>
                  <a:cubicBezTo>
                    <a:pt x="556629" y="281408"/>
                    <a:pt x="551692" y="316912"/>
                    <a:pt x="538782" y="351087"/>
                  </a:cubicBezTo>
                  <a:cubicBezTo>
                    <a:pt x="538022" y="353556"/>
                    <a:pt x="535554" y="354885"/>
                    <a:pt x="533086" y="354885"/>
                  </a:cubicBezTo>
                  <a:lnTo>
                    <a:pt x="524542" y="354885"/>
                  </a:lnTo>
                  <a:cubicBezTo>
                    <a:pt x="504416" y="353746"/>
                    <a:pt x="483721" y="352986"/>
                    <a:pt x="461508" y="354885"/>
                  </a:cubicBezTo>
                  <a:cubicBezTo>
                    <a:pt x="453343" y="375390"/>
                    <a:pt x="440433" y="396085"/>
                    <a:pt x="421636" y="419438"/>
                  </a:cubicBezTo>
                  <a:cubicBezTo>
                    <a:pt x="433408" y="440133"/>
                    <a:pt x="445369" y="461777"/>
                    <a:pt x="455812" y="487219"/>
                  </a:cubicBezTo>
                  <a:cubicBezTo>
                    <a:pt x="456951" y="489877"/>
                    <a:pt x="455812" y="493104"/>
                    <a:pt x="453343" y="494623"/>
                  </a:cubicBezTo>
                  <a:cubicBezTo>
                    <a:pt x="414042" y="516078"/>
                    <a:pt x="373791" y="529178"/>
                    <a:pt x="333351" y="533355"/>
                  </a:cubicBezTo>
                  <a:lnTo>
                    <a:pt x="332781" y="533355"/>
                  </a:lnTo>
                  <a:lnTo>
                    <a:pt x="332401" y="533735"/>
                  </a:lnTo>
                  <a:close/>
                  <a:moveTo>
                    <a:pt x="298985" y="452854"/>
                  </a:moveTo>
                  <a:cubicBezTo>
                    <a:pt x="300884" y="452854"/>
                    <a:pt x="302783" y="453803"/>
                    <a:pt x="303732" y="455512"/>
                  </a:cubicBezTo>
                  <a:cubicBezTo>
                    <a:pt x="317972" y="477536"/>
                    <a:pt x="327085" y="499750"/>
                    <a:pt x="335629" y="521204"/>
                  </a:cubicBezTo>
                  <a:cubicBezTo>
                    <a:pt x="371513" y="516837"/>
                    <a:pt x="407017" y="505066"/>
                    <a:pt x="442142" y="486649"/>
                  </a:cubicBezTo>
                  <a:cubicBezTo>
                    <a:pt x="431699" y="462537"/>
                    <a:pt x="420118" y="441842"/>
                    <a:pt x="408536" y="421526"/>
                  </a:cubicBezTo>
                  <a:cubicBezTo>
                    <a:pt x="407397" y="419438"/>
                    <a:pt x="407587" y="416780"/>
                    <a:pt x="409106" y="415071"/>
                  </a:cubicBezTo>
                  <a:cubicBezTo>
                    <a:pt x="429611" y="390199"/>
                    <a:pt x="442711" y="368745"/>
                    <a:pt x="450875" y="347480"/>
                  </a:cubicBezTo>
                  <a:cubicBezTo>
                    <a:pt x="451635" y="345392"/>
                    <a:pt x="453533" y="343873"/>
                    <a:pt x="455622" y="343873"/>
                  </a:cubicBezTo>
                  <a:cubicBezTo>
                    <a:pt x="479924" y="341594"/>
                    <a:pt x="502138" y="342544"/>
                    <a:pt x="523592" y="343303"/>
                  </a:cubicBezTo>
                  <a:lnTo>
                    <a:pt x="527959" y="343303"/>
                  </a:lnTo>
                  <a:cubicBezTo>
                    <a:pt x="538782" y="313115"/>
                    <a:pt x="543148" y="281788"/>
                    <a:pt x="541629" y="247423"/>
                  </a:cubicBezTo>
                  <a:cubicBezTo>
                    <a:pt x="512011" y="235841"/>
                    <a:pt x="484671" y="232234"/>
                    <a:pt x="463786" y="230525"/>
                  </a:cubicBezTo>
                  <a:cubicBezTo>
                    <a:pt x="461508" y="230525"/>
                    <a:pt x="459609" y="228816"/>
                    <a:pt x="458849" y="226728"/>
                  </a:cubicBezTo>
                  <a:cubicBezTo>
                    <a:pt x="450875" y="204324"/>
                    <a:pt x="441762" y="181351"/>
                    <a:pt x="433028" y="159327"/>
                  </a:cubicBezTo>
                  <a:cubicBezTo>
                    <a:pt x="432269" y="157618"/>
                    <a:pt x="432459" y="155340"/>
                    <a:pt x="433408" y="153821"/>
                  </a:cubicBezTo>
                  <a:cubicBezTo>
                    <a:pt x="443281" y="138252"/>
                    <a:pt x="452964" y="124582"/>
                    <a:pt x="462267" y="111292"/>
                  </a:cubicBezTo>
                  <a:cubicBezTo>
                    <a:pt x="467773" y="103127"/>
                    <a:pt x="473279" y="95533"/>
                    <a:pt x="478405" y="87749"/>
                  </a:cubicBezTo>
                  <a:cubicBezTo>
                    <a:pt x="477456" y="86609"/>
                    <a:pt x="476127" y="85280"/>
                    <a:pt x="474798" y="84141"/>
                  </a:cubicBezTo>
                  <a:cubicBezTo>
                    <a:pt x="468153" y="78255"/>
                    <a:pt x="461318" y="71990"/>
                    <a:pt x="454483" y="66294"/>
                  </a:cubicBezTo>
                  <a:cubicBezTo>
                    <a:pt x="430560" y="46169"/>
                    <a:pt x="404739" y="28512"/>
                    <a:pt x="377399" y="13702"/>
                  </a:cubicBezTo>
                  <a:cubicBezTo>
                    <a:pt x="362589" y="37625"/>
                    <a:pt x="350628" y="60978"/>
                    <a:pt x="338856" y="83382"/>
                  </a:cubicBezTo>
                  <a:cubicBezTo>
                    <a:pt x="337717" y="85470"/>
                    <a:pt x="335439" y="86799"/>
                    <a:pt x="332971" y="86419"/>
                  </a:cubicBezTo>
                  <a:cubicBezTo>
                    <a:pt x="304112" y="83382"/>
                    <a:pt x="274873" y="84521"/>
                    <a:pt x="246204" y="89647"/>
                  </a:cubicBezTo>
                  <a:cubicBezTo>
                    <a:pt x="243546" y="90027"/>
                    <a:pt x="240888" y="88698"/>
                    <a:pt x="239748" y="86040"/>
                  </a:cubicBezTo>
                  <a:cubicBezTo>
                    <a:pt x="230065" y="62117"/>
                    <a:pt x="219053" y="38764"/>
                    <a:pt x="206712" y="16360"/>
                  </a:cubicBezTo>
                  <a:cubicBezTo>
                    <a:pt x="170828" y="32689"/>
                    <a:pt x="140261" y="52054"/>
                    <a:pt x="115389" y="74079"/>
                  </a:cubicBezTo>
                  <a:cubicBezTo>
                    <a:pt x="127920" y="96292"/>
                    <a:pt x="141969" y="115658"/>
                    <a:pt x="154310" y="131986"/>
                  </a:cubicBezTo>
                  <a:cubicBezTo>
                    <a:pt x="155640" y="133885"/>
                    <a:pt x="155829" y="136543"/>
                    <a:pt x="154500" y="138442"/>
                  </a:cubicBezTo>
                  <a:cubicBezTo>
                    <a:pt x="138172" y="164643"/>
                    <a:pt x="122603" y="189515"/>
                    <a:pt x="110832" y="215906"/>
                  </a:cubicBezTo>
                  <a:cubicBezTo>
                    <a:pt x="109693" y="218374"/>
                    <a:pt x="106845" y="219893"/>
                    <a:pt x="104187" y="219133"/>
                  </a:cubicBezTo>
                  <a:cubicBezTo>
                    <a:pt x="76467" y="212298"/>
                    <a:pt x="49886" y="205653"/>
                    <a:pt x="24255" y="199198"/>
                  </a:cubicBezTo>
                  <a:cubicBezTo>
                    <a:pt x="9635" y="244575"/>
                    <a:pt x="6787" y="286155"/>
                    <a:pt x="15521" y="323178"/>
                  </a:cubicBezTo>
                  <a:cubicBezTo>
                    <a:pt x="33178" y="320520"/>
                    <a:pt x="49886" y="316912"/>
                    <a:pt x="66025" y="313495"/>
                  </a:cubicBezTo>
                  <a:cubicBezTo>
                    <a:pt x="73809" y="311786"/>
                    <a:pt x="81593" y="310267"/>
                    <a:pt x="89378" y="308748"/>
                  </a:cubicBezTo>
                  <a:cubicBezTo>
                    <a:pt x="92036" y="308179"/>
                    <a:pt x="94694" y="309508"/>
                    <a:pt x="95833" y="312356"/>
                  </a:cubicBezTo>
                  <a:cubicBezTo>
                    <a:pt x="109123" y="344442"/>
                    <a:pt x="123553" y="370074"/>
                    <a:pt x="140071" y="390579"/>
                  </a:cubicBezTo>
                  <a:cubicBezTo>
                    <a:pt x="141590" y="392477"/>
                    <a:pt x="141780" y="395136"/>
                    <a:pt x="140450" y="397224"/>
                  </a:cubicBezTo>
                  <a:cubicBezTo>
                    <a:pt x="126021" y="420577"/>
                    <a:pt x="112731" y="439563"/>
                    <a:pt x="99820" y="457790"/>
                  </a:cubicBezTo>
                  <a:cubicBezTo>
                    <a:pt x="120895" y="483421"/>
                    <a:pt x="148425" y="503737"/>
                    <a:pt x="179942" y="517027"/>
                  </a:cubicBezTo>
                  <a:cubicBezTo>
                    <a:pt x="183359" y="510572"/>
                    <a:pt x="186397" y="504496"/>
                    <a:pt x="189815" y="498421"/>
                  </a:cubicBezTo>
                  <a:cubicBezTo>
                    <a:pt x="197599" y="483421"/>
                    <a:pt x="205194" y="469182"/>
                    <a:pt x="212978" y="455132"/>
                  </a:cubicBezTo>
                  <a:cubicBezTo>
                    <a:pt x="214117" y="453233"/>
                    <a:pt x="216395" y="452094"/>
                    <a:pt x="218674" y="452094"/>
                  </a:cubicBezTo>
                  <a:cubicBezTo>
                    <a:pt x="244115" y="454752"/>
                    <a:pt x="271266" y="456651"/>
                    <a:pt x="297656" y="452854"/>
                  </a:cubicBezTo>
                  <a:lnTo>
                    <a:pt x="298416" y="452854"/>
                  </a:lnTo>
                  <a:lnTo>
                    <a:pt x="298416" y="452854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1" name="Freeform: Shape 2110">
              <a:extLst>
                <a:ext uri="{FF2B5EF4-FFF2-40B4-BE49-F238E27FC236}">
                  <a16:creationId xmlns:a16="http://schemas.microsoft.com/office/drawing/2014/main" id="{2F721B7F-40CC-77DE-019A-C2EE1C6015AC}"/>
                </a:ext>
              </a:extLst>
            </p:cNvPr>
            <p:cNvSpPr/>
            <p:nvPr/>
          </p:nvSpPr>
          <p:spPr>
            <a:xfrm>
              <a:off x="11500083" y="1254732"/>
              <a:ext cx="166509" cy="176661"/>
            </a:xfrm>
            <a:custGeom>
              <a:avLst/>
              <a:gdLst>
                <a:gd name="connsiteX0" fmla="*/ 54080 w 122526"/>
                <a:gd name="connsiteY0" fmla="*/ 129996 h 129996"/>
                <a:gd name="connsiteX1" fmla="*/ 24462 w 122526"/>
                <a:gd name="connsiteY1" fmla="*/ 123731 h 129996"/>
                <a:gd name="connsiteX2" fmla="*/ 7184 w 122526"/>
                <a:gd name="connsiteY2" fmla="*/ 110440 h 129996"/>
                <a:gd name="connsiteX3" fmla="*/ 349 w 122526"/>
                <a:gd name="connsiteY3" fmla="*/ 87277 h 129996"/>
                <a:gd name="connsiteX4" fmla="*/ 17057 w 122526"/>
                <a:gd name="connsiteY4" fmla="*/ 23483 h 129996"/>
                <a:gd name="connsiteX5" fmla="*/ 78382 w 122526"/>
                <a:gd name="connsiteY5" fmla="*/ 2409 h 129996"/>
                <a:gd name="connsiteX6" fmla="*/ 81230 w 122526"/>
                <a:gd name="connsiteY6" fmla="*/ 4497 h 129996"/>
                <a:gd name="connsiteX7" fmla="*/ 82559 w 122526"/>
                <a:gd name="connsiteY7" fmla="*/ 4877 h 129996"/>
                <a:gd name="connsiteX8" fmla="*/ 122430 w 122526"/>
                <a:gd name="connsiteY8" fmla="*/ 59178 h 129996"/>
                <a:gd name="connsiteX9" fmla="*/ 91103 w 122526"/>
                <a:gd name="connsiteY9" fmla="*/ 119174 h 129996"/>
                <a:gd name="connsiteX10" fmla="*/ 54080 w 122526"/>
                <a:gd name="connsiteY10" fmla="*/ 129617 h 129996"/>
                <a:gd name="connsiteX11" fmla="*/ 54080 w 122526"/>
                <a:gd name="connsiteY11" fmla="*/ 129617 h 129996"/>
                <a:gd name="connsiteX12" fmla="*/ 63383 w 122526"/>
                <a:gd name="connsiteY12" fmla="*/ 11902 h 129996"/>
                <a:gd name="connsiteX13" fmla="*/ 26360 w 122526"/>
                <a:gd name="connsiteY13" fmla="*/ 30888 h 129996"/>
                <a:gd name="connsiteX14" fmla="*/ 12120 w 122526"/>
                <a:gd name="connsiteY14" fmla="*/ 86518 h 129996"/>
                <a:gd name="connsiteX15" fmla="*/ 16867 w 122526"/>
                <a:gd name="connsiteY15" fmla="*/ 103795 h 129996"/>
                <a:gd name="connsiteX16" fmla="*/ 29398 w 122526"/>
                <a:gd name="connsiteY16" fmla="*/ 113098 h 129996"/>
                <a:gd name="connsiteX17" fmla="*/ 85028 w 122526"/>
                <a:gd name="connsiteY17" fmla="*/ 109681 h 129996"/>
                <a:gd name="connsiteX18" fmla="*/ 110849 w 122526"/>
                <a:gd name="connsiteY18" fmla="*/ 60127 h 129996"/>
                <a:gd name="connsiteX19" fmla="*/ 78762 w 122526"/>
                <a:gd name="connsiteY19" fmla="*/ 16269 h 129996"/>
                <a:gd name="connsiteX20" fmla="*/ 76864 w 122526"/>
                <a:gd name="connsiteY20" fmla="*/ 15699 h 129996"/>
                <a:gd name="connsiteX21" fmla="*/ 70978 w 122526"/>
                <a:gd name="connsiteY21" fmla="*/ 12661 h 129996"/>
                <a:gd name="connsiteX22" fmla="*/ 63383 w 122526"/>
                <a:gd name="connsiteY22" fmla="*/ 11902 h 129996"/>
                <a:gd name="connsiteX23" fmla="*/ 63383 w 122526"/>
                <a:gd name="connsiteY23" fmla="*/ 11902 h 129996"/>
                <a:gd name="connsiteX24" fmla="*/ 76674 w 122526"/>
                <a:gd name="connsiteY24" fmla="*/ 8295 h 129996"/>
                <a:gd name="connsiteX25" fmla="*/ 77813 w 122526"/>
                <a:gd name="connsiteY25" fmla="*/ 13990 h 129996"/>
                <a:gd name="connsiteX26" fmla="*/ 77813 w 122526"/>
                <a:gd name="connsiteY26" fmla="*/ 13990 h 129996"/>
                <a:gd name="connsiteX27" fmla="*/ 76484 w 122526"/>
                <a:gd name="connsiteY27" fmla="*/ 8295 h 129996"/>
                <a:gd name="connsiteX28" fmla="*/ 76484 w 122526"/>
                <a:gd name="connsiteY28" fmla="*/ 8295 h 12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2526" h="129996">
                  <a:moveTo>
                    <a:pt x="54080" y="129996"/>
                  </a:moveTo>
                  <a:cubicBezTo>
                    <a:pt x="44017" y="129996"/>
                    <a:pt x="33955" y="127908"/>
                    <a:pt x="24462" y="123731"/>
                  </a:cubicBezTo>
                  <a:cubicBezTo>
                    <a:pt x="16487" y="120123"/>
                    <a:pt x="10791" y="115946"/>
                    <a:pt x="7184" y="110440"/>
                  </a:cubicBezTo>
                  <a:cubicBezTo>
                    <a:pt x="2058" y="103226"/>
                    <a:pt x="729" y="94302"/>
                    <a:pt x="349" y="87277"/>
                  </a:cubicBezTo>
                  <a:cubicBezTo>
                    <a:pt x="-1550" y="62405"/>
                    <a:pt x="4336" y="39622"/>
                    <a:pt x="17057" y="23483"/>
                  </a:cubicBezTo>
                  <a:cubicBezTo>
                    <a:pt x="32246" y="4118"/>
                    <a:pt x="57498" y="-4616"/>
                    <a:pt x="78382" y="2409"/>
                  </a:cubicBezTo>
                  <a:cubicBezTo>
                    <a:pt x="79711" y="2789"/>
                    <a:pt x="80661" y="3548"/>
                    <a:pt x="81230" y="4497"/>
                  </a:cubicBezTo>
                  <a:cubicBezTo>
                    <a:pt x="81610" y="4497"/>
                    <a:pt x="81990" y="4687"/>
                    <a:pt x="82559" y="4877"/>
                  </a:cubicBezTo>
                  <a:cubicBezTo>
                    <a:pt x="104773" y="12472"/>
                    <a:pt x="121291" y="34685"/>
                    <a:pt x="122430" y="59178"/>
                  </a:cubicBezTo>
                  <a:cubicBezTo>
                    <a:pt x="123760" y="82531"/>
                    <a:pt x="111229" y="106643"/>
                    <a:pt x="91103" y="119174"/>
                  </a:cubicBezTo>
                  <a:cubicBezTo>
                    <a:pt x="80091" y="126199"/>
                    <a:pt x="67181" y="129617"/>
                    <a:pt x="54080" y="129617"/>
                  </a:cubicBezTo>
                  <a:lnTo>
                    <a:pt x="54080" y="129617"/>
                  </a:lnTo>
                  <a:close/>
                  <a:moveTo>
                    <a:pt x="63383" y="11902"/>
                  </a:moveTo>
                  <a:cubicBezTo>
                    <a:pt x="49903" y="11902"/>
                    <a:pt x="35663" y="18927"/>
                    <a:pt x="26360" y="30888"/>
                  </a:cubicBezTo>
                  <a:cubicBezTo>
                    <a:pt x="15538" y="44748"/>
                    <a:pt x="10412" y="64494"/>
                    <a:pt x="12120" y="86518"/>
                  </a:cubicBezTo>
                  <a:cubicBezTo>
                    <a:pt x="12500" y="91834"/>
                    <a:pt x="13449" y="98859"/>
                    <a:pt x="16867" y="103795"/>
                  </a:cubicBezTo>
                  <a:cubicBezTo>
                    <a:pt x="19335" y="107403"/>
                    <a:pt x="23322" y="110440"/>
                    <a:pt x="29398" y="113098"/>
                  </a:cubicBezTo>
                  <a:cubicBezTo>
                    <a:pt x="47625" y="121263"/>
                    <a:pt x="68889" y="119933"/>
                    <a:pt x="85028" y="109681"/>
                  </a:cubicBezTo>
                  <a:cubicBezTo>
                    <a:pt x="101735" y="99239"/>
                    <a:pt x="111988" y="79493"/>
                    <a:pt x="110849" y="60127"/>
                  </a:cubicBezTo>
                  <a:cubicBezTo>
                    <a:pt x="109710" y="40571"/>
                    <a:pt x="96229" y="22154"/>
                    <a:pt x="78762" y="16269"/>
                  </a:cubicBezTo>
                  <a:cubicBezTo>
                    <a:pt x="78003" y="15889"/>
                    <a:pt x="77433" y="15889"/>
                    <a:pt x="76864" y="15699"/>
                  </a:cubicBezTo>
                  <a:cubicBezTo>
                    <a:pt x="74965" y="15130"/>
                    <a:pt x="72497" y="14370"/>
                    <a:pt x="70978" y="12661"/>
                  </a:cubicBezTo>
                  <a:cubicBezTo>
                    <a:pt x="68510" y="12092"/>
                    <a:pt x="66041" y="11902"/>
                    <a:pt x="63383" y="11902"/>
                  </a:cubicBezTo>
                  <a:lnTo>
                    <a:pt x="63383" y="11902"/>
                  </a:lnTo>
                  <a:close/>
                  <a:moveTo>
                    <a:pt x="76674" y="8295"/>
                  </a:moveTo>
                  <a:lnTo>
                    <a:pt x="77813" y="13990"/>
                  </a:lnTo>
                  <a:lnTo>
                    <a:pt x="77813" y="13990"/>
                  </a:lnTo>
                  <a:lnTo>
                    <a:pt x="76484" y="8295"/>
                  </a:lnTo>
                  <a:lnTo>
                    <a:pt x="76484" y="8295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2" name="Freeform: Shape 2111">
              <a:extLst>
                <a:ext uri="{FF2B5EF4-FFF2-40B4-BE49-F238E27FC236}">
                  <a16:creationId xmlns:a16="http://schemas.microsoft.com/office/drawing/2014/main" id="{030DAA55-AEF1-E759-2CEF-6CCB4D8F0ED3}"/>
                </a:ext>
              </a:extLst>
            </p:cNvPr>
            <p:cNvSpPr/>
            <p:nvPr/>
          </p:nvSpPr>
          <p:spPr>
            <a:xfrm>
              <a:off x="11383626" y="1111807"/>
              <a:ext cx="109513" cy="313393"/>
            </a:xfrm>
            <a:custGeom>
              <a:avLst/>
              <a:gdLst>
                <a:gd name="connsiteX0" fmla="*/ 1935 w 80585"/>
                <a:gd name="connsiteY0" fmla="*/ 230612 h 230611"/>
                <a:gd name="connsiteX1" fmla="*/ 1365 w 80585"/>
                <a:gd name="connsiteY1" fmla="*/ 230612 h 230611"/>
                <a:gd name="connsiteX2" fmla="*/ 36 w 80585"/>
                <a:gd name="connsiteY2" fmla="*/ 228144 h 230611"/>
                <a:gd name="connsiteX3" fmla="*/ 76931 w 80585"/>
                <a:gd name="connsiteY3" fmla="*/ 1258 h 230611"/>
                <a:gd name="connsiteX4" fmla="*/ 79399 w 80585"/>
                <a:gd name="connsiteY4" fmla="*/ 119 h 230611"/>
                <a:gd name="connsiteX5" fmla="*/ 80538 w 80585"/>
                <a:gd name="connsiteY5" fmla="*/ 2587 h 230611"/>
                <a:gd name="connsiteX6" fmla="*/ 3834 w 80585"/>
                <a:gd name="connsiteY6" fmla="*/ 229093 h 230611"/>
                <a:gd name="connsiteX7" fmla="*/ 1935 w 80585"/>
                <a:gd name="connsiteY7" fmla="*/ 230422 h 230611"/>
                <a:gd name="connsiteX8" fmla="*/ 1935 w 80585"/>
                <a:gd name="connsiteY8" fmla="*/ 230422 h 230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585" h="230611">
                  <a:moveTo>
                    <a:pt x="1935" y="230612"/>
                  </a:moveTo>
                  <a:lnTo>
                    <a:pt x="1365" y="230612"/>
                  </a:lnTo>
                  <a:cubicBezTo>
                    <a:pt x="416" y="230422"/>
                    <a:pt x="-153" y="229283"/>
                    <a:pt x="36" y="228144"/>
                  </a:cubicBezTo>
                  <a:cubicBezTo>
                    <a:pt x="21871" y="151629"/>
                    <a:pt x="47692" y="75114"/>
                    <a:pt x="76931" y="1258"/>
                  </a:cubicBezTo>
                  <a:cubicBezTo>
                    <a:pt x="77310" y="309"/>
                    <a:pt x="78450" y="-261"/>
                    <a:pt x="79399" y="119"/>
                  </a:cubicBezTo>
                  <a:cubicBezTo>
                    <a:pt x="80348" y="499"/>
                    <a:pt x="80728" y="1638"/>
                    <a:pt x="80538" y="2587"/>
                  </a:cubicBezTo>
                  <a:cubicBezTo>
                    <a:pt x="51489" y="76444"/>
                    <a:pt x="25478" y="152768"/>
                    <a:pt x="3834" y="229093"/>
                  </a:cubicBezTo>
                  <a:cubicBezTo>
                    <a:pt x="3644" y="229852"/>
                    <a:pt x="2884" y="230422"/>
                    <a:pt x="1935" y="230422"/>
                  </a:cubicBezTo>
                  <a:lnTo>
                    <a:pt x="1935" y="23042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3" name="Freeform: Shape 2112">
              <a:extLst>
                <a:ext uri="{FF2B5EF4-FFF2-40B4-BE49-F238E27FC236}">
                  <a16:creationId xmlns:a16="http://schemas.microsoft.com/office/drawing/2014/main" id="{AAB8012D-C857-0E16-3EEF-DE7156B40886}"/>
                </a:ext>
              </a:extLst>
            </p:cNvPr>
            <p:cNvSpPr/>
            <p:nvPr/>
          </p:nvSpPr>
          <p:spPr>
            <a:xfrm>
              <a:off x="11429467" y="1151081"/>
              <a:ext cx="112736" cy="290890"/>
            </a:xfrm>
            <a:custGeom>
              <a:avLst/>
              <a:gdLst>
                <a:gd name="connsiteX0" fmla="*/ 1998 w 82957"/>
                <a:gd name="connsiteY0" fmla="*/ 214053 h 214052"/>
                <a:gd name="connsiteX1" fmla="*/ 1429 w 82957"/>
                <a:gd name="connsiteY1" fmla="*/ 214053 h 214052"/>
                <a:gd name="connsiteX2" fmla="*/ 100 w 82957"/>
                <a:gd name="connsiteY2" fmla="*/ 211584 h 214052"/>
                <a:gd name="connsiteX3" fmla="*/ 79462 w 82957"/>
                <a:gd name="connsiteY3" fmla="*/ 1027 h 214052"/>
                <a:gd name="connsiteX4" fmla="*/ 81930 w 82957"/>
                <a:gd name="connsiteY4" fmla="*/ 268 h 214052"/>
                <a:gd name="connsiteX5" fmla="*/ 82690 w 82957"/>
                <a:gd name="connsiteY5" fmla="*/ 2736 h 214052"/>
                <a:gd name="connsiteX6" fmla="*/ 3328 w 82957"/>
                <a:gd name="connsiteY6" fmla="*/ 212723 h 214052"/>
                <a:gd name="connsiteX7" fmla="*/ 1429 w 82957"/>
                <a:gd name="connsiteY7" fmla="*/ 214053 h 214052"/>
                <a:gd name="connsiteX8" fmla="*/ 1429 w 82957"/>
                <a:gd name="connsiteY8" fmla="*/ 214053 h 21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957" h="214052">
                  <a:moveTo>
                    <a:pt x="1998" y="214053"/>
                  </a:moveTo>
                  <a:lnTo>
                    <a:pt x="1429" y="214053"/>
                  </a:lnTo>
                  <a:cubicBezTo>
                    <a:pt x="480" y="213673"/>
                    <a:pt x="-280" y="212723"/>
                    <a:pt x="100" y="211584"/>
                  </a:cubicBezTo>
                  <a:cubicBezTo>
                    <a:pt x="20225" y="139247"/>
                    <a:pt x="47186" y="68428"/>
                    <a:pt x="79462" y="1027"/>
                  </a:cubicBezTo>
                  <a:cubicBezTo>
                    <a:pt x="79842" y="78"/>
                    <a:pt x="80981" y="-302"/>
                    <a:pt x="81930" y="268"/>
                  </a:cubicBezTo>
                  <a:cubicBezTo>
                    <a:pt x="82880" y="647"/>
                    <a:pt x="83259" y="1787"/>
                    <a:pt x="82690" y="2736"/>
                  </a:cubicBezTo>
                  <a:cubicBezTo>
                    <a:pt x="50224" y="69947"/>
                    <a:pt x="23643" y="140576"/>
                    <a:pt x="3328" y="212723"/>
                  </a:cubicBezTo>
                  <a:cubicBezTo>
                    <a:pt x="3138" y="213483"/>
                    <a:pt x="2378" y="214053"/>
                    <a:pt x="1429" y="214053"/>
                  </a:cubicBezTo>
                  <a:lnTo>
                    <a:pt x="1429" y="21405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4" name="Freeform: Shape 2113">
              <a:extLst>
                <a:ext uri="{FF2B5EF4-FFF2-40B4-BE49-F238E27FC236}">
                  <a16:creationId xmlns:a16="http://schemas.microsoft.com/office/drawing/2014/main" id="{3DBF37DD-78F1-7982-B1F3-A9FF8D22F77A}"/>
                </a:ext>
              </a:extLst>
            </p:cNvPr>
            <p:cNvSpPr/>
            <p:nvPr/>
          </p:nvSpPr>
          <p:spPr>
            <a:xfrm>
              <a:off x="11412251" y="1438937"/>
              <a:ext cx="80629" cy="191904"/>
            </a:xfrm>
            <a:custGeom>
              <a:avLst/>
              <a:gdLst>
                <a:gd name="connsiteX0" fmla="*/ 1946 w 59331"/>
                <a:gd name="connsiteY0" fmla="*/ 140833 h 141213"/>
                <a:gd name="connsiteX1" fmla="*/ 1187 w 59331"/>
                <a:gd name="connsiteY1" fmla="*/ 140833 h 141213"/>
                <a:gd name="connsiteX2" fmla="*/ 47 w 59331"/>
                <a:gd name="connsiteY2" fmla="*/ 138365 h 141213"/>
                <a:gd name="connsiteX3" fmla="*/ 55677 w 59331"/>
                <a:gd name="connsiteY3" fmla="*/ 1095 h 141213"/>
                <a:gd name="connsiteX4" fmla="*/ 58145 w 59331"/>
                <a:gd name="connsiteY4" fmla="*/ 146 h 141213"/>
                <a:gd name="connsiteX5" fmla="*/ 59284 w 59331"/>
                <a:gd name="connsiteY5" fmla="*/ 2614 h 141213"/>
                <a:gd name="connsiteX6" fmla="*/ 3655 w 59331"/>
                <a:gd name="connsiteY6" fmla="*/ 139884 h 141213"/>
                <a:gd name="connsiteX7" fmla="*/ 1756 w 59331"/>
                <a:gd name="connsiteY7" fmla="*/ 141213 h 141213"/>
                <a:gd name="connsiteX8" fmla="*/ 1756 w 59331"/>
                <a:gd name="connsiteY8" fmla="*/ 141213 h 14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331" h="141213">
                  <a:moveTo>
                    <a:pt x="1946" y="140833"/>
                  </a:moveTo>
                  <a:cubicBezTo>
                    <a:pt x="1946" y="140833"/>
                    <a:pt x="1566" y="140833"/>
                    <a:pt x="1187" y="140833"/>
                  </a:cubicBezTo>
                  <a:cubicBezTo>
                    <a:pt x="237" y="140454"/>
                    <a:pt x="-142" y="139315"/>
                    <a:pt x="47" y="138365"/>
                  </a:cubicBezTo>
                  <a:lnTo>
                    <a:pt x="55677" y="1095"/>
                  </a:lnTo>
                  <a:cubicBezTo>
                    <a:pt x="56057" y="146"/>
                    <a:pt x="57196" y="-234"/>
                    <a:pt x="58145" y="146"/>
                  </a:cubicBezTo>
                  <a:cubicBezTo>
                    <a:pt x="59095" y="525"/>
                    <a:pt x="59474" y="1664"/>
                    <a:pt x="59284" y="2614"/>
                  </a:cubicBezTo>
                  <a:lnTo>
                    <a:pt x="3655" y="139884"/>
                  </a:lnTo>
                  <a:cubicBezTo>
                    <a:pt x="3655" y="139884"/>
                    <a:pt x="2705" y="141213"/>
                    <a:pt x="1756" y="141213"/>
                  </a:cubicBezTo>
                  <a:lnTo>
                    <a:pt x="1756" y="141213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5" name="Freeform: Shape 2114">
              <a:extLst>
                <a:ext uri="{FF2B5EF4-FFF2-40B4-BE49-F238E27FC236}">
                  <a16:creationId xmlns:a16="http://schemas.microsoft.com/office/drawing/2014/main" id="{07116EA8-0254-203A-3245-10A45A37A4D4}"/>
                </a:ext>
              </a:extLst>
            </p:cNvPr>
            <p:cNvSpPr/>
            <p:nvPr/>
          </p:nvSpPr>
          <p:spPr>
            <a:xfrm>
              <a:off x="11511845" y="1478190"/>
              <a:ext cx="47345" cy="112398"/>
            </a:xfrm>
            <a:custGeom>
              <a:avLst/>
              <a:gdLst>
                <a:gd name="connsiteX0" fmla="*/ 1946 w 34839"/>
                <a:gd name="connsiteY0" fmla="*/ 82519 h 82708"/>
                <a:gd name="connsiteX1" fmla="*/ 1187 w 34839"/>
                <a:gd name="connsiteY1" fmla="*/ 82519 h 82708"/>
                <a:gd name="connsiteX2" fmla="*/ 47 w 34839"/>
                <a:gd name="connsiteY2" fmla="*/ 80051 h 82708"/>
                <a:gd name="connsiteX3" fmla="*/ 31185 w 34839"/>
                <a:gd name="connsiteY3" fmla="*/ 1258 h 82708"/>
                <a:gd name="connsiteX4" fmla="*/ 33653 w 34839"/>
                <a:gd name="connsiteY4" fmla="*/ 119 h 82708"/>
                <a:gd name="connsiteX5" fmla="*/ 34792 w 34839"/>
                <a:gd name="connsiteY5" fmla="*/ 2587 h 82708"/>
                <a:gd name="connsiteX6" fmla="*/ 3655 w 34839"/>
                <a:gd name="connsiteY6" fmla="*/ 81380 h 82708"/>
                <a:gd name="connsiteX7" fmla="*/ 1756 w 34839"/>
                <a:gd name="connsiteY7" fmla="*/ 82709 h 82708"/>
                <a:gd name="connsiteX8" fmla="*/ 1756 w 34839"/>
                <a:gd name="connsiteY8" fmla="*/ 82709 h 8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839" h="82708">
                  <a:moveTo>
                    <a:pt x="1946" y="82519"/>
                  </a:moveTo>
                  <a:lnTo>
                    <a:pt x="1187" y="82519"/>
                  </a:lnTo>
                  <a:cubicBezTo>
                    <a:pt x="237" y="82139"/>
                    <a:pt x="-142" y="81000"/>
                    <a:pt x="47" y="80051"/>
                  </a:cubicBezTo>
                  <a:lnTo>
                    <a:pt x="31185" y="1258"/>
                  </a:lnTo>
                  <a:cubicBezTo>
                    <a:pt x="31565" y="309"/>
                    <a:pt x="32704" y="-261"/>
                    <a:pt x="33653" y="119"/>
                  </a:cubicBezTo>
                  <a:cubicBezTo>
                    <a:pt x="34602" y="499"/>
                    <a:pt x="34982" y="1638"/>
                    <a:pt x="34792" y="2587"/>
                  </a:cubicBezTo>
                  <a:lnTo>
                    <a:pt x="3655" y="81380"/>
                  </a:lnTo>
                  <a:cubicBezTo>
                    <a:pt x="3655" y="81380"/>
                    <a:pt x="2705" y="82709"/>
                    <a:pt x="1756" y="82709"/>
                  </a:cubicBezTo>
                  <a:lnTo>
                    <a:pt x="1756" y="8270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6" name="Freeform: Shape 2115">
              <a:extLst>
                <a:ext uri="{FF2B5EF4-FFF2-40B4-BE49-F238E27FC236}">
                  <a16:creationId xmlns:a16="http://schemas.microsoft.com/office/drawing/2014/main" id="{7FED3656-87C7-6163-4F46-F80D7F2D2977}"/>
                </a:ext>
              </a:extLst>
            </p:cNvPr>
            <p:cNvSpPr/>
            <p:nvPr/>
          </p:nvSpPr>
          <p:spPr>
            <a:xfrm>
              <a:off x="11590813" y="1166102"/>
              <a:ext cx="25384" cy="71003"/>
            </a:xfrm>
            <a:custGeom>
              <a:avLst/>
              <a:gdLst>
                <a:gd name="connsiteX0" fmla="*/ 1935 w 18679"/>
                <a:gd name="connsiteY0" fmla="*/ 52249 h 52248"/>
                <a:gd name="connsiteX1" fmla="*/ 1365 w 18679"/>
                <a:gd name="connsiteY1" fmla="*/ 52249 h 52248"/>
                <a:gd name="connsiteX2" fmla="*/ 36 w 18679"/>
                <a:gd name="connsiteY2" fmla="*/ 49780 h 52248"/>
                <a:gd name="connsiteX3" fmla="*/ 14846 w 18679"/>
                <a:gd name="connsiteY3" fmla="*/ 1365 h 52248"/>
                <a:gd name="connsiteX4" fmla="*/ 17314 w 18679"/>
                <a:gd name="connsiteY4" fmla="*/ 36 h 52248"/>
                <a:gd name="connsiteX5" fmla="*/ 18643 w 18679"/>
                <a:gd name="connsiteY5" fmla="*/ 2505 h 52248"/>
                <a:gd name="connsiteX6" fmla="*/ 3834 w 18679"/>
                <a:gd name="connsiteY6" fmla="*/ 50919 h 52248"/>
                <a:gd name="connsiteX7" fmla="*/ 1935 w 18679"/>
                <a:gd name="connsiteY7" fmla="*/ 52249 h 52248"/>
                <a:gd name="connsiteX8" fmla="*/ 1935 w 18679"/>
                <a:gd name="connsiteY8" fmla="*/ 52249 h 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79" h="52248">
                  <a:moveTo>
                    <a:pt x="1935" y="52249"/>
                  </a:moveTo>
                  <a:lnTo>
                    <a:pt x="1365" y="52249"/>
                  </a:lnTo>
                  <a:cubicBezTo>
                    <a:pt x="416" y="52059"/>
                    <a:pt x="-154" y="50919"/>
                    <a:pt x="36" y="49780"/>
                  </a:cubicBezTo>
                  <a:lnTo>
                    <a:pt x="14846" y="1365"/>
                  </a:lnTo>
                  <a:cubicBezTo>
                    <a:pt x="15035" y="416"/>
                    <a:pt x="16175" y="-154"/>
                    <a:pt x="17314" y="36"/>
                  </a:cubicBezTo>
                  <a:cubicBezTo>
                    <a:pt x="18263" y="226"/>
                    <a:pt x="18833" y="1365"/>
                    <a:pt x="18643" y="2505"/>
                  </a:cubicBezTo>
                  <a:lnTo>
                    <a:pt x="3834" y="50919"/>
                  </a:lnTo>
                  <a:cubicBezTo>
                    <a:pt x="3834" y="50919"/>
                    <a:pt x="2884" y="52249"/>
                    <a:pt x="1935" y="52249"/>
                  </a:cubicBezTo>
                  <a:lnTo>
                    <a:pt x="1935" y="5224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7" name="Freeform: Shape 2116">
              <a:extLst>
                <a:ext uri="{FF2B5EF4-FFF2-40B4-BE49-F238E27FC236}">
                  <a16:creationId xmlns:a16="http://schemas.microsoft.com/office/drawing/2014/main" id="{F5BC9BB9-DE82-73DA-676B-054C1BAD5CBE}"/>
                </a:ext>
              </a:extLst>
            </p:cNvPr>
            <p:cNvSpPr/>
            <p:nvPr/>
          </p:nvSpPr>
          <p:spPr>
            <a:xfrm>
              <a:off x="11670429" y="1083739"/>
              <a:ext cx="75350" cy="171170"/>
            </a:xfrm>
            <a:custGeom>
              <a:avLst/>
              <a:gdLst>
                <a:gd name="connsiteX0" fmla="*/ 2018 w 55446"/>
                <a:gd name="connsiteY0" fmla="*/ 125577 h 125956"/>
                <a:gd name="connsiteX1" fmla="*/ 1258 w 55446"/>
                <a:gd name="connsiteY1" fmla="*/ 125577 h 125956"/>
                <a:gd name="connsiteX2" fmla="*/ 119 w 55446"/>
                <a:gd name="connsiteY2" fmla="*/ 123108 h 125956"/>
                <a:gd name="connsiteX3" fmla="*/ 51951 w 55446"/>
                <a:gd name="connsiteY3" fmla="*/ 1027 h 125956"/>
                <a:gd name="connsiteX4" fmla="*/ 54420 w 55446"/>
                <a:gd name="connsiteY4" fmla="*/ 268 h 125956"/>
                <a:gd name="connsiteX5" fmla="*/ 55179 w 55446"/>
                <a:gd name="connsiteY5" fmla="*/ 2736 h 125956"/>
                <a:gd name="connsiteX6" fmla="*/ 3536 w 55446"/>
                <a:gd name="connsiteY6" fmla="*/ 124627 h 125956"/>
                <a:gd name="connsiteX7" fmla="*/ 1638 w 55446"/>
                <a:gd name="connsiteY7" fmla="*/ 125956 h 125956"/>
                <a:gd name="connsiteX8" fmla="*/ 1638 w 55446"/>
                <a:gd name="connsiteY8" fmla="*/ 125956 h 12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446" h="125956">
                  <a:moveTo>
                    <a:pt x="2018" y="125577"/>
                  </a:moveTo>
                  <a:lnTo>
                    <a:pt x="1258" y="125577"/>
                  </a:lnTo>
                  <a:cubicBezTo>
                    <a:pt x="309" y="125197"/>
                    <a:pt x="-261" y="124248"/>
                    <a:pt x="119" y="123108"/>
                  </a:cubicBezTo>
                  <a:cubicBezTo>
                    <a:pt x="15308" y="81719"/>
                    <a:pt x="32775" y="40518"/>
                    <a:pt x="51951" y="1027"/>
                  </a:cubicBezTo>
                  <a:cubicBezTo>
                    <a:pt x="52331" y="78"/>
                    <a:pt x="53470" y="-302"/>
                    <a:pt x="54420" y="268"/>
                  </a:cubicBezTo>
                  <a:cubicBezTo>
                    <a:pt x="55369" y="647"/>
                    <a:pt x="55749" y="1787"/>
                    <a:pt x="55179" y="2736"/>
                  </a:cubicBezTo>
                  <a:cubicBezTo>
                    <a:pt x="36003" y="42227"/>
                    <a:pt x="18725" y="83237"/>
                    <a:pt x="3536" y="124627"/>
                  </a:cubicBezTo>
                  <a:cubicBezTo>
                    <a:pt x="3347" y="125387"/>
                    <a:pt x="2587" y="125956"/>
                    <a:pt x="1638" y="125956"/>
                  </a:cubicBezTo>
                  <a:lnTo>
                    <a:pt x="1638" y="12595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8" name="Freeform: Shape 2117">
              <a:extLst>
                <a:ext uri="{FF2B5EF4-FFF2-40B4-BE49-F238E27FC236}">
                  <a16:creationId xmlns:a16="http://schemas.microsoft.com/office/drawing/2014/main" id="{D47BC526-1F6F-C939-6059-863FBADC9C6D}"/>
                </a:ext>
              </a:extLst>
            </p:cNvPr>
            <p:cNvSpPr/>
            <p:nvPr/>
          </p:nvSpPr>
          <p:spPr>
            <a:xfrm>
              <a:off x="11590665" y="1170340"/>
              <a:ext cx="197261" cy="421280"/>
            </a:xfrm>
            <a:custGeom>
              <a:avLst/>
              <a:gdLst>
                <a:gd name="connsiteX0" fmla="*/ 1854 w 145155"/>
                <a:gd name="connsiteY0" fmla="*/ 309811 h 310000"/>
                <a:gd name="connsiteX1" fmla="*/ 1095 w 145155"/>
                <a:gd name="connsiteY1" fmla="*/ 309811 h 310000"/>
                <a:gd name="connsiteX2" fmla="*/ 146 w 145155"/>
                <a:gd name="connsiteY2" fmla="*/ 307343 h 310000"/>
                <a:gd name="connsiteX3" fmla="*/ 141593 w 145155"/>
                <a:gd name="connsiteY3" fmla="*/ 1095 h 310000"/>
                <a:gd name="connsiteX4" fmla="*/ 144061 w 145155"/>
                <a:gd name="connsiteY4" fmla="*/ 145 h 310000"/>
                <a:gd name="connsiteX5" fmla="*/ 145010 w 145155"/>
                <a:gd name="connsiteY5" fmla="*/ 2614 h 310000"/>
                <a:gd name="connsiteX6" fmla="*/ 3563 w 145155"/>
                <a:gd name="connsiteY6" fmla="*/ 308862 h 310000"/>
                <a:gd name="connsiteX7" fmla="*/ 1854 w 145155"/>
                <a:gd name="connsiteY7" fmla="*/ 310001 h 310000"/>
                <a:gd name="connsiteX8" fmla="*/ 1854 w 145155"/>
                <a:gd name="connsiteY8" fmla="*/ 310001 h 3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155" h="310000">
                  <a:moveTo>
                    <a:pt x="1854" y="309811"/>
                  </a:moveTo>
                  <a:cubicBezTo>
                    <a:pt x="1854" y="309811"/>
                    <a:pt x="1285" y="309811"/>
                    <a:pt x="1095" y="309811"/>
                  </a:cubicBezTo>
                  <a:cubicBezTo>
                    <a:pt x="146" y="309431"/>
                    <a:pt x="-234" y="308292"/>
                    <a:pt x="146" y="307343"/>
                  </a:cubicBezTo>
                  <a:lnTo>
                    <a:pt x="141593" y="1095"/>
                  </a:lnTo>
                  <a:cubicBezTo>
                    <a:pt x="141973" y="145"/>
                    <a:pt x="143112" y="-234"/>
                    <a:pt x="144061" y="145"/>
                  </a:cubicBezTo>
                  <a:cubicBezTo>
                    <a:pt x="145010" y="525"/>
                    <a:pt x="145390" y="1664"/>
                    <a:pt x="145010" y="2614"/>
                  </a:cubicBezTo>
                  <a:lnTo>
                    <a:pt x="3563" y="308862"/>
                  </a:lnTo>
                  <a:cubicBezTo>
                    <a:pt x="3563" y="308862"/>
                    <a:pt x="2614" y="310001"/>
                    <a:pt x="1854" y="310001"/>
                  </a:cubicBezTo>
                  <a:lnTo>
                    <a:pt x="1854" y="310001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19" name="Freeform: Shape 2118">
              <a:extLst>
                <a:ext uri="{FF2B5EF4-FFF2-40B4-BE49-F238E27FC236}">
                  <a16:creationId xmlns:a16="http://schemas.microsoft.com/office/drawing/2014/main" id="{FB92E454-0DE9-FCA2-328C-C76A8D0F8D11}"/>
                </a:ext>
              </a:extLst>
            </p:cNvPr>
            <p:cNvSpPr/>
            <p:nvPr/>
          </p:nvSpPr>
          <p:spPr>
            <a:xfrm>
              <a:off x="11667813" y="1320248"/>
              <a:ext cx="134048" cy="288144"/>
            </a:xfrm>
            <a:custGeom>
              <a:avLst/>
              <a:gdLst>
                <a:gd name="connsiteX0" fmla="*/ 1854 w 98639"/>
                <a:gd name="connsiteY0" fmla="*/ 211842 h 212031"/>
                <a:gd name="connsiteX1" fmla="*/ 1095 w 98639"/>
                <a:gd name="connsiteY1" fmla="*/ 211842 h 212031"/>
                <a:gd name="connsiteX2" fmla="*/ 146 w 98639"/>
                <a:gd name="connsiteY2" fmla="*/ 209374 h 212031"/>
                <a:gd name="connsiteX3" fmla="*/ 95077 w 98639"/>
                <a:gd name="connsiteY3" fmla="*/ 1095 h 212031"/>
                <a:gd name="connsiteX4" fmla="*/ 97545 w 98639"/>
                <a:gd name="connsiteY4" fmla="*/ 146 h 212031"/>
                <a:gd name="connsiteX5" fmla="*/ 98494 w 98639"/>
                <a:gd name="connsiteY5" fmla="*/ 2614 h 212031"/>
                <a:gd name="connsiteX6" fmla="*/ 3563 w 98639"/>
                <a:gd name="connsiteY6" fmla="*/ 210893 h 212031"/>
                <a:gd name="connsiteX7" fmla="*/ 1854 w 98639"/>
                <a:gd name="connsiteY7" fmla="*/ 212032 h 212031"/>
                <a:gd name="connsiteX8" fmla="*/ 1854 w 98639"/>
                <a:gd name="connsiteY8" fmla="*/ 212032 h 2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39" h="212031">
                  <a:moveTo>
                    <a:pt x="1854" y="211842"/>
                  </a:moveTo>
                  <a:cubicBezTo>
                    <a:pt x="1854" y="211842"/>
                    <a:pt x="1285" y="211842"/>
                    <a:pt x="1095" y="211842"/>
                  </a:cubicBezTo>
                  <a:cubicBezTo>
                    <a:pt x="146" y="211462"/>
                    <a:pt x="-234" y="210323"/>
                    <a:pt x="146" y="209374"/>
                  </a:cubicBezTo>
                  <a:lnTo>
                    <a:pt x="95077" y="1095"/>
                  </a:lnTo>
                  <a:cubicBezTo>
                    <a:pt x="95456" y="146"/>
                    <a:pt x="96596" y="-234"/>
                    <a:pt x="97545" y="146"/>
                  </a:cubicBezTo>
                  <a:cubicBezTo>
                    <a:pt x="98494" y="525"/>
                    <a:pt x="98874" y="1664"/>
                    <a:pt x="98494" y="2614"/>
                  </a:cubicBezTo>
                  <a:lnTo>
                    <a:pt x="3563" y="210893"/>
                  </a:lnTo>
                  <a:cubicBezTo>
                    <a:pt x="3563" y="210893"/>
                    <a:pt x="2614" y="212032"/>
                    <a:pt x="1854" y="212032"/>
                  </a:cubicBezTo>
                  <a:lnTo>
                    <a:pt x="1854" y="212032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20" name="Freeform: Shape 2119">
              <a:extLst>
                <a:ext uri="{FF2B5EF4-FFF2-40B4-BE49-F238E27FC236}">
                  <a16:creationId xmlns:a16="http://schemas.microsoft.com/office/drawing/2014/main" id="{001123B9-E8AE-682B-05BC-93CD57A6967C}"/>
                </a:ext>
              </a:extLst>
            </p:cNvPr>
            <p:cNvSpPr/>
            <p:nvPr/>
          </p:nvSpPr>
          <p:spPr>
            <a:xfrm>
              <a:off x="11805169" y="1355689"/>
              <a:ext cx="61877" cy="110794"/>
            </a:xfrm>
            <a:custGeom>
              <a:avLst/>
              <a:gdLst>
                <a:gd name="connsiteX0" fmla="*/ 1786 w 45532"/>
                <a:gd name="connsiteY0" fmla="*/ 81529 h 81528"/>
                <a:gd name="connsiteX1" fmla="*/ 1027 w 45532"/>
                <a:gd name="connsiteY1" fmla="*/ 81149 h 81528"/>
                <a:gd name="connsiteX2" fmla="*/ 268 w 45532"/>
                <a:gd name="connsiteY2" fmla="*/ 78491 h 81528"/>
                <a:gd name="connsiteX3" fmla="*/ 42037 w 45532"/>
                <a:gd name="connsiteY3" fmla="*/ 1027 h 81528"/>
                <a:gd name="connsiteX4" fmla="*/ 44505 w 45532"/>
                <a:gd name="connsiteY4" fmla="*/ 268 h 81528"/>
                <a:gd name="connsiteX5" fmla="*/ 45265 w 45532"/>
                <a:gd name="connsiteY5" fmla="*/ 2926 h 81528"/>
                <a:gd name="connsiteX6" fmla="*/ 3495 w 45532"/>
                <a:gd name="connsiteY6" fmla="*/ 80389 h 81528"/>
                <a:gd name="connsiteX7" fmla="*/ 1786 w 45532"/>
                <a:gd name="connsiteY7" fmla="*/ 81339 h 81528"/>
                <a:gd name="connsiteX8" fmla="*/ 1786 w 45532"/>
                <a:gd name="connsiteY8" fmla="*/ 81339 h 8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32" h="81528">
                  <a:moveTo>
                    <a:pt x="1786" y="81529"/>
                  </a:moveTo>
                  <a:cubicBezTo>
                    <a:pt x="1786" y="81529"/>
                    <a:pt x="1217" y="81529"/>
                    <a:pt x="1027" y="81149"/>
                  </a:cubicBezTo>
                  <a:cubicBezTo>
                    <a:pt x="78" y="80579"/>
                    <a:pt x="-302" y="79440"/>
                    <a:pt x="268" y="78491"/>
                  </a:cubicBezTo>
                  <a:lnTo>
                    <a:pt x="42037" y="1027"/>
                  </a:lnTo>
                  <a:cubicBezTo>
                    <a:pt x="42607" y="78"/>
                    <a:pt x="43746" y="-302"/>
                    <a:pt x="44505" y="268"/>
                  </a:cubicBezTo>
                  <a:cubicBezTo>
                    <a:pt x="45455" y="837"/>
                    <a:pt x="45835" y="1976"/>
                    <a:pt x="45265" y="2926"/>
                  </a:cubicBezTo>
                  <a:lnTo>
                    <a:pt x="3495" y="80389"/>
                  </a:lnTo>
                  <a:cubicBezTo>
                    <a:pt x="3495" y="80389"/>
                    <a:pt x="2546" y="81339"/>
                    <a:pt x="1786" y="81339"/>
                  </a:cubicBezTo>
                  <a:lnTo>
                    <a:pt x="1786" y="81339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21" name="Freeform: Shape 2120">
              <a:extLst>
                <a:ext uri="{FF2B5EF4-FFF2-40B4-BE49-F238E27FC236}">
                  <a16:creationId xmlns:a16="http://schemas.microsoft.com/office/drawing/2014/main" id="{B4E671EB-0E47-E747-CBF0-859D8A919325}"/>
                </a:ext>
              </a:extLst>
            </p:cNvPr>
            <p:cNvSpPr/>
            <p:nvPr/>
          </p:nvSpPr>
          <p:spPr>
            <a:xfrm>
              <a:off x="11710219" y="1608287"/>
              <a:ext cx="30915" cy="57900"/>
            </a:xfrm>
            <a:custGeom>
              <a:avLst/>
              <a:gdLst>
                <a:gd name="connsiteX0" fmla="*/ 1786 w 22749"/>
                <a:gd name="connsiteY0" fmla="*/ 42227 h 42606"/>
                <a:gd name="connsiteX1" fmla="*/ 1027 w 22749"/>
                <a:gd name="connsiteY1" fmla="*/ 42227 h 42606"/>
                <a:gd name="connsiteX2" fmla="*/ 268 w 22749"/>
                <a:gd name="connsiteY2" fmla="*/ 39759 h 42606"/>
                <a:gd name="connsiteX3" fmla="*/ 19254 w 22749"/>
                <a:gd name="connsiteY3" fmla="*/ 1027 h 42606"/>
                <a:gd name="connsiteX4" fmla="*/ 21722 w 22749"/>
                <a:gd name="connsiteY4" fmla="*/ 268 h 42606"/>
                <a:gd name="connsiteX5" fmla="*/ 22482 w 22749"/>
                <a:gd name="connsiteY5" fmla="*/ 2736 h 42606"/>
                <a:gd name="connsiteX6" fmla="*/ 3495 w 22749"/>
                <a:gd name="connsiteY6" fmla="*/ 41468 h 42606"/>
                <a:gd name="connsiteX7" fmla="*/ 1786 w 22749"/>
                <a:gd name="connsiteY7" fmla="*/ 42607 h 42606"/>
                <a:gd name="connsiteX8" fmla="*/ 1786 w 22749"/>
                <a:gd name="connsiteY8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9" h="42606">
                  <a:moveTo>
                    <a:pt x="1786" y="42227"/>
                  </a:moveTo>
                  <a:cubicBezTo>
                    <a:pt x="1786" y="42227"/>
                    <a:pt x="1217" y="42227"/>
                    <a:pt x="1027" y="42227"/>
                  </a:cubicBezTo>
                  <a:cubicBezTo>
                    <a:pt x="78" y="41847"/>
                    <a:pt x="-302" y="40708"/>
                    <a:pt x="268" y="39759"/>
                  </a:cubicBezTo>
                  <a:lnTo>
                    <a:pt x="19254" y="1027"/>
                  </a:lnTo>
                  <a:cubicBezTo>
                    <a:pt x="19634" y="78"/>
                    <a:pt x="20773" y="-302"/>
                    <a:pt x="21722" y="268"/>
                  </a:cubicBezTo>
                  <a:cubicBezTo>
                    <a:pt x="22671" y="647"/>
                    <a:pt x="23051" y="1787"/>
                    <a:pt x="22482" y="2736"/>
                  </a:cubicBezTo>
                  <a:lnTo>
                    <a:pt x="3495" y="41468"/>
                  </a:lnTo>
                  <a:cubicBezTo>
                    <a:pt x="3495" y="41468"/>
                    <a:pt x="2546" y="42607"/>
                    <a:pt x="1786" y="42607"/>
                  </a:cubicBezTo>
                  <a:lnTo>
                    <a:pt x="1786" y="42607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22" name="Freeform: Shape 2121">
              <a:extLst>
                <a:ext uri="{FF2B5EF4-FFF2-40B4-BE49-F238E27FC236}">
                  <a16:creationId xmlns:a16="http://schemas.microsoft.com/office/drawing/2014/main" id="{5A86F477-9421-FF93-BF70-EA744BE1B56C}"/>
                </a:ext>
              </a:extLst>
            </p:cNvPr>
            <p:cNvSpPr/>
            <p:nvPr/>
          </p:nvSpPr>
          <p:spPr>
            <a:xfrm>
              <a:off x="11275977" y="1322662"/>
              <a:ext cx="39946" cy="78542"/>
            </a:xfrm>
            <a:custGeom>
              <a:avLst/>
              <a:gdLst>
                <a:gd name="connsiteX0" fmla="*/ 1787 w 29394"/>
                <a:gd name="connsiteY0" fmla="*/ 57416 h 57795"/>
                <a:gd name="connsiteX1" fmla="*/ 1027 w 29394"/>
                <a:gd name="connsiteY1" fmla="*/ 57416 h 57795"/>
                <a:gd name="connsiteX2" fmla="*/ 268 w 29394"/>
                <a:gd name="connsiteY2" fmla="*/ 54948 h 57795"/>
                <a:gd name="connsiteX3" fmla="*/ 25899 w 29394"/>
                <a:gd name="connsiteY3" fmla="*/ 1027 h 57795"/>
                <a:gd name="connsiteX4" fmla="*/ 28367 w 29394"/>
                <a:gd name="connsiteY4" fmla="*/ 268 h 57795"/>
                <a:gd name="connsiteX5" fmla="*/ 29127 w 29394"/>
                <a:gd name="connsiteY5" fmla="*/ 2736 h 57795"/>
                <a:gd name="connsiteX6" fmla="*/ 3495 w 29394"/>
                <a:gd name="connsiteY6" fmla="*/ 56657 h 57795"/>
                <a:gd name="connsiteX7" fmla="*/ 1787 w 29394"/>
                <a:gd name="connsiteY7" fmla="*/ 57796 h 57795"/>
                <a:gd name="connsiteX8" fmla="*/ 1787 w 29394"/>
                <a:gd name="connsiteY8" fmla="*/ 57796 h 5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57795">
                  <a:moveTo>
                    <a:pt x="1787" y="57416"/>
                  </a:moveTo>
                  <a:cubicBezTo>
                    <a:pt x="1787" y="57416"/>
                    <a:pt x="1217" y="57416"/>
                    <a:pt x="1027" y="57416"/>
                  </a:cubicBezTo>
                  <a:cubicBezTo>
                    <a:pt x="78" y="57036"/>
                    <a:pt x="-302" y="55897"/>
                    <a:pt x="268" y="54948"/>
                  </a:cubicBezTo>
                  <a:lnTo>
                    <a:pt x="25899" y="1027"/>
                  </a:lnTo>
                  <a:cubicBezTo>
                    <a:pt x="26279" y="78"/>
                    <a:pt x="27418" y="-302"/>
                    <a:pt x="28367" y="268"/>
                  </a:cubicBezTo>
                  <a:cubicBezTo>
                    <a:pt x="29317" y="647"/>
                    <a:pt x="29696" y="1787"/>
                    <a:pt x="29127" y="2736"/>
                  </a:cubicBezTo>
                  <a:lnTo>
                    <a:pt x="3495" y="56657"/>
                  </a:lnTo>
                  <a:cubicBezTo>
                    <a:pt x="3495" y="56657"/>
                    <a:pt x="2546" y="57796"/>
                    <a:pt x="1787" y="57796"/>
                  </a:cubicBezTo>
                  <a:lnTo>
                    <a:pt x="1787" y="57796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23" name="Freeform: Shape 2122">
              <a:extLst>
                <a:ext uri="{FF2B5EF4-FFF2-40B4-BE49-F238E27FC236}">
                  <a16:creationId xmlns:a16="http://schemas.microsoft.com/office/drawing/2014/main" id="{1C012D30-EDFF-A11E-254C-9B26BF0E1C1E}"/>
                </a:ext>
              </a:extLst>
            </p:cNvPr>
            <p:cNvSpPr/>
            <p:nvPr/>
          </p:nvSpPr>
          <p:spPr>
            <a:xfrm>
              <a:off x="11422272" y="1072128"/>
              <a:ext cx="31172" cy="52224"/>
            </a:xfrm>
            <a:custGeom>
              <a:avLst/>
              <a:gdLst>
                <a:gd name="connsiteX0" fmla="*/ 1976 w 22938"/>
                <a:gd name="connsiteY0" fmla="*/ 38430 h 38429"/>
                <a:gd name="connsiteX1" fmla="*/ 1027 w 22938"/>
                <a:gd name="connsiteY1" fmla="*/ 38240 h 38429"/>
                <a:gd name="connsiteX2" fmla="*/ 268 w 22938"/>
                <a:gd name="connsiteY2" fmla="*/ 35582 h 38429"/>
                <a:gd name="connsiteX3" fmla="*/ 19254 w 22938"/>
                <a:gd name="connsiteY3" fmla="*/ 1027 h 38429"/>
                <a:gd name="connsiteX4" fmla="*/ 21912 w 22938"/>
                <a:gd name="connsiteY4" fmla="*/ 268 h 38429"/>
                <a:gd name="connsiteX5" fmla="*/ 22671 w 22938"/>
                <a:gd name="connsiteY5" fmla="*/ 2926 h 38429"/>
                <a:gd name="connsiteX6" fmla="*/ 3685 w 22938"/>
                <a:gd name="connsiteY6" fmla="*/ 37481 h 38429"/>
                <a:gd name="connsiteX7" fmla="*/ 1976 w 22938"/>
                <a:gd name="connsiteY7" fmla="*/ 38430 h 38429"/>
                <a:gd name="connsiteX8" fmla="*/ 1976 w 22938"/>
                <a:gd name="connsiteY8" fmla="*/ 38430 h 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38" h="38429">
                  <a:moveTo>
                    <a:pt x="1976" y="38430"/>
                  </a:moveTo>
                  <a:cubicBezTo>
                    <a:pt x="1976" y="38430"/>
                    <a:pt x="1407" y="38430"/>
                    <a:pt x="1027" y="38240"/>
                  </a:cubicBezTo>
                  <a:cubicBezTo>
                    <a:pt x="78" y="37670"/>
                    <a:pt x="-302" y="36531"/>
                    <a:pt x="268" y="35582"/>
                  </a:cubicBezTo>
                  <a:lnTo>
                    <a:pt x="19254" y="1027"/>
                  </a:lnTo>
                  <a:cubicBezTo>
                    <a:pt x="19823" y="78"/>
                    <a:pt x="20963" y="-302"/>
                    <a:pt x="21912" y="268"/>
                  </a:cubicBezTo>
                  <a:cubicBezTo>
                    <a:pt x="22861" y="837"/>
                    <a:pt x="23241" y="1976"/>
                    <a:pt x="22671" y="2926"/>
                  </a:cubicBezTo>
                  <a:lnTo>
                    <a:pt x="3685" y="37481"/>
                  </a:lnTo>
                  <a:cubicBezTo>
                    <a:pt x="3685" y="37481"/>
                    <a:pt x="2736" y="38430"/>
                    <a:pt x="1976" y="38430"/>
                  </a:cubicBezTo>
                  <a:lnTo>
                    <a:pt x="1976" y="38430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124" name="Freeform: Shape 2123">
              <a:extLst>
                <a:ext uri="{FF2B5EF4-FFF2-40B4-BE49-F238E27FC236}">
                  <a16:creationId xmlns:a16="http://schemas.microsoft.com/office/drawing/2014/main" id="{C0963F74-4E52-888A-F69D-B30C02DC2E43}"/>
                </a:ext>
              </a:extLst>
            </p:cNvPr>
            <p:cNvSpPr/>
            <p:nvPr/>
          </p:nvSpPr>
          <p:spPr>
            <a:xfrm>
              <a:off x="11500083" y="1254732"/>
              <a:ext cx="166509" cy="176661"/>
            </a:xfrm>
            <a:custGeom>
              <a:avLst/>
              <a:gdLst>
                <a:gd name="connsiteX0" fmla="*/ 54080 w 122526"/>
                <a:gd name="connsiteY0" fmla="*/ 129996 h 129996"/>
                <a:gd name="connsiteX1" fmla="*/ 24462 w 122526"/>
                <a:gd name="connsiteY1" fmla="*/ 123731 h 129996"/>
                <a:gd name="connsiteX2" fmla="*/ 7184 w 122526"/>
                <a:gd name="connsiteY2" fmla="*/ 110440 h 129996"/>
                <a:gd name="connsiteX3" fmla="*/ 349 w 122526"/>
                <a:gd name="connsiteY3" fmla="*/ 87277 h 129996"/>
                <a:gd name="connsiteX4" fmla="*/ 17057 w 122526"/>
                <a:gd name="connsiteY4" fmla="*/ 23483 h 129996"/>
                <a:gd name="connsiteX5" fmla="*/ 78382 w 122526"/>
                <a:gd name="connsiteY5" fmla="*/ 2409 h 129996"/>
                <a:gd name="connsiteX6" fmla="*/ 81230 w 122526"/>
                <a:gd name="connsiteY6" fmla="*/ 4497 h 129996"/>
                <a:gd name="connsiteX7" fmla="*/ 82559 w 122526"/>
                <a:gd name="connsiteY7" fmla="*/ 4877 h 129996"/>
                <a:gd name="connsiteX8" fmla="*/ 122430 w 122526"/>
                <a:gd name="connsiteY8" fmla="*/ 59178 h 129996"/>
                <a:gd name="connsiteX9" fmla="*/ 91103 w 122526"/>
                <a:gd name="connsiteY9" fmla="*/ 119174 h 129996"/>
                <a:gd name="connsiteX10" fmla="*/ 54080 w 122526"/>
                <a:gd name="connsiteY10" fmla="*/ 129617 h 129996"/>
                <a:gd name="connsiteX11" fmla="*/ 54080 w 122526"/>
                <a:gd name="connsiteY11" fmla="*/ 129617 h 129996"/>
                <a:gd name="connsiteX12" fmla="*/ 63383 w 122526"/>
                <a:gd name="connsiteY12" fmla="*/ 11902 h 129996"/>
                <a:gd name="connsiteX13" fmla="*/ 26360 w 122526"/>
                <a:gd name="connsiteY13" fmla="*/ 30888 h 129996"/>
                <a:gd name="connsiteX14" fmla="*/ 12120 w 122526"/>
                <a:gd name="connsiteY14" fmla="*/ 86518 h 129996"/>
                <a:gd name="connsiteX15" fmla="*/ 16867 w 122526"/>
                <a:gd name="connsiteY15" fmla="*/ 103795 h 129996"/>
                <a:gd name="connsiteX16" fmla="*/ 29398 w 122526"/>
                <a:gd name="connsiteY16" fmla="*/ 113098 h 129996"/>
                <a:gd name="connsiteX17" fmla="*/ 85028 w 122526"/>
                <a:gd name="connsiteY17" fmla="*/ 109681 h 129996"/>
                <a:gd name="connsiteX18" fmla="*/ 110849 w 122526"/>
                <a:gd name="connsiteY18" fmla="*/ 60127 h 129996"/>
                <a:gd name="connsiteX19" fmla="*/ 78762 w 122526"/>
                <a:gd name="connsiteY19" fmla="*/ 16269 h 129996"/>
                <a:gd name="connsiteX20" fmla="*/ 76864 w 122526"/>
                <a:gd name="connsiteY20" fmla="*/ 15699 h 129996"/>
                <a:gd name="connsiteX21" fmla="*/ 70978 w 122526"/>
                <a:gd name="connsiteY21" fmla="*/ 12661 h 129996"/>
                <a:gd name="connsiteX22" fmla="*/ 63383 w 122526"/>
                <a:gd name="connsiteY22" fmla="*/ 11902 h 129996"/>
                <a:gd name="connsiteX23" fmla="*/ 63383 w 122526"/>
                <a:gd name="connsiteY23" fmla="*/ 11902 h 129996"/>
                <a:gd name="connsiteX24" fmla="*/ 76674 w 122526"/>
                <a:gd name="connsiteY24" fmla="*/ 8295 h 129996"/>
                <a:gd name="connsiteX25" fmla="*/ 77813 w 122526"/>
                <a:gd name="connsiteY25" fmla="*/ 13990 h 129996"/>
                <a:gd name="connsiteX26" fmla="*/ 77813 w 122526"/>
                <a:gd name="connsiteY26" fmla="*/ 13990 h 129996"/>
                <a:gd name="connsiteX27" fmla="*/ 76484 w 122526"/>
                <a:gd name="connsiteY27" fmla="*/ 8295 h 129996"/>
                <a:gd name="connsiteX28" fmla="*/ 76484 w 122526"/>
                <a:gd name="connsiteY28" fmla="*/ 8295 h 12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2526" h="129996">
                  <a:moveTo>
                    <a:pt x="54080" y="129996"/>
                  </a:moveTo>
                  <a:cubicBezTo>
                    <a:pt x="44017" y="129996"/>
                    <a:pt x="33955" y="127908"/>
                    <a:pt x="24462" y="123731"/>
                  </a:cubicBezTo>
                  <a:cubicBezTo>
                    <a:pt x="16487" y="120123"/>
                    <a:pt x="10791" y="115946"/>
                    <a:pt x="7184" y="110440"/>
                  </a:cubicBezTo>
                  <a:cubicBezTo>
                    <a:pt x="2058" y="103226"/>
                    <a:pt x="729" y="94302"/>
                    <a:pt x="349" y="87277"/>
                  </a:cubicBezTo>
                  <a:cubicBezTo>
                    <a:pt x="-1550" y="62405"/>
                    <a:pt x="4336" y="39622"/>
                    <a:pt x="17057" y="23483"/>
                  </a:cubicBezTo>
                  <a:cubicBezTo>
                    <a:pt x="32246" y="4118"/>
                    <a:pt x="57498" y="-4616"/>
                    <a:pt x="78382" y="2409"/>
                  </a:cubicBezTo>
                  <a:cubicBezTo>
                    <a:pt x="79711" y="2789"/>
                    <a:pt x="80661" y="3548"/>
                    <a:pt x="81230" y="4497"/>
                  </a:cubicBezTo>
                  <a:cubicBezTo>
                    <a:pt x="81610" y="4497"/>
                    <a:pt x="81990" y="4687"/>
                    <a:pt x="82559" y="4877"/>
                  </a:cubicBezTo>
                  <a:cubicBezTo>
                    <a:pt x="104773" y="12472"/>
                    <a:pt x="121291" y="34685"/>
                    <a:pt x="122430" y="59178"/>
                  </a:cubicBezTo>
                  <a:cubicBezTo>
                    <a:pt x="123760" y="82531"/>
                    <a:pt x="111229" y="106643"/>
                    <a:pt x="91103" y="119174"/>
                  </a:cubicBezTo>
                  <a:cubicBezTo>
                    <a:pt x="80091" y="126199"/>
                    <a:pt x="67181" y="129617"/>
                    <a:pt x="54080" y="129617"/>
                  </a:cubicBezTo>
                  <a:lnTo>
                    <a:pt x="54080" y="129617"/>
                  </a:lnTo>
                  <a:close/>
                  <a:moveTo>
                    <a:pt x="63383" y="11902"/>
                  </a:moveTo>
                  <a:cubicBezTo>
                    <a:pt x="49903" y="11902"/>
                    <a:pt x="35663" y="18927"/>
                    <a:pt x="26360" y="30888"/>
                  </a:cubicBezTo>
                  <a:cubicBezTo>
                    <a:pt x="15538" y="44748"/>
                    <a:pt x="10412" y="64494"/>
                    <a:pt x="12120" y="86518"/>
                  </a:cubicBezTo>
                  <a:cubicBezTo>
                    <a:pt x="12500" y="91834"/>
                    <a:pt x="13449" y="98859"/>
                    <a:pt x="16867" y="103795"/>
                  </a:cubicBezTo>
                  <a:cubicBezTo>
                    <a:pt x="19335" y="107403"/>
                    <a:pt x="23322" y="110440"/>
                    <a:pt x="29398" y="113098"/>
                  </a:cubicBezTo>
                  <a:cubicBezTo>
                    <a:pt x="47625" y="121263"/>
                    <a:pt x="68889" y="119933"/>
                    <a:pt x="85028" y="109681"/>
                  </a:cubicBezTo>
                  <a:cubicBezTo>
                    <a:pt x="101735" y="99239"/>
                    <a:pt x="111988" y="79493"/>
                    <a:pt x="110849" y="60127"/>
                  </a:cubicBezTo>
                  <a:cubicBezTo>
                    <a:pt x="109710" y="40571"/>
                    <a:pt x="96229" y="22154"/>
                    <a:pt x="78762" y="16269"/>
                  </a:cubicBezTo>
                  <a:cubicBezTo>
                    <a:pt x="78003" y="15889"/>
                    <a:pt x="77433" y="15889"/>
                    <a:pt x="76864" y="15699"/>
                  </a:cubicBezTo>
                  <a:cubicBezTo>
                    <a:pt x="74965" y="15130"/>
                    <a:pt x="72497" y="14370"/>
                    <a:pt x="70978" y="12661"/>
                  </a:cubicBezTo>
                  <a:cubicBezTo>
                    <a:pt x="68510" y="12092"/>
                    <a:pt x="66041" y="11902"/>
                    <a:pt x="63383" y="11902"/>
                  </a:cubicBezTo>
                  <a:lnTo>
                    <a:pt x="63383" y="11902"/>
                  </a:lnTo>
                  <a:close/>
                  <a:moveTo>
                    <a:pt x="76674" y="8295"/>
                  </a:moveTo>
                  <a:lnTo>
                    <a:pt x="77813" y="13990"/>
                  </a:lnTo>
                  <a:lnTo>
                    <a:pt x="77813" y="13990"/>
                  </a:lnTo>
                  <a:lnTo>
                    <a:pt x="76484" y="8295"/>
                  </a:lnTo>
                  <a:lnTo>
                    <a:pt x="76484" y="8295"/>
                  </a:lnTo>
                  <a:close/>
                </a:path>
              </a:pathLst>
            </a:custGeom>
            <a:solidFill>
              <a:schemeClr val="tx2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2125" name="Freeform: Shape 2124">
            <a:extLst>
              <a:ext uri="{FF2B5EF4-FFF2-40B4-BE49-F238E27FC236}">
                <a16:creationId xmlns:a16="http://schemas.microsoft.com/office/drawing/2014/main" id="{8C4F2E45-32A4-7E58-DA0C-CB88F19FDDE8}"/>
              </a:ext>
            </a:extLst>
          </p:cNvPr>
          <p:cNvSpPr/>
          <p:nvPr userDrawn="1"/>
        </p:nvSpPr>
        <p:spPr>
          <a:xfrm>
            <a:off x="9936123" y="3152566"/>
            <a:ext cx="1047674" cy="878021"/>
          </a:xfrm>
          <a:custGeom>
            <a:avLst/>
            <a:gdLst>
              <a:gd name="connsiteX0" fmla="*/ 86583 w 1047674"/>
              <a:gd name="connsiteY0" fmla="*/ 878022 h 878021"/>
              <a:gd name="connsiteX1" fmla="*/ 176577 w 1047674"/>
              <a:gd name="connsiteY1" fmla="*/ 727271 h 878021"/>
              <a:gd name="connsiteX2" fmla="*/ 205626 w 1047674"/>
              <a:gd name="connsiteY2" fmla="*/ 692716 h 878021"/>
              <a:gd name="connsiteX3" fmla="*/ 256319 w 1047674"/>
              <a:gd name="connsiteY3" fmla="*/ 672022 h 878021"/>
              <a:gd name="connsiteX4" fmla="*/ 458523 w 1047674"/>
              <a:gd name="connsiteY4" fmla="*/ 650947 h 878021"/>
              <a:gd name="connsiteX5" fmla="*/ 807679 w 1047674"/>
              <a:gd name="connsiteY5" fmla="*/ 635948 h 878021"/>
              <a:gd name="connsiteX6" fmla="*/ 948937 w 1047674"/>
              <a:gd name="connsiteY6" fmla="*/ 602532 h 878021"/>
              <a:gd name="connsiteX7" fmla="*/ 1004187 w 1047674"/>
              <a:gd name="connsiteY7" fmla="*/ 537979 h 878021"/>
              <a:gd name="connsiteX8" fmla="*/ 1041969 w 1047674"/>
              <a:gd name="connsiteY8" fmla="*/ 444946 h 878021"/>
              <a:gd name="connsiteX9" fmla="*/ 1043678 w 1047674"/>
              <a:gd name="connsiteY9" fmla="*/ 315270 h 878021"/>
              <a:gd name="connsiteX10" fmla="*/ 973429 w 1047674"/>
              <a:gd name="connsiteY10" fmla="*/ 106612 h 878021"/>
              <a:gd name="connsiteX11" fmla="*/ 738189 w 1047674"/>
              <a:gd name="connsiteY11" fmla="*/ 11491 h 878021"/>
              <a:gd name="connsiteX12" fmla="*/ 281381 w 1047674"/>
              <a:gd name="connsiteY12" fmla="*/ 13010 h 878021"/>
              <a:gd name="connsiteX13" fmla="*/ 71773 w 1047674"/>
              <a:gd name="connsiteY13" fmla="*/ 91233 h 878021"/>
              <a:gd name="connsiteX14" fmla="*/ 15194 w 1047674"/>
              <a:gd name="connsiteY14" fmla="*/ 225845 h 878021"/>
              <a:gd name="connsiteX15" fmla="*/ 195 w 1047674"/>
              <a:gd name="connsiteY15" fmla="*/ 493171 h 878021"/>
              <a:gd name="connsiteX16" fmla="*/ 12726 w 1047674"/>
              <a:gd name="connsiteY16" fmla="*/ 573103 h 878021"/>
              <a:gd name="connsiteX17" fmla="*/ 57913 w 1047674"/>
              <a:gd name="connsiteY17" fmla="*/ 633290 h 878021"/>
              <a:gd name="connsiteX18" fmla="*/ 86962 w 1047674"/>
              <a:gd name="connsiteY18" fmla="*/ 878022 h 878021"/>
              <a:gd name="connsiteX19" fmla="*/ 86583 w 1047674"/>
              <a:gd name="connsiteY19" fmla="*/ 878022 h 878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047674" h="878021">
                <a:moveTo>
                  <a:pt x="86583" y="878022"/>
                </a:moveTo>
                <a:cubicBezTo>
                  <a:pt x="113922" y="826380"/>
                  <a:pt x="143921" y="775876"/>
                  <a:pt x="176577" y="727271"/>
                </a:cubicBezTo>
                <a:cubicBezTo>
                  <a:pt x="184931" y="714741"/>
                  <a:pt x="193665" y="702020"/>
                  <a:pt x="205626" y="692716"/>
                </a:cubicBezTo>
                <a:cubicBezTo>
                  <a:pt x="220056" y="681515"/>
                  <a:pt x="238282" y="676199"/>
                  <a:pt x="256319" y="672022"/>
                </a:cubicBezTo>
                <a:cubicBezTo>
                  <a:pt x="322391" y="656643"/>
                  <a:pt x="390742" y="653605"/>
                  <a:pt x="458523" y="650947"/>
                </a:cubicBezTo>
                <a:cubicBezTo>
                  <a:pt x="574908" y="646010"/>
                  <a:pt x="691293" y="640884"/>
                  <a:pt x="807679" y="635948"/>
                </a:cubicBezTo>
                <a:cubicBezTo>
                  <a:pt x="856664" y="633859"/>
                  <a:pt x="908686" y="630632"/>
                  <a:pt x="948937" y="602532"/>
                </a:cubicBezTo>
                <a:cubicBezTo>
                  <a:pt x="972290" y="586204"/>
                  <a:pt x="989757" y="562471"/>
                  <a:pt x="1004187" y="537979"/>
                </a:cubicBezTo>
                <a:cubicBezTo>
                  <a:pt x="1021274" y="508930"/>
                  <a:pt x="1034944" y="477982"/>
                  <a:pt x="1041969" y="444946"/>
                </a:cubicBezTo>
                <a:cubicBezTo>
                  <a:pt x="1050703" y="402417"/>
                  <a:pt x="1047855" y="358369"/>
                  <a:pt x="1043678" y="315270"/>
                </a:cubicBezTo>
                <a:cubicBezTo>
                  <a:pt x="1036273" y="241034"/>
                  <a:pt x="1022603" y="162621"/>
                  <a:pt x="973429" y="106612"/>
                </a:cubicBezTo>
                <a:cubicBezTo>
                  <a:pt x="916090" y="41489"/>
                  <a:pt x="824197" y="21364"/>
                  <a:pt x="738189" y="11491"/>
                </a:cubicBezTo>
                <a:cubicBezTo>
                  <a:pt x="586680" y="-5787"/>
                  <a:pt x="433081" y="-2179"/>
                  <a:pt x="281381" y="13010"/>
                </a:cubicBezTo>
                <a:cubicBezTo>
                  <a:pt x="205436" y="20604"/>
                  <a:pt x="123036" y="34464"/>
                  <a:pt x="71773" y="91233"/>
                </a:cubicBezTo>
                <a:cubicBezTo>
                  <a:pt x="38737" y="127876"/>
                  <a:pt x="24118" y="177240"/>
                  <a:pt x="15194" y="225845"/>
                </a:cubicBezTo>
                <a:cubicBezTo>
                  <a:pt x="-754" y="313941"/>
                  <a:pt x="-374" y="403936"/>
                  <a:pt x="195" y="493171"/>
                </a:cubicBezTo>
                <a:cubicBezTo>
                  <a:pt x="195" y="520511"/>
                  <a:pt x="765" y="548611"/>
                  <a:pt x="12726" y="573103"/>
                </a:cubicBezTo>
                <a:cubicBezTo>
                  <a:pt x="23738" y="595697"/>
                  <a:pt x="43484" y="612784"/>
                  <a:pt x="57913" y="633290"/>
                </a:cubicBezTo>
                <a:cubicBezTo>
                  <a:pt x="105758" y="700501"/>
                  <a:pt x="93038" y="792014"/>
                  <a:pt x="86962" y="878022"/>
                </a:cubicBezTo>
                <a:lnTo>
                  <a:pt x="86583" y="87802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177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34" name="Freeform: Shape 1333">
            <a:extLst>
              <a:ext uri="{FF2B5EF4-FFF2-40B4-BE49-F238E27FC236}">
                <a16:creationId xmlns:a16="http://schemas.microsoft.com/office/drawing/2014/main" id="{3B009E8F-59C1-E8CD-E152-88C925C175F2}"/>
              </a:ext>
            </a:extLst>
          </p:cNvPr>
          <p:cNvSpPr/>
          <p:nvPr userDrawn="1"/>
        </p:nvSpPr>
        <p:spPr>
          <a:xfrm>
            <a:off x="10141384" y="3547958"/>
            <a:ext cx="625975" cy="36073"/>
          </a:xfrm>
          <a:custGeom>
            <a:avLst/>
            <a:gdLst>
              <a:gd name="connsiteX0" fmla="*/ 5886 w 625975"/>
              <a:gd name="connsiteY0" fmla="*/ 36074 h 36073"/>
              <a:gd name="connsiteX1" fmla="*/ 0 w 625975"/>
              <a:gd name="connsiteY1" fmla="*/ 30568 h 36073"/>
              <a:gd name="connsiteX2" fmla="*/ 5506 w 625975"/>
              <a:gd name="connsiteY2" fmla="*/ 24492 h 36073"/>
              <a:gd name="connsiteX3" fmla="*/ 619900 w 625975"/>
              <a:gd name="connsiteY3" fmla="*/ 0 h 36073"/>
              <a:gd name="connsiteX4" fmla="*/ 625976 w 625975"/>
              <a:gd name="connsiteY4" fmla="*/ 5506 h 36073"/>
              <a:gd name="connsiteX5" fmla="*/ 620470 w 625975"/>
              <a:gd name="connsiteY5" fmla="*/ 11582 h 36073"/>
              <a:gd name="connsiteX6" fmla="*/ 6076 w 625975"/>
              <a:gd name="connsiteY6" fmla="*/ 36074 h 36073"/>
              <a:gd name="connsiteX7" fmla="*/ 5886 w 625975"/>
              <a:gd name="connsiteY7" fmla="*/ 36074 h 36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5975" h="36073">
                <a:moveTo>
                  <a:pt x="5886" y="36074"/>
                </a:moveTo>
                <a:cubicBezTo>
                  <a:pt x="2848" y="36074"/>
                  <a:pt x="190" y="33606"/>
                  <a:pt x="0" y="30568"/>
                </a:cubicBezTo>
                <a:cubicBezTo>
                  <a:pt x="0" y="27340"/>
                  <a:pt x="2468" y="24682"/>
                  <a:pt x="5506" y="24492"/>
                </a:cubicBezTo>
                <a:lnTo>
                  <a:pt x="619900" y="0"/>
                </a:lnTo>
                <a:cubicBezTo>
                  <a:pt x="623128" y="0"/>
                  <a:pt x="625786" y="2468"/>
                  <a:pt x="625976" y="5506"/>
                </a:cubicBezTo>
                <a:cubicBezTo>
                  <a:pt x="625976" y="8734"/>
                  <a:pt x="623507" y="11392"/>
                  <a:pt x="620470" y="11582"/>
                </a:cubicBezTo>
                <a:lnTo>
                  <a:pt x="6076" y="36074"/>
                </a:lnTo>
                <a:lnTo>
                  <a:pt x="5886" y="36074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35" name="Freeform: Shape 1334">
            <a:extLst>
              <a:ext uri="{FF2B5EF4-FFF2-40B4-BE49-F238E27FC236}">
                <a16:creationId xmlns:a16="http://schemas.microsoft.com/office/drawing/2014/main" id="{C1A9406B-DB17-8D9C-D41F-5DB99691453F}"/>
              </a:ext>
            </a:extLst>
          </p:cNvPr>
          <p:cNvSpPr/>
          <p:nvPr userDrawn="1"/>
        </p:nvSpPr>
        <p:spPr>
          <a:xfrm>
            <a:off x="10129992" y="3368918"/>
            <a:ext cx="637557" cy="37402"/>
          </a:xfrm>
          <a:custGeom>
            <a:avLst/>
            <a:gdLst>
              <a:gd name="connsiteX0" fmla="*/ 5886 w 637557"/>
              <a:gd name="connsiteY0" fmla="*/ 37403 h 37402"/>
              <a:gd name="connsiteX1" fmla="*/ 0 w 637557"/>
              <a:gd name="connsiteY1" fmla="*/ 31897 h 37402"/>
              <a:gd name="connsiteX2" fmla="*/ 5506 w 637557"/>
              <a:gd name="connsiteY2" fmla="*/ 25821 h 37402"/>
              <a:gd name="connsiteX3" fmla="*/ 631482 w 637557"/>
              <a:gd name="connsiteY3" fmla="*/ 0 h 37402"/>
              <a:gd name="connsiteX4" fmla="*/ 637558 w 637557"/>
              <a:gd name="connsiteY4" fmla="*/ 5506 h 37402"/>
              <a:gd name="connsiteX5" fmla="*/ 632052 w 637557"/>
              <a:gd name="connsiteY5" fmla="*/ 11582 h 37402"/>
              <a:gd name="connsiteX6" fmla="*/ 6076 w 637557"/>
              <a:gd name="connsiteY6" fmla="*/ 37403 h 37402"/>
              <a:gd name="connsiteX7" fmla="*/ 5886 w 637557"/>
              <a:gd name="connsiteY7" fmla="*/ 37403 h 3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7557" h="37402">
                <a:moveTo>
                  <a:pt x="5886" y="37403"/>
                </a:moveTo>
                <a:cubicBezTo>
                  <a:pt x="2848" y="37403"/>
                  <a:pt x="190" y="34935"/>
                  <a:pt x="0" y="31897"/>
                </a:cubicBezTo>
                <a:cubicBezTo>
                  <a:pt x="0" y="28669"/>
                  <a:pt x="2468" y="26011"/>
                  <a:pt x="5506" y="25821"/>
                </a:cubicBezTo>
                <a:lnTo>
                  <a:pt x="631482" y="0"/>
                </a:lnTo>
                <a:cubicBezTo>
                  <a:pt x="634520" y="0"/>
                  <a:pt x="637368" y="2468"/>
                  <a:pt x="637558" y="5506"/>
                </a:cubicBezTo>
                <a:cubicBezTo>
                  <a:pt x="637558" y="8734"/>
                  <a:pt x="635089" y="11392"/>
                  <a:pt x="632052" y="11582"/>
                </a:cubicBezTo>
                <a:lnTo>
                  <a:pt x="6076" y="37403"/>
                </a:lnTo>
                <a:lnTo>
                  <a:pt x="5886" y="37403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33" name="Freeform: Shape 1332">
            <a:extLst>
              <a:ext uri="{FF2B5EF4-FFF2-40B4-BE49-F238E27FC236}">
                <a16:creationId xmlns:a16="http://schemas.microsoft.com/office/drawing/2014/main" id="{EA51501E-BA70-36EB-D172-EED905061EFC}"/>
              </a:ext>
            </a:extLst>
          </p:cNvPr>
          <p:cNvSpPr/>
          <p:nvPr userDrawn="1"/>
        </p:nvSpPr>
        <p:spPr>
          <a:xfrm>
            <a:off x="9936123" y="3146031"/>
            <a:ext cx="1059428" cy="890252"/>
          </a:xfrm>
          <a:custGeom>
            <a:avLst/>
            <a:gdLst>
              <a:gd name="connsiteX0" fmla="*/ 92863 w 1059428"/>
              <a:gd name="connsiteY0" fmla="*/ 890253 h 890252"/>
              <a:gd name="connsiteX1" fmla="*/ 91344 w 1059428"/>
              <a:gd name="connsiteY1" fmla="*/ 890063 h 890252"/>
              <a:gd name="connsiteX2" fmla="*/ 87167 w 1059428"/>
              <a:gd name="connsiteY2" fmla="*/ 884177 h 890252"/>
              <a:gd name="connsiteX3" fmla="*/ 89066 w 1059428"/>
              <a:gd name="connsiteY3" fmla="*/ 858546 h 890252"/>
              <a:gd name="connsiteX4" fmla="*/ 59067 w 1059428"/>
              <a:gd name="connsiteY4" fmla="*/ 643052 h 890252"/>
              <a:gd name="connsiteX5" fmla="*/ 41790 w 1059428"/>
              <a:gd name="connsiteY5" fmla="*/ 621408 h 890252"/>
              <a:gd name="connsiteX6" fmla="*/ 13311 w 1059428"/>
              <a:gd name="connsiteY6" fmla="*/ 581916 h 890252"/>
              <a:gd name="connsiteX7" fmla="*/ 210 w 1059428"/>
              <a:gd name="connsiteY7" fmla="*/ 499326 h 890252"/>
              <a:gd name="connsiteX8" fmla="*/ 15209 w 1059428"/>
              <a:gd name="connsiteY8" fmla="*/ 230671 h 890252"/>
              <a:gd name="connsiteX9" fmla="*/ 73117 w 1059428"/>
              <a:gd name="connsiteY9" fmla="*/ 93211 h 890252"/>
              <a:gd name="connsiteX10" fmla="*/ 286332 w 1059428"/>
              <a:gd name="connsiteY10" fmla="*/ 13089 h 890252"/>
              <a:gd name="connsiteX11" fmla="*/ 744470 w 1059428"/>
              <a:gd name="connsiteY11" fmla="*/ 11570 h 890252"/>
              <a:gd name="connsiteX12" fmla="*/ 983506 w 1059428"/>
              <a:gd name="connsiteY12" fmla="*/ 108590 h 890252"/>
              <a:gd name="connsiteX13" fmla="*/ 1055274 w 1059428"/>
              <a:gd name="connsiteY13" fmla="*/ 320476 h 890252"/>
              <a:gd name="connsiteX14" fmla="*/ 1053566 w 1059428"/>
              <a:gd name="connsiteY14" fmla="*/ 451861 h 890252"/>
              <a:gd name="connsiteX15" fmla="*/ 1015214 w 1059428"/>
              <a:gd name="connsiteY15" fmla="*/ 546602 h 890252"/>
              <a:gd name="connsiteX16" fmla="*/ 958255 w 1059428"/>
              <a:gd name="connsiteY16" fmla="*/ 612864 h 890252"/>
              <a:gd name="connsiteX17" fmla="*/ 813960 w 1059428"/>
              <a:gd name="connsiteY17" fmla="*/ 647229 h 890252"/>
              <a:gd name="connsiteX18" fmla="*/ 464803 w 1059428"/>
              <a:gd name="connsiteY18" fmla="*/ 662228 h 890252"/>
              <a:gd name="connsiteX19" fmla="*/ 263739 w 1059428"/>
              <a:gd name="connsiteY19" fmla="*/ 683303 h 890252"/>
              <a:gd name="connsiteX20" fmla="*/ 215324 w 1059428"/>
              <a:gd name="connsiteY20" fmla="*/ 702859 h 890252"/>
              <a:gd name="connsiteX21" fmla="*/ 187604 w 1059428"/>
              <a:gd name="connsiteY21" fmla="*/ 735895 h 890252"/>
              <a:gd name="connsiteX22" fmla="*/ 97989 w 1059428"/>
              <a:gd name="connsiteY22" fmla="*/ 886266 h 890252"/>
              <a:gd name="connsiteX23" fmla="*/ 92863 w 1059428"/>
              <a:gd name="connsiteY23" fmla="*/ 889303 h 890252"/>
              <a:gd name="connsiteX24" fmla="*/ 92863 w 1059428"/>
              <a:gd name="connsiteY24" fmla="*/ 889873 h 890252"/>
              <a:gd name="connsiteX25" fmla="*/ 533913 w 1059428"/>
              <a:gd name="connsiteY25" fmla="*/ 12140 h 890252"/>
              <a:gd name="connsiteX26" fmla="*/ 287661 w 1059428"/>
              <a:gd name="connsiteY26" fmla="*/ 25240 h 890252"/>
              <a:gd name="connsiteX27" fmla="*/ 81851 w 1059428"/>
              <a:gd name="connsiteY27" fmla="*/ 101565 h 890252"/>
              <a:gd name="connsiteX28" fmla="*/ 26791 w 1059428"/>
              <a:gd name="connsiteY28" fmla="*/ 233329 h 890252"/>
              <a:gd name="connsiteX29" fmla="*/ 11982 w 1059428"/>
              <a:gd name="connsiteY29" fmla="*/ 499706 h 890252"/>
              <a:gd name="connsiteX30" fmla="*/ 23753 w 1059428"/>
              <a:gd name="connsiteY30" fmla="*/ 577170 h 890252"/>
              <a:gd name="connsiteX31" fmla="*/ 50524 w 1059428"/>
              <a:gd name="connsiteY31" fmla="*/ 614003 h 890252"/>
              <a:gd name="connsiteX32" fmla="*/ 68560 w 1059428"/>
              <a:gd name="connsiteY32" fmla="*/ 636217 h 890252"/>
              <a:gd name="connsiteX33" fmla="*/ 100647 w 1059428"/>
              <a:gd name="connsiteY33" fmla="*/ 857596 h 890252"/>
              <a:gd name="connsiteX34" fmla="*/ 177731 w 1059428"/>
              <a:gd name="connsiteY34" fmla="*/ 730199 h 890252"/>
              <a:gd name="connsiteX35" fmla="*/ 207920 w 1059428"/>
              <a:gd name="connsiteY35" fmla="*/ 694315 h 890252"/>
              <a:gd name="connsiteX36" fmla="*/ 260701 w 1059428"/>
              <a:gd name="connsiteY36" fmla="*/ 672671 h 890252"/>
              <a:gd name="connsiteX37" fmla="*/ 463854 w 1059428"/>
              <a:gd name="connsiteY37" fmla="*/ 651216 h 890252"/>
              <a:gd name="connsiteX38" fmla="*/ 813010 w 1059428"/>
              <a:gd name="connsiteY38" fmla="*/ 636217 h 890252"/>
              <a:gd name="connsiteX39" fmla="*/ 951040 w 1059428"/>
              <a:gd name="connsiteY39" fmla="*/ 603941 h 890252"/>
              <a:gd name="connsiteX40" fmla="*/ 1004581 w 1059428"/>
              <a:gd name="connsiteY40" fmla="*/ 541096 h 890252"/>
              <a:gd name="connsiteX41" fmla="*/ 1041604 w 1059428"/>
              <a:gd name="connsiteY41" fmla="*/ 449962 h 890252"/>
              <a:gd name="connsiteX42" fmla="*/ 1043123 w 1059428"/>
              <a:gd name="connsiteY42" fmla="*/ 322185 h 890252"/>
              <a:gd name="connsiteX43" fmla="*/ 974203 w 1059428"/>
              <a:gd name="connsiteY43" fmla="*/ 116754 h 890252"/>
              <a:gd name="connsiteX44" fmla="*/ 742571 w 1059428"/>
              <a:gd name="connsiteY44" fmla="*/ 23532 h 890252"/>
              <a:gd name="connsiteX45" fmla="*/ 533153 w 1059428"/>
              <a:gd name="connsiteY45" fmla="*/ 11950 h 890252"/>
              <a:gd name="connsiteX46" fmla="*/ 533153 w 1059428"/>
              <a:gd name="connsiteY46" fmla="*/ 11950 h 8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059428" h="890252">
                <a:moveTo>
                  <a:pt x="92863" y="890253"/>
                </a:moveTo>
                <a:cubicBezTo>
                  <a:pt x="92863" y="890253"/>
                  <a:pt x="91723" y="890253"/>
                  <a:pt x="91344" y="890063"/>
                </a:cubicBezTo>
                <a:cubicBezTo>
                  <a:pt x="88686" y="889303"/>
                  <a:pt x="86977" y="886835"/>
                  <a:pt x="87167" y="884177"/>
                </a:cubicBezTo>
                <a:cubicBezTo>
                  <a:pt x="87737" y="875633"/>
                  <a:pt x="88496" y="867089"/>
                  <a:pt x="89066" y="858546"/>
                </a:cubicBezTo>
                <a:cubicBezTo>
                  <a:pt x="94951" y="781651"/>
                  <a:pt x="101217" y="702099"/>
                  <a:pt x="59067" y="643052"/>
                </a:cubicBezTo>
                <a:cubicBezTo>
                  <a:pt x="53751" y="635647"/>
                  <a:pt x="47486" y="628433"/>
                  <a:pt x="41790" y="621408"/>
                </a:cubicBezTo>
                <a:cubicBezTo>
                  <a:pt x="31347" y="609257"/>
                  <a:pt x="20715" y="596916"/>
                  <a:pt x="13311" y="581916"/>
                </a:cubicBezTo>
                <a:cubicBezTo>
                  <a:pt x="590" y="555715"/>
                  <a:pt x="400" y="525907"/>
                  <a:pt x="210" y="499326"/>
                </a:cubicBezTo>
                <a:cubicBezTo>
                  <a:pt x="-359" y="411040"/>
                  <a:pt x="-929" y="319717"/>
                  <a:pt x="15209" y="230671"/>
                </a:cubicBezTo>
                <a:cubicBezTo>
                  <a:pt x="22234" y="191370"/>
                  <a:pt x="36094" y="134411"/>
                  <a:pt x="73117" y="93211"/>
                </a:cubicBezTo>
                <a:cubicBezTo>
                  <a:pt x="124190" y="36632"/>
                  <a:pt x="205831" y="21253"/>
                  <a:pt x="286332" y="13089"/>
                </a:cubicBezTo>
                <a:cubicBezTo>
                  <a:pt x="455310" y="-3809"/>
                  <a:pt x="605301" y="-4378"/>
                  <a:pt x="744470" y="11570"/>
                </a:cubicBezTo>
                <a:cubicBezTo>
                  <a:pt x="824022" y="20684"/>
                  <a:pt x="923130" y="40050"/>
                  <a:pt x="983506" y="108590"/>
                </a:cubicBezTo>
                <a:cubicBezTo>
                  <a:pt x="1033630" y="165549"/>
                  <a:pt x="1047680" y="244151"/>
                  <a:pt x="1055274" y="320476"/>
                </a:cubicBezTo>
                <a:cubicBezTo>
                  <a:pt x="1059262" y="360727"/>
                  <a:pt x="1062869" y="407243"/>
                  <a:pt x="1053566" y="451861"/>
                </a:cubicBezTo>
                <a:cubicBezTo>
                  <a:pt x="1047110" y="482619"/>
                  <a:pt x="1034579" y="513566"/>
                  <a:pt x="1015214" y="546602"/>
                </a:cubicBezTo>
                <a:cubicBezTo>
                  <a:pt x="996987" y="577360"/>
                  <a:pt x="978950" y="598624"/>
                  <a:pt x="958255" y="612864"/>
                </a:cubicBezTo>
                <a:cubicBezTo>
                  <a:pt x="915346" y="642862"/>
                  <a:pt x="859147" y="645330"/>
                  <a:pt x="813960" y="647229"/>
                </a:cubicBezTo>
                <a:lnTo>
                  <a:pt x="464803" y="662228"/>
                </a:lnTo>
                <a:cubicBezTo>
                  <a:pt x="398351" y="665076"/>
                  <a:pt x="329621" y="668114"/>
                  <a:pt x="263739" y="683303"/>
                </a:cubicBezTo>
                <a:cubicBezTo>
                  <a:pt x="246651" y="687290"/>
                  <a:pt x="228994" y="692416"/>
                  <a:pt x="215324" y="702859"/>
                </a:cubicBezTo>
                <a:cubicBezTo>
                  <a:pt x="204312" y="711213"/>
                  <a:pt x="196338" y="722794"/>
                  <a:pt x="187604" y="735895"/>
                </a:cubicBezTo>
                <a:cubicBezTo>
                  <a:pt x="155517" y="784309"/>
                  <a:pt x="125139" y="834813"/>
                  <a:pt x="97989" y="886266"/>
                </a:cubicBezTo>
                <a:cubicBezTo>
                  <a:pt x="97040" y="888164"/>
                  <a:pt x="94951" y="889303"/>
                  <a:pt x="92863" y="889303"/>
                </a:cubicBezTo>
                <a:lnTo>
                  <a:pt x="92863" y="889873"/>
                </a:lnTo>
                <a:close/>
                <a:moveTo>
                  <a:pt x="533913" y="12140"/>
                </a:moveTo>
                <a:cubicBezTo>
                  <a:pt x="456259" y="12140"/>
                  <a:pt x="374429" y="16507"/>
                  <a:pt x="287661" y="25240"/>
                </a:cubicBezTo>
                <a:cubicBezTo>
                  <a:pt x="209438" y="33025"/>
                  <a:pt x="130456" y="47834"/>
                  <a:pt x="81851" y="101565"/>
                </a:cubicBezTo>
                <a:cubicBezTo>
                  <a:pt x="54701" y="131753"/>
                  <a:pt x="37803" y="172384"/>
                  <a:pt x="26791" y="233329"/>
                </a:cubicBezTo>
                <a:cubicBezTo>
                  <a:pt x="10843" y="321046"/>
                  <a:pt x="11412" y="411800"/>
                  <a:pt x="11982" y="499706"/>
                </a:cubicBezTo>
                <a:cubicBezTo>
                  <a:pt x="11982" y="524768"/>
                  <a:pt x="12172" y="553437"/>
                  <a:pt x="23753" y="577170"/>
                </a:cubicBezTo>
                <a:cubicBezTo>
                  <a:pt x="30208" y="590650"/>
                  <a:pt x="40081" y="602042"/>
                  <a:pt x="50524" y="614003"/>
                </a:cubicBezTo>
                <a:cubicBezTo>
                  <a:pt x="56599" y="621028"/>
                  <a:pt x="63055" y="628433"/>
                  <a:pt x="68560" y="636217"/>
                </a:cubicBezTo>
                <a:cubicBezTo>
                  <a:pt x="112798" y="698112"/>
                  <a:pt x="106723" y="778993"/>
                  <a:pt x="100647" y="857596"/>
                </a:cubicBezTo>
                <a:cubicBezTo>
                  <a:pt x="124570" y="814118"/>
                  <a:pt x="150581" y="771399"/>
                  <a:pt x="177731" y="730199"/>
                </a:cubicBezTo>
                <a:cubicBezTo>
                  <a:pt x="187035" y="716339"/>
                  <a:pt x="195578" y="703998"/>
                  <a:pt x="207920" y="694315"/>
                </a:cubicBezTo>
                <a:cubicBezTo>
                  <a:pt x="223298" y="682354"/>
                  <a:pt x="242474" y="676848"/>
                  <a:pt x="260701" y="672671"/>
                </a:cubicBezTo>
                <a:cubicBezTo>
                  <a:pt x="327533" y="657102"/>
                  <a:pt x="396832" y="654254"/>
                  <a:pt x="463854" y="651216"/>
                </a:cubicBezTo>
                <a:lnTo>
                  <a:pt x="813010" y="636217"/>
                </a:lnTo>
                <a:cubicBezTo>
                  <a:pt x="856679" y="634318"/>
                  <a:pt x="910979" y="632040"/>
                  <a:pt x="951040" y="603941"/>
                </a:cubicBezTo>
                <a:cubicBezTo>
                  <a:pt x="970216" y="590460"/>
                  <a:pt x="987304" y="570525"/>
                  <a:pt x="1004581" y="541096"/>
                </a:cubicBezTo>
                <a:cubicBezTo>
                  <a:pt x="1023378" y="509199"/>
                  <a:pt x="1035339" y="479391"/>
                  <a:pt x="1041604" y="449962"/>
                </a:cubicBezTo>
                <a:cubicBezTo>
                  <a:pt x="1050528" y="407053"/>
                  <a:pt x="1047110" y="361486"/>
                  <a:pt x="1043123" y="322185"/>
                </a:cubicBezTo>
                <a:cubicBezTo>
                  <a:pt x="1035718" y="247759"/>
                  <a:pt x="1022048" y="171244"/>
                  <a:pt x="974203" y="116754"/>
                </a:cubicBezTo>
                <a:cubicBezTo>
                  <a:pt x="916296" y="51062"/>
                  <a:pt x="820035" y="32455"/>
                  <a:pt x="742571" y="23532"/>
                </a:cubicBezTo>
                <a:cubicBezTo>
                  <a:pt x="675740" y="15937"/>
                  <a:pt x="606250" y="11950"/>
                  <a:pt x="533153" y="11950"/>
                </a:cubicBezTo>
                <a:lnTo>
                  <a:pt x="533153" y="11950"/>
                </a:lnTo>
                <a:close/>
              </a:path>
            </a:pathLst>
          </a:custGeom>
          <a:solidFill>
            <a:schemeClr val="accent4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grpSp>
        <p:nvGrpSpPr>
          <p:cNvPr id="2133" name="Group 2132">
            <a:extLst>
              <a:ext uri="{FF2B5EF4-FFF2-40B4-BE49-F238E27FC236}">
                <a16:creationId xmlns:a16="http://schemas.microsoft.com/office/drawing/2014/main" id="{655517CC-E3B0-7B44-DBC5-B68142CD61FC}"/>
              </a:ext>
            </a:extLst>
          </p:cNvPr>
          <p:cNvGrpSpPr/>
          <p:nvPr userDrawn="1"/>
        </p:nvGrpSpPr>
        <p:grpSpPr>
          <a:xfrm>
            <a:off x="9488949" y="1429702"/>
            <a:ext cx="77463" cy="77084"/>
            <a:chOff x="9488949" y="1429702"/>
            <a:chExt cx="77463" cy="77084"/>
          </a:xfrm>
        </p:grpSpPr>
        <p:sp>
          <p:nvSpPr>
            <p:cNvPr id="2131" name="Freeform: Shape 2130">
              <a:extLst>
                <a:ext uri="{FF2B5EF4-FFF2-40B4-BE49-F238E27FC236}">
                  <a16:creationId xmlns:a16="http://schemas.microsoft.com/office/drawing/2014/main" id="{952E4DB3-6D8E-4331-132D-88594DDBAA30}"/>
                </a:ext>
              </a:extLst>
            </p:cNvPr>
            <p:cNvSpPr/>
            <p:nvPr userDrawn="1"/>
          </p:nvSpPr>
          <p:spPr>
            <a:xfrm>
              <a:off x="9488949" y="1432802"/>
              <a:ext cx="71233" cy="70884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2132" name="Freeform: Shape 2131">
              <a:extLst>
                <a:ext uri="{FF2B5EF4-FFF2-40B4-BE49-F238E27FC236}">
                  <a16:creationId xmlns:a16="http://schemas.microsoft.com/office/drawing/2014/main" id="{0B168C88-5A39-18EF-B24A-13B60EC7C64C}"/>
                </a:ext>
              </a:extLst>
            </p:cNvPr>
            <p:cNvSpPr/>
            <p:nvPr userDrawn="1"/>
          </p:nvSpPr>
          <p:spPr>
            <a:xfrm>
              <a:off x="9488949" y="1429702"/>
              <a:ext cx="77463" cy="77084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grpSp>
        <p:nvGrpSpPr>
          <p:cNvPr id="2138" name="Group 2137">
            <a:extLst>
              <a:ext uri="{FF2B5EF4-FFF2-40B4-BE49-F238E27FC236}">
                <a16:creationId xmlns:a16="http://schemas.microsoft.com/office/drawing/2014/main" id="{00D31E81-9D68-F765-E682-56F8E7E7CE62}"/>
              </a:ext>
            </a:extLst>
          </p:cNvPr>
          <p:cNvGrpSpPr>
            <a:grpSpLocks/>
          </p:cNvGrpSpPr>
          <p:nvPr userDrawn="1"/>
        </p:nvGrpSpPr>
        <p:grpSpPr>
          <a:xfrm>
            <a:off x="6828589" y="2472233"/>
            <a:ext cx="130245" cy="130245"/>
            <a:chOff x="9547043" y="1895038"/>
            <a:chExt cx="141637" cy="141637"/>
          </a:xfrm>
        </p:grpSpPr>
        <p:sp>
          <p:nvSpPr>
            <p:cNvPr id="2139" name="Freeform: Shape 2138">
              <a:extLst>
                <a:ext uri="{FF2B5EF4-FFF2-40B4-BE49-F238E27FC236}">
                  <a16:creationId xmlns:a16="http://schemas.microsoft.com/office/drawing/2014/main" id="{8C3EF2B9-C4F0-2A75-4D0C-40B644C9AAF8}"/>
                </a:ext>
              </a:extLst>
            </p:cNvPr>
            <p:cNvSpPr/>
            <p:nvPr userDrawn="1"/>
          </p:nvSpPr>
          <p:spPr>
            <a:xfrm>
              <a:off x="9552739" y="1900733"/>
              <a:ext cx="130245" cy="130245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2140" name="Freeform: Shape 2139">
              <a:extLst>
                <a:ext uri="{FF2B5EF4-FFF2-40B4-BE49-F238E27FC236}">
                  <a16:creationId xmlns:a16="http://schemas.microsoft.com/office/drawing/2014/main" id="{743BDDC7-D798-4D8B-E17F-9A0AFACAC695}"/>
                </a:ext>
              </a:extLst>
            </p:cNvPr>
            <p:cNvSpPr/>
            <p:nvPr userDrawn="1"/>
          </p:nvSpPr>
          <p:spPr>
            <a:xfrm>
              <a:off x="9547043" y="1895038"/>
              <a:ext cx="141637" cy="141637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grpSp>
        <p:nvGrpSpPr>
          <p:cNvPr id="2144" name="Group 2143">
            <a:extLst>
              <a:ext uri="{FF2B5EF4-FFF2-40B4-BE49-F238E27FC236}">
                <a16:creationId xmlns:a16="http://schemas.microsoft.com/office/drawing/2014/main" id="{7A9E2AF3-3B83-5C46-CDFA-C731389A4C68}"/>
              </a:ext>
            </a:extLst>
          </p:cNvPr>
          <p:cNvGrpSpPr/>
          <p:nvPr userDrawn="1"/>
        </p:nvGrpSpPr>
        <p:grpSpPr>
          <a:xfrm>
            <a:off x="7406149" y="2185352"/>
            <a:ext cx="77463" cy="77084"/>
            <a:chOff x="9488949" y="1429702"/>
            <a:chExt cx="77463" cy="77084"/>
          </a:xfrm>
        </p:grpSpPr>
        <p:sp>
          <p:nvSpPr>
            <p:cNvPr id="2145" name="Freeform: Shape 2144">
              <a:extLst>
                <a:ext uri="{FF2B5EF4-FFF2-40B4-BE49-F238E27FC236}">
                  <a16:creationId xmlns:a16="http://schemas.microsoft.com/office/drawing/2014/main" id="{5E9B57EA-EAFB-B2F1-65D3-6A5710925E48}"/>
                </a:ext>
              </a:extLst>
            </p:cNvPr>
            <p:cNvSpPr/>
            <p:nvPr userDrawn="1"/>
          </p:nvSpPr>
          <p:spPr>
            <a:xfrm>
              <a:off x="9488949" y="1432802"/>
              <a:ext cx="71233" cy="70884"/>
            </a:xfrm>
            <a:custGeom>
              <a:avLst/>
              <a:gdLst>
                <a:gd name="connsiteX0" fmla="*/ 0 w 130245"/>
                <a:gd name="connsiteY0" fmla="*/ 65123 h 130245"/>
                <a:gd name="connsiteX1" fmla="*/ 65123 w 130245"/>
                <a:gd name="connsiteY1" fmla="*/ 0 h 130245"/>
                <a:gd name="connsiteX2" fmla="*/ 130245 w 130245"/>
                <a:gd name="connsiteY2" fmla="*/ 65123 h 130245"/>
                <a:gd name="connsiteX3" fmla="*/ 65123 w 130245"/>
                <a:gd name="connsiteY3" fmla="*/ 130245 h 130245"/>
                <a:gd name="connsiteX4" fmla="*/ 0 w 130245"/>
                <a:gd name="connsiteY4" fmla="*/ 65123 h 130245"/>
                <a:gd name="connsiteX5" fmla="*/ 0 w 130245"/>
                <a:gd name="connsiteY5" fmla="*/ 65123 h 13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245" h="130245">
                  <a:moveTo>
                    <a:pt x="0" y="65123"/>
                  </a:moveTo>
                  <a:cubicBezTo>
                    <a:pt x="0" y="29239"/>
                    <a:pt x="29049" y="0"/>
                    <a:pt x="65123" y="0"/>
                  </a:cubicBezTo>
                  <a:cubicBezTo>
                    <a:pt x="101197" y="0"/>
                    <a:pt x="130245" y="29049"/>
                    <a:pt x="130245" y="65123"/>
                  </a:cubicBezTo>
                  <a:cubicBezTo>
                    <a:pt x="130245" y="101197"/>
                    <a:pt x="101197" y="130245"/>
                    <a:pt x="65123" y="130245"/>
                  </a:cubicBezTo>
                  <a:cubicBezTo>
                    <a:pt x="29049" y="130245"/>
                    <a:pt x="0" y="101197"/>
                    <a:pt x="0" y="65123"/>
                  </a:cubicBezTo>
                  <a:lnTo>
                    <a:pt x="0" y="65123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2146" name="Freeform: Shape 2145">
              <a:extLst>
                <a:ext uri="{FF2B5EF4-FFF2-40B4-BE49-F238E27FC236}">
                  <a16:creationId xmlns:a16="http://schemas.microsoft.com/office/drawing/2014/main" id="{F9E01AEE-40E6-655A-FA8D-8EFBBE4DAD17}"/>
                </a:ext>
              </a:extLst>
            </p:cNvPr>
            <p:cNvSpPr/>
            <p:nvPr userDrawn="1"/>
          </p:nvSpPr>
          <p:spPr>
            <a:xfrm>
              <a:off x="9488949" y="1429702"/>
              <a:ext cx="77463" cy="77084"/>
            </a:xfrm>
            <a:custGeom>
              <a:avLst/>
              <a:gdLst>
                <a:gd name="connsiteX0" fmla="*/ 70819 w 141637"/>
                <a:gd name="connsiteY0" fmla="*/ 141637 h 141637"/>
                <a:gd name="connsiteX1" fmla="*/ 0 w 141637"/>
                <a:gd name="connsiteY1" fmla="*/ 70819 h 141637"/>
                <a:gd name="connsiteX2" fmla="*/ 70819 w 141637"/>
                <a:gd name="connsiteY2" fmla="*/ 0 h 141637"/>
                <a:gd name="connsiteX3" fmla="*/ 141637 w 141637"/>
                <a:gd name="connsiteY3" fmla="*/ 70819 h 141637"/>
                <a:gd name="connsiteX4" fmla="*/ 70819 w 141637"/>
                <a:gd name="connsiteY4" fmla="*/ 141637 h 141637"/>
                <a:gd name="connsiteX5" fmla="*/ 70819 w 141637"/>
                <a:gd name="connsiteY5" fmla="*/ 141637 h 141637"/>
                <a:gd name="connsiteX6" fmla="*/ 70819 w 141637"/>
                <a:gd name="connsiteY6" fmla="*/ 11582 h 141637"/>
                <a:gd name="connsiteX7" fmla="*/ 11582 w 141637"/>
                <a:gd name="connsiteY7" fmla="*/ 70819 h 141637"/>
                <a:gd name="connsiteX8" fmla="*/ 70819 w 141637"/>
                <a:gd name="connsiteY8" fmla="*/ 130056 h 141637"/>
                <a:gd name="connsiteX9" fmla="*/ 130055 w 141637"/>
                <a:gd name="connsiteY9" fmla="*/ 70819 h 141637"/>
                <a:gd name="connsiteX10" fmla="*/ 70819 w 141637"/>
                <a:gd name="connsiteY10" fmla="*/ 11582 h 141637"/>
                <a:gd name="connsiteX11" fmla="*/ 70819 w 141637"/>
                <a:gd name="connsiteY11" fmla="*/ 11582 h 14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141637">
                  <a:moveTo>
                    <a:pt x="70819" y="141637"/>
                  </a:moveTo>
                  <a:cubicBezTo>
                    <a:pt x="31707" y="141637"/>
                    <a:pt x="0" y="109740"/>
                    <a:pt x="0" y="70819"/>
                  </a:cubicBezTo>
                  <a:cubicBezTo>
                    <a:pt x="0" y="31897"/>
                    <a:pt x="31897" y="0"/>
                    <a:pt x="70819" y="0"/>
                  </a:cubicBezTo>
                  <a:cubicBezTo>
                    <a:pt x="109740" y="0"/>
                    <a:pt x="141637" y="31897"/>
                    <a:pt x="141637" y="70819"/>
                  </a:cubicBezTo>
                  <a:cubicBezTo>
                    <a:pt x="141637" y="109740"/>
                    <a:pt x="109740" y="141637"/>
                    <a:pt x="70819" y="141637"/>
                  </a:cubicBezTo>
                  <a:lnTo>
                    <a:pt x="70819" y="141637"/>
                  </a:lnTo>
                  <a:close/>
                  <a:moveTo>
                    <a:pt x="70819" y="11582"/>
                  </a:moveTo>
                  <a:cubicBezTo>
                    <a:pt x="38162" y="11582"/>
                    <a:pt x="11582" y="38162"/>
                    <a:pt x="11582" y="70819"/>
                  </a:cubicBezTo>
                  <a:cubicBezTo>
                    <a:pt x="11582" y="103475"/>
                    <a:pt x="38162" y="130056"/>
                    <a:pt x="70819" y="130056"/>
                  </a:cubicBezTo>
                  <a:cubicBezTo>
                    <a:pt x="103475" y="130056"/>
                    <a:pt x="130055" y="103475"/>
                    <a:pt x="130055" y="70819"/>
                  </a:cubicBezTo>
                  <a:cubicBezTo>
                    <a:pt x="130055" y="38162"/>
                    <a:pt x="103475" y="11582"/>
                    <a:pt x="70819" y="11582"/>
                  </a:cubicBezTo>
                  <a:lnTo>
                    <a:pt x="70819" y="11582"/>
                  </a:lnTo>
                  <a:close/>
                </a:path>
              </a:pathLst>
            </a:custGeom>
            <a:solidFill>
              <a:schemeClr val="accent4"/>
            </a:solidFill>
            <a:ln w="1898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sp>
        <p:nvSpPr>
          <p:cNvPr id="1349" name="Freeform: Shape 1348">
            <a:extLst>
              <a:ext uri="{FF2B5EF4-FFF2-40B4-BE49-F238E27FC236}">
                <a16:creationId xmlns:a16="http://schemas.microsoft.com/office/drawing/2014/main" id="{54469BFB-90DF-7402-D800-C7CFCE028945}"/>
              </a:ext>
            </a:extLst>
          </p:cNvPr>
          <p:cNvSpPr/>
          <p:nvPr userDrawn="1"/>
        </p:nvSpPr>
        <p:spPr>
          <a:xfrm>
            <a:off x="8562680" y="4918573"/>
            <a:ext cx="1784140" cy="1344872"/>
          </a:xfrm>
          <a:custGeom>
            <a:avLst/>
            <a:gdLst>
              <a:gd name="connsiteX0" fmla="*/ 1780338 w 1784140"/>
              <a:gd name="connsiteY0" fmla="*/ 1177715 h 1344872"/>
              <a:gd name="connsiteX1" fmla="*/ 1765909 w 1784140"/>
              <a:gd name="connsiteY1" fmla="*/ 1025256 h 1344872"/>
              <a:gd name="connsiteX2" fmla="*/ 1686356 w 1784140"/>
              <a:gd name="connsiteY2" fmla="*/ 609078 h 1344872"/>
              <a:gd name="connsiteX3" fmla="*/ 1465736 w 1784140"/>
              <a:gd name="connsiteY3" fmla="*/ 177331 h 1344872"/>
              <a:gd name="connsiteX4" fmla="*/ 1263533 w 1784140"/>
              <a:gd name="connsiteY4" fmla="*/ 71578 h 1344872"/>
              <a:gd name="connsiteX5" fmla="*/ 1021839 w 1784140"/>
              <a:gd name="connsiteY5" fmla="*/ 0 h 1344872"/>
              <a:gd name="connsiteX6" fmla="*/ 1020319 w 1784140"/>
              <a:gd name="connsiteY6" fmla="*/ 2468 h 1344872"/>
              <a:gd name="connsiteX7" fmla="*/ 1003232 w 1784140"/>
              <a:gd name="connsiteY7" fmla="*/ 28669 h 1344872"/>
              <a:gd name="connsiteX8" fmla="*/ 854000 w 1784140"/>
              <a:gd name="connsiteY8" fmla="*/ 134802 h 1344872"/>
              <a:gd name="connsiteX9" fmla="*/ 724324 w 1784140"/>
              <a:gd name="connsiteY9" fmla="*/ 169737 h 1344872"/>
              <a:gd name="connsiteX10" fmla="*/ 835584 w 1784140"/>
              <a:gd name="connsiteY10" fmla="*/ 144485 h 1344872"/>
              <a:gd name="connsiteX11" fmla="*/ 789827 w 1784140"/>
              <a:gd name="connsiteY11" fmla="*/ 299982 h 1344872"/>
              <a:gd name="connsiteX12" fmla="*/ 792865 w 1784140"/>
              <a:gd name="connsiteY12" fmla="*/ 299413 h 1344872"/>
              <a:gd name="connsiteX13" fmla="*/ 792865 w 1784140"/>
              <a:gd name="connsiteY13" fmla="*/ 313463 h 1344872"/>
              <a:gd name="connsiteX14" fmla="*/ 814129 w 1784140"/>
              <a:gd name="connsiteY14" fmla="*/ 468580 h 1344872"/>
              <a:gd name="connsiteX15" fmla="*/ 877353 w 1784140"/>
              <a:gd name="connsiteY15" fmla="*/ 924629 h 1344872"/>
              <a:gd name="connsiteX16" fmla="*/ 701161 w 1784140"/>
              <a:gd name="connsiteY16" fmla="*/ 1056963 h 1344872"/>
              <a:gd name="connsiteX17" fmla="*/ 600534 w 1784140"/>
              <a:gd name="connsiteY17" fmla="*/ 921591 h 1344872"/>
              <a:gd name="connsiteX18" fmla="*/ 653316 w 1784140"/>
              <a:gd name="connsiteY18" fmla="*/ 521552 h 1344872"/>
              <a:gd name="connsiteX19" fmla="*/ 686921 w 1784140"/>
              <a:gd name="connsiteY19" fmla="*/ 306817 h 1344872"/>
              <a:gd name="connsiteX20" fmla="*/ 688061 w 1784140"/>
              <a:gd name="connsiteY20" fmla="*/ 282515 h 1344872"/>
              <a:gd name="connsiteX21" fmla="*/ 645342 w 1784140"/>
              <a:gd name="connsiteY21" fmla="*/ 166129 h 1344872"/>
              <a:gd name="connsiteX22" fmla="*/ 599015 w 1784140"/>
              <a:gd name="connsiteY22" fmla="*/ 157206 h 1344872"/>
              <a:gd name="connsiteX23" fmla="*/ 551360 w 1784140"/>
              <a:gd name="connsiteY23" fmla="*/ 136701 h 1344872"/>
              <a:gd name="connsiteX24" fmla="*/ 483769 w 1784140"/>
              <a:gd name="connsiteY24" fmla="*/ 103855 h 1344872"/>
              <a:gd name="connsiteX25" fmla="*/ 452252 w 1784140"/>
              <a:gd name="connsiteY25" fmla="*/ 80691 h 1344872"/>
              <a:gd name="connsiteX26" fmla="*/ 121132 w 1784140"/>
              <a:gd name="connsiteY26" fmla="*/ 450733 h 1344872"/>
              <a:gd name="connsiteX27" fmla="*/ 0 w 1784140"/>
              <a:gd name="connsiteY27" fmla="*/ 939059 h 1344872"/>
              <a:gd name="connsiteX28" fmla="*/ 138789 w 1784140"/>
              <a:gd name="connsiteY28" fmla="*/ 1224042 h 1344872"/>
              <a:gd name="connsiteX29" fmla="*/ 141447 w 1784140"/>
              <a:gd name="connsiteY29" fmla="*/ 1224042 h 1344872"/>
              <a:gd name="connsiteX30" fmla="*/ 559714 w 1784140"/>
              <a:gd name="connsiteY30" fmla="*/ 1214169 h 1344872"/>
              <a:gd name="connsiteX31" fmla="*/ 697934 w 1784140"/>
              <a:gd name="connsiteY31" fmla="*/ 1219485 h 1344872"/>
              <a:gd name="connsiteX32" fmla="*/ 898238 w 1784140"/>
              <a:gd name="connsiteY32" fmla="*/ 1244927 h 1344872"/>
              <a:gd name="connsiteX33" fmla="*/ 1224801 w 1784140"/>
              <a:gd name="connsiteY33" fmla="*/ 1303974 h 1344872"/>
              <a:gd name="connsiteX34" fmla="*/ 1246635 w 1784140"/>
              <a:gd name="connsiteY34" fmla="*/ 1307391 h 1344872"/>
              <a:gd name="connsiteX35" fmla="*/ 1314226 w 1784140"/>
              <a:gd name="connsiteY35" fmla="*/ 1318214 h 1344872"/>
              <a:gd name="connsiteX36" fmla="*/ 1314796 w 1784140"/>
              <a:gd name="connsiteY36" fmla="*/ 1318214 h 1344872"/>
              <a:gd name="connsiteX37" fmla="*/ 1644396 w 1784140"/>
              <a:gd name="connsiteY37" fmla="*/ 1343085 h 1344872"/>
              <a:gd name="connsiteX38" fmla="*/ 1751479 w 1784140"/>
              <a:gd name="connsiteY38" fmla="*/ 1310809 h 1344872"/>
              <a:gd name="connsiteX39" fmla="*/ 1763060 w 1784140"/>
              <a:gd name="connsiteY39" fmla="*/ 1299037 h 1344872"/>
              <a:gd name="connsiteX40" fmla="*/ 1780338 w 1784140"/>
              <a:gd name="connsiteY40" fmla="*/ 1177715 h 1344872"/>
              <a:gd name="connsiteX41" fmla="*/ 461175 w 1784140"/>
              <a:gd name="connsiteY41" fmla="*/ 1070823 h 1344872"/>
              <a:gd name="connsiteX42" fmla="*/ 422633 w 1784140"/>
              <a:gd name="connsiteY42" fmla="*/ 1077468 h 1344872"/>
              <a:gd name="connsiteX43" fmla="*/ 279477 w 1784140"/>
              <a:gd name="connsiteY43" fmla="*/ 1097024 h 1344872"/>
              <a:gd name="connsiteX44" fmla="*/ 379914 w 1784140"/>
              <a:gd name="connsiteY44" fmla="*/ 841090 h 1344872"/>
              <a:gd name="connsiteX45" fmla="*/ 471048 w 1784140"/>
              <a:gd name="connsiteY45" fmla="*/ 1069114 h 1344872"/>
              <a:gd name="connsiteX46" fmla="*/ 461175 w 1784140"/>
              <a:gd name="connsiteY46" fmla="*/ 1070823 h 134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784140" h="1344872">
                <a:moveTo>
                  <a:pt x="1780338" y="1177715"/>
                </a:moveTo>
                <a:cubicBezTo>
                  <a:pt x="1771984" y="1119618"/>
                  <a:pt x="1771414" y="1083164"/>
                  <a:pt x="1765909" y="1025256"/>
                </a:cubicBezTo>
                <a:cubicBezTo>
                  <a:pt x="1752428" y="886087"/>
                  <a:pt x="1729265" y="741982"/>
                  <a:pt x="1686356" y="609078"/>
                </a:cubicBezTo>
                <a:cubicBezTo>
                  <a:pt x="1633764" y="446746"/>
                  <a:pt x="1609652" y="278148"/>
                  <a:pt x="1465736" y="177331"/>
                </a:cubicBezTo>
                <a:cubicBezTo>
                  <a:pt x="1398525" y="130245"/>
                  <a:pt x="1337390" y="102336"/>
                  <a:pt x="1263533" y="71578"/>
                </a:cubicBezTo>
                <a:cubicBezTo>
                  <a:pt x="1226700" y="56009"/>
                  <a:pt x="1074620" y="12721"/>
                  <a:pt x="1021839" y="0"/>
                </a:cubicBezTo>
                <a:cubicBezTo>
                  <a:pt x="1021269" y="760"/>
                  <a:pt x="1020699" y="1709"/>
                  <a:pt x="1020319" y="2468"/>
                </a:cubicBezTo>
                <a:cubicBezTo>
                  <a:pt x="1014813" y="11392"/>
                  <a:pt x="1009118" y="20125"/>
                  <a:pt x="1003232" y="28669"/>
                </a:cubicBezTo>
                <a:cubicBezTo>
                  <a:pt x="961082" y="62275"/>
                  <a:pt x="914566" y="105184"/>
                  <a:pt x="854000" y="134802"/>
                </a:cubicBezTo>
                <a:cubicBezTo>
                  <a:pt x="816787" y="153219"/>
                  <a:pt x="774258" y="166509"/>
                  <a:pt x="724324" y="169737"/>
                </a:cubicBezTo>
                <a:cubicBezTo>
                  <a:pt x="765904" y="167459"/>
                  <a:pt x="802547" y="157966"/>
                  <a:pt x="835584" y="144485"/>
                </a:cubicBezTo>
                <a:cubicBezTo>
                  <a:pt x="837862" y="202583"/>
                  <a:pt x="813939" y="268655"/>
                  <a:pt x="789827" y="299982"/>
                </a:cubicBezTo>
                <a:cubicBezTo>
                  <a:pt x="790776" y="299603"/>
                  <a:pt x="791915" y="299603"/>
                  <a:pt x="792865" y="299413"/>
                </a:cubicBezTo>
                <a:cubicBezTo>
                  <a:pt x="792675" y="303970"/>
                  <a:pt x="792675" y="308716"/>
                  <a:pt x="792865" y="313463"/>
                </a:cubicBezTo>
                <a:cubicBezTo>
                  <a:pt x="797042" y="365105"/>
                  <a:pt x="806535" y="417317"/>
                  <a:pt x="814129" y="468580"/>
                </a:cubicBezTo>
                <a:cubicBezTo>
                  <a:pt x="829888" y="576612"/>
                  <a:pt x="857418" y="844697"/>
                  <a:pt x="877353" y="924629"/>
                </a:cubicBezTo>
                <a:cubicBezTo>
                  <a:pt x="835773" y="979120"/>
                  <a:pt x="764955" y="998106"/>
                  <a:pt x="701161" y="1056963"/>
                </a:cubicBezTo>
                <a:cubicBezTo>
                  <a:pt x="660151" y="1003612"/>
                  <a:pt x="617812" y="967158"/>
                  <a:pt x="600534" y="921591"/>
                </a:cubicBezTo>
                <a:cubicBezTo>
                  <a:pt x="613824" y="767423"/>
                  <a:pt x="631861" y="674580"/>
                  <a:pt x="653316" y="521552"/>
                </a:cubicBezTo>
                <a:cubicBezTo>
                  <a:pt x="663189" y="449784"/>
                  <a:pt x="677238" y="378396"/>
                  <a:pt x="686921" y="306817"/>
                </a:cubicBezTo>
                <a:cubicBezTo>
                  <a:pt x="688061" y="298463"/>
                  <a:pt x="688441" y="290300"/>
                  <a:pt x="688061" y="282515"/>
                </a:cubicBezTo>
                <a:cubicBezTo>
                  <a:pt x="663758" y="249099"/>
                  <a:pt x="645722" y="197457"/>
                  <a:pt x="645342" y="166129"/>
                </a:cubicBezTo>
                <a:cubicBezTo>
                  <a:pt x="630532" y="164041"/>
                  <a:pt x="615153" y="161193"/>
                  <a:pt x="599015" y="157206"/>
                </a:cubicBezTo>
                <a:cubicBezTo>
                  <a:pt x="582877" y="150561"/>
                  <a:pt x="567308" y="142966"/>
                  <a:pt x="551360" y="136701"/>
                </a:cubicBezTo>
                <a:cubicBezTo>
                  <a:pt x="527817" y="127208"/>
                  <a:pt x="505223" y="116386"/>
                  <a:pt x="483769" y="103855"/>
                </a:cubicBezTo>
                <a:cubicBezTo>
                  <a:pt x="479592" y="101197"/>
                  <a:pt x="467061" y="92083"/>
                  <a:pt x="452252" y="80691"/>
                </a:cubicBezTo>
                <a:cubicBezTo>
                  <a:pt x="338904" y="108981"/>
                  <a:pt x="164800" y="254795"/>
                  <a:pt x="121132" y="450733"/>
                </a:cubicBezTo>
                <a:cubicBezTo>
                  <a:pt x="90185" y="590851"/>
                  <a:pt x="17467" y="729071"/>
                  <a:pt x="0" y="939059"/>
                </a:cubicBezTo>
                <a:lnTo>
                  <a:pt x="138789" y="1224042"/>
                </a:lnTo>
                <a:lnTo>
                  <a:pt x="141447" y="1224042"/>
                </a:lnTo>
                <a:lnTo>
                  <a:pt x="559714" y="1214169"/>
                </a:lnTo>
                <a:cubicBezTo>
                  <a:pt x="605091" y="1197271"/>
                  <a:pt x="649139" y="1208093"/>
                  <a:pt x="697934" y="1219485"/>
                </a:cubicBezTo>
                <a:cubicBezTo>
                  <a:pt x="762866" y="1234484"/>
                  <a:pt x="831786" y="1239421"/>
                  <a:pt x="898238" y="1244927"/>
                </a:cubicBezTo>
                <a:cubicBezTo>
                  <a:pt x="1008548" y="1254040"/>
                  <a:pt x="1115631" y="1287456"/>
                  <a:pt x="1224801" y="1303974"/>
                </a:cubicBezTo>
                <a:cubicBezTo>
                  <a:pt x="1232016" y="1305113"/>
                  <a:pt x="1239421" y="1306252"/>
                  <a:pt x="1246635" y="1307391"/>
                </a:cubicBezTo>
                <a:cubicBezTo>
                  <a:pt x="1269419" y="1310999"/>
                  <a:pt x="1291823" y="1314606"/>
                  <a:pt x="1314226" y="1318214"/>
                </a:cubicBezTo>
                <a:lnTo>
                  <a:pt x="1314796" y="1318214"/>
                </a:lnTo>
                <a:cubicBezTo>
                  <a:pt x="1422828" y="1335301"/>
                  <a:pt x="1528011" y="1350110"/>
                  <a:pt x="1644396" y="1343085"/>
                </a:cubicBezTo>
                <a:cubicBezTo>
                  <a:pt x="1694900" y="1340048"/>
                  <a:pt x="1729455" y="1329605"/>
                  <a:pt x="1751479" y="1310809"/>
                </a:cubicBezTo>
                <a:cubicBezTo>
                  <a:pt x="1755846" y="1307202"/>
                  <a:pt x="1759643" y="1303214"/>
                  <a:pt x="1763060" y="1299037"/>
                </a:cubicBezTo>
                <a:cubicBezTo>
                  <a:pt x="1784705" y="1271887"/>
                  <a:pt x="1788122" y="1231826"/>
                  <a:pt x="1780338" y="1177715"/>
                </a:cubicBezTo>
                <a:close/>
                <a:moveTo>
                  <a:pt x="461175" y="1070823"/>
                </a:moveTo>
                <a:cubicBezTo>
                  <a:pt x="448645" y="1073101"/>
                  <a:pt x="435923" y="1075380"/>
                  <a:pt x="422633" y="1077468"/>
                </a:cubicBezTo>
                <a:cubicBezTo>
                  <a:pt x="403267" y="1080126"/>
                  <a:pt x="338145" y="1086772"/>
                  <a:pt x="279477" y="1097024"/>
                </a:cubicBezTo>
                <a:cubicBezTo>
                  <a:pt x="300932" y="1037597"/>
                  <a:pt x="355992" y="886467"/>
                  <a:pt x="379914" y="841090"/>
                </a:cubicBezTo>
                <a:cubicBezTo>
                  <a:pt x="391306" y="855519"/>
                  <a:pt x="448645" y="1004561"/>
                  <a:pt x="471048" y="1069114"/>
                </a:cubicBezTo>
                <a:cubicBezTo>
                  <a:pt x="467820" y="1069684"/>
                  <a:pt x="464403" y="1070254"/>
                  <a:pt x="461175" y="1070823"/>
                </a:cubicBezTo>
                <a:close/>
              </a:path>
            </a:pathLst>
          </a:custGeom>
          <a:solidFill>
            <a:srgbClr val="D5DAE4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lvl="0" rtl="0"/>
            <a:endParaRPr lang="da-DK"/>
          </a:p>
        </p:txBody>
      </p:sp>
      <p:grpSp>
        <p:nvGrpSpPr>
          <p:cNvPr id="1298" name="Group 1297">
            <a:extLst>
              <a:ext uri="{FF2B5EF4-FFF2-40B4-BE49-F238E27FC236}">
                <a16:creationId xmlns:a16="http://schemas.microsoft.com/office/drawing/2014/main" id="{FDE75F0F-F485-EA9B-EC84-768BD06B9D91}"/>
              </a:ext>
            </a:extLst>
          </p:cNvPr>
          <p:cNvGrpSpPr/>
          <p:nvPr userDrawn="1"/>
        </p:nvGrpSpPr>
        <p:grpSpPr>
          <a:xfrm>
            <a:off x="11345002" y="5219505"/>
            <a:ext cx="418764" cy="525918"/>
            <a:chOff x="11345002" y="5219505"/>
            <a:chExt cx="418764" cy="525918"/>
          </a:xfrm>
          <a:solidFill>
            <a:schemeClr val="accent1"/>
          </a:solidFill>
        </p:grpSpPr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1D537D37-202F-D4D7-B937-886440E9BCD2}"/>
                </a:ext>
              </a:extLst>
            </p:cNvPr>
            <p:cNvSpPr/>
            <p:nvPr/>
          </p:nvSpPr>
          <p:spPr>
            <a:xfrm>
              <a:off x="11351804" y="5219505"/>
              <a:ext cx="411962" cy="512248"/>
            </a:xfrm>
            <a:custGeom>
              <a:avLst/>
              <a:gdLst>
                <a:gd name="connsiteX0" fmla="*/ 5838 w 411962"/>
                <a:gd name="connsiteY0" fmla="*/ 512058 h 512248"/>
                <a:gd name="connsiteX1" fmla="*/ 521 w 411962"/>
                <a:gd name="connsiteY1" fmla="*/ 508831 h 512248"/>
                <a:gd name="connsiteX2" fmla="*/ 3180 w 411962"/>
                <a:gd name="connsiteY2" fmla="*/ 501046 h 512248"/>
                <a:gd name="connsiteX3" fmla="*/ 274303 w 411962"/>
                <a:gd name="connsiteY3" fmla="*/ 307007 h 512248"/>
                <a:gd name="connsiteX4" fmla="*/ 400371 w 411962"/>
                <a:gd name="connsiteY4" fmla="*/ 5696 h 512248"/>
                <a:gd name="connsiteX5" fmla="*/ 406257 w 411962"/>
                <a:gd name="connsiteY5" fmla="*/ 0 h 512248"/>
                <a:gd name="connsiteX6" fmla="*/ 411953 w 411962"/>
                <a:gd name="connsiteY6" fmla="*/ 5886 h 512248"/>
                <a:gd name="connsiteX7" fmla="*/ 283037 w 411962"/>
                <a:gd name="connsiteY7" fmla="*/ 314792 h 512248"/>
                <a:gd name="connsiteX8" fmla="*/ 8306 w 411962"/>
                <a:gd name="connsiteY8" fmla="*/ 511679 h 512248"/>
                <a:gd name="connsiteX9" fmla="*/ 5838 w 411962"/>
                <a:gd name="connsiteY9" fmla="*/ 512248 h 512248"/>
                <a:gd name="connsiteX10" fmla="*/ 5838 w 411962"/>
                <a:gd name="connsiteY10" fmla="*/ 512248 h 51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1962" h="512248">
                  <a:moveTo>
                    <a:pt x="5838" y="512058"/>
                  </a:moveTo>
                  <a:cubicBezTo>
                    <a:pt x="3749" y="512058"/>
                    <a:pt x="1661" y="510729"/>
                    <a:pt x="521" y="508831"/>
                  </a:cubicBezTo>
                  <a:cubicBezTo>
                    <a:pt x="-808" y="505983"/>
                    <a:pt x="521" y="502375"/>
                    <a:pt x="3180" y="501046"/>
                  </a:cubicBezTo>
                  <a:cubicBezTo>
                    <a:pt x="119755" y="444847"/>
                    <a:pt x="208421" y="381243"/>
                    <a:pt x="274303" y="307007"/>
                  </a:cubicBezTo>
                  <a:cubicBezTo>
                    <a:pt x="354235" y="216823"/>
                    <a:pt x="398853" y="109930"/>
                    <a:pt x="400371" y="5696"/>
                  </a:cubicBezTo>
                  <a:cubicBezTo>
                    <a:pt x="400371" y="2468"/>
                    <a:pt x="403030" y="190"/>
                    <a:pt x="406257" y="0"/>
                  </a:cubicBezTo>
                  <a:cubicBezTo>
                    <a:pt x="409485" y="0"/>
                    <a:pt x="412143" y="2658"/>
                    <a:pt x="411953" y="5886"/>
                  </a:cubicBezTo>
                  <a:cubicBezTo>
                    <a:pt x="410624" y="112778"/>
                    <a:pt x="364867" y="222519"/>
                    <a:pt x="283037" y="314792"/>
                  </a:cubicBezTo>
                  <a:cubicBezTo>
                    <a:pt x="216205" y="390357"/>
                    <a:pt x="126400" y="454720"/>
                    <a:pt x="8306" y="511679"/>
                  </a:cubicBezTo>
                  <a:cubicBezTo>
                    <a:pt x="7546" y="512058"/>
                    <a:pt x="6597" y="512248"/>
                    <a:pt x="5838" y="512248"/>
                  </a:cubicBezTo>
                  <a:lnTo>
                    <a:pt x="5838" y="512248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FC60675D-62F5-8634-0ECB-B1A9F33A6877}"/>
                </a:ext>
              </a:extLst>
            </p:cNvPr>
            <p:cNvSpPr/>
            <p:nvPr/>
          </p:nvSpPr>
          <p:spPr>
            <a:xfrm>
              <a:off x="11345002" y="5629693"/>
              <a:ext cx="124351" cy="115730"/>
            </a:xfrm>
            <a:custGeom>
              <a:avLst/>
              <a:gdLst>
                <a:gd name="connsiteX0" fmla="*/ 98647 w 124351"/>
                <a:gd name="connsiteY0" fmla="*/ 115540 h 115730"/>
                <a:gd name="connsiteX1" fmla="*/ 60104 w 124351"/>
                <a:gd name="connsiteY1" fmla="*/ 109654 h 115730"/>
                <a:gd name="connsiteX2" fmla="*/ 37891 w 124351"/>
                <a:gd name="connsiteY2" fmla="*/ 105288 h 115730"/>
                <a:gd name="connsiteX3" fmla="*/ 5614 w 124351"/>
                <a:gd name="connsiteY3" fmla="*/ 103389 h 115730"/>
                <a:gd name="connsiteX4" fmla="*/ 298 w 124351"/>
                <a:gd name="connsiteY4" fmla="*/ 99592 h 115730"/>
                <a:gd name="connsiteX5" fmla="*/ 1817 w 124351"/>
                <a:gd name="connsiteY5" fmla="*/ 93136 h 115730"/>
                <a:gd name="connsiteX6" fmla="*/ 64281 w 124351"/>
                <a:gd name="connsiteY6" fmla="*/ 3711 h 115730"/>
                <a:gd name="connsiteX7" fmla="*/ 71876 w 124351"/>
                <a:gd name="connsiteY7" fmla="*/ 484 h 115730"/>
                <a:gd name="connsiteX8" fmla="*/ 75104 w 124351"/>
                <a:gd name="connsiteY8" fmla="*/ 8078 h 115730"/>
                <a:gd name="connsiteX9" fmla="*/ 20044 w 124351"/>
                <a:gd name="connsiteY9" fmla="*/ 92377 h 115730"/>
                <a:gd name="connsiteX10" fmla="*/ 39600 w 124351"/>
                <a:gd name="connsiteY10" fmla="*/ 94086 h 115730"/>
                <a:gd name="connsiteX11" fmla="*/ 62763 w 124351"/>
                <a:gd name="connsiteY11" fmla="*/ 98643 h 115730"/>
                <a:gd name="connsiteX12" fmla="*/ 116684 w 124351"/>
                <a:gd name="connsiteY12" fmla="*/ 101490 h 115730"/>
                <a:gd name="connsiteX13" fmla="*/ 124088 w 124351"/>
                <a:gd name="connsiteY13" fmla="*/ 105098 h 115730"/>
                <a:gd name="connsiteX14" fmla="*/ 120481 w 124351"/>
                <a:gd name="connsiteY14" fmla="*/ 112502 h 115730"/>
                <a:gd name="connsiteX15" fmla="*/ 98837 w 124351"/>
                <a:gd name="connsiteY15" fmla="*/ 115730 h 115730"/>
                <a:gd name="connsiteX16" fmla="*/ 98837 w 124351"/>
                <a:gd name="connsiteY16" fmla="*/ 115730 h 11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351" h="115730">
                  <a:moveTo>
                    <a:pt x="98647" y="115540"/>
                  </a:moveTo>
                  <a:cubicBezTo>
                    <a:pt x="85736" y="115540"/>
                    <a:pt x="72826" y="112502"/>
                    <a:pt x="60104" y="109654"/>
                  </a:cubicBezTo>
                  <a:cubicBezTo>
                    <a:pt x="52700" y="107946"/>
                    <a:pt x="45105" y="106237"/>
                    <a:pt x="37891" y="105288"/>
                  </a:cubicBezTo>
                  <a:cubicBezTo>
                    <a:pt x="27448" y="103769"/>
                    <a:pt x="16246" y="103579"/>
                    <a:pt x="5614" y="103389"/>
                  </a:cubicBezTo>
                  <a:cubicBezTo>
                    <a:pt x="3146" y="103389"/>
                    <a:pt x="1058" y="101870"/>
                    <a:pt x="298" y="99592"/>
                  </a:cubicBezTo>
                  <a:cubicBezTo>
                    <a:pt x="-462" y="97313"/>
                    <a:pt x="298" y="94845"/>
                    <a:pt x="1817" y="93136"/>
                  </a:cubicBezTo>
                  <a:cubicBezTo>
                    <a:pt x="29347" y="68834"/>
                    <a:pt x="50991" y="37886"/>
                    <a:pt x="64281" y="3711"/>
                  </a:cubicBezTo>
                  <a:cubicBezTo>
                    <a:pt x="65421" y="674"/>
                    <a:pt x="68838" y="-845"/>
                    <a:pt x="71876" y="484"/>
                  </a:cubicBezTo>
                  <a:cubicBezTo>
                    <a:pt x="74914" y="1623"/>
                    <a:pt x="76433" y="5040"/>
                    <a:pt x="75104" y="8078"/>
                  </a:cubicBezTo>
                  <a:cubicBezTo>
                    <a:pt x="62952" y="39595"/>
                    <a:pt x="43966" y="68644"/>
                    <a:pt x="20044" y="92377"/>
                  </a:cubicBezTo>
                  <a:cubicBezTo>
                    <a:pt x="26499" y="92567"/>
                    <a:pt x="32954" y="93136"/>
                    <a:pt x="39600" y="94086"/>
                  </a:cubicBezTo>
                  <a:cubicBezTo>
                    <a:pt x="47384" y="95225"/>
                    <a:pt x="55168" y="96934"/>
                    <a:pt x="62763" y="98643"/>
                  </a:cubicBezTo>
                  <a:cubicBezTo>
                    <a:pt x="81749" y="102820"/>
                    <a:pt x="99786" y="106996"/>
                    <a:pt x="116684" y="101490"/>
                  </a:cubicBezTo>
                  <a:cubicBezTo>
                    <a:pt x="119722" y="100541"/>
                    <a:pt x="123139" y="102250"/>
                    <a:pt x="124088" y="105098"/>
                  </a:cubicBezTo>
                  <a:cubicBezTo>
                    <a:pt x="125038" y="108136"/>
                    <a:pt x="123329" y="111553"/>
                    <a:pt x="120481" y="112502"/>
                  </a:cubicBezTo>
                  <a:cubicBezTo>
                    <a:pt x="113456" y="114971"/>
                    <a:pt x="106051" y="115730"/>
                    <a:pt x="98837" y="115730"/>
                  </a:cubicBezTo>
                  <a:lnTo>
                    <a:pt x="98837" y="11573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da-DK"/>
            </a:p>
          </p:txBody>
        </p:sp>
      </p:grpSp>
      <p:sp>
        <p:nvSpPr>
          <p:cNvPr id="1324" name="Freeform: Shape 1323">
            <a:extLst>
              <a:ext uri="{FF2B5EF4-FFF2-40B4-BE49-F238E27FC236}">
                <a16:creationId xmlns:a16="http://schemas.microsoft.com/office/drawing/2014/main" id="{4CCA14D8-F4C4-D0E1-9BA3-165A62D240D9}"/>
              </a:ext>
            </a:extLst>
          </p:cNvPr>
          <p:cNvSpPr/>
          <p:nvPr userDrawn="1"/>
        </p:nvSpPr>
        <p:spPr>
          <a:xfrm>
            <a:off x="8691406" y="6139007"/>
            <a:ext cx="416367" cy="18796"/>
          </a:xfrm>
          <a:custGeom>
            <a:avLst/>
            <a:gdLst>
              <a:gd name="connsiteX0" fmla="*/ 416368 w 416367"/>
              <a:gd name="connsiteY0" fmla="*/ 0 h 18796"/>
              <a:gd name="connsiteX1" fmla="*/ 406115 w 416367"/>
              <a:gd name="connsiteY1" fmla="*/ 5886 h 18796"/>
              <a:gd name="connsiteX2" fmla="*/ 15758 w 416367"/>
              <a:gd name="connsiteY2" fmla="*/ 15189 h 18796"/>
              <a:gd name="connsiteX3" fmla="*/ 11392 w 416367"/>
              <a:gd name="connsiteY3" fmla="*/ 15189 h 18796"/>
              <a:gd name="connsiteX4" fmla="*/ 11202 w 416367"/>
              <a:gd name="connsiteY4" fmla="*/ 18796 h 18796"/>
              <a:gd name="connsiteX5" fmla="*/ 9493 w 416367"/>
              <a:gd name="connsiteY5" fmla="*/ 15189 h 18796"/>
              <a:gd name="connsiteX6" fmla="*/ 2848 w 416367"/>
              <a:gd name="connsiteY6" fmla="*/ 15189 h 18796"/>
              <a:gd name="connsiteX7" fmla="*/ 0 w 416367"/>
              <a:gd name="connsiteY7" fmla="*/ 9683 h 18796"/>
              <a:gd name="connsiteX8" fmla="*/ 6645 w 416367"/>
              <a:gd name="connsiteY8" fmla="*/ 9683 h 18796"/>
              <a:gd name="connsiteX9" fmla="*/ 11961 w 416367"/>
              <a:gd name="connsiteY9" fmla="*/ 9303 h 18796"/>
              <a:gd name="connsiteX10" fmla="*/ 12910 w 416367"/>
              <a:gd name="connsiteY10" fmla="*/ 9303 h 18796"/>
              <a:gd name="connsiteX11" fmla="*/ 416368 w 416367"/>
              <a:gd name="connsiteY11" fmla="*/ 0 h 18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6367" h="18796">
                <a:moveTo>
                  <a:pt x="416368" y="0"/>
                </a:moveTo>
                <a:cubicBezTo>
                  <a:pt x="412950" y="1709"/>
                  <a:pt x="409533" y="3607"/>
                  <a:pt x="406115" y="5886"/>
                </a:cubicBezTo>
                <a:lnTo>
                  <a:pt x="15758" y="15189"/>
                </a:lnTo>
                <a:lnTo>
                  <a:pt x="11392" y="15189"/>
                </a:lnTo>
                <a:cubicBezTo>
                  <a:pt x="11392" y="16328"/>
                  <a:pt x="11202" y="17657"/>
                  <a:pt x="11202" y="18796"/>
                </a:cubicBezTo>
                <a:lnTo>
                  <a:pt x="9493" y="15189"/>
                </a:lnTo>
                <a:lnTo>
                  <a:pt x="2848" y="15189"/>
                </a:lnTo>
                <a:cubicBezTo>
                  <a:pt x="2848" y="15189"/>
                  <a:pt x="0" y="9683"/>
                  <a:pt x="0" y="9683"/>
                </a:cubicBezTo>
                <a:lnTo>
                  <a:pt x="6645" y="9683"/>
                </a:lnTo>
                <a:cubicBezTo>
                  <a:pt x="6645" y="9683"/>
                  <a:pt x="11961" y="9303"/>
                  <a:pt x="11961" y="9303"/>
                </a:cubicBezTo>
                <a:lnTo>
                  <a:pt x="12910" y="9303"/>
                </a:lnTo>
                <a:lnTo>
                  <a:pt x="416368" y="0"/>
                </a:ln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27" name="Freeform: Shape 1326">
            <a:extLst>
              <a:ext uri="{FF2B5EF4-FFF2-40B4-BE49-F238E27FC236}">
                <a16:creationId xmlns:a16="http://schemas.microsoft.com/office/drawing/2014/main" id="{B1179F9C-5C36-DAB9-7CE1-9F89971E551C}"/>
              </a:ext>
            </a:extLst>
          </p:cNvPr>
          <p:cNvSpPr/>
          <p:nvPr userDrawn="1"/>
        </p:nvSpPr>
        <p:spPr>
          <a:xfrm>
            <a:off x="10314159" y="6193118"/>
            <a:ext cx="1256887" cy="36263"/>
          </a:xfrm>
          <a:custGeom>
            <a:avLst/>
            <a:gdLst>
              <a:gd name="connsiteX0" fmla="*/ 1256888 w 1256887"/>
              <a:gd name="connsiteY0" fmla="*/ 5696 h 36263"/>
              <a:gd name="connsiteX1" fmla="*/ 1251192 w 1256887"/>
              <a:gd name="connsiteY1" fmla="*/ 11771 h 36263"/>
              <a:gd name="connsiteX2" fmla="*/ 0 w 1256887"/>
              <a:gd name="connsiteY2" fmla="*/ 36264 h 36263"/>
              <a:gd name="connsiteX3" fmla="*/ 11581 w 1256887"/>
              <a:gd name="connsiteY3" fmla="*/ 24492 h 36263"/>
              <a:gd name="connsiteX4" fmla="*/ 1251002 w 1256887"/>
              <a:gd name="connsiteY4" fmla="*/ 0 h 36263"/>
              <a:gd name="connsiteX5" fmla="*/ 1256888 w 1256887"/>
              <a:gd name="connsiteY5" fmla="*/ 5696 h 36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6887" h="36263">
                <a:moveTo>
                  <a:pt x="1256888" y="5696"/>
                </a:moveTo>
                <a:cubicBezTo>
                  <a:pt x="1256888" y="8924"/>
                  <a:pt x="1254420" y="11582"/>
                  <a:pt x="1251192" y="11771"/>
                </a:cubicBezTo>
                <a:cubicBezTo>
                  <a:pt x="835394" y="21075"/>
                  <a:pt x="418076" y="29239"/>
                  <a:pt x="0" y="36264"/>
                </a:cubicBezTo>
                <a:cubicBezTo>
                  <a:pt x="4367" y="32656"/>
                  <a:pt x="8164" y="28669"/>
                  <a:pt x="11581" y="24492"/>
                </a:cubicBezTo>
                <a:cubicBezTo>
                  <a:pt x="425671" y="17278"/>
                  <a:pt x="839191" y="9113"/>
                  <a:pt x="1251002" y="0"/>
                </a:cubicBezTo>
                <a:cubicBezTo>
                  <a:pt x="1254230" y="0"/>
                  <a:pt x="1256698" y="2468"/>
                  <a:pt x="1256888" y="5696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29" name="Freeform: Shape 1328">
            <a:extLst>
              <a:ext uri="{FF2B5EF4-FFF2-40B4-BE49-F238E27FC236}">
                <a16:creationId xmlns:a16="http://schemas.microsoft.com/office/drawing/2014/main" id="{8DAC6A9C-B850-0B33-6759-6D4E2DDFA098}"/>
              </a:ext>
            </a:extLst>
          </p:cNvPr>
          <p:cNvSpPr/>
          <p:nvPr userDrawn="1"/>
        </p:nvSpPr>
        <p:spPr>
          <a:xfrm>
            <a:off x="10412128" y="5251117"/>
            <a:ext cx="382202" cy="19650"/>
          </a:xfrm>
          <a:custGeom>
            <a:avLst/>
            <a:gdLst>
              <a:gd name="connsiteX0" fmla="*/ 5886 w 382202"/>
              <a:gd name="connsiteY0" fmla="*/ 19461 h 19650"/>
              <a:gd name="connsiteX1" fmla="*/ 0 w 382202"/>
              <a:gd name="connsiteY1" fmla="*/ 14145 h 19650"/>
              <a:gd name="connsiteX2" fmla="*/ 5316 w 382202"/>
              <a:gd name="connsiteY2" fmla="*/ 8069 h 19650"/>
              <a:gd name="connsiteX3" fmla="*/ 376497 w 382202"/>
              <a:gd name="connsiteY3" fmla="*/ 1424 h 19650"/>
              <a:gd name="connsiteX4" fmla="*/ 382193 w 382202"/>
              <a:gd name="connsiteY4" fmla="*/ 7310 h 19650"/>
              <a:gd name="connsiteX5" fmla="*/ 376307 w 382202"/>
              <a:gd name="connsiteY5" fmla="*/ 13005 h 19650"/>
              <a:gd name="connsiteX6" fmla="*/ 6076 w 382202"/>
              <a:gd name="connsiteY6" fmla="*/ 19651 h 19650"/>
              <a:gd name="connsiteX7" fmla="*/ 5696 w 382202"/>
              <a:gd name="connsiteY7" fmla="*/ 19651 h 19650"/>
              <a:gd name="connsiteX8" fmla="*/ 5696 w 382202"/>
              <a:gd name="connsiteY8" fmla="*/ 19651 h 1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202" h="19650">
                <a:moveTo>
                  <a:pt x="5886" y="19461"/>
                </a:moveTo>
                <a:cubicBezTo>
                  <a:pt x="2848" y="19461"/>
                  <a:pt x="189" y="16993"/>
                  <a:pt x="0" y="14145"/>
                </a:cubicBezTo>
                <a:cubicBezTo>
                  <a:pt x="0" y="10917"/>
                  <a:pt x="2278" y="8259"/>
                  <a:pt x="5316" y="8069"/>
                </a:cubicBezTo>
                <a:cubicBezTo>
                  <a:pt x="128346" y="475"/>
                  <a:pt x="253466" y="-1804"/>
                  <a:pt x="376497" y="1424"/>
                </a:cubicBezTo>
                <a:cubicBezTo>
                  <a:pt x="379724" y="1424"/>
                  <a:pt x="382382" y="4082"/>
                  <a:pt x="382193" y="7310"/>
                </a:cubicBezTo>
                <a:cubicBezTo>
                  <a:pt x="382193" y="10537"/>
                  <a:pt x="379534" y="13005"/>
                  <a:pt x="376307" y="13005"/>
                </a:cubicBezTo>
                <a:cubicBezTo>
                  <a:pt x="253466" y="9968"/>
                  <a:pt x="128727" y="12246"/>
                  <a:pt x="6076" y="19651"/>
                </a:cubicBezTo>
                <a:lnTo>
                  <a:pt x="5696" y="19651"/>
                </a:lnTo>
                <a:lnTo>
                  <a:pt x="5696" y="1965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30" name="Freeform: Shape 1329">
            <a:extLst>
              <a:ext uri="{FF2B5EF4-FFF2-40B4-BE49-F238E27FC236}">
                <a16:creationId xmlns:a16="http://schemas.microsoft.com/office/drawing/2014/main" id="{F5C1C23A-0A7A-488D-D4F1-781EA25B3254}"/>
              </a:ext>
            </a:extLst>
          </p:cNvPr>
          <p:cNvSpPr/>
          <p:nvPr userDrawn="1"/>
        </p:nvSpPr>
        <p:spPr>
          <a:xfrm>
            <a:off x="10460163" y="5367218"/>
            <a:ext cx="276059" cy="16707"/>
          </a:xfrm>
          <a:custGeom>
            <a:avLst/>
            <a:gdLst>
              <a:gd name="connsiteX0" fmla="*/ 5886 w 276059"/>
              <a:gd name="connsiteY0" fmla="*/ 16708 h 16707"/>
              <a:gd name="connsiteX1" fmla="*/ 0 w 276059"/>
              <a:gd name="connsiteY1" fmla="*/ 11012 h 16707"/>
              <a:gd name="connsiteX2" fmla="*/ 5696 w 276059"/>
              <a:gd name="connsiteY2" fmla="*/ 5126 h 16707"/>
              <a:gd name="connsiteX3" fmla="*/ 270174 w 276059"/>
              <a:gd name="connsiteY3" fmla="*/ 0 h 16707"/>
              <a:gd name="connsiteX4" fmla="*/ 276060 w 276059"/>
              <a:gd name="connsiteY4" fmla="*/ 5696 h 16707"/>
              <a:gd name="connsiteX5" fmla="*/ 270364 w 276059"/>
              <a:gd name="connsiteY5" fmla="*/ 11582 h 16707"/>
              <a:gd name="connsiteX6" fmla="*/ 5886 w 276059"/>
              <a:gd name="connsiteY6" fmla="*/ 16708 h 16707"/>
              <a:gd name="connsiteX7" fmla="*/ 5886 w 276059"/>
              <a:gd name="connsiteY7" fmla="*/ 16708 h 1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6059" h="16707">
                <a:moveTo>
                  <a:pt x="5886" y="16708"/>
                </a:moveTo>
                <a:cubicBezTo>
                  <a:pt x="2848" y="16708"/>
                  <a:pt x="189" y="14240"/>
                  <a:pt x="0" y="11012"/>
                </a:cubicBezTo>
                <a:cubicBezTo>
                  <a:pt x="0" y="7784"/>
                  <a:pt x="2468" y="5126"/>
                  <a:pt x="5696" y="5126"/>
                </a:cubicBezTo>
                <a:lnTo>
                  <a:pt x="270174" y="0"/>
                </a:lnTo>
                <a:cubicBezTo>
                  <a:pt x="273211" y="0"/>
                  <a:pt x="276060" y="2468"/>
                  <a:pt x="276060" y="5696"/>
                </a:cubicBezTo>
                <a:cubicBezTo>
                  <a:pt x="276060" y="8924"/>
                  <a:pt x="273592" y="11582"/>
                  <a:pt x="270364" y="11582"/>
                </a:cubicBezTo>
                <a:lnTo>
                  <a:pt x="5886" y="16708"/>
                </a:lnTo>
                <a:lnTo>
                  <a:pt x="5886" y="1670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31" name="Freeform: Shape 1330">
            <a:extLst>
              <a:ext uri="{FF2B5EF4-FFF2-40B4-BE49-F238E27FC236}">
                <a16:creationId xmlns:a16="http://schemas.microsoft.com/office/drawing/2014/main" id="{A839AC0E-E7B8-80D3-7854-69DB41A88DC1}"/>
              </a:ext>
            </a:extLst>
          </p:cNvPr>
          <p:cNvSpPr/>
          <p:nvPr userDrawn="1"/>
        </p:nvSpPr>
        <p:spPr>
          <a:xfrm>
            <a:off x="10597433" y="5856483"/>
            <a:ext cx="147712" cy="17476"/>
          </a:xfrm>
          <a:custGeom>
            <a:avLst/>
            <a:gdLst>
              <a:gd name="connsiteX0" fmla="*/ 5886 w 147712"/>
              <a:gd name="connsiteY0" fmla="*/ 17477 h 17476"/>
              <a:gd name="connsiteX1" fmla="*/ 0 w 147712"/>
              <a:gd name="connsiteY1" fmla="*/ 11971 h 17476"/>
              <a:gd name="connsiteX2" fmla="*/ 5506 w 147712"/>
              <a:gd name="connsiteY2" fmla="*/ 5895 h 17476"/>
              <a:gd name="connsiteX3" fmla="*/ 141638 w 147712"/>
              <a:gd name="connsiteY3" fmla="*/ 10 h 17476"/>
              <a:gd name="connsiteX4" fmla="*/ 147713 w 147712"/>
              <a:gd name="connsiteY4" fmla="*/ 5515 h 17476"/>
              <a:gd name="connsiteX5" fmla="*/ 142207 w 147712"/>
              <a:gd name="connsiteY5" fmla="*/ 11591 h 17476"/>
              <a:gd name="connsiteX6" fmla="*/ 6076 w 147712"/>
              <a:gd name="connsiteY6" fmla="*/ 17477 h 17476"/>
              <a:gd name="connsiteX7" fmla="*/ 5886 w 147712"/>
              <a:gd name="connsiteY7" fmla="*/ 17477 h 1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7712" h="17476">
                <a:moveTo>
                  <a:pt x="5886" y="17477"/>
                </a:moveTo>
                <a:cubicBezTo>
                  <a:pt x="2848" y="17477"/>
                  <a:pt x="190" y="15009"/>
                  <a:pt x="0" y="11971"/>
                </a:cubicBezTo>
                <a:cubicBezTo>
                  <a:pt x="0" y="8743"/>
                  <a:pt x="2468" y="6085"/>
                  <a:pt x="5506" y="5895"/>
                </a:cubicBezTo>
                <a:lnTo>
                  <a:pt x="141638" y="10"/>
                </a:lnTo>
                <a:cubicBezTo>
                  <a:pt x="144865" y="-180"/>
                  <a:pt x="147523" y="2478"/>
                  <a:pt x="147713" y="5515"/>
                </a:cubicBezTo>
                <a:cubicBezTo>
                  <a:pt x="147713" y="8743"/>
                  <a:pt x="145245" y="11401"/>
                  <a:pt x="142207" y="11591"/>
                </a:cubicBezTo>
                <a:lnTo>
                  <a:pt x="6076" y="17477"/>
                </a:lnTo>
                <a:lnTo>
                  <a:pt x="5886" y="17477"/>
                </a:lnTo>
                <a:close/>
              </a:path>
            </a:pathLst>
          </a:custGeom>
          <a:solidFill>
            <a:schemeClr val="accent1"/>
          </a:solidFill>
          <a:ln w="189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51" name="Freeform: Shape 1350">
            <a:extLst>
              <a:ext uri="{FF2B5EF4-FFF2-40B4-BE49-F238E27FC236}">
                <a16:creationId xmlns:a16="http://schemas.microsoft.com/office/drawing/2014/main" id="{0BD22637-0E3C-B7C2-7AB6-FD6CF2053ADE}"/>
              </a:ext>
            </a:extLst>
          </p:cNvPr>
          <p:cNvSpPr/>
          <p:nvPr userDrawn="1"/>
        </p:nvSpPr>
        <p:spPr>
          <a:xfrm>
            <a:off x="8702798" y="5575496"/>
            <a:ext cx="1288594" cy="578699"/>
          </a:xfrm>
          <a:custGeom>
            <a:avLst/>
            <a:gdLst>
              <a:gd name="connsiteX0" fmla="*/ 1118478 w 1288594"/>
              <a:gd name="connsiteY0" fmla="*/ 0 h 578699"/>
              <a:gd name="connsiteX1" fmla="*/ 1288595 w 1288594"/>
              <a:gd name="connsiteY1" fmla="*/ 400040 h 578699"/>
              <a:gd name="connsiteX2" fmla="*/ 576232 w 1288594"/>
              <a:gd name="connsiteY2" fmla="*/ 407444 h 578699"/>
              <a:gd name="connsiteX3" fmla="*/ 378016 w 1288594"/>
              <a:gd name="connsiteY3" fmla="*/ 407444 h 578699"/>
              <a:gd name="connsiteX4" fmla="*/ 330930 w 1288594"/>
              <a:gd name="connsiteY4" fmla="*/ 412191 h 578699"/>
              <a:gd name="connsiteX5" fmla="*/ 321057 w 1288594"/>
              <a:gd name="connsiteY5" fmla="*/ 413900 h 578699"/>
              <a:gd name="connsiteX6" fmla="*/ 282515 w 1288594"/>
              <a:gd name="connsiteY6" fmla="*/ 420545 h 578699"/>
              <a:gd name="connsiteX7" fmla="*/ 139359 w 1288594"/>
              <a:gd name="connsiteY7" fmla="*/ 440100 h 578699"/>
              <a:gd name="connsiteX8" fmla="*/ 112968 w 1288594"/>
              <a:gd name="connsiteY8" fmla="*/ 444847 h 578699"/>
              <a:gd name="connsiteX9" fmla="*/ 35884 w 1288594"/>
              <a:gd name="connsiteY9" fmla="*/ 471807 h 578699"/>
              <a:gd name="connsiteX10" fmla="*/ 1329 w 1288594"/>
              <a:gd name="connsiteY10" fmla="*/ 567118 h 578699"/>
              <a:gd name="connsiteX11" fmla="*/ 759 w 1288594"/>
              <a:gd name="connsiteY11" fmla="*/ 571295 h 578699"/>
              <a:gd name="connsiteX12" fmla="*/ 570 w 1288594"/>
              <a:gd name="connsiteY12" fmla="*/ 572814 h 578699"/>
              <a:gd name="connsiteX13" fmla="*/ 0 w 1288594"/>
              <a:gd name="connsiteY13" fmla="*/ 578700 h 57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88594" h="578699">
                <a:moveTo>
                  <a:pt x="1118478" y="0"/>
                </a:moveTo>
                <a:cubicBezTo>
                  <a:pt x="1175437" y="118474"/>
                  <a:pt x="1216257" y="216823"/>
                  <a:pt x="1288595" y="400040"/>
                </a:cubicBezTo>
                <a:cubicBezTo>
                  <a:pt x="1097213" y="404786"/>
                  <a:pt x="767233" y="408014"/>
                  <a:pt x="576232" y="407444"/>
                </a:cubicBezTo>
                <a:cubicBezTo>
                  <a:pt x="510160" y="407444"/>
                  <a:pt x="443898" y="406115"/>
                  <a:pt x="378016" y="407444"/>
                </a:cubicBezTo>
                <a:cubicBezTo>
                  <a:pt x="361308" y="407824"/>
                  <a:pt x="345929" y="409723"/>
                  <a:pt x="330930" y="412191"/>
                </a:cubicBezTo>
                <a:cubicBezTo>
                  <a:pt x="327702" y="412760"/>
                  <a:pt x="324284" y="413330"/>
                  <a:pt x="321057" y="413900"/>
                </a:cubicBezTo>
                <a:cubicBezTo>
                  <a:pt x="308526" y="416178"/>
                  <a:pt x="295805" y="418456"/>
                  <a:pt x="282515" y="420545"/>
                </a:cubicBezTo>
                <a:cubicBezTo>
                  <a:pt x="263149" y="423203"/>
                  <a:pt x="198026" y="429848"/>
                  <a:pt x="139359" y="440100"/>
                </a:cubicBezTo>
                <a:cubicBezTo>
                  <a:pt x="130245" y="441430"/>
                  <a:pt x="121512" y="443138"/>
                  <a:pt x="112968" y="444847"/>
                </a:cubicBezTo>
                <a:cubicBezTo>
                  <a:pt x="75375" y="452252"/>
                  <a:pt x="44238" y="461365"/>
                  <a:pt x="35884" y="471807"/>
                </a:cubicBezTo>
                <a:cubicBezTo>
                  <a:pt x="22783" y="488136"/>
                  <a:pt x="6455" y="528956"/>
                  <a:pt x="1329" y="567118"/>
                </a:cubicBezTo>
                <a:cubicBezTo>
                  <a:pt x="1139" y="568637"/>
                  <a:pt x="949" y="569966"/>
                  <a:pt x="759" y="571295"/>
                </a:cubicBezTo>
                <a:cubicBezTo>
                  <a:pt x="759" y="571865"/>
                  <a:pt x="570" y="572435"/>
                  <a:pt x="570" y="572814"/>
                </a:cubicBezTo>
                <a:cubicBezTo>
                  <a:pt x="380" y="574903"/>
                  <a:pt x="189" y="576801"/>
                  <a:pt x="0" y="578700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52" name="Freeform: Shape 1351">
            <a:extLst>
              <a:ext uri="{FF2B5EF4-FFF2-40B4-BE49-F238E27FC236}">
                <a16:creationId xmlns:a16="http://schemas.microsoft.com/office/drawing/2014/main" id="{D7E3FF5D-549B-0CC0-C722-853E169D56FC}"/>
              </a:ext>
            </a:extLst>
          </p:cNvPr>
          <p:cNvSpPr/>
          <p:nvPr userDrawn="1"/>
        </p:nvSpPr>
        <p:spPr>
          <a:xfrm>
            <a:off x="9107964" y="6132742"/>
            <a:ext cx="14429" cy="6075"/>
          </a:xfrm>
          <a:custGeom>
            <a:avLst/>
            <a:gdLst>
              <a:gd name="connsiteX0" fmla="*/ 14430 w 14429"/>
              <a:gd name="connsiteY0" fmla="*/ 0 h 6075"/>
              <a:gd name="connsiteX1" fmla="*/ 0 w 14429"/>
              <a:gd name="connsiteY1" fmla="*/ 6076 h 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429" h="6075">
                <a:moveTo>
                  <a:pt x="14430" y="0"/>
                </a:moveTo>
                <a:cubicBezTo>
                  <a:pt x="9683" y="1709"/>
                  <a:pt x="4747" y="3607"/>
                  <a:pt x="0" y="6076"/>
                </a:cubicBezTo>
              </a:path>
            </a:pathLst>
          </a:custGeom>
          <a:solidFill>
            <a:schemeClr val="accent1"/>
          </a:solidFill>
          <a:ln w="11770" cap="rnd">
            <a:solidFill>
              <a:srgbClr val="607046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sp>
        <p:nvSpPr>
          <p:cNvPr id="1353" name="Freeform: Shape 1352">
            <a:extLst>
              <a:ext uri="{FF2B5EF4-FFF2-40B4-BE49-F238E27FC236}">
                <a16:creationId xmlns:a16="http://schemas.microsoft.com/office/drawing/2014/main" id="{A42E8459-CC37-226F-A610-08895FAC0164}"/>
              </a:ext>
            </a:extLst>
          </p:cNvPr>
          <p:cNvSpPr/>
          <p:nvPr userDrawn="1"/>
        </p:nvSpPr>
        <p:spPr>
          <a:xfrm>
            <a:off x="8842157" y="5759663"/>
            <a:ext cx="191570" cy="255934"/>
          </a:xfrm>
          <a:custGeom>
            <a:avLst/>
            <a:gdLst>
              <a:gd name="connsiteX0" fmla="*/ 0 w 191570"/>
              <a:gd name="connsiteY0" fmla="*/ 255934 h 255934"/>
              <a:gd name="connsiteX1" fmla="*/ 100437 w 191570"/>
              <a:gd name="connsiteY1" fmla="*/ 0 h 255934"/>
              <a:gd name="connsiteX2" fmla="*/ 191571 w 191570"/>
              <a:gd name="connsiteY2" fmla="*/ 228024 h 255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1570" h="255934">
                <a:moveTo>
                  <a:pt x="0" y="255934"/>
                </a:moveTo>
                <a:cubicBezTo>
                  <a:pt x="21455" y="196508"/>
                  <a:pt x="76514" y="45377"/>
                  <a:pt x="100437" y="0"/>
                </a:cubicBezTo>
                <a:cubicBezTo>
                  <a:pt x="111829" y="14429"/>
                  <a:pt x="169167" y="163471"/>
                  <a:pt x="191571" y="228024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da-DK"/>
          </a:p>
        </p:txBody>
      </p:sp>
      <p:sp>
        <p:nvSpPr>
          <p:cNvPr id="1354" name="Freeform: Shape 1353">
            <a:extLst>
              <a:ext uri="{FF2B5EF4-FFF2-40B4-BE49-F238E27FC236}">
                <a16:creationId xmlns:a16="http://schemas.microsoft.com/office/drawing/2014/main" id="{355F58B8-A91B-3226-55B8-A84971898D08}"/>
              </a:ext>
            </a:extLst>
          </p:cNvPr>
          <p:cNvSpPr/>
          <p:nvPr userDrawn="1"/>
        </p:nvSpPr>
        <p:spPr>
          <a:xfrm>
            <a:off x="9163214" y="5201088"/>
            <a:ext cx="276818" cy="774447"/>
          </a:xfrm>
          <a:custGeom>
            <a:avLst/>
            <a:gdLst>
              <a:gd name="connsiteX0" fmla="*/ 276819 w 276818"/>
              <a:gd name="connsiteY0" fmla="*/ 642114 h 774447"/>
              <a:gd name="connsiteX1" fmla="*/ 100627 w 276818"/>
              <a:gd name="connsiteY1" fmla="*/ 774448 h 774447"/>
              <a:gd name="connsiteX2" fmla="*/ 0 w 276818"/>
              <a:gd name="connsiteY2" fmla="*/ 639076 h 774447"/>
              <a:gd name="connsiteX3" fmla="*/ 52782 w 276818"/>
              <a:gd name="connsiteY3" fmla="*/ 239036 h 774447"/>
              <a:gd name="connsiteX4" fmla="*/ 86387 w 276818"/>
              <a:gd name="connsiteY4" fmla="*/ 24302 h 774447"/>
              <a:gd name="connsiteX5" fmla="*/ 87526 w 276818"/>
              <a:gd name="connsiteY5" fmla="*/ 0 h 774447"/>
              <a:gd name="connsiteX6" fmla="*/ 150940 w 276818"/>
              <a:gd name="connsiteY6" fmla="*/ 45377 h 774447"/>
              <a:gd name="connsiteX7" fmla="*/ 189293 w 276818"/>
              <a:gd name="connsiteY7" fmla="*/ 17467 h 774447"/>
              <a:gd name="connsiteX8" fmla="*/ 192331 w 276818"/>
              <a:gd name="connsiteY8" fmla="*/ 16898 h 774447"/>
              <a:gd name="connsiteX9" fmla="*/ 192331 w 276818"/>
              <a:gd name="connsiteY9" fmla="*/ 30948 h 774447"/>
              <a:gd name="connsiteX10" fmla="*/ 213595 w 276818"/>
              <a:gd name="connsiteY10" fmla="*/ 186065 h 774447"/>
              <a:gd name="connsiteX11" fmla="*/ 276819 w 276818"/>
              <a:gd name="connsiteY11" fmla="*/ 642114 h 774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6818" h="774447">
                <a:moveTo>
                  <a:pt x="276819" y="642114"/>
                </a:moveTo>
                <a:cubicBezTo>
                  <a:pt x="235239" y="696605"/>
                  <a:pt x="164421" y="715591"/>
                  <a:pt x="100627" y="774448"/>
                </a:cubicBezTo>
                <a:cubicBezTo>
                  <a:pt x="59616" y="721097"/>
                  <a:pt x="17278" y="684643"/>
                  <a:pt x="0" y="639076"/>
                </a:cubicBezTo>
                <a:cubicBezTo>
                  <a:pt x="13290" y="484908"/>
                  <a:pt x="31327" y="392065"/>
                  <a:pt x="52782" y="239036"/>
                </a:cubicBezTo>
                <a:cubicBezTo>
                  <a:pt x="62654" y="167269"/>
                  <a:pt x="76704" y="95880"/>
                  <a:pt x="86387" y="24302"/>
                </a:cubicBezTo>
                <a:cubicBezTo>
                  <a:pt x="87526" y="15948"/>
                  <a:pt x="87906" y="7784"/>
                  <a:pt x="87526" y="0"/>
                </a:cubicBezTo>
                <a:cubicBezTo>
                  <a:pt x="106893" y="26771"/>
                  <a:pt x="130056" y="45947"/>
                  <a:pt x="150940" y="45377"/>
                </a:cubicBezTo>
                <a:cubicBezTo>
                  <a:pt x="162142" y="44807"/>
                  <a:pt x="176002" y="34555"/>
                  <a:pt x="189293" y="17467"/>
                </a:cubicBezTo>
                <a:cubicBezTo>
                  <a:pt x="190242" y="17087"/>
                  <a:pt x="191381" y="17087"/>
                  <a:pt x="192331" y="16898"/>
                </a:cubicBezTo>
                <a:cubicBezTo>
                  <a:pt x="192140" y="21455"/>
                  <a:pt x="192140" y="26201"/>
                  <a:pt x="192331" y="30948"/>
                </a:cubicBezTo>
                <a:cubicBezTo>
                  <a:pt x="196508" y="82590"/>
                  <a:pt x="206001" y="134802"/>
                  <a:pt x="213595" y="186065"/>
                </a:cubicBezTo>
                <a:cubicBezTo>
                  <a:pt x="229353" y="294097"/>
                  <a:pt x="256884" y="562182"/>
                  <a:pt x="276819" y="64211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1770" cap="rnd">
            <a:solidFill>
              <a:schemeClr val="accent1"/>
            </a:solidFill>
            <a:prstDash val="solid"/>
            <a:round/>
          </a:ln>
        </p:spPr>
        <p:txBody>
          <a:bodyPr rtlCol="0" anchor="ctr"/>
          <a:lstStyle/>
          <a:p>
            <a:pPr rtl="0"/>
            <a:endParaRPr lang="da-DK"/>
          </a:p>
        </p:txBody>
      </p:sp>
      <p:grpSp>
        <p:nvGrpSpPr>
          <p:cNvPr id="1356" name="Group 1355">
            <a:extLst>
              <a:ext uri="{FF2B5EF4-FFF2-40B4-BE49-F238E27FC236}">
                <a16:creationId xmlns:a16="http://schemas.microsoft.com/office/drawing/2014/main" id="{DB4BC2C9-6716-D19E-12CB-23F1C80542DC}"/>
              </a:ext>
            </a:extLst>
          </p:cNvPr>
          <p:cNvGrpSpPr/>
          <p:nvPr userDrawn="1"/>
        </p:nvGrpSpPr>
        <p:grpSpPr>
          <a:xfrm>
            <a:off x="5114880" y="6083277"/>
            <a:ext cx="232077" cy="180167"/>
            <a:chOff x="5114880" y="6083277"/>
            <a:chExt cx="232077" cy="180167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6007466A-8F7D-6120-0215-32C4E778D98A}"/>
                </a:ext>
              </a:extLst>
            </p:cNvPr>
            <p:cNvSpPr/>
            <p:nvPr userDrawn="1"/>
          </p:nvSpPr>
          <p:spPr>
            <a:xfrm>
              <a:off x="5114880" y="6087983"/>
              <a:ext cx="222666" cy="170756"/>
            </a:xfrm>
            <a:custGeom>
              <a:avLst/>
              <a:gdLst>
                <a:gd name="connsiteX0" fmla="*/ 0 w 278527"/>
                <a:gd name="connsiteY0" fmla="*/ 0 h 213594"/>
                <a:gd name="connsiteX1" fmla="*/ 278528 w 278527"/>
                <a:gd name="connsiteY1" fmla="*/ 0 h 213594"/>
                <a:gd name="connsiteX2" fmla="*/ 278528 w 278527"/>
                <a:gd name="connsiteY2" fmla="*/ 213595 h 213594"/>
                <a:gd name="connsiteX3" fmla="*/ 0 w 278527"/>
                <a:gd name="connsiteY3" fmla="*/ 213595 h 213594"/>
                <a:gd name="connsiteX4" fmla="*/ 0 w 278527"/>
                <a:gd name="connsiteY4" fmla="*/ 0 h 213594"/>
                <a:gd name="connsiteX5" fmla="*/ 0 w 278527"/>
                <a:gd name="connsiteY5" fmla="*/ 0 h 21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527" h="213594">
                  <a:moveTo>
                    <a:pt x="0" y="0"/>
                  </a:moveTo>
                  <a:lnTo>
                    <a:pt x="278528" y="0"/>
                  </a:lnTo>
                  <a:lnTo>
                    <a:pt x="278528" y="213595"/>
                  </a:lnTo>
                  <a:lnTo>
                    <a:pt x="0" y="21359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1EBE5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FB5AB1F-FB28-7385-37DB-3D3F04C59C67}"/>
                </a:ext>
              </a:extLst>
            </p:cNvPr>
            <p:cNvSpPr/>
            <p:nvPr/>
          </p:nvSpPr>
          <p:spPr>
            <a:xfrm>
              <a:off x="5139842" y="6204773"/>
              <a:ext cx="37838" cy="35600"/>
            </a:xfrm>
            <a:custGeom>
              <a:avLst/>
              <a:gdLst>
                <a:gd name="connsiteX0" fmla="*/ 45671 w 47330"/>
                <a:gd name="connsiteY0" fmla="*/ 44531 h 44531"/>
                <a:gd name="connsiteX1" fmla="*/ 44531 w 47330"/>
                <a:gd name="connsiteY1" fmla="*/ 44152 h 44531"/>
                <a:gd name="connsiteX2" fmla="*/ 483 w 47330"/>
                <a:gd name="connsiteY2" fmla="*/ 3142 h 44531"/>
                <a:gd name="connsiteX3" fmla="*/ 673 w 47330"/>
                <a:gd name="connsiteY3" fmla="*/ 484 h 44531"/>
                <a:gd name="connsiteX4" fmla="*/ 3331 w 47330"/>
                <a:gd name="connsiteY4" fmla="*/ 673 h 44531"/>
                <a:gd name="connsiteX5" fmla="*/ 46620 w 47330"/>
                <a:gd name="connsiteY5" fmla="*/ 41114 h 44531"/>
                <a:gd name="connsiteX6" fmla="*/ 47000 w 47330"/>
                <a:gd name="connsiteY6" fmla="*/ 43772 h 44531"/>
                <a:gd name="connsiteX7" fmla="*/ 45481 w 47330"/>
                <a:gd name="connsiteY7" fmla="*/ 44531 h 44531"/>
                <a:gd name="connsiteX8" fmla="*/ 45481 w 47330"/>
                <a:gd name="connsiteY8" fmla="*/ 44531 h 4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330" h="44531">
                  <a:moveTo>
                    <a:pt x="45671" y="44531"/>
                  </a:moveTo>
                  <a:cubicBezTo>
                    <a:pt x="45671" y="44531"/>
                    <a:pt x="44911" y="44531"/>
                    <a:pt x="44531" y="44152"/>
                  </a:cubicBezTo>
                  <a:cubicBezTo>
                    <a:pt x="28203" y="32380"/>
                    <a:pt x="13394" y="18520"/>
                    <a:pt x="483" y="3142"/>
                  </a:cubicBezTo>
                  <a:cubicBezTo>
                    <a:pt x="-276" y="2382"/>
                    <a:pt x="-86" y="1243"/>
                    <a:pt x="673" y="484"/>
                  </a:cubicBezTo>
                  <a:cubicBezTo>
                    <a:pt x="1433" y="-276"/>
                    <a:pt x="2572" y="-86"/>
                    <a:pt x="3331" y="673"/>
                  </a:cubicBezTo>
                  <a:cubicBezTo>
                    <a:pt x="16052" y="15862"/>
                    <a:pt x="30672" y="29532"/>
                    <a:pt x="46620" y="41114"/>
                  </a:cubicBezTo>
                  <a:cubicBezTo>
                    <a:pt x="47379" y="41684"/>
                    <a:pt x="47569" y="43012"/>
                    <a:pt x="47000" y="43772"/>
                  </a:cubicBezTo>
                  <a:cubicBezTo>
                    <a:pt x="46620" y="44342"/>
                    <a:pt x="46050" y="44531"/>
                    <a:pt x="45481" y="44531"/>
                  </a:cubicBezTo>
                  <a:lnTo>
                    <a:pt x="45481" y="44531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43F9169-3FFF-212C-A1BE-036CEF3C3EFB}"/>
                </a:ext>
              </a:extLst>
            </p:cNvPr>
            <p:cNvSpPr/>
            <p:nvPr/>
          </p:nvSpPr>
          <p:spPr>
            <a:xfrm>
              <a:off x="5138103" y="6157955"/>
              <a:ext cx="86537" cy="82419"/>
            </a:xfrm>
            <a:custGeom>
              <a:avLst/>
              <a:gdLst>
                <a:gd name="connsiteX0" fmla="*/ 106703 w 108247"/>
                <a:gd name="connsiteY0" fmla="*/ 103095 h 103095"/>
                <a:gd name="connsiteX1" fmla="*/ 105374 w 108247"/>
                <a:gd name="connsiteY1" fmla="*/ 102715 h 103095"/>
                <a:gd name="connsiteX2" fmla="*/ 570 w 108247"/>
                <a:gd name="connsiteY2" fmla="*/ 3228 h 103095"/>
                <a:gd name="connsiteX3" fmla="*/ 570 w 108247"/>
                <a:gd name="connsiteY3" fmla="*/ 570 h 103095"/>
                <a:gd name="connsiteX4" fmla="*/ 3228 w 108247"/>
                <a:gd name="connsiteY4" fmla="*/ 570 h 103095"/>
                <a:gd name="connsiteX5" fmla="*/ 107652 w 108247"/>
                <a:gd name="connsiteY5" fmla="*/ 99678 h 103095"/>
                <a:gd name="connsiteX6" fmla="*/ 107842 w 108247"/>
                <a:gd name="connsiteY6" fmla="*/ 102336 h 103095"/>
                <a:gd name="connsiteX7" fmla="*/ 106513 w 108247"/>
                <a:gd name="connsiteY7" fmla="*/ 103095 h 103095"/>
                <a:gd name="connsiteX8" fmla="*/ 106513 w 108247"/>
                <a:gd name="connsiteY8" fmla="*/ 103095 h 10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47" h="103095">
                  <a:moveTo>
                    <a:pt x="106703" y="103095"/>
                  </a:moveTo>
                  <a:cubicBezTo>
                    <a:pt x="106703" y="103095"/>
                    <a:pt x="105943" y="103095"/>
                    <a:pt x="105374" y="102715"/>
                  </a:cubicBezTo>
                  <a:cubicBezTo>
                    <a:pt x="68730" y="71768"/>
                    <a:pt x="33416" y="38162"/>
                    <a:pt x="570" y="3228"/>
                  </a:cubicBezTo>
                  <a:cubicBezTo>
                    <a:pt x="-190" y="2468"/>
                    <a:pt x="-190" y="1329"/>
                    <a:pt x="570" y="570"/>
                  </a:cubicBezTo>
                  <a:cubicBezTo>
                    <a:pt x="1329" y="-190"/>
                    <a:pt x="2468" y="-190"/>
                    <a:pt x="3228" y="570"/>
                  </a:cubicBezTo>
                  <a:cubicBezTo>
                    <a:pt x="35884" y="35315"/>
                    <a:pt x="71198" y="68730"/>
                    <a:pt x="107652" y="99678"/>
                  </a:cubicBezTo>
                  <a:cubicBezTo>
                    <a:pt x="108411" y="100437"/>
                    <a:pt x="108411" y="101576"/>
                    <a:pt x="107842" y="102336"/>
                  </a:cubicBezTo>
                  <a:cubicBezTo>
                    <a:pt x="107462" y="102715"/>
                    <a:pt x="106892" y="103095"/>
                    <a:pt x="106513" y="103095"/>
                  </a:cubicBezTo>
                  <a:lnTo>
                    <a:pt x="106513" y="103095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6E0ACFA-3564-1405-44FF-57BED39F066A}"/>
                </a:ext>
              </a:extLst>
            </p:cNvPr>
            <p:cNvSpPr/>
            <p:nvPr/>
          </p:nvSpPr>
          <p:spPr>
            <a:xfrm>
              <a:off x="5150853" y="6123500"/>
              <a:ext cx="118543" cy="117177"/>
            </a:xfrm>
            <a:custGeom>
              <a:avLst/>
              <a:gdLst>
                <a:gd name="connsiteX0" fmla="*/ 146574 w 148282"/>
                <a:gd name="connsiteY0" fmla="*/ 146574 h 146573"/>
                <a:gd name="connsiteX1" fmla="*/ 145245 w 148282"/>
                <a:gd name="connsiteY1" fmla="*/ 146004 h 146573"/>
                <a:gd name="connsiteX2" fmla="*/ 570 w 148282"/>
                <a:gd name="connsiteY2" fmla="*/ 3228 h 146573"/>
                <a:gd name="connsiteX3" fmla="*/ 570 w 148282"/>
                <a:gd name="connsiteY3" fmla="*/ 569 h 146573"/>
                <a:gd name="connsiteX4" fmla="*/ 3228 w 148282"/>
                <a:gd name="connsiteY4" fmla="*/ 569 h 146573"/>
                <a:gd name="connsiteX5" fmla="*/ 147713 w 148282"/>
                <a:gd name="connsiteY5" fmla="*/ 143156 h 146573"/>
                <a:gd name="connsiteX6" fmla="*/ 147713 w 148282"/>
                <a:gd name="connsiteY6" fmla="*/ 145814 h 146573"/>
                <a:gd name="connsiteX7" fmla="*/ 146384 w 148282"/>
                <a:gd name="connsiteY7" fmla="*/ 146384 h 146573"/>
                <a:gd name="connsiteX8" fmla="*/ 146384 w 148282"/>
                <a:gd name="connsiteY8" fmla="*/ 146384 h 14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282" h="146573">
                  <a:moveTo>
                    <a:pt x="146574" y="146574"/>
                  </a:moveTo>
                  <a:cubicBezTo>
                    <a:pt x="146574" y="146574"/>
                    <a:pt x="145624" y="146574"/>
                    <a:pt x="145245" y="146004"/>
                  </a:cubicBezTo>
                  <a:cubicBezTo>
                    <a:pt x="96450" y="99488"/>
                    <a:pt x="47845" y="51642"/>
                    <a:pt x="570" y="3228"/>
                  </a:cubicBezTo>
                  <a:cubicBezTo>
                    <a:pt x="-190" y="2468"/>
                    <a:pt x="-190" y="1329"/>
                    <a:pt x="570" y="569"/>
                  </a:cubicBezTo>
                  <a:cubicBezTo>
                    <a:pt x="1329" y="-190"/>
                    <a:pt x="2468" y="-190"/>
                    <a:pt x="3228" y="569"/>
                  </a:cubicBezTo>
                  <a:cubicBezTo>
                    <a:pt x="50313" y="48794"/>
                    <a:pt x="98918" y="96640"/>
                    <a:pt x="147713" y="143156"/>
                  </a:cubicBezTo>
                  <a:cubicBezTo>
                    <a:pt x="148472" y="143916"/>
                    <a:pt x="148472" y="145055"/>
                    <a:pt x="147713" y="145814"/>
                  </a:cubicBezTo>
                  <a:cubicBezTo>
                    <a:pt x="147333" y="146194"/>
                    <a:pt x="146953" y="146384"/>
                    <a:pt x="146384" y="146384"/>
                  </a:cubicBezTo>
                  <a:lnTo>
                    <a:pt x="146384" y="146384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9B77265-8128-6388-B49A-7F150EC95B57}"/>
                </a:ext>
              </a:extLst>
            </p:cNvPr>
            <p:cNvSpPr/>
            <p:nvPr/>
          </p:nvSpPr>
          <p:spPr>
            <a:xfrm>
              <a:off x="5182306" y="6111357"/>
              <a:ext cx="131225" cy="126436"/>
            </a:xfrm>
            <a:custGeom>
              <a:avLst/>
              <a:gdLst>
                <a:gd name="connsiteX0" fmla="*/ 162480 w 164146"/>
                <a:gd name="connsiteY0" fmla="*/ 158155 h 158155"/>
                <a:gd name="connsiteX1" fmla="*/ 161151 w 164146"/>
                <a:gd name="connsiteY1" fmla="*/ 157586 h 158155"/>
                <a:gd name="connsiteX2" fmla="*/ 338 w 164146"/>
                <a:gd name="connsiteY2" fmla="*/ 3228 h 158155"/>
                <a:gd name="connsiteX3" fmla="*/ 338 w 164146"/>
                <a:gd name="connsiteY3" fmla="*/ 569 h 158155"/>
                <a:gd name="connsiteX4" fmla="*/ 2996 w 164146"/>
                <a:gd name="connsiteY4" fmla="*/ 569 h 158155"/>
                <a:gd name="connsiteX5" fmla="*/ 163809 w 164146"/>
                <a:gd name="connsiteY5" fmla="*/ 154928 h 158155"/>
                <a:gd name="connsiteX6" fmla="*/ 163809 w 164146"/>
                <a:gd name="connsiteY6" fmla="*/ 157586 h 158155"/>
                <a:gd name="connsiteX7" fmla="*/ 162480 w 164146"/>
                <a:gd name="connsiteY7" fmla="*/ 158155 h 158155"/>
                <a:gd name="connsiteX8" fmla="*/ 162480 w 164146"/>
                <a:gd name="connsiteY8" fmla="*/ 158155 h 15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146" h="158155">
                  <a:moveTo>
                    <a:pt x="162480" y="158155"/>
                  </a:moveTo>
                  <a:cubicBezTo>
                    <a:pt x="162480" y="158155"/>
                    <a:pt x="161531" y="158155"/>
                    <a:pt x="161151" y="157586"/>
                  </a:cubicBezTo>
                  <a:lnTo>
                    <a:pt x="338" y="3228"/>
                  </a:lnTo>
                  <a:cubicBezTo>
                    <a:pt x="338" y="3228"/>
                    <a:pt x="-422" y="1329"/>
                    <a:pt x="338" y="569"/>
                  </a:cubicBezTo>
                  <a:cubicBezTo>
                    <a:pt x="1097" y="-190"/>
                    <a:pt x="2236" y="-190"/>
                    <a:pt x="2996" y="569"/>
                  </a:cubicBezTo>
                  <a:lnTo>
                    <a:pt x="163809" y="154928"/>
                  </a:lnTo>
                  <a:cubicBezTo>
                    <a:pt x="163809" y="154928"/>
                    <a:pt x="164568" y="156826"/>
                    <a:pt x="163809" y="157586"/>
                  </a:cubicBezTo>
                  <a:cubicBezTo>
                    <a:pt x="163429" y="157965"/>
                    <a:pt x="163049" y="158155"/>
                    <a:pt x="162480" y="158155"/>
                  </a:cubicBezTo>
                  <a:lnTo>
                    <a:pt x="162480" y="158155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B65CD23-F925-0564-910D-30A18A728159}"/>
                </a:ext>
              </a:extLst>
            </p:cNvPr>
            <p:cNvSpPr/>
            <p:nvPr/>
          </p:nvSpPr>
          <p:spPr>
            <a:xfrm>
              <a:off x="5227504" y="6109384"/>
              <a:ext cx="94864" cy="91070"/>
            </a:xfrm>
            <a:custGeom>
              <a:avLst/>
              <a:gdLst>
                <a:gd name="connsiteX0" fmla="*/ 116386 w 118663"/>
                <a:gd name="connsiteY0" fmla="*/ 113727 h 113917"/>
                <a:gd name="connsiteX1" fmla="*/ 115057 w 118663"/>
                <a:gd name="connsiteY1" fmla="*/ 113158 h 113917"/>
                <a:gd name="connsiteX2" fmla="*/ 570 w 118663"/>
                <a:gd name="connsiteY2" fmla="*/ 3228 h 113917"/>
                <a:gd name="connsiteX3" fmla="*/ 570 w 118663"/>
                <a:gd name="connsiteY3" fmla="*/ 570 h 113917"/>
                <a:gd name="connsiteX4" fmla="*/ 3228 w 118663"/>
                <a:gd name="connsiteY4" fmla="*/ 570 h 113917"/>
                <a:gd name="connsiteX5" fmla="*/ 118094 w 118663"/>
                <a:gd name="connsiteY5" fmla="*/ 110690 h 113917"/>
                <a:gd name="connsiteX6" fmla="*/ 118094 w 118663"/>
                <a:gd name="connsiteY6" fmla="*/ 113348 h 113917"/>
                <a:gd name="connsiteX7" fmla="*/ 116765 w 118663"/>
                <a:gd name="connsiteY7" fmla="*/ 113917 h 113917"/>
                <a:gd name="connsiteX8" fmla="*/ 116765 w 118663"/>
                <a:gd name="connsiteY8" fmla="*/ 113917 h 11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663" h="113917">
                  <a:moveTo>
                    <a:pt x="116386" y="113727"/>
                  </a:moveTo>
                  <a:cubicBezTo>
                    <a:pt x="116386" y="113727"/>
                    <a:pt x="115436" y="113727"/>
                    <a:pt x="115057" y="113158"/>
                  </a:cubicBezTo>
                  <a:cubicBezTo>
                    <a:pt x="78603" y="75185"/>
                    <a:pt x="39871" y="38162"/>
                    <a:pt x="570" y="3228"/>
                  </a:cubicBezTo>
                  <a:cubicBezTo>
                    <a:pt x="-190" y="2468"/>
                    <a:pt x="-190" y="1329"/>
                    <a:pt x="570" y="570"/>
                  </a:cubicBezTo>
                  <a:cubicBezTo>
                    <a:pt x="1329" y="-190"/>
                    <a:pt x="2468" y="-190"/>
                    <a:pt x="3228" y="570"/>
                  </a:cubicBezTo>
                  <a:cubicBezTo>
                    <a:pt x="42719" y="35504"/>
                    <a:pt x="81451" y="72527"/>
                    <a:pt x="118094" y="110690"/>
                  </a:cubicBezTo>
                  <a:cubicBezTo>
                    <a:pt x="118854" y="111449"/>
                    <a:pt x="118854" y="112588"/>
                    <a:pt x="118094" y="113348"/>
                  </a:cubicBezTo>
                  <a:cubicBezTo>
                    <a:pt x="117715" y="113727"/>
                    <a:pt x="117335" y="113917"/>
                    <a:pt x="116765" y="113917"/>
                  </a:cubicBezTo>
                  <a:lnTo>
                    <a:pt x="116765" y="113917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F6EFAB7-A742-0102-8A60-1D9E69CB5F63}"/>
                </a:ext>
              </a:extLst>
            </p:cNvPr>
            <p:cNvSpPr/>
            <p:nvPr/>
          </p:nvSpPr>
          <p:spPr>
            <a:xfrm>
              <a:off x="5275923" y="6107714"/>
              <a:ext cx="43714" cy="43410"/>
            </a:xfrm>
            <a:custGeom>
              <a:avLst/>
              <a:gdLst>
                <a:gd name="connsiteX0" fmla="*/ 52402 w 54680"/>
                <a:gd name="connsiteY0" fmla="*/ 54300 h 54300"/>
                <a:gd name="connsiteX1" fmla="*/ 51073 w 54680"/>
                <a:gd name="connsiteY1" fmla="*/ 53731 h 54300"/>
                <a:gd name="connsiteX2" fmla="*/ 570 w 54680"/>
                <a:gd name="connsiteY2" fmla="*/ 3228 h 54300"/>
                <a:gd name="connsiteX3" fmla="*/ 570 w 54680"/>
                <a:gd name="connsiteY3" fmla="*/ 570 h 54300"/>
                <a:gd name="connsiteX4" fmla="*/ 3228 w 54680"/>
                <a:gd name="connsiteY4" fmla="*/ 570 h 54300"/>
                <a:gd name="connsiteX5" fmla="*/ 54111 w 54680"/>
                <a:gd name="connsiteY5" fmla="*/ 51073 h 54300"/>
                <a:gd name="connsiteX6" fmla="*/ 54111 w 54680"/>
                <a:gd name="connsiteY6" fmla="*/ 53731 h 54300"/>
                <a:gd name="connsiteX7" fmla="*/ 52782 w 54680"/>
                <a:gd name="connsiteY7" fmla="*/ 54300 h 54300"/>
                <a:gd name="connsiteX8" fmla="*/ 52592 w 54680"/>
                <a:gd name="connsiteY8" fmla="*/ 54300 h 5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680" h="54300">
                  <a:moveTo>
                    <a:pt x="52402" y="54300"/>
                  </a:moveTo>
                  <a:cubicBezTo>
                    <a:pt x="52402" y="54300"/>
                    <a:pt x="51453" y="53921"/>
                    <a:pt x="51073" y="53731"/>
                  </a:cubicBezTo>
                  <a:cubicBezTo>
                    <a:pt x="34935" y="36264"/>
                    <a:pt x="18037" y="19366"/>
                    <a:pt x="570" y="3228"/>
                  </a:cubicBezTo>
                  <a:cubicBezTo>
                    <a:pt x="-190" y="2468"/>
                    <a:pt x="-190" y="1329"/>
                    <a:pt x="570" y="570"/>
                  </a:cubicBezTo>
                  <a:cubicBezTo>
                    <a:pt x="1329" y="-190"/>
                    <a:pt x="2468" y="-190"/>
                    <a:pt x="3228" y="570"/>
                  </a:cubicBezTo>
                  <a:cubicBezTo>
                    <a:pt x="20885" y="16708"/>
                    <a:pt x="37972" y="33606"/>
                    <a:pt x="54111" y="51073"/>
                  </a:cubicBezTo>
                  <a:cubicBezTo>
                    <a:pt x="54870" y="51832"/>
                    <a:pt x="54870" y="52972"/>
                    <a:pt x="54111" y="53731"/>
                  </a:cubicBezTo>
                  <a:cubicBezTo>
                    <a:pt x="53731" y="53921"/>
                    <a:pt x="53351" y="54300"/>
                    <a:pt x="52782" y="54300"/>
                  </a:cubicBezTo>
                  <a:lnTo>
                    <a:pt x="52592" y="54300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4F2BFF2-7875-C68A-7D10-C52534D6E465}"/>
                </a:ext>
              </a:extLst>
            </p:cNvPr>
            <p:cNvSpPr/>
            <p:nvPr/>
          </p:nvSpPr>
          <p:spPr>
            <a:xfrm>
              <a:off x="5114880" y="6083277"/>
              <a:ext cx="232077" cy="180167"/>
            </a:xfrm>
            <a:custGeom>
              <a:avLst/>
              <a:gdLst>
                <a:gd name="connsiteX0" fmla="*/ 284414 w 290299"/>
                <a:gd name="connsiteY0" fmla="*/ 225366 h 225366"/>
                <a:gd name="connsiteX1" fmla="*/ 5886 w 290299"/>
                <a:gd name="connsiteY1" fmla="*/ 225366 h 225366"/>
                <a:gd name="connsiteX2" fmla="*/ 0 w 290299"/>
                <a:gd name="connsiteY2" fmla="*/ 219481 h 225366"/>
                <a:gd name="connsiteX3" fmla="*/ 0 w 290299"/>
                <a:gd name="connsiteY3" fmla="*/ 5886 h 225366"/>
                <a:gd name="connsiteX4" fmla="*/ 5886 w 290299"/>
                <a:gd name="connsiteY4" fmla="*/ 0 h 225366"/>
                <a:gd name="connsiteX5" fmla="*/ 284414 w 290299"/>
                <a:gd name="connsiteY5" fmla="*/ 0 h 225366"/>
                <a:gd name="connsiteX6" fmla="*/ 290299 w 290299"/>
                <a:gd name="connsiteY6" fmla="*/ 5886 h 225366"/>
                <a:gd name="connsiteX7" fmla="*/ 290299 w 290299"/>
                <a:gd name="connsiteY7" fmla="*/ 219481 h 225366"/>
                <a:gd name="connsiteX8" fmla="*/ 284414 w 290299"/>
                <a:gd name="connsiteY8" fmla="*/ 225366 h 225366"/>
                <a:gd name="connsiteX9" fmla="*/ 284414 w 290299"/>
                <a:gd name="connsiteY9" fmla="*/ 225366 h 225366"/>
                <a:gd name="connsiteX10" fmla="*/ 11582 w 290299"/>
                <a:gd name="connsiteY10" fmla="*/ 213785 h 225366"/>
                <a:gd name="connsiteX11" fmla="*/ 278528 w 290299"/>
                <a:gd name="connsiteY11" fmla="*/ 213785 h 225366"/>
                <a:gd name="connsiteX12" fmla="*/ 278528 w 290299"/>
                <a:gd name="connsiteY12" fmla="*/ 11771 h 225366"/>
                <a:gd name="connsiteX13" fmla="*/ 11582 w 290299"/>
                <a:gd name="connsiteY13" fmla="*/ 11771 h 225366"/>
                <a:gd name="connsiteX14" fmla="*/ 11582 w 290299"/>
                <a:gd name="connsiteY14" fmla="*/ 213785 h 225366"/>
                <a:gd name="connsiteX15" fmla="*/ 11582 w 290299"/>
                <a:gd name="connsiteY15" fmla="*/ 213785 h 22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0299" h="225366">
                  <a:moveTo>
                    <a:pt x="284414" y="225366"/>
                  </a:moveTo>
                  <a:lnTo>
                    <a:pt x="5886" y="225366"/>
                  </a:lnTo>
                  <a:cubicBezTo>
                    <a:pt x="2658" y="225366"/>
                    <a:pt x="0" y="222898"/>
                    <a:pt x="0" y="219481"/>
                  </a:cubicBezTo>
                  <a:lnTo>
                    <a:pt x="0" y="5886"/>
                  </a:lnTo>
                  <a:cubicBezTo>
                    <a:pt x="0" y="2658"/>
                    <a:pt x="2468" y="0"/>
                    <a:pt x="5886" y="0"/>
                  </a:cubicBezTo>
                  <a:lnTo>
                    <a:pt x="284414" y="0"/>
                  </a:lnTo>
                  <a:cubicBezTo>
                    <a:pt x="287641" y="0"/>
                    <a:pt x="290299" y="2468"/>
                    <a:pt x="290299" y="5886"/>
                  </a:cubicBezTo>
                  <a:lnTo>
                    <a:pt x="290299" y="219481"/>
                  </a:lnTo>
                  <a:cubicBezTo>
                    <a:pt x="290299" y="222708"/>
                    <a:pt x="287831" y="225366"/>
                    <a:pt x="284414" y="225366"/>
                  </a:cubicBezTo>
                  <a:lnTo>
                    <a:pt x="284414" y="225366"/>
                  </a:lnTo>
                  <a:close/>
                  <a:moveTo>
                    <a:pt x="11582" y="213785"/>
                  </a:moveTo>
                  <a:lnTo>
                    <a:pt x="278528" y="213785"/>
                  </a:lnTo>
                  <a:lnTo>
                    <a:pt x="278528" y="11771"/>
                  </a:lnTo>
                  <a:lnTo>
                    <a:pt x="11582" y="11771"/>
                  </a:lnTo>
                  <a:lnTo>
                    <a:pt x="11582" y="213785"/>
                  </a:lnTo>
                  <a:lnTo>
                    <a:pt x="11582" y="213785"/>
                  </a:lnTo>
                  <a:close/>
                </a:path>
              </a:pathLst>
            </a:custGeom>
            <a:solidFill>
              <a:schemeClr val="accent1"/>
            </a:solidFill>
            <a:ln w="18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E97BB422-33A9-0BDB-23CF-32B658199035}"/>
              </a:ext>
            </a:extLst>
          </p:cNvPr>
          <p:cNvSpPr/>
          <p:nvPr userDrawn="1"/>
        </p:nvSpPr>
        <p:spPr>
          <a:xfrm>
            <a:off x="643647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da-DK" sz="1400"/>
          </a:p>
        </p:txBody>
      </p:sp>
      <p:grpSp>
        <p:nvGrpSpPr>
          <p:cNvPr id="1376" name="Group 1375">
            <a:extLst>
              <a:ext uri="{FF2B5EF4-FFF2-40B4-BE49-F238E27FC236}">
                <a16:creationId xmlns:a16="http://schemas.microsoft.com/office/drawing/2014/main" id="{676CD2B3-B2EE-8EC1-C38D-7F0A22DC1C64}"/>
              </a:ext>
            </a:extLst>
          </p:cNvPr>
          <p:cNvGrpSpPr/>
          <p:nvPr userDrawn="1"/>
        </p:nvGrpSpPr>
        <p:grpSpPr>
          <a:xfrm>
            <a:off x="344718" y="2779984"/>
            <a:ext cx="1237940" cy="1229352"/>
            <a:chOff x="8336051" y="3610471"/>
            <a:chExt cx="2227633" cy="2212181"/>
          </a:xfrm>
        </p:grpSpPr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FE9D4584-1071-637F-3321-9E877A615973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E2446D56-ABD4-127A-CA05-F8ECBFE758BE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3365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765570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8206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 userDrawn="1">
          <p15:clr>
            <a:srgbClr val="F26B43"/>
          </p15:clr>
        </p15:guide>
        <p15:guide id="2" pos="7458" userDrawn="1">
          <p15:clr>
            <a:srgbClr val="F26B43"/>
          </p15:clr>
        </p15:guide>
        <p15:guide id="3" orient="horz" pos="1003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934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 userDrawn="1">
          <p15:clr>
            <a:srgbClr val="F26B43"/>
          </p15:clr>
        </p15:guide>
        <p15:guide id="2" orient="horz" pos="3857" userDrawn="1">
          <p15:clr>
            <a:srgbClr val="F26B43"/>
          </p15:clr>
        </p15:guide>
        <p15:guide id="3" pos="222" userDrawn="1">
          <p15:clr>
            <a:srgbClr val="F26B43"/>
          </p15:clr>
        </p15:guide>
        <p15:guide id="4" pos="7458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/>
              <a:t>Almenkompas-illustration-mere-</a:t>
            </a:r>
            <a:r>
              <a:rPr lang="da-DK" sz="1400" err="1"/>
              <a:t>farve.ai</a:t>
            </a:r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76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37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0F1C54E0-C216-89A2-85B7-7561718A50A5}"/>
              </a:ext>
            </a:extLst>
          </p:cNvPr>
          <p:cNvGrpSpPr/>
          <p:nvPr userDrawn="1"/>
        </p:nvGrpSpPr>
        <p:grpSpPr>
          <a:xfrm flipH="1">
            <a:off x="-1" y="510161"/>
            <a:ext cx="12192001" cy="6858002"/>
            <a:chOff x="-1" y="-1"/>
            <a:chExt cx="12192001" cy="6858002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91EAE97E-0952-9B7A-F69A-203B7E72F5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5C690960-7CE9-4BBF-89BE-2E4E07234E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3199EAD3-B1DA-80FD-CA24-F02ED72DEC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52EFD55D-636B-B97F-9F63-632D02697F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6EF63833-728A-ED20-6574-1EC32A8752C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/>
            </a:p>
          </p:txBody>
        </p:sp>
      </p:grp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7" name="Group 686">
            <a:extLst>
              <a:ext uri="{FF2B5EF4-FFF2-40B4-BE49-F238E27FC236}">
                <a16:creationId xmlns:a16="http://schemas.microsoft.com/office/drawing/2014/main" id="{F6F8FF00-E358-8FB9-DDC6-33D740339F1A}"/>
              </a:ext>
            </a:extLst>
          </p:cNvPr>
          <p:cNvGrpSpPr/>
          <p:nvPr userDrawn="1"/>
        </p:nvGrpSpPr>
        <p:grpSpPr>
          <a:xfrm>
            <a:off x="4334574" y="1145757"/>
            <a:ext cx="665732" cy="593369"/>
            <a:chOff x="5024894" y="2546149"/>
            <a:chExt cx="574895" cy="512406"/>
          </a:xfrm>
        </p:grpSpPr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C042D4CD-DAB0-D5F5-93E3-9C77E8A8E64B}"/>
                </a:ext>
              </a:extLst>
            </p:cNvPr>
            <p:cNvSpPr/>
            <p:nvPr/>
          </p:nvSpPr>
          <p:spPr>
            <a:xfrm rot="4050002" flipH="1">
              <a:off x="5123518" y="2601707"/>
              <a:ext cx="402686" cy="402686"/>
            </a:xfrm>
            <a:custGeom>
              <a:avLst/>
              <a:gdLst>
                <a:gd name="connsiteX0" fmla="*/ 402687 w 402686"/>
                <a:gd name="connsiteY0" fmla="*/ 201343 h 402686"/>
                <a:gd name="connsiteX1" fmla="*/ 201344 w 402686"/>
                <a:gd name="connsiteY1" fmla="*/ 402686 h 402686"/>
                <a:gd name="connsiteX2" fmla="*/ 0 w 402686"/>
                <a:gd name="connsiteY2" fmla="*/ 201343 h 402686"/>
                <a:gd name="connsiteX3" fmla="*/ 201344 w 402686"/>
                <a:gd name="connsiteY3" fmla="*/ 0 h 402686"/>
                <a:gd name="connsiteX4" fmla="*/ 402687 w 402686"/>
                <a:gd name="connsiteY4" fmla="*/ 201343 h 40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686" h="402686">
                  <a:moveTo>
                    <a:pt x="402687" y="201343"/>
                  </a:moveTo>
                  <a:cubicBezTo>
                    <a:pt x="402687" y="312542"/>
                    <a:pt x="312542" y="402686"/>
                    <a:pt x="201344" y="402686"/>
                  </a:cubicBezTo>
                  <a:cubicBezTo>
                    <a:pt x="90145" y="402686"/>
                    <a:pt x="0" y="312542"/>
                    <a:pt x="0" y="201343"/>
                  </a:cubicBezTo>
                  <a:cubicBezTo>
                    <a:pt x="0" y="90144"/>
                    <a:pt x="90145" y="0"/>
                    <a:pt x="201344" y="0"/>
                  </a:cubicBezTo>
                  <a:cubicBezTo>
                    <a:pt x="312542" y="0"/>
                    <a:pt x="402687" y="90144"/>
                    <a:pt x="402687" y="201343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46EDCF3B-6984-2752-2EE4-5C52DE2006B4}"/>
                </a:ext>
              </a:extLst>
            </p:cNvPr>
            <p:cNvSpPr/>
            <p:nvPr/>
          </p:nvSpPr>
          <p:spPr>
            <a:xfrm flipH="1">
              <a:off x="5117862" y="2575728"/>
              <a:ext cx="396923" cy="396923"/>
            </a:xfrm>
            <a:custGeom>
              <a:avLst/>
              <a:gdLst>
                <a:gd name="connsiteX0" fmla="*/ 396923 w 396923"/>
                <a:gd name="connsiteY0" fmla="*/ 198462 h 396923"/>
                <a:gd name="connsiteX1" fmla="*/ 198462 w 396923"/>
                <a:gd name="connsiteY1" fmla="*/ 396923 h 396923"/>
                <a:gd name="connsiteX2" fmla="*/ 1 w 396923"/>
                <a:gd name="connsiteY2" fmla="*/ 198462 h 396923"/>
                <a:gd name="connsiteX3" fmla="*/ 198462 w 396923"/>
                <a:gd name="connsiteY3" fmla="*/ 0 h 396923"/>
                <a:gd name="connsiteX4" fmla="*/ 396923 w 396923"/>
                <a:gd name="connsiteY4" fmla="*/ 198462 h 3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923" h="396923">
                  <a:moveTo>
                    <a:pt x="396923" y="198462"/>
                  </a:moveTo>
                  <a:cubicBezTo>
                    <a:pt x="396923" y="308069"/>
                    <a:pt x="308069" y="396923"/>
                    <a:pt x="198462" y="396923"/>
                  </a:cubicBezTo>
                  <a:cubicBezTo>
                    <a:pt x="88855" y="396923"/>
                    <a:pt x="1" y="308069"/>
                    <a:pt x="1" y="198462"/>
                  </a:cubicBezTo>
                  <a:cubicBezTo>
                    <a:pt x="1" y="88854"/>
                    <a:pt x="88855" y="0"/>
                    <a:pt x="198462" y="0"/>
                  </a:cubicBezTo>
                  <a:cubicBezTo>
                    <a:pt x="308069" y="0"/>
                    <a:pt x="396923" y="88854"/>
                    <a:pt x="396923" y="198462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81F8BC12-B4F7-D655-16B2-48263D374511}"/>
                </a:ext>
              </a:extLst>
            </p:cNvPr>
            <p:cNvSpPr/>
            <p:nvPr/>
          </p:nvSpPr>
          <p:spPr>
            <a:xfrm flipH="1">
              <a:off x="5480569" y="2803005"/>
              <a:ext cx="119220" cy="102292"/>
            </a:xfrm>
            <a:custGeom>
              <a:avLst/>
              <a:gdLst>
                <a:gd name="connsiteX0" fmla="*/ 87165 w 119220"/>
                <a:gd name="connsiteY0" fmla="*/ 0 h 102292"/>
                <a:gd name="connsiteX1" fmla="*/ 0 w 119220"/>
                <a:gd name="connsiteY1" fmla="*/ 31336 h 102292"/>
                <a:gd name="connsiteX2" fmla="*/ 74198 w 119220"/>
                <a:gd name="connsiteY2" fmla="*/ 59430 h 102292"/>
                <a:gd name="connsiteX3" fmla="*/ 59610 w 119220"/>
                <a:gd name="connsiteY3" fmla="*/ 102292 h 102292"/>
                <a:gd name="connsiteX4" fmla="*/ 119221 w 119220"/>
                <a:gd name="connsiteY4" fmla="*/ 82482 h 10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220" h="102292">
                  <a:moveTo>
                    <a:pt x="87165" y="0"/>
                  </a:moveTo>
                  <a:lnTo>
                    <a:pt x="0" y="31336"/>
                  </a:lnTo>
                  <a:lnTo>
                    <a:pt x="74198" y="59430"/>
                  </a:lnTo>
                  <a:lnTo>
                    <a:pt x="59610" y="102292"/>
                  </a:lnTo>
                  <a:lnTo>
                    <a:pt x="119221" y="82482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7CAD685A-A64A-5858-A757-82E41329C81D}"/>
                </a:ext>
              </a:extLst>
            </p:cNvPr>
            <p:cNvSpPr/>
            <p:nvPr/>
          </p:nvSpPr>
          <p:spPr>
            <a:xfrm flipH="1">
              <a:off x="5415375" y="2752039"/>
              <a:ext cx="23073" cy="36198"/>
            </a:xfrm>
            <a:custGeom>
              <a:avLst/>
              <a:gdLst>
                <a:gd name="connsiteX0" fmla="*/ 22 w 23073"/>
                <a:gd name="connsiteY0" fmla="*/ 0 h 36198"/>
                <a:gd name="connsiteX1" fmla="*/ 23074 w 23073"/>
                <a:gd name="connsiteY1" fmla="*/ 36199 h 3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73" h="36198">
                  <a:moveTo>
                    <a:pt x="22" y="0"/>
                  </a:moveTo>
                  <a:cubicBezTo>
                    <a:pt x="22" y="0"/>
                    <a:pt x="-1599" y="29715"/>
                    <a:pt x="23074" y="3619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46FC6BFE-36FC-0EC6-9FDA-7F9B9F10AF9C}"/>
                </a:ext>
              </a:extLst>
            </p:cNvPr>
            <p:cNvSpPr/>
            <p:nvPr/>
          </p:nvSpPr>
          <p:spPr>
            <a:xfrm flipH="1">
              <a:off x="5193348" y="2632830"/>
              <a:ext cx="171653" cy="146402"/>
            </a:xfrm>
            <a:custGeom>
              <a:avLst/>
              <a:gdLst>
                <a:gd name="connsiteX0" fmla="*/ 5455 w 171653"/>
                <a:gd name="connsiteY0" fmla="*/ 92375 h 146402"/>
                <a:gd name="connsiteX1" fmla="*/ 19142 w 171653"/>
                <a:gd name="connsiteY1" fmla="*/ 528 h 146402"/>
                <a:gd name="connsiteX2" fmla="*/ 70288 w 171653"/>
                <a:gd name="connsiteY2" fmla="*/ 55636 h 146402"/>
                <a:gd name="connsiteX3" fmla="*/ 108827 w 171653"/>
                <a:gd name="connsiteY3" fmla="*/ 6291 h 146402"/>
                <a:gd name="connsiteX4" fmla="*/ 103965 w 171653"/>
                <a:gd name="connsiteY4" fmla="*/ 73825 h 146402"/>
                <a:gd name="connsiteX5" fmla="*/ 169699 w 171653"/>
                <a:gd name="connsiteY5" fmla="*/ 63920 h 146402"/>
                <a:gd name="connsiteX6" fmla="*/ 99823 w 171653"/>
                <a:gd name="connsiteY6" fmla="*/ 146403 h 14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653" h="146402">
                  <a:moveTo>
                    <a:pt x="5455" y="92375"/>
                  </a:moveTo>
                  <a:cubicBezTo>
                    <a:pt x="5455" y="92375"/>
                    <a:pt x="-13455" y="7371"/>
                    <a:pt x="19142" y="528"/>
                  </a:cubicBezTo>
                  <a:cubicBezTo>
                    <a:pt x="51738" y="-6316"/>
                    <a:pt x="70288" y="55636"/>
                    <a:pt x="70288" y="55636"/>
                  </a:cubicBezTo>
                  <a:cubicBezTo>
                    <a:pt x="70288" y="55636"/>
                    <a:pt x="83795" y="-2173"/>
                    <a:pt x="108827" y="6291"/>
                  </a:cubicBezTo>
                  <a:cubicBezTo>
                    <a:pt x="133860" y="14755"/>
                    <a:pt x="103965" y="73825"/>
                    <a:pt x="103965" y="73825"/>
                  </a:cubicBezTo>
                  <a:cubicBezTo>
                    <a:pt x="103965" y="73825"/>
                    <a:pt x="153671" y="36546"/>
                    <a:pt x="169699" y="63920"/>
                  </a:cubicBezTo>
                  <a:cubicBezTo>
                    <a:pt x="185547" y="91294"/>
                    <a:pt x="99823" y="146403"/>
                    <a:pt x="99823" y="146403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3D5AFF30-614F-AB01-2773-A9652BFF6F6C}"/>
                </a:ext>
              </a:extLst>
            </p:cNvPr>
            <p:cNvSpPr/>
            <p:nvPr/>
          </p:nvSpPr>
          <p:spPr>
            <a:xfrm flipH="1">
              <a:off x="5182336" y="2940775"/>
              <a:ext cx="26473" cy="94548"/>
            </a:xfrm>
            <a:custGeom>
              <a:avLst/>
              <a:gdLst>
                <a:gd name="connsiteX0" fmla="*/ 0 w 26473"/>
                <a:gd name="connsiteY0" fmla="*/ 0 h 94548"/>
                <a:gd name="connsiteX1" fmla="*/ 26474 w 26473"/>
                <a:gd name="connsiteY1" fmla="*/ 51686 h 94548"/>
                <a:gd name="connsiteX2" fmla="*/ 0 w 26473"/>
                <a:gd name="connsiteY2" fmla="*/ 94548 h 9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73" h="94548">
                  <a:moveTo>
                    <a:pt x="0" y="0"/>
                  </a:moveTo>
                  <a:lnTo>
                    <a:pt x="26474" y="51686"/>
                  </a:lnTo>
                  <a:lnTo>
                    <a:pt x="0" y="94548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462F5AEB-6CE4-4997-4E45-0F4E01AEE381}"/>
                </a:ext>
              </a:extLst>
            </p:cNvPr>
            <p:cNvSpPr/>
            <p:nvPr/>
          </p:nvSpPr>
          <p:spPr>
            <a:xfrm flipH="1">
              <a:off x="5273643" y="2972652"/>
              <a:ext cx="34577" cy="85903"/>
            </a:xfrm>
            <a:custGeom>
              <a:avLst/>
              <a:gdLst>
                <a:gd name="connsiteX0" fmla="*/ 16568 w 34577"/>
                <a:gd name="connsiteY0" fmla="*/ 0 h 85903"/>
                <a:gd name="connsiteX1" fmla="*/ 34577 w 34577"/>
                <a:gd name="connsiteY1" fmla="*/ 36559 h 85903"/>
                <a:gd name="connsiteX2" fmla="*/ 0 w 34577"/>
                <a:gd name="connsiteY2" fmla="*/ 85904 h 8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577" h="85903">
                  <a:moveTo>
                    <a:pt x="16568" y="0"/>
                  </a:moveTo>
                  <a:lnTo>
                    <a:pt x="34577" y="36559"/>
                  </a:lnTo>
                  <a:lnTo>
                    <a:pt x="0" y="85904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8F4A3A9-9DA8-21F3-CED0-EC801ED0F1F2}"/>
                </a:ext>
              </a:extLst>
            </p:cNvPr>
            <p:cNvSpPr/>
            <p:nvPr/>
          </p:nvSpPr>
          <p:spPr>
            <a:xfrm flipH="1">
              <a:off x="5024894" y="2546149"/>
              <a:ext cx="132589" cy="230982"/>
            </a:xfrm>
            <a:custGeom>
              <a:avLst/>
              <a:gdLst>
                <a:gd name="connsiteX0" fmla="*/ 0 w 132589"/>
                <a:gd name="connsiteY0" fmla="*/ 109721 h 230982"/>
                <a:gd name="connsiteX1" fmla="*/ 94729 w 132589"/>
                <a:gd name="connsiteY1" fmla="*/ 1485 h 230982"/>
                <a:gd name="connsiteX2" fmla="*/ 55108 w 132589"/>
                <a:gd name="connsiteY2" fmla="*/ 109721 h 230982"/>
                <a:gd name="connsiteX3" fmla="*/ 130927 w 132589"/>
                <a:gd name="connsiteY3" fmla="*/ 109721 h 230982"/>
                <a:gd name="connsiteX4" fmla="*/ 74918 w 132589"/>
                <a:gd name="connsiteY4" fmla="*/ 161407 h 230982"/>
                <a:gd name="connsiteX5" fmla="*/ 127685 w 132589"/>
                <a:gd name="connsiteY5" fmla="*/ 214174 h 230982"/>
                <a:gd name="connsiteX6" fmla="*/ 38720 w 132589"/>
                <a:gd name="connsiteY6" fmla="*/ 214174 h 23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589" h="230982">
                  <a:moveTo>
                    <a:pt x="0" y="109721"/>
                  </a:moveTo>
                  <a:cubicBezTo>
                    <a:pt x="0" y="109721"/>
                    <a:pt x="56909" y="-14903"/>
                    <a:pt x="94729" y="1485"/>
                  </a:cubicBezTo>
                  <a:cubicBezTo>
                    <a:pt x="132548" y="17874"/>
                    <a:pt x="55108" y="109721"/>
                    <a:pt x="55108" y="109721"/>
                  </a:cubicBezTo>
                  <a:cubicBezTo>
                    <a:pt x="55108" y="109721"/>
                    <a:pt x="117780" y="81086"/>
                    <a:pt x="130927" y="109721"/>
                  </a:cubicBezTo>
                  <a:cubicBezTo>
                    <a:pt x="144074" y="138355"/>
                    <a:pt x="74918" y="161407"/>
                    <a:pt x="74918" y="161407"/>
                  </a:cubicBezTo>
                  <a:cubicBezTo>
                    <a:pt x="74918" y="161407"/>
                    <a:pt x="140832" y="176175"/>
                    <a:pt x="127685" y="214174"/>
                  </a:cubicBezTo>
                  <a:cubicBezTo>
                    <a:pt x="114539" y="251994"/>
                    <a:pt x="38720" y="214174"/>
                    <a:pt x="38720" y="21417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F8FA54D-BD64-AE94-84FC-2A5291552AA3}"/>
              </a:ext>
            </a:extLst>
          </p:cNvPr>
          <p:cNvGrpSpPr/>
          <p:nvPr userDrawn="1"/>
        </p:nvGrpSpPr>
        <p:grpSpPr>
          <a:xfrm>
            <a:off x="4273902" y="509467"/>
            <a:ext cx="7912694" cy="5970723"/>
            <a:chOff x="3927642" y="248189"/>
            <a:chExt cx="8258954" cy="623200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CC403A0-0E3F-E721-B5C6-E87EB63EB080}"/>
                </a:ext>
              </a:extLst>
            </p:cNvPr>
            <p:cNvSpPr/>
            <p:nvPr/>
          </p:nvSpPr>
          <p:spPr>
            <a:xfrm>
              <a:off x="6634323" y="3720662"/>
              <a:ext cx="3210805" cy="2720317"/>
            </a:xfrm>
            <a:custGeom>
              <a:avLst/>
              <a:gdLst>
                <a:gd name="connsiteX0" fmla="*/ 1087397 w 2772700"/>
                <a:gd name="connsiteY0" fmla="*/ 1371 h 2349137"/>
                <a:gd name="connsiteX1" fmla="*/ 1241556 w 2772700"/>
                <a:gd name="connsiteY1" fmla="*/ 86735 h 2349137"/>
                <a:gd name="connsiteX2" fmla="*/ 1803083 w 2772700"/>
                <a:gd name="connsiteY2" fmla="*/ 35589 h 2349137"/>
                <a:gd name="connsiteX3" fmla="*/ 1888087 w 2772700"/>
                <a:gd name="connsiteY3" fmla="*/ 9115 h 2349137"/>
                <a:gd name="connsiteX4" fmla="*/ 2516429 w 2772700"/>
                <a:gd name="connsiteY4" fmla="*/ 493923 h 2349137"/>
                <a:gd name="connsiteX5" fmla="*/ 2772700 w 2772700"/>
                <a:gd name="connsiteY5" fmla="*/ 1219155 h 2349137"/>
                <a:gd name="connsiteX6" fmla="*/ 2523813 w 2772700"/>
                <a:gd name="connsiteY6" fmla="*/ 1331532 h 2349137"/>
                <a:gd name="connsiteX7" fmla="*/ 2230262 w 2772700"/>
                <a:gd name="connsiteY7" fmla="*/ 1390062 h 2349137"/>
                <a:gd name="connsiteX8" fmla="*/ 2221618 w 2772700"/>
                <a:gd name="connsiteY8" fmla="*/ 1595727 h 2349137"/>
                <a:gd name="connsiteX9" fmla="*/ 2170111 w 2772700"/>
                <a:gd name="connsiteY9" fmla="*/ 1703783 h 2349137"/>
                <a:gd name="connsiteX10" fmla="*/ 2155629 w 2772700"/>
                <a:gd name="connsiteY10" fmla="*/ 2346662 h 2349137"/>
                <a:gd name="connsiteX11" fmla="*/ 2145381 w 2772700"/>
                <a:gd name="connsiteY11" fmla="*/ 2345806 h 2349137"/>
                <a:gd name="connsiteX12" fmla="*/ 2099056 w 2772700"/>
                <a:gd name="connsiteY12" fmla="*/ 2341934 h 2349137"/>
                <a:gd name="connsiteX13" fmla="*/ 2006406 w 2772700"/>
                <a:gd name="connsiteY13" fmla="*/ 2344275 h 2349137"/>
                <a:gd name="connsiteX14" fmla="*/ 1913755 w 2772700"/>
                <a:gd name="connsiteY14" fmla="*/ 2349137 h 2349137"/>
                <a:gd name="connsiteX15" fmla="*/ 1821106 w 2772700"/>
                <a:gd name="connsiteY15" fmla="*/ 2348597 h 2349137"/>
                <a:gd name="connsiteX16" fmla="*/ 1728456 w 2772700"/>
                <a:gd name="connsiteY16" fmla="*/ 2343915 h 2349137"/>
                <a:gd name="connsiteX17" fmla="*/ 1635806 w 2772700"/>
                <a:gd name="connsiteY17" fmla="*/ 2339232 h 2349137"/>
                <a:gd name="connsiteX18" fmla="*/ 1543156 w 2772700"/>
                <a:gd name="connsiteY18" fmla="*/ 2338692 h 2349137"/>
                <a:gd name="connsiteX19" fmla="*/ 1450506 w 2772700"/>
                <a:gd name="connsiteY19" fmla="*/ 2348957 h 2349137"/>
                <a:gd name="connsiteX20" fmla="*/ 1357856 w 2772700"/>
                <a:gd name="connsiteY20" fmla="*/ 2344995 h 2349137"/>
                <a:gd name="connsiteX21" fmla="*/ 1265207 w 2772700"/>
                <a:gd name="connsiteY21" fmla="*/ 2341033 h 2349137"/>
                <a:gd name="connsiteX22" fmla="*/ 1172556 w 2772700"/>
                <a:gd name="connsiteY22" fmla="*/ 2338692 h 2349137"/>
                <a:gd name="connsiteX23" fmla="*/ 1079908 w 2772700"/>
                <a:gd name="connsiteY23" fmla="*/ 2344455 h 2349137"/>
                <a:gd name="connsiteX24" fmla="*/ 987257 w 2772700"/>
                <a:gd name="connsiteY24" fmla="*/ 2343554 h 2349137"/>
                <a:gd name="connsiteX25" fmla="*/ 940932 w 2772700"/>
                <a:gd name="connsiteY25" fmla="*/ 2344815 h 2349137"/>
                <a:gd name="connsiteX26" fmla="*/ 895583 w 2772700"/>
                <a:gd name="connsiteY26" fmla="*/ 2346050 h 2349137"/>
                <a:gd name="connsiteX27" fmla="*/ 660020 w 2772700"/>
                <a:gd name="connsiteY27" fmla="*/ 2343569 h 2349137"/>
                <a:gd name="connsiteX28" fmla="*/ 644102 w 2772700"/>
                <a:gd name="connsiteY28" fmla="*/ 2342153 h 2349137"/>
                <a:gd name="connsiteX29" fmla="*/ 616657 w 2772700"/>
                <a:gd name="connsiteY29" fmla="*/ 2341393 h 2349137"/>
                <a:gd name="connsiteX30" fmla="*/ 523566 w 2772700"/>
                <a:gd name="connsiteY30" fmla="*/ 2340313 h 2349137"/>
                <a:gd name="connsiteX31" fmla="*/ 495905 w 2772700"/>
                <a:gd name="connsiteY31" fmla="*/ 2340792 h 2349137"/>
                <a:gd name="connsiteX32" fmla="*/ 480118 w 2772700"/>
                <a:gd name="connsiteY32" fmla="*/ 2341674 h 2349137"/>
                <a:gd name="connsiteX33" fmla="*/ 411331 w 2772700"/>
                <a:gd name="connsiteY33" fmla="*/ 2340949 h 2349137"/>
                <a:gd name="connsiteX34" fmla="*/ 410790 w 2772700"/>
                <a:gd name="connsiteY34" fmla="*/ 1077242 h 2349137"/>
                <a:gd name="connsiteX35" fmla="*/ 205845 w 2772700"/>
                <a:gd name="connsiteY35" fmla="*/ 1035100 h 2349137"/>
                <a:gd name="connsiteX36" fmla="*/ 0 w 2772700"/>
                <a:gd name="connsiteY36" fmla="*/ 418645 h 2349137"/>
                <a:gd name="connsiteX37" fmla="*/ 219712 w 2772700"/>
                <a:gd name="connsiteY37" fmla="*/ 247557 h 2349137"/>
                <a:gd name="connsiteX38" fmla="*/ 1087397 w 2772700"/>
                <a:gd name="connsiteY38" fmla="*/ 1371 h 23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72700" h="2349137">
                  <a:moveTo>
                    <a:pt x="1087397" y="1371"/>
                  </a:moveTo>
                  <a:cubicBezTo>
                    <a:pt x="1152950" y="50897"/>
                    <a:pt x="1183026" y="63143"/>
                    <a:pt x="1241556" y="86735"/>
                  </a:cubicBezTo>
                  <a:cubicBezTo>
                    <a:pt x="1487021" y="185786"/>
                    <a:pt x="1652886" y="116450"/>
                    <a:pt x="1803083" y="35589"/>
                  </a:cubicBezTo>
                  <a:cubicBezTo>
                    <a:pt x="1828476" y="21902"/>
                    <a:pt x="1864675" y="18120"/>
                    <a:pt x="1888087" y="9115"/>
                  </a:cubicBezTo>
                  <a:cubicBezTo>
                    <a:pt x="2071421" y="44053"/>
                    <a:pt x="2344981" y="175881"/>
                    <a:pt x="2516429" y="493923"/>
                  </a:cubicBezTo>
                  <a:cubicBezTo>
                    <a:pt x="2687877" y="811966"/>
                    <a:pt x="2772700" y="1219155"/>
                    <a:pt x="2772700" y="1219155"/>
                  </a:cubicBezTo>
                  <a:lnTo>
                    <a:pt x="2523813" y="1331532"/>
                  </a:lnTo>
                  <a:lnTo>
                    <a:pt x="2230262" y="1390062"/>
                  </a:lnTo>
                  <a:lnTo>
                    <a:pt x="2221618" y="1595727"/>
                  </a:lnTo>
                  <a:lnTo>
                    <a:pt x="2170111" y="1703783"/>
                  </a:lnTo>
                  <a:lnTo>
                    <a:pt x="2155629" y="2346662"/>
                  </a:lnTo>
                  <a:lnTo>
                    <a:pt x="2145381" y="2345806"/>
                  </a:lnTo>
                  <a:cubicBezTo>
                    <a:pt x="2133772" y="2343870"/>
                    <a:pt x="2122163" y="2341934"/>
                    <a:pt x="2099056" y="2341934"/>
                  </a:cubicBezTo>
                  <a:cubicBezTo>
                    <a:pt x="2052841" y="2341934"/>
                    <a:pt x="2052620" y="2344275"/>
                    <a:pt x="2006406" y="2344275"/>
                  </a:cubicBezTo>
                  <a:cubicBezTo>
                    <a:pt x="1960192" y="2344275"/>
                    <a:pt x="1959970" y="2349137"/>
                    <a:pt x="1913755" y="2349137"/>
                  </a:cubicBezTo>
                  <a:lnTo>
                    <a:pt x="1821106" y="2348597"/>
                  </a:lnTo>
                  <a:cubicBezTo>
                    <a:pt x="1774891" y="2348597"/>
                    <a:pt x="1774670" y="2343915"/>
                    <a:pt x="1728456" y="2343915"/>
                  </a:cubicBezTo>
                  <a:cubicBezTo>
                    <a:pt x="1682242" y="2343915"/>
                    <a:pt x="1682021" y="2339232"/>
                    <a:pt x="1635806" y="2339232"/>
                  </a:cubicBezTo>
                  <a:lnTo>
                    <a:pt x="1543156" y="2338692"/>
                  </a:lnTo>
                  <a:cubicBezTo>
                    <a:pt x="1496942" y="2338692"/>
                    <a:pt x="1496720" y="2348957"/>
                    <a:pt x="1450506" y="2348957"/>
                  </a:cubicBezTo>
                  <a:cubicBezTo>
                    <a:pt x="1404292" y="2348957"/>
                    <a:pt x="1404071" y="2344995"/>
                    <a:pt x="1357856" y="2344995"/>
                  </a:cubicBezTo>
                  <a:cubicBezTo>
                    <a:pt x="1311642" y="2344995"/>
                    <a:pt x="1311421" y="2341033"/>
                    <a:pt x="1265207" y="2341033"/>
                  </a:cubicBezTo>
                  <a:cubicBezTo>
                    <a:pt x="1218993" y="2341033"/>
                    <a:pt x="1218772" y="2338692"/>
                    <a:pt x="1172556" y="2338692"/>
                  </a:cubicBezTo>
                  <a:cubicBezTo>
                    <a:pt x="1126342" y="2338692"/>
                    <a:pt x="1126122" y="2344455"/>
                    <a:pt x="1079908" y="2344455"/>
                  </a:cubicBezTo>
                  <a:cubicBezTo>
                    <a:pt x="1033692" y="2344455"/>
                    <a:pt x="1033471" y="2343554"/>
                    <a:pt x="987257" y="2343554"/>
                  </a:cubicBezTo>
                  <a:cubicBezTo>
                    <a:pt x="964150" y="2343554"/>
                    <a:pt x="952541" y="2344185"/>
                    <a:pt x="940932" y="2344815"/>
                  </a:cubicBezTo>
                  <a:lnTo>
                    <a:pt x="895583" y="2346050"/>
                  </a:lnTo>
                  <a:lnTo>
                    <a:pt x="660020" y="2343569"/>
                  </a:lnTo>
                  <a:lnTo>
                    <a:pt x="644102" y="2342153"/>
                  </a:lnTo>
                  <a:cubicBezTo>
                    <a:pt x="636877" y="2341697"/>
                    <a:pt x="628211" y="2341393"/>
                    <a:pt x="616657" y="2341393"/>
                  </a:cubicBezTo>
                  <a:cubicBezTo>
                    <a:pt x="570443" y="2341393"/>
                    <a:pt x="570222" y="2340313"/>
                    <a:pt x="523566" y="2340313"/>
                  </a:cubicBezTo>
                  <a:cubicBezTo>
                    <a:pt x="511902" y="2340313"/>
                    <a:pt x="503168" y="2340505"/>
                    <a:pt x="495905" y="2340792"/>
                  </a:cubicBezTo>
                  <a:lnTo>
                    <a:pt x="480118" y="2341674"/>
                  </a:lnTo>
                  <a:lnTo>
                    <a:pt x="411331" y="2340949"/>
                  </a:lnTo>
                  <a:cubicBezTo>
                    <a:pt x="411331" y="2340949"/>
                    <a:pt x="415113" y="1091829"/>
                    <a:pt x="410790" y="1077242"/>
                  </a:cubicBezTo>
                  <a:cubicBezTo>
                    <a:pt x="410790" y="1077242"/>
                    <a:pt x="209267" y="1046266"/>
                    <a:pt x="205845" y="1035100"/>
                  </a:cubicBezTo>
                  <a:lnTo>
                    <a:pt x="0" y="418645"/>
                  </a:lnTo>
                  <a:cubicBezTo>
                    <a:pt x="5583" y="412882"/>
                    <a:pt x="203144" y="258543"/>
                    <a:pt x="219712" y="247557"/>
                  </a:cubicBezTo>
                  <a:cubicBezTo>
                    <a:pt x="334972" y="171018"/>
                    <a:pt x="749904" y="-17899"/>
                    <a:pt x="1087397" y="137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29FB940-54B7-3A7A-A59A-D49B1A7249E5}"/>
                </a:ext>
              </a:extLst>
            </p:cNvPr>
            <p:cNvSpPr/>
            <p:nvPr/>
          </p:nvSpPr>
          <p:spPr>
            <a:xfrm>
              <a:off x="6634116" y="3728238"/>
              <a:ext cx="2513003" cy="2712739"/>
            </a:xfrm>
            <a:custGeom>
              <a:avLst/>
              <a:gdLst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2170111 w 2170111"/>
                <a:gd name="connsiteY2" fmla="*/ 1944504 h 2342593"/>
                <a:gd name="connsiteX3" fmla="*/ 2155802 w 2170111"/>
                <a:gd name="connsiteY3" fmla="*/ 2340118 h 2342593"/>
                <a:gd name="connsiteX4" fmla="*/ 2145561 w 2170111"/>
                <a:gd name="connsiteY4" fmla="*/ 2339262 h 2342593"/>
                <a:gd name="connsiteX5" fmla="*/ 2099236 w 2170111"/>
                <a:gd name="connsiteY5" fmla="*/ 2335390 h 2342593"/>
                <a:gd name="connsiteX6" fmla="*/ 2006586 w 2170111"/>
                <a:gd name="connsiteY6" fmla="*/ 2337731 h 2342593"/>
                <a:gd name="connsiteX7" fmla="*/ 1913935 w 2170111"/>
                <a:gd name="connsiteY7" fmla="*/ 2342593 h 2342593"/>
                <a:gd name="connsiteX8" fmla="*/ 1821286 w 2170111"/>
                <a:gd name="connsiteY8" fmla="*/ 2342053 h 2342593"/>
                <a:gd name="connsiteX9" fmla="*/ 1728636 w 2170111"/>
                <a:gd name="connsiteY9" fmla="*/ 2337371 h 2342593"/>
                <a:gd name="connsiteX10" fmla="*/ 1635986 w 2170111"/>
                <a:gd name="connsiteY10" fmla="*/ 2332688 h 2342593"/>
                <a:gd name="connsiteX11" fmla="*/ 1543336 w 2170111"/>
                <a:gd name="connsiteY11" fmla="*/ 2332148 h 2342593"/>
                <a:gd name="connsiteX12" fmla="*/ 1450686 w 2170111"/>
                <a:gd name="connsiteY12" fmla="*/ 2342413 h 2342593"/>
                <a:gd name="connsiteX13" fmla="*/ 1358036 w 2170111"/>
                <a:gd name="connsiteY13" fmla="*/ 2338451 h 2342593"/>
                <a:gd name="connsiteX14" fmla="*/ 1265387 w 2170111"/>
                <a:gd name="connsiteY14" fmla="*/ 2334489 h 2342593"/>
                <a:gd name="connsiteX15" fmla="*/ 1172736 w 2170111"/>
                <a:gd name="connsiteY15" fmla="*/ 2332148 h 2342593"/>
                <a:gd name="connsiteX16" fmla="*/ 1080088 w 2170111"/>
                <a:gd name="connsiteY16" fmla="*/ 2337911 h 2342593"/>
                <a:gd name="connsiteX17" fmla="*/ 987437 w 2170111"/>
                <a:gd name="connsiteY17" fmla="*/ 2337010 h 2342593"/>
                <a:gd name="connsiteX18" fmla="*/ 941112 w 2170111"/>
                <a:gd name="connsiteY18" fmla="*/ 2338271 h 2342593"/>
                <a:gd name="connsiteX19" fmla="*/ 895739 w 2170111"/>
                <a:gd name="connsiteY19" fmla="*/ 2339506 h 2342593"/>
                <a:gd name="connsiteX20" fmla="*/ 657732 w 2170111"/>
                <a:gd name="connsiteY20" fmla="*/ 2336999 h 2342593"/>
                <a:gd name="connsiteX21" fmla="*/ 616837 w 2170111"/>
                <a:gd name="connsiteY21" fmla="*/ 2334849 h 2342593"/>
                <a:gd name="connsiteX22" fmla="*/ 523746 w 2170111"/>
                <a:gd name="connsiteY22" fmla="*/ 2333769 h 2342593"/>
                <a:gd name="connsiteX23" fmla="*/ 496085 w 2170111"/>
                <a:gd name="connsiteY23" fmla="*/ 2334248 h 2342593"/>
                <a:gd name="connsiteX24" fmla="*/ 480284 w 2170111"/>
                <a:gd name="connsiteY24" fmla="*/ 2335131 h 2342593"/>
                <a:gd name="connsiteX25" fmla="*/ 411331 w 2170111"/>
                <a:gd name="connsiteY25" fmla="*/ 2334404 h 2342593"/>
                <a:gd name="connsiteX26" fmla="*/ 410790 w 2170111"/>
                <a:gd name="connsiteY26" fmla="*/ 1075920 h 2342593"/>
                <a:gd name="connsiteX27" fmla="*/ 205845 w 2170111"/>
                <a:gd name="connsiteY27" fmla="*/ 1033778 h 2342593"/>
                <a:gd name="connsiteX28" fmla="*/ 124444 w 2170111"/>
                <a:gd name="connsiteY28" fmla="*/ 778588 h 2342593"/>
                <a:gd name="connsiteX29" fmla="*/ 0 w 2170111"/>
                <a:gd name="connsiteY29" fmla="*/ 417143 h 2342593"/>
                <a:gd name="connsiteX30" fmla="*/ 219712 w 2170111"/>
                <a:gd name="connsiteY30" fmla="*/ 246055 h 2342593"/>
                <a:gd name="connsiteX31" fmla="*/ 958988 w 2170111"/>
                <a:gd name="connsiteY31" fmla="*/ 18 h 2342593"/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1657015 w 2170111"/>
                <a:gd name="connsiteY2" fmla="*/ 1048438 h 2342593"/>
                <a:gd name="connsiteX3" fmla="*/ 2170111 w 2170111"/>
                <a:gd name="connsiteY3" fmla="*/ 1944504 h 2342593"/>
                <a:gd name="connsiteX4" fmla="*/ 2155802 w 2170111"/>
                <a:gd name="connsiteY4" fmla="*/ 2340118 h 2342593"/>
                <a:gd name="connsiteX5" fmla="*/ 2145561 w 2170111"/>
                <a:gd name="connsiteY5" fmla="*/ 2339262 h 2342593"/>
                <a:gd name="connsiteX6" fmla="*/ 2099236 w 2170111"/>
                <a:gd name="connsiteY6" fmla="*/ 2335390 h 2342593"/>
                <a:gd name="connsiteX7" fmla="*/ 2006586 w 2170111"/>
                <a:gd name="connsiteY7" fmla="*/ 2337731 h 2342593"/>
                <a:gd name="connsiteX8" fmla="*/ 1913935 w 2170111"/>
                <a:gd name="connsiteY8" fmla="*/ 2342593 h 2342593"/>
                <a:gd name="connsiteX9" fmla="*/ 1821286 w 2170111"/>
                <a:gd name="connsiteY9" fmla="*/ 2342053 h 2342593"/>
                <a:gd name="connsiteX10" fmla="*/ 1728636 w 2170111"/>
                <a:gd name="connsiteY10" fmla="*/ 2337371 h 2342593"/>
                <a:gd name="connsiteX11" fmla="*/ 1635986 w 2170111"/>
                <a:gd name="connsiteY11" fmla="*/ 2332688 h 2342593"/>
                <a:gd name="connsiteX12" fmla="*/ 1543336 w 2170111"/>
                <a:gd name="connsiteY12" fmla="*/ 2332148 h 2342593"/>
                <a:gd name="connsiteX13" fmla="*/ 1450686 w 2170111"/>
                <a:gd name="connsiteY13" fmla="*/ 2342413 h 2342593"/>
                <a:gd name="connsiteX14" fmla="*/ 1358036 w 2170111"/>
                <a:gd name="connsiteY14" fmla="*/ 2338451 h 2342593"/>
                <a:gd name="connsiteX15" fmla="*/ 1265387 w 2170111"/>
                <a:gd name="connsiteY15" fmla="*/ 2334489 h 2342593"/>
                <a:gd name="connsiteX16" fmla="*/ 1172736 w 2170111"/>
                <a:gd name="connsiteY16" fmla="*/ 2332148 h 2342593"/>
                <a:gd name="connsiteX17" fmla="*/ 1080088 w 2170111"/>
                <a:gd name="connsiteY17" fmla="*/ 2337911 h 2342593"/>
                <a:gd name="connsiteX18" fmla="*/ 987437 w 2170111"/>
                <a:gd name="connsiteY18" fmla="*/ 2337010 h 2342593"/>
                <a:gd name="connsiteX19" fmla="*/ 941112 w 2170111"/>
                <a:gd name="connsiteY19" fmla="*/ 2338271 h 2342593"/>
                <a:gd name="connsiteX20" fmla="*/ 895739 w 2170111"/>
                <a:gd name="connsiteY20" fmla="*/ 2339506 h 2342593"/>
                <a:gd name="connsiteX21" fmla="*/ 657732 w 2170111"/>
                <a:gd name="connsiteY21" fmla="*/ 2336999 h 2342593"/>
                <a:gd name="connsiteX22" fmla="*/ 616837 w 2170111"/>
                <a:gd name="connsiteY22" fmla="*/ 2334849 h 2342593"/>
                <a:gd name="connsiteX23" fmla="*/ 523746 w 2170111"/>
                <a:gd name="connsiteY23" fmla="*/ 2333769 h 2342593"/>
                <a:gd name="connsiteX24" fmla="*/ 496085 w 2170111"/>
                <a:gd name="connsiteY24" fmla="*/ 2334248 h 2342593"/>
                <a:gd name="connsiteX25" fmla="*/ 480284 w 2170111"/>
                <a:gd name="connsiteY25" fmla="*/ 2335131 h 2342593"/>
                <a:gd name="connsiteX26" fmla="*/ 411331 w 2170111"/>
                <a:gd name="connsiteY26" fmla="*/ 2334404 h 2342593"/>
                <a:gd name="connsiteX27" fmla="*/ 410790 w 2170111"/>
                <a:gd name="connsiteY27" fmla="*/ 1075920 h 2342593"/>
                <a:gd name="connsiteX28" fmla="*/ 205845 w 2170111"/>
                <a:gd name="connsiteY28" fmla="*/ 1033778 h 2342593"/>
                <a:gd name="connsiteX29" fmla="*/ 124444 w 2170111"/>
                <a:gd name="connsiteY29" fmla="*/ 778588 h 2342593"/>
                <a:gd name="connsiteX30" fmla="*/ 0 w 2170111"/>
                <a:gd name="connsiteY30" fmla="*/ 417143 h 2342593"/>
                <a:gd name="connsiteX31" fmla="*/ 219712 w 2170111"/>
                <a:gd name="connsiteY31" fmla="*/ 246055 h 2342593"/>
                <a:gd name="connsiteX32" fmla="*/ 958988 w 2170111"/>
                <a:gd name="connsiteY32" fmla="*/ 18 h 2342593"/>
                <a:gd name="connsiteX0" fmla="*/ 1657015 w 2170111"/>
                <a:gd name="connsiteY0" fmla="*/ 1048438 h 2342593"/>
                <a:gd name="connsiteX1" fmla="*/ 2170111 w 2170111"/>
                <a:gd name="connsiteY1" fmla="*/ 1944504 h 2342593"/>
                <a:gd name="connsiteX2" fmla="*/ 2155802 w 2170111"/>
                <a:gd name="connsiteY2" fmla="*/ 2340118 h 2342593"/>
                <a:gd name="connsiteX3" fmla="*/ 2145561 w 2170111"/>
                <a:gd name="connsiteY3" fmla="*/ 2339262 h 2342593"/>
                <a:gd name="connsiteX4" fmla="*/ 2099236 w 2170111"/>
                <a:gd name="connsiteY4" fmla="*/ 2335390 h 2342593"/>
                <a:gd name="connsiteX5" fmla="*/ 2006586 w 2170111"/>
                <a:gd name="connsiteY5" fmla="*/ 2337731 h 2342593"/>
                <a:gd name="connsiteX6" fmla="*/ 1913935 w 2170111"/>
                <a:gd name="connsiteY6" fmla="*/ 2342593 h 2342593"/>
                <a:gd name="connsiteX7" fmla="*/ 1821286 w 2170111"/>
                <a:gd name="connsiteY7" fmla="*/ 2342053 h 2342593"/>
                <a:gd name="connsiteX8" fmla="*/ 1728636 w 2170111"/>
                <a:gd name="connsiteY8" fmla="*/ 2337371 h 2342593"/>
                <a:gd name="connsiteX9" fmla="*/ 1635986 w 2170111"/>
                <a:gd name="connsiteY9" fmla="*/ 2332688 h 2342593"/>
                <a:gd name="connsiteX10" fmla="*/ 1543336 w 2170111"/>
                <a:gd name="connsiteY10" fmla="*/ 2332148 h 2342593"/>
                <a:gd name="connsiteX11" fmla="*/ 1450686 w 2170111"/>
                <a:gd name="connsiteY11" fmla="*/ 2342413 h 2342593"/>
                <a:gd name="connsiteX12" fmla="*/ 1358036 w 2170111"/>
                <a:gd name="connsiteY12" fmla="*/ 2338451 h 2342593"/>
                <a:gd name="connsiteX13" fmla="*/ 1265387 w 2170111"/>
                <a:gd name="connsiteY13" fmla="*/ 2334489 h 2342593"/>
                <a:gd name="connsiteX14" fmla="*/ 1172736 w 2170111"/>
                <a:gd name="connsiteY14" fmla="*/ 2332148 h 2342593"/>
                <a:gd name="connsiteX15" fmla="*/ 1080088 w 2170111"/>
                <a:gd name="connsiteY15" fmla="*/ 2337911 h 2342593"/>
                <a:gd name="connsiteX16" fmla="*/ 987437 w 2170111"/>
                <a:gd name="connsiteY16" fmla="*/ 2337010 h 2342593"/>
                <a:gd name="connsiteX17" fmla="*/ 941112 w 2170111"/>
                <a:gd name="connsiteY17" fmla="*/ 2338271 h 2342593"/>
                <a:gd name="connsiteX18" fmla="*/ 895739 w 2170111"/>
                <a:gd name="connsiteY18" fmla="*/ 2339506 h 2342593"/>
                <a:gd name="connsiteX19" fmla="*/ 657732 w 2170111"/>
                <a:gd name="connsiteY19" fmla="*/ 2336999 h 2342593"/>
                <a:gd name="connsiteX20" fmla="*/ 616837 w 2170111"/>
                <a:gd name="connsiteY20" fmla="*/ 2334849 h 2342593"/>
                <a:gd name="connsiteX21" fmla="*/ 523746 w 2170111"/>
                <a:gd name="connsiteY21" fmla="*/ 2333769 h 2342593"/>
                <a:gd name="connsiteX22" fmla="*/ 496085 w 2170111"/>
                <a:gd name="connsiteY22" fmla="*/ 2334248 h 2342593"/>
                <a:gd name="connsiteX23" fmla="*/ 480284 w 2170111"/>
                <a:gd name="connsiteY23" fmla="*/ 2335131 h 2342593"/>
                <a:gd name="connsiteX24" fmla="*/ 411331 w 2170111"/>
                <a:gd name="connsiteY24" fmla="*/ 2334404 h 2342593"/>
                <a:gd name="connsiteX25" fmla="*/ 410790 w 2170111"/>
                <a:gd name="connsiteY25" fmla="*/ 1075920 h 2342593"/>
                <a:gd name="connsiteX26" fmla="*/ 205845 w 2170111"/>
                <a:gd name="connsiteY26" fmla="*/ 1033778 h 2342593"/>
                <a:gd name="connsiteX27" fmla="*/ 124444 w 2170111"/>
                <a:gd name="connsiteY27" fmla="*/ 778588 h 2342593"/>
                <a:gd name="connsiteX28" fmla="*/ 0 w 2170111"/>
                <a:gd name="connsiteY28" fmla="*/ 417143 h 2342593"/>
                <a:gd name="connsiteX29" fmla="*/ 219712 w 2170111"/>
                <a:gd name="connsiteY29" fmla="*/ 246055 h 2342593"/>
                <a:gd name="connsiteX30" fmla="*/ 958988 w 2170111"/>
                <a:gd name="connsiteY30" fmla="*/ 18 h 2342593"/>
                <a:gd name="connsiteX31" fmla="*/ 1062364 w 2170111"/>
                <a:gd name="connsiteY31" fmla="*/ 6352 h 2342593"/>
                <a:gd name="connsiteX32" fmla="*/ 1748455 w 2170111"/>
                <a:gd name="connsiteY32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  <a:gd name="connsiteX31" fmla="*/ 1748455 w 2170111"/>
                <a:gd name="connsiteY31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70111" h="2342593">
                  <a:moveTo>
                    <a:pt x="2170111" y="1944504"/>
                  </a:moveTo>
                  <a:lnTo>
                    <a:pt x="2155802" y="2340118"/>
                  </a:lnTo>
                  <a:lnTo>
                    <a:pt x="2145561" y="2339262"/>
                  </a:lnTo>
                  <a:cubicBezTo>
                    <a:pt x="2133952" y="2337326"/>
                    <a:pt x="2122343" y="2335390"/>
                    <a:pt x="2099236" y="2335390"/>
                  </a:cubicBezTo>
                  <a:cubicBezTo>
                    <a:pt x="2053021" y="2335390"/>
                    <a:pt x="2052800" y="2337731"/>
                    <a:pt x="2006586" y="2337731"/>
                  </a:cubicBezTo>
                  <a:cubicBezTo>
                    <a:pt x="1960372" y="2337731"/>
                    <a:pt x="1960150" y="2342593"/>
                    <a:pt x="1913935" y="2342593"/>
                  </a:cubicBezTo>
                  <a:lnTo>
                    <a:pt x="1821286" y="2342053"/>
                  </a:lnTo>
                  <a:cubicBezTo>
                    <a:pt x="1775071" y="2342053"/>
                    <a:pt x="1774850" y="2337371"/>
                    <a:pt x="1728636" y="2337371"/>
                  </a:cubicBezTo>
                  <a:cubicBezTo>
                    <a:pt x="1682422" y="2337371"/>
                    <a:pt x="1682201" y="2332688"/>
                    <a:pt x="1635986" y="2332688"/>
                  </a:cubicBezTo>
                  <a:lnTo>
                    <a:pt x="1543336" y="2332148"/>
                  </a:lnTo>
                  <a:cubicBezTo>
                    <a:pt x="1497122" y="2332148"/>
                    <a:pt x="1496900" y="2342413"/>
                    <a:pt x="1450686" y="2342413"/>
                  </a:cubicBezTo>
                  <a:cubicBezTo>
                    <a:pt x="1404472" y="2342413"/>
                    <a:pt x="1404251" y="2338451"/>
                    <a:pt x="1358036" y="2338451"/>
                  </a:cubicBezTo>
                  <a:cubicBezTo>
                    <a:pt x="1311822" y="2338451"/>
                    <a:pt x="1311601" y="2334489"/>
                    <a:pt x="1265387" y="2334489"/>
                  </a:cubicBezTo>
                  <a:cubicBezTo>
                    <a:pt x="1219173" y="2334489"/>
                    <a:pt x="1218952" y="2332148"/>
                    <a:pt x="1172736" y="2332148"/>
                  </a:cubicBezTo>
                  <a:cubicBezTo>
                    <a:pt x="1126522" y="2332148"/>
                    <a:pt x="1126302" y="2337911"/>
                    <a:pt x="1080088" y="2337911"/>
                  </a:cubicBezTo>
                  <a:lnTo>
                    <a:pt x="987437" y="2337010"/>
                  </a:lnTo>
                  <a:cubicBezTo>
                    <a:pt x="964330" y="2337010"/>
                    <a:pt x="952721" y="2337641"/>
                    <a:pt x="941112" y="2338271"/>
                  </a:cubicBezTo>
                  <a:lnTo>
                    <a:pt x="895739" y="2339506"/>
                  </a:lnTo>
                  <a:lnTo>
                    <a:pt x="657732" y="2336999"/>
                  </a:lnTo>
                  <a:lnTo>
                    <a:pt x="616837" y="2334849"/>
                  </a:lnTo>
                  <a:cubicBezTo>
                    <a:pt x="570623" y="2334849"/>
                    <a:pt x="570402" y="2333769"/>
                    <a:pt x="523746" y="2333769"/>
                  </a:cubicBezTo>
                  <a:cubicBezTo>
                    <a:pt x="512082" y="2333769"/>
                    <a:pt x="503348" y="2333961"/>
                    <a:pt x="496085" y="2334248"/>
                  </a:cubicBezTo>
                  <a:lnTo>
                    <a:pt x="480284" y="2335131"/>
                  </a:lnTo>
                  <a:lnTo>
                    <a:pt x="411331" y="2334404"/>
                  </a:lnTo>
                  <a:cubicBezTo>
                    <a:pt x="411151" y="1914909"/>
                    <a:pt x="410970" y="1495415"/>
                    <a:pt x="410790" y="1075920"/>
                  </a:cubicBezTo>
                  <a:lnTo>
                    <a:pt x="205845" y="1033778"/>
                  </a:lnTo>
                  <a:lnTo>
                    <a:pt x="124444" y="778588"/>
                  </a:lnTo>
                  <a:lnTo>
                    <a:pt x="0" y="417143"/>
                  </a:lnTo>
                  <a:cubicBezTo>
                    <a:pt x="11166" y="408318"/>
                    <a:pt x="208547" y="254159"/>
                    <a:pt x="219712" y="246055"/>
                  </a:cubicBezTo>
                  <a:cubicBezTo>
                    <a:pt x="510787" y="31160"/>
                    <a:pt x="804191" y="-885"/>
                    <a:pt x="958988" y="18"/>
                  </a:cubicBezTo>
                  <a:cubicBezTo>
                    <a:pt x="1010587" y="319"/>
                    <a:pt x="1046786" y="4281"/>
                    <a:pt x="1062364" y="6352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7ACF1A-4D41-EE59-9666-B34D89BA40EF}"/>
                </a:ext>
              </a:extLst>
            </p:cNvPr>
            <p:cNvSpPr/>
            <p:nvPr/>
          </p:nvSpPr>
          <p:spPr>
            <a:xfrm>
              <a:off x="8820534" y="3737264"/>
              <a:ext cx="1024386" cy="1594855"/>
            </a:xfrm>
            <a:custGeom>
              <a:avLst/>
              <a:gdLst>
                <a:gd name="connsiteX0" fmla="*/ 0 w 884612"/>
                <a:gd name="connsiteY0" fmla="*/ 0 h 1377242"/>
                <a:gd name="connsiteX1" fmla="*/ 39980 w 884612"/>
                <a:gd name="connsiteY1" fmla="*/ 0 h 1377242"/>
                <a:gd name="connsiteX2" fmla="*/ 855798 w 884612"/>
                <a:gd name="connsiteY2" fmla="*/ 1064345 h 1377242"/>
                <a:gd name="connsiteX3" fmla="*/ 884613 w 884612"/>
                <a:gd name="connsiteY3" fmla="*/ 1204817 h 1377242"/>
                <a:gd name="connsiteX4" fmla="*/ 834547 w 884612"/>
                <a:gd name="connsiteY4" fmla="*/ 1229850 h 1377242"/>
                <a:gd name="connsiteX5" fmla="*/ 272479 w 884612"/>
                <a:gd name="connsiteY5" fmla="*/ 1376264 h 137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612" h="1377242">
                  <a:moveTo>
                    <a:pt x="0" y="0"/>
                  </a:moveTo>
                  <a:lnTo>
                    <a:pt x="39980" y="0"/>
                  </a:lnTo>
                  <a:cubicBezTo>
                    <a:pt x="39980" y="0"/>
                    <a:pt x="621138" y="43942"/>
                    <a:pt x="855798" y="1064345"/>
                  </a:cubicBezTo>
                  <a:cubicBezTo>
                    <a:pt x="866063" y="1109368"/>
                    <a:pt x="875788" y="1156012"/>
                    <a:pt x="884613" y="1204817"/>
                  </a:cubicBezTo>
                  <a:cubicBezTo>
                    <a:pt x="867685" y="1213641"/>
                    <a:pt x="850936" y="1221925"/>
                    <a:pt x="834547" y="1229850"/>
                  </a:cubicBezTo>
                  <a:cubicBezTo>
                    <a:pt x="484808" y="1398596"/>
                    <a:pt x="272479" y="1376264"/>
                    <a:pt x="272479" y="137626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58D078A-2BC8-8E58-909B-065734ABF2DA}"/>
                </a:ext>
              </a:extLst>
            </p:cNvPr>
            <p:cNvSpPr/>
            <p:nvPr/>
          </p:nvSpPr>
          <p:spPr>
            <a:xfrm>
              <a:off x="7841053" y="4801408"/>
              <a:ext cx="1952971" cy="1266077"/>
            </a:xfrm>
            <a:custGeom>
              <a:avLst/>
              <a:gdLst>
                <a:gd name="connsiteX0" fmla="*/ 1680380 w 1686493"/>
                <a:gd name="connsiteY0" fmla="*/ 310905 h 1093324"/>
                <a:gd name="connsiteX1" fmla="*/ 1664892 w 1686493"/>
                <a:gd name="connsiteY1" fmla="*/ 1089443 h 1093324"/>
                <a:gd name="connsiteX2" fmla="*/ 399384 w 1686493"/>
                <a:gd name="connsiteY2" fmla="*/ 811381 h 1093324"/>
                <a:gd name="connsiteX3" fmla="*/ 73417 w 1686493"/>
                <a:gd name="connsiteY3" fmla="*/ 811381 h 1093324"/>
                <a:gd name="connsiteX4" fmla="*/ 1740 w 1686493"/>
                <a:gd name="connsiteY4" fmla="*/ 290014 h 1093324"/>
                <a:gd name="connsiteX5" fmla="*/ 217671 w 1686493"/>
                <a:gd name="connsiteY5" fmla="*/ 274526 h 1093324"/>
                <a:gd name="connsiteX6" fmla="*/ 198581 w 1686493"/>
                <a:gd name="connsiteY6" fmla="*/ 81107 h 1093324"/>
                <a:gd name="connsiteX7" fmla="*/ 298712 w 1686493"/>
                <a:gd name="connsiteY7" fmla="*/ 13753 h 1093324"/>
                <a:gd name="connsiteX8" fmla="*/ 412711 w 1686493"/>
                <a:gd name="connsiteY8" fmla="*/ 307483 h 1093324"/>
                <a:gd name="connsiteX9" fmla="*/ 528510 w 1686493"/>
                <a:gd name="connsiteY9" fmla="*/ 518191 h 1093324"/>
                <a:gd name="connsiteX10" fmla="*/ 1191429 w 1686493"/>
                <a:gd name="connsiteY10" fmla="*/ 605175 h 1093324"/>
                <a:gd name="connsiteX11" fmla="*/ 1187828 w 1686493"/>
                <a:gd name="connsiteY11" fmla="*/ 456599 h 1093324"/>
                <a:gd name="connsiteX12" fmla="*/ 1680200 w 1686493"/>
                <a:gd name="connsiteY12" fmla="*/ 310725 h 10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6493" h="1093324">
                  <a:moveTo>
                    <a:pt x="1680380" y="310905"/>
                  </a:moveTo>
                  <a:cubicBezTo>
                    <a:pt x="1680380" y="310905"/>
                    <a:pt x="1701631" y="905569"/>
                    <a:pt x="1664892" y="1089443"/>
                  </a:cubicBezTo>
                  <a:cubicBezTo>
                    <a:pt x="1377105" y="1131945"/>
                    <a:pt x="399384" y="811381"/>
                    <a:pt x="399384" y="811381"/>
                  </a:cubicBezTo>
                  <a:cubicBezTo>
                    <a:pt x="399384" y="811381"/>
                    <a:pt x="117359" y="842717"/>
                    <a:pt x="73417" y="811381"/>
                  </a:cubicBezTo>
                  <a:cubicBezTo>
                    <a:pt x="29475" y="780045"/>
                    <a:pt x="-8705" y="328013"/>
                    <a:pt x="1740" y="290014"/>
                  </a:cubicBezTo>
                  <a:cubicBezTo>
                    <a:pt x="12186" y="252015"/>
                    <a:pt x="217671" y="274526"/>
                    <a:pt x="217671" y="274526"/>
                  </a:cubicBezTo>
                  <a:cubicBezTo>
                    <a:pt x="217671" y="274526"/>
                    <a:pt x="174449" y="162329"/>
                    <a:pt x="198581" y="81107"/>
                  </a:cubicBezTo>
                  <a:cubicBezTo>
                    <a:pt x="222713" y="-114"/>
                    <a:pt x="279803" y="-15602"/>
                    <a:pt x="298712" y="13753"/>
                  </a:cubicBezTo>
                  <a:cubicBezTo>
                    <a:pt x="317802" y="43108"/>
                    <a:pt x="329868" y="257417"/>
                    <a:pt x="412711" y="307483"/>
                  </a:cubicBezTo>
                  <a:cubicBezTo>
                    <a:pt x="495553" y="357549"/>
                    <a:pt x="528510" y="518191"/>
                    <a:pt x="528510" y="518191"/>
                  </a:cubicBezTo>
                  <a:lnTo>
                    <a:pt x="1191429" y="605175"/>
                  </a:lnTo>
                  <a:lnTo>
                    <a:pt x="1187828" y="456599"/>
                  </a:lnTo>
                  <a:cubicBezTo>
                    <a:pt x="1187828" y="456599"/>
                    <a:pt x="1484620" y="413197"/>
                    <a:pt x="1680200" y="310725"/>
                  </a:cubicBez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734772CF-A0AF-7E15-C14A-6774C3237CDB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18D34B-BA3A-D79B-9119-97264096D794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0C674F1-D832-9B3D-D8F8-8212016EF556}"/>
                </a:ext>
              </a:extLst>
            </p:cNvPr>
            <p:cNvGrpSpPr/>
            <p:nvPr/>
          </p:nvGrpSpPr>
          <p:grpSpPr>
            <a:xfrm>
              <a:off x="3927642" y="4952800"/>
              <a:ext cx="1747972" cy="609208"/>
              <a:chOff x="5054552" y="4466735"/>
              <a:chExt cx="1509466" cy="526084"/>
            </a:xfrm>
          </p:grpSpPr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C1E53F3D-34D0-595B-A17B-EF32D305DD6F}"/>
                  </a:ext>
                </a:extLst>
              </p:cNvPr>
              <p:cNvSpPr/>
              <p:nvPr/>
            </p:nvSpPr>
            <p:spPr>
              <a:xfrm>
                <a:off x="5166444" y="4505733"/>
                <a:ext cx="1397349" cy="487086"/>
              </a:xfrm>
              <a:custGeom>
                <a:avLst/>
                <a:gdLst>
                  <a:gd name="connsiteX0" fmla="*/ 965665 w 1037138"/>
                  <a:gd name="connsiteY0" fmla="*/ 361216 h 361524"/>
                  <a:gd name="connsiteX1" fmla="*/ 966685 w 1037138"/>
                  <a:gd name="connsiteY1" fmla="*/ 361220 h 361524"/>
                  <a:gd name="connsiteX2" fmla="*/ 968720 w 1037138"/>
                  <a:gd name="connsiteY2" fmla="*/ 361228 h 361524"/>
                  <a:gd name="connsiteX3" fmla="*/ 842997 w 1037138"/>
                  <a:gd name="connsiteY3" fmla="*/ 360761 h 361524"/>
                  <a:gd name="connsiteX4" fmla="*/ 859013 w 1037138"/>
                  <a:gd name="connsiteY4" fmla="*/ 360812 h 361524"/>
                  <a:gd name="connsiteX5" fmla="*/ 898643 w 1037138"/>
                  <a:gd name="connsiteY5" fmla="*/ 360962 h 361524"/>
                  <a:gd name="connsiteX6" fmla="*/ 712742 w 1037138"/>
                  <a:gd name="connsiteY6" fmla="*/ 360355 h 361524"/>
                  <a:gd name="connsiteX7" fmla="*/ 718640 w 1037138"/>
                  <a:gd name="connsiteY7" fmla="*/ 360369 h 361524"/>
                  <a:gd name="connsiteX8" fmla="*/ 725267 w 1037138"/>
                  <a:gd name="connsiteY8" fmla="*/ 360390 h 361524"/>
                  <a:gd name="connsiteX9" fmla="*/ 182370 w 1037138"/>
                  <a:gd name="connsiteY9" fmla="*/ 359818 h 361524"/>
                  <a:gd name="connsiteX10" fmla="*/ 161904 w 1037138"/>
                  <a:gd name="connsiteY10" fmla="*/ 359840 h 361524"/>
                  <a:gd name="connsiteX11" fmla="*/ 34636 w 1037138"/>
                  <a:gd name="connsiteY11" fmla="*/ 360335 h 361524"/>
                  <a:gd name="connsiteX12" fmla="*/ 307299 w 1037138"/>
                  <a:gd name="connsiteY12" fmla="*/ 359684 h 361524"/>
                  <a:gd name="connsiteX13" fmla="*/ 236414 w 1037138"/>
                  <a:gd name="connsiteY13" fmla="*/ 359760 h 361524"/>
                  <a:gd name="connsiteX14" fmla="*/ 336152 w 1037138"/>
                  <a:gd name="connsiteY14" fmla="*/ 359721 h 361524"/>
                  <a:gd name="connsiteX15" fmla="*/ 365166 w 1037138"/>
                  <a:gd name="connsiteY15" fmla="*/ 194 h 361524"/>
                  <a:gd name="connsiteX16" fmla="*/ 416338 w 1037138"/>
                  <a:gd name="connsiteY16" fmla="*/ 8585 h 361524"/>
                  <a:gd name="connsiteX17" fmla="*/ 425367 w 1037138"/>
                  <a:gd name="connsiteY17" fmla="*/ 12703 h 361524"/>
                  <a:gd name="connsiteX18" fmla="*/ 442665 w 1037138"/>
                  <a:gd name="connsiteY18" fmla="*/ 26844 h 361524"/>
                  <a:gd name="connsiteX19" fmla="*/ 497748 w 1037138"/>
                  <a:gd name="connsiteY19" fmla="*/ 137669 h 361524"/>
                  <a:gd name="connsiteX20" fmla="*/ 522984 w 1037138"/>
                  <a:gd name="connsiteY20" fmla="*/ 121756 h 361524"/>
                  <a:gd name="connsiteX21" fmla="*/ 527051 w 1037138"/>
                  <a:gd name="connsiteY21" fmla="*/ 119798 h 361524"/>
                  <a:gd name="connsiteX22" fmla="*/ 550742 w 1037138"/>
                  <a:gd name="connsiteY22" fmla="*/ 108390 h 361524"/>
                  <a:gd name="connsiteX23" fmla="*/ 623918 w 1037138"/>
                  <a:gd name="connsiteY23" fmla="*/ 92584 h 361524"/>
                  <a:gd name="connsiteX24" fmla="*/ 703815 w 1037138"/>
                  <a:gd name="connsiteY24" fmla="*/ 120347 h 361524"/>
                  <a:gd name="connsiteX25" fmla="*/ 711292 w 1037138"/>
                  <a:gd name="connsiteY25" fmla="*/ 128845 h 361524"/>
                  <a:gd name="connsiteX26" fmla="*/ 728536 w 1037138"/>
                  <a:gd name="connsiteY26" fmla="*/ 138226 h 361524"/>
                  <a:gd name="connsiteX27" fmla="*/ 748921 w 1037138"/>
                  <a:gd name="connsiteY27" fmla="*/ 161394 h 361524"/>
                  <a:gd name="connsiteX28" fmla="*/ 762013 w 1037138"/>
                  <a:gd name="connsiteY28" fmla="*/ 176273 h 361524"/>
                  <a:gd name="connsiteX29" fmla="*/ 1013917 w 1037138"/>
                  <a:gd name="connsiteY29" fmla="*/ 328545 h 361524"/>
                  <a:gd name="connsiteX30" fmla="*/ 1030921 w 1037138"/>
                  <a:gd name="connsiteY30" fmla="*/ 352164 h 361524"/>
                  <a:gd name="connsiteX31" fmla="*/ 1031082 w 1037138"/>
                  <a:gd name="connsiteY31" fmla="*/ 352388 h 361524"/>
                  <a:gd name="connsiteX32" fmla="*/ 1037138 w 1037138"/>
                  <a:gd name="connsiteY32" fmla="*/ 361523 h 361524"/>
                  <a:gd name="connsiteX33" fmla="*/ 1037125 w 1037138"/>
                  <a:gd name="connsiteY33" fmla="*/ 361523 h 361524"/>
                  <a:gd name="connsiteX34" fmla="*/ 1028119 w 1037138"/>
                  <a:gd name="connsiteY34" fmla="*/ 361482 h 361524"/>
                  <a:gd name="connsiteX35" fmla="*/ 968720 w 1037138"/>
                  <a:gd name="connsiteY35" fmla="*/ 361228 h 361524"/>
                  <a:gd name="connsiteX36" fmla="*/ 982594 w 1037138"/>
                  <a:gd name="connsiteY36" fmla="*/ 361285 h 361524"/>
                  <a:gd name="connsiteX37" fmla="*/ 973083 w 1037138"/>
                  <a:gd name="connsiteY37" fmla="*/ 361245 h 361524"/>
                  <a:gd name="connsiteX38" fmla="*/ 964401 w 1037138"/>
                  <a:gd name="connsiteY38" fmla="*/ 361211 h 361524"/>
                  <a:gd name="connsiteX39" fmla="*/ 965665 w 1037138"/>
                  <a:gd name="connsiteY39" fmla="*/ 361216 h 361524"/>
                  <a:gd name="connsiteX40" fmla="*/ 898643 w 1037138"/>
                  <a:gd name="connsiteY40" fmla="*/ 360962 h 361524"/>
                  <a:gd name="connsiteX41" fmla="*/ 924833 w 1037138"/>
                  <a:gd name="connsiteY41" fmla="*/ 361056 h 361524"/>
                  <a:gd name="connsiteX42" fmla="*/ 879807 w 1037138"/>
                  <a:gd name="connsiteY42" fmla="*/ 360881 h 361524"/>
                  <a:gd name="connsiteX43" fmla="*/ 818769 w 1037138"/>
                  <a:gd name="connsiteY43" fmla="*/ 360674 h 361524"/>
                  <a:gd name="connsiteX44" fmla="*/ 842997 w 1037138"/>
                  <a:gd name="connsiteY44" fmla="*/ 360761 h 361524"/>
                  <a:gd name="connsiteX45" fmla="*/ 725267 w 1037138"/>
                  <a:gd name="connsiteY45" fmla="*/ 360390 h 361524"/>
                  <a:gd name="connsiteX46" fmla="*/ 776920 w 1037138"/>
                  <a:gd name="connsiteY46" fmla="*/ 360532 h 361524"/>
                  <a:gd name="connsiteX47" fmla="*/ 757074 w 1037138"/>
                  <a:gd name="connsiteY47" fmla="*/ 360464 h 361524"/>
                  <a:gd name="connsiteX48" fmla="*/ 614401 w 1037138"/>
                  <a:gd name="connsiteY48" fmla="*/ 360074 h 361524"/>
                  <a:gd name="connsiteX49" fmla="*/ 607277 w 1037138"/>
                  <a:gd name="connsiteY49" fmla="*/ 360065 h 361524"/>
                  <a:gd name="connsiteX50" fmla="*/ 712742 w 1037138"/>
                  <a:gd name="connsiteY50" fmla="*/ 360355 h 361524"/>
                  <a:gd name="connsiteX51" fmla="*/ 560569 w 1037138"/>
                  <a:gd name="connsiteY51" fmla="*/ 360006 h 361524"/>
                  <a:gd name="connsiteX52" fmla="*/ 557717 w 1037138"/>
                  <a:gd name="connsiteY52" fmla="*/ 360002 h 361524"/>
                  <a:gd name="connsiteX53" fmla="*/ 236668 w 1037138"/>
                  <a:gd name="connsiteY53" fmla="*/ 359944 h 361524"/>
                  <a:gd name="connsiteX54" fmla="*/ 0 w 1037138"/>
                  <a:gd name="connsiteY54" fmla="*/ 361524 h 361524"/>
                  <a:gd name="connsiteX55" fmla="*/ 353 w 1037138"/>
                  <a:gd name="connsiteY55" fmla="*/ 360601 h 361524"/>
                  <a:gd name="connsiteX56" fmla="*/ 17234 w 1037138"/>
                  <a:gd name="connsiteY56" fmla="*/ 316491 h 361524"/>
                  <a:gd name="connsiteX57" fmla="*/ 230605 w 1037138"/>
                  <a:gd name="connsiteY57" fmla="*/ 152429 h 361524"/>
                  <a:gd name="connsiteX58" fmla="*/ 365166 w 1037138"/>
                  <a:gd name="connsiteY58" fmla="*/ 194 h 36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37138" h="361524">
                    <a:moveTo>
                      <a:pt x="965665" y="361216"/>
                    </a:moveTo>
                    <a:lnTo>
                      <a:pt x="966685" y="361220"/>
                    </a:lnTo>
                    <a:lnTo>
                      <a:pt x="968720" y="361228"/>
                    </a:lnTo>
                    <a:close/>
                    <a:moveTo>
                      <a:pt x="842997" y="360761"/>
                    </a:moveTo>
                    <a:lnTo>
                      <a:pt x="859013" y="360812"/>
                    </a:lnTo>
                    <a:lnTo>
                      <a:pt x="898643" y="360962"/>
                    </a:lnTo>
                    <a:close/>
                    <a:moveTo>
                      <a:pt x="712742" y="360355"/>
                    </a:moveTo>
                    <a:lnTo>
                      <a:pt x="718640" y="360369"/>
                    </a:lnTo>
                    <a:lnTo>
                      <a:pt x="725267" y="360390"/>
                    </a:lnTo>
                    <a:close/>
                    <a:moveTo>
                      <a:pt x="182370" y="359818"/>
                    </a:moveTo>
                    <a:lnTo>
                      <a:pt x="161904" y="359840"/>
                    </a:lnTo>
                    <a:cubicBezTo>
                      <a:pt x="115932" y="359945"/>
                      <a:pt x="72981" y="360105"/>
                      <a:pt x="34636" y="360335"/>
                    </a:cubicBezTo>
                    <a:close/>
                    <a:moveTo>
                      <a:pt x="307299" y="359684"/>
                    </a:moveTo>
                    <a:lnTo>
                      <a:pt x="236414" y="359760"/>
                    </a:lnTo>
                    <a:lnTo>
                      <a:pt x="336152" y="359721"/>
                    </a:lnTo>
                    <a:close/>
                    <a:moveTo>
                      <a:pt x="365166" y="194"/>
                    </a:moveTo>
                    <a:cubicBezTo>
                      <a:pt x="384217" y="965"/>
                      <a:pt x="401201" y="3951"/>
                      <a:pt x="416338" y="8585"/>
                    </a:cubicBezTo>
                    <a:lnTo>
                      <a:pt x="425367" y="12703"/>
                    </a:lnTo>
                    <a:lnTo>
                      <a:pt x="442665" y="26844"/>
                    </a:lnTo>
                    <a:cubicBezTo>
                      <a:pt x="489236" y="75270"/>
                      <a:pt x="497748" y="137669"/>
                      <a:pt x="497748" y="137669"/>
                    </a:cubicBezTo>
                    <a:cubicBezTo>
                      <a:pt x="497748" y="137669"/>
                      <a:pt x="507282" y="130432"/>
                      <a:pt x="522984" y="121756"/>
                    </a:cubicBezTo>
                    <a:lnTo>
                      <a:pt x="527051" y="119798"/>
                    </a:lnTo>
                    <a:lnTo>
                      <a:pt x="550742" y="108390"/>
                    </a:lnTo>
                    <a:cubicBezTo>
                      <a:pt x="571771" y="99727"/>
                      <a:pt x="597285" y="92525"/>
                      <a:pt x="623918" y="92584"/>
                    </a:cubicBezTo>
                    <a:cubicBezTo>
                      <a:pt x="650553" y="92645"/>
                      <a:pt x="678307" y="99966"/>
                      <a:pt x="703815" y="120347"/>
                    </a:cubicBezTo>
                    <a:lnTo>
                      <a:pt x="711292" y="128845"/>
                    </a:lnTo>
                    <a:lnTo>
                      <a:pt x="728536" y="138226"/>
                    </a:lnTo>
                    <a:lnTo>
                      <a:pt x="748921" y="161394"/>
                    </a:lnTo>
                    <a:lnTo>
                      <a:pt x="762013" y="176273"/>
                    </a:lnTo>
                    <a:cubicBezTo>
                      <a:pt x="867436" y="154763"/>
                      <a:pt x="969483" y="269722"/>
                      <a:pt x="1013917" y="328545"/>
                    </a:cubicBezTo>
                    <a:lnTo>
                      <a:pt x="1030921" y="352164"/>
                    </a:lnTo>
                    <a:lnTo>
                      <a:pt x="1031082" y="352388"/>
                    </a:lnTo>
                    <a:lnTo>
                      <a:pt x="1037138" y="361523"/>
                    </a:lnTo>
                    <a:lnTo>
                      <a:pt x="1037125" y="361523"/>
                    </a:lnTo>
                    <a:lnTo>
                      <a:pt x="1028119" y="361482"/>
                    </a:lnTo>
                    <a:lnTo>
                      <a:pt x="968720" y="361228"/>
                    </a:lnTo>
                    <a:lnTo>
                      <a:pt x="982594" y="361285"/>
                    </a:lnTo>
                    <a:lnTo>
                      <a:pt x="973083" y="361245"/>
                    </a:lnTo>
                    <a:lnTo>
                      <a:pt x="964401" y="361211"/>
                    </a:lnTo>
                    <a:lnTo>
                      <a:pt x="965665" y="361216"/>
                    </a:lnTo>
                    <a:lnTo>
                      <a:pt x="898643" y="360962"/>
                    </a:lnTo>
                    <a:lnTo>
                      <a:pt x="924833" y="361056"/>
                    </a:lnTo>
                    <a:lnTo>
                      <a:pt x="879807" y="360881"/>
                    </a:lnTo>
                    <a:lnTo>
                      <a:pt x="818769" y="360674"/>
                    </a:lnTo>
                    <a:lnTo>
                      <a:pt x="842997" y="360761"/>
                    </a:lnTo>
                    <a:lnTo>
                      <a:pt x="725267" y="360390"/>
                    </a:lnTo>
                    <a:lnTo>
                      <a:pt x="776920" y="360532"/>
                    </a:lnTo>
                    <a:lnTo>
                      <a:pt x="757074" y="360464"/>
                    </a:lnTo>
                    <a:cubicBezTo>
                      <a:pt x="712311" y="360326"/>
                      <a:pt x="664225" y="360191"/>
                      <a:pt x="614401" y="360074"/>
                    </a:cubicBezTo>
                    <a:lnTo>
                      <a:pt x="607277" y="360065"/>
                    </a:lnTo>
                    <a:lnTo>
                      <a:pt x="712742" y="360355"/>
                    </a:lnTo>
                    <a:lnTo>
                      <a:pt x="560569" y="360006"/>
                    </a:lnTo>
                    <a:lnTo>
                      <a:pt x="557717" y="360002"/>
                    </a:lnTo>
                    <a:lnTo>
                      <a:pt x="236668" y="359944"/>
                    </a:lnTo>
                    <a:cubicBezTo>
                      <a:pt x="137468" y="360148"/>
                      <a:pt x="52563" y="360625"/>
                      <a:pt x="0" y="361524"/>
                    </a:cubicBezTo>
                    <a:lnTo>
                      <a:pt x="353" y="360601"/>
                    </a:lnTo>
                    <a:lnTo>
                      <a:pt x="17234" y="316491"/>
                    </a:lnTo>
                    <a:cubicBezTo>
                      <a:pt x="73581" y="216388"/>
                      <a:pt x="230605" y="152429"/>
                      <a:pt x="230605" y="152429"/>
                    </a:cubicBezTo>
                    <a:cubicBezTo>
                      <a:pt x="230605" y="152429"/>
                      <a:pt x="204926" y="-6310"/>
                      <a:pt x="365166" y="194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CC0F0F4-3DC6-1553-7C4C-F47E2A2CD2A3}"/>
                  </a:ext>
                </a:extLst>
              </p:cNvPr>
              <p:cNvSpPr/>
              <p:nvPr/>
            </p:nvSpPr>
            <p:spPr>
              <a:xfrm>
                <a:off x="5054552" y="4466735"/>
                <a:ext cx="1509466" cy="526084"/>
              </a:xfrm>
              <a:custGeom>
                <a:avLst/>
                <a:gdLst>
                  <a:gd name="connsiteX0" fmla="*/ 1120174 w 1120353"/>
                  <a:gd name="connsiteY0" fmla="*/ 390470 h 390469"/>
                  <a:gd name="connsiteX1" fmla="*/ 823021 w 1120353"/>
                  <a:gd name="connsiteY1" fmla="*/ 190387 h 390469"/>
                  <a:gd name="connsiteX2" fmla="*/ 580797 w 1120353"/>
                  <a:gd name="connsiteY2" fmla="*/ 166615 h 390469"/>
                  <a:gd name="connsiteX3" fmla="*/ 394402 w 1120353"/>
                  <a:gd name="connsiteY3" fmla="*/ 210 h 390469"/>
                  <a:gd name="connsiteX4" fmla="*/ 249068 w 1120353"/>
                  <a:gd name="connsiteY4" fmla="*/ 164634 h 390469"/>
                  <a:gd name="connsiteX5" fmla="*/ 0 w 1120353"/>
                  <a:gd name="connsiteY5" fmla="*/ 390470 h 390469"/>
                  <a:gd name="connsiteX6" fmla="*/ 1120354 w 1120353"/>
                  <a:gd name="connsiteY6" fmla="*/ 390470 h 39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0353" h="390469">
                    <a:moveTo>
                      <a:pt x="1120174" y="390470"/>
                    </a:moveTo>
                    <a:cubicBezTo>
                      <a:pt x="1120174" y="390470"/>
                      <a:pt x="974839" y="159411"/>
                      <a:pt x="823021" y="190387"/>
                    </a:cubicBezTo>
                    <a:cubicBezTo>
                      <a:pt x="733336" y="50816"/>
                      <a:pt x="580797" y="166615"/>
                      <a:pt x="580797" y="166615"/>
                    </a:cubicBezTo>
                    <a:cubicBezTo>
                      <a:pt x="580797" y="166615"/>
                      <a:pt x="559006" y="6873"/>
                      <a:pt x="394402" y="210"/>
                    </a:cubicBezTo>
                    <a:cubicBezTo>
                      <a:pt x="221333" y="-6814"/>
                      <a:pt x="249068" y="164634"/>
                      <a:pt x="249068" y="164634"/>
                    </a:cubicBezTo>
                    <a:cubicBezTo>
                      <a:pt x="249068" y="164634"/>
                      <a:pt x="27554" y="254860"/>
                      <a:pt x="0" y="390470"/>
                    </a:cubicBezTo>
                    <a:cubicBezTo>
                      <a:pt x="242224" y="386328"/>
                      <a:pt x="1120354" y="390470"/>
                      <a:pt x="1120354" y="39047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DB2D27-D1C3-01E6-12C2-D472F8F83733}"/>
                </a:ext>
              </a:extLst>
            </p:cNvPr>
            <p:cNvSpPr/>
            <p:nvPr/>
          </p:nvSpPr>
          <p:spPr>
            <a:xfrm>
              <a:off x="9124596" y="4969782"/>
              <a:ext cx="686956" cy="217724"/>
            </a:xfrm>
            <a:custGeom>
              <a:avLst/>
              <a:gdLst>
                <a:gd name="connsiteX0" fmla="*/ 593224 w 593223"/>
                <a:gd name="connsiteY0" fmla="*/ 0 h 188016"/>
                <a:gd name="connsiteX1" fmla="*/ 0 w 593223"/>
                <a:gd name="connsiteY1" fmla="*/ 188016 h 18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3223" h="188016">
                  <a:moveTo>
                    <a:pt x="593224" y="0"/>
                  </a:moveTo>
                  <a:cubicBezTo>
                    <a:pt x="593224" y="0"/>
                    <a:pt x="300214" y="171448"/>
                    <a:pt x="0" y="18801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F3C60DB-50E0-2736-8FDC-3524636BCC78}"/>
                </a:ext>
              </a:extLst>
            </p:cNvPr>
            <p:cNvSpPr/>
            <p:nvPr/>
          </p:nvSpPr>
          <p:spPr>
            <a:xfrm>
              <a:off x="6738598" y="4122660"/>
              <a:ext cx="229402" cy="670481"/>
            </a:xfrm>
            <a:custGeom>
              <a:avLst/>
              <a:gdLst>
                <a:gd name="connsiteX0" fmla="*/ 0 w 198101"/>
                <a:gd name="connsiteY0" fmla="*/ 0 h 578996"/>
                <a:gd name="connsiteX1" fmla="*/ 198101 w 198101"/>
                <a:gd name="connsiteY1" fmla="*/ 578996 h 57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01" h="578996">
                  <a:moveTo>
                    <a:pt x="0" y="0"/>
                  </a:moveTo>
                  <a:cubicBezTo>
                    <a:pt x="0" y="0"/>
                    <a:pt x="72037" y="240783"/>
                    <a:pt x="198101" y="57899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/>
            </a:p>
          </p:txBody>
        </p:sp>
        <p:grpSp>
          <p:nvGrpSpPr>
            <p:cNvPr id="649" name="Group 648">
              <a:extLst>
                <a:ext uri="{FF2B5EF4-FFF2-40B4-BE49-F238E27FC236}">
                  <a16:creationId xmlns:a16="http://schemas.microsoft.com/office/drawing/2014/main" id="{A45E782A-6B5A-126B-7CFA-537558CDAF0F}"/>
                </a:ext>
              </a:extLst>
            </p:cNvPr>
            <p:cNvGrpSpPr/>
            <p:nvPr/>
          </p:nvGrpSpPr>
          <p:grpSpPr>
            <a:xfrm>
              <a:off x="10425516" y="2661856"/>
              <a:ext cx="402919" cy="429901"/>
              <a:chOff x="10665809" y="2488384"/>
              <a:chExt cx="347942" cy="37124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E5190DF-0C1B-5697-C92D-A256052C4D82}"/>
                  </a:ext>
                </a:extLst>
              </p:cNvPr>
              <p:cNvSpPr/>
              <p:nvPr/>
            </p:nvSpPr>
            <p:spPr>
              <a:xfrm>
                <a:off x="10665809" y="2652067"/>
                <a:ext cx="241373" cy="207559"/>
              </a:xfrm>
              <a:custGeom>
                <a:avLst/>
                <a:gdLst>
                  <a:gd name="connsiteX0" fmla="*/ 40524 w 241373"/>
                  <a:gd name="connsiteY0" fmla="*/ 139529 h 207559"/>
                  <a:gd name="connsiteX1" fmla="*/ 82485 w 241373"/>
                  <a:gd name="connsiteY1" fmla="*/ 167443 h 207559"/>
                  <a:gd name="connsiteX2" fmla="*/ 126788 w 241373"/>
                  <a:gd name="connsiteY2" fmla="*/ 191756 h 207559"/>
                  <a:gd name="connsiteX3" fmla="*/ 183337 w 241373"/>
                  <a:gd name="connsiteY3" fmla="*/ 206343 h 207559"/>
                  <a:gd name="connsiteX4" fmla="*/ 234123 w 241373"/>
                  <a:gd name="connsiteY4" fmla="*/ 172486 h 207559"/>
                  <a:gd name="connsiteX5" fmla="*/ 232322 w 241373"/>
                  <a:gd name="connsiteY5" fmla="*/ 171405 h 207559"/>
                  <a:gd name="connsiteX6" fmla="*/ 238445 w 241373"/>
                  <a:gd name="connsiteY6" fmla="*/ 112875 h 207559"/>
                  <a:gd name="connsiteX7" fmla="*/ 205308 w 241373"/>
                  <a:gd name="connsiteY7" fmla="*/ 66592 h 207559"/>
                  <a:gd name="connsiteX8" fmla="*/ 164067 w 241373"/>
                  <a:gd name="connsiteY8" fmla="*/ 37417 h 207559"/>
                  <a:gd name="connsiteX9" fmla="*/ 121025 w 241373"/>
                  <a:gd name="connsiteY9" fmla="*/ 10943 h 207559"/>
                  <a:gd name="connsiteX10" fmla="*/ 63035 w 241373"/>
                  <a:gd name="connsiteY10" fmla="*/ 2119 h 207559"/>
                  <a:gd name="connsiteX11" fmla="*/ 14590 w 241373"/>
                  <a:gd name="connsiteY11" fmla="*/ 35436 h 207559"/>
                  <a:gd name="connsiteX12" fmla="*/ 1444 w 241373"/>
                  <a:gd name="connsiteY12" fmla="*/ 94506 h 207559"/>
                  <a:gd name="connsiteX13" fmla="*/ 40704 w 241373"/>
                  <a:gd name="connsiteY13" fmla="*/ 139349 h 207559"/>
                  <a:gd name="connsiteX14" fmla="*/ 40704 w 241373"/>
                  <a:gd name="connsiteY14" fmla="*/ 139349 h 20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373" h="207559">
                    <a:moveTo>
                      <a:pt x="40524" y="139529"/>
                    </a:moveTo>
                    <a:cubicBezTo>
                      <a:pt x="61955" y="152856"/>
                      <a:pt x="61234" y="154116"/>
                      <a:pt x="82485" y="167443"/>
                    </a:cubicBezTo>
                    <a:cubicBezTo>
                      <a:pt x="103736" y="180770"/>
                      <a:pt x="105357" y="178249"/>
                      <a:pt x="126788" y="191756"/>
                    </a:cubicBezTo>
                    <a:cubicBezTo>
                      <a:pt x="144797" y="202921"/>
                      <a:pt x="164067" y="210665"/>
                      <a:pt x="183337" y="206343"/>
                    </a:cubicBezTo>
                    <a:cubicBezTo>
                      <a:pt x="202427" y="202021"/>
                      <a:pt x="222777" y="190495"/>
                      <a:pt x="234123" y="172486"/>
                    </a:cubicBezTo>
                    <a:lnTo>
                      <a:pt x="232322" y="171405"/>
                    </a:lnTo>
                    <a:cubicBezTo>
                      <a:pt x="243488" y="153396"/>
                      <a:pt x="242767" y="132145"/>
                      <a:pt x="238445" y="112875"/>
                    </a:cubicBezTo>
                    <a:cubicBezTo>
                      <a:pt x="234123" y="93605"/>
                      <a:pt x="223137" y="77757"/>
                      <a:pt x="205308" y="66592"/>
                    </a:cubicBezTo>
                    <a:cubicBezTo>
                      <a:pt x="183877" y="53265"/>
                      <a:pt x="185318" y="50743"/>
                      <a:pt x="164067" y="37417"/>
                    </a:cubicBezTo>
                    <a:cubicBezTo>
                      <a:pt x="142816" y="24090"/>
                      <a:pt x="142456" y="24270"/>
                      <a:pt x="121025" y="10943"/>
                    </a:cubicBezTo>
                    <a:cubicBezTo>
                      <a:pt x="103016" y="-223"/>
                      <a:pt x="82125" y="-2204"/>
                      <a:pt x="63035" y="2119"/>
                    </a:cubicBezTo>
                    <a:cubicBezTo>
                      <a:pt x="43946" y="6441"/>
                      <a:pt x="25936" y="17426"/>
                      <a:pt x="14590" y="35436"/>
                    </a:cubicBezTo>
                    <a:cubicBezTo>
                      <a:pt x="3425" y="53445"/>
                      <a:pt x="-3059" y="75236"/>
                      <a:pt x="1444" y="94506"/>
                    </a:cubicBezTo>
                    <a:cubicBezTo>
                      <a:pt x="5766" y="113776"/>
                      <a:pt x="22694" y="128183"/>
                      <a:pt x="40704" y="139349"/>
                    </a:cubicBezTo>
                    <a:lnTo>
                      <a:pt x="40704" y="139349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46F0B76-B297-AB79-6052-B6B400E361D4}"/>
                  </a:ext>
                </a:extLst>
              </p:cNvPr>
              <p:cNvSpPr/>
              <p:nvPr/>
            </p:nvSpPr>
            <p:spPr>
              <a:xfrm>
                <a:off x="10849031" y="2565750"/>
                <a:ext cx="164720" cy="143776"/>
              </a:xfrm>
              <a:custGeom>
                <a:avLst/>
                <a:gdLst>
                  <a:gd name="connsiteX0" fmla="*/ 72511 w 164720"/>
                  <a:gd name="connsiteY0" fmla="*/ 22701 h 143776"/>
                  <a:gd name="connsiteX1" fmla="*/ 40815 w 164720"/>
                  <a:gd name="connsiteY1" fmla="*/ 55478 h 143776"/>
                  <a:gd name="connsiteX2" fmla="*/ 20644 w 164720"/>
                  <a:gd name="connsiteY2" fmla="*/ 96719 h 143776"/>
                  <a:gd name="connsiteX3" fmla="*/ 5156 w 164720"/>
                  <a:gd name="connsiteY3" fmla="*/ 136519 h 143776"/>
                  <a:gd name="connsiteX4" fmla="*/ 47118 w 164720"/>
                  <a:gd name="connsiteY4" fmla="*/ 128775 h 143776"/>
                  <a:gd name="connsiteX5" fmla="*/ 91961 w 164720"/>
                  <a:gd name="connsiteY5" fmla="*/ 118690 h 143776"/>
                  <a:gd name="connsiteX6" fmla="*/ 130141 w 164720"/>
                  <a:gd name="connsiteY6" fmla="*/ 93117 h 143776"/>
                  <a:gd name="connsiteX7" fmla="*/ 162377 w 164720"/>
                  <a:gd name="connsiteY7" fmla="*/ 59980 h 143776"/>
                  <a:gd name="connsiteX8" fmla="*/ 148870 w 164720"/>
                  <a:gd name="connsiteY8" fmla="*/ 18559 h 143776"/>
                  <a:gd name="connsiteX9" fmla="*/ 111591 w 164720"/>
                  <a:gd name="connsiteY9" fmla="*/ 910 h 143776"/>
                  <a:gd name="connsiteX10" fmla="*/ 72151 w 164720"/>
                  <a:gd name="connsiteY10" fmla="*/ 22701 h 143776"/>
                  <a:gd name="connsiteX11" fmla="*/ 72511 w 164720"/>
                  <a:gd name="connsiteY11" fmla="*/ 22701 h 143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720" h="143776">
                    <a:moveTo>
                      <a:pt x="72511" y="22701"/>
                    </a:moveTo>
                    <a:cubicBezTo>
                      <a:pt x="61705" y="31525"/>
                      <a:pt x="49639" y="42331"/>
                      <a:pt x="40815" y="55478"/>
                    </a:cubicBezTo>
                    <a:cubicBezTo>
                      <a:pt x="31990" y="68625"/>
                      <a:pt x="26767" y="83932"/>
                      <a:pt x="20644" y="96719"/>
                    </a:cubicBezTo>
                    <a:cubicBezTo>
                      <a:pt x="9478" y="119951"/>
                      <a:pt x="-9071" y="119050"/>
                      <a:pt x="5156" y="136519"/>
                    </a:cubicBezTo>
                    <a:cubicBezTo>
                      <a:pt x="19384" y="153988"/>
                      <a:pt x="22265" y="135259"/>
                      <a:pt x="47118" y="128775"/>
                    </a:cubicBezTo>
                    <a:cubicBezTo>
                      <a:pt x="60625" y="125353"/>
                      <a:pt x="77374" y="124633"/>
                      <a:pt x="91961" y="118690"/>
                    </a:cubicBezTo>
                    <a:cubicBezTo>
                      <a:pt x="106368" y="112747"/>
                      <a:pt x="119335" y="101942"/>
                      <a:pt x="130141" y="93117"/>
                    </a:cubicBezTo>
                    <a:cubicBezTo>
                      <a:pt x="145808" y="80150"/>
                      <a:pt x="157875" y="70245"/>
                      <a:pt x="162377" y="59980"/>
                    </a:cubicBezTo>
                    <a:cubicBezTo>
                      <a:pt x="169581" y="43592"/>
                      <a:pt x="158775" y="30805"/>
                      <a:pt x="148870" y="18559"/>
                    </a:cubicBezTo>
                    <a:cubicBezTo>
                      <a:pt x="138965" y="6493"/>
                      <a:pt x="129420" y="-3052"/>
                      <a:pt x="111591" y="910"/>
                    </a:cubicBezTo>
                    <a:cubicBezTo>
                      <a:pt x="100785" y="3251"/>
                      <a:pt x="87819" y="9734"/>
                      <a:pt x="72151" y="22701"/>
                    </a:cubicBezTo>
                    <a:lnTo>
                      <a:pt x="72511" y="2270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5A1B30C-E87D-0CA1-7914-BABAF3AFE40C}"/>
                  </a:ext>
                </a:extLst>
              </p:cNvPr>
              <p:cNvSpPr/>
              <p:nvPr/>
            </p:nvSpPr>
            <p:spPr>
              <a:xfrm>
                <a:off x="10795520" y="2488384"/>
                <a:ext cx="109626" cy="223994"/>
              </a:xfrm>
              <a:custGeom>
                <a:avLst/>
                <a:gdLst>
                  <a:gd name="connsiteX0" fmla="*/ 1578 w 109626"/>
                  <a:gd name="connsiteY0" fmla="*/ 69271 h 223994"/>
                  <a:gd name="connsiteX1" fmla="*/ 2479 w 109626"/>
                  <a:gd name="connsiteY1" fmla="*/ 122398 h 223994"/>
                  <a:gd name="connsiteX2" fmla="*/ 21388 w 109626"/>
                  <a:gd name="connsiteY2" fmla="*/ 172104 h 223994"/>
                  <a:gd name="connsiteX3" fmla="*/ 39578 w 109626"/>
                  <a:gd name="connsiteY3" fmla="*/ 223790 h 223994"/>
                  <a:gd name="connsiteX4" fmla="*/ 66592 w 109626"/>
                  <a:gd name="connsiteY4" fmla="*/ 176246 h 223994"/>
                  <a:gd name="connsiteX5" fmla="*/ 90904 w 109626"/>
                  <a:gd name="connsiteY5" fmla="*/ 129602 h 223994"/>
                  <a:gd name="connsiteX6" fmla="*/ 108913 w 109626"/>
                  <a:gd name="connsiteY6" fmla="*/ 79897 h 223994"/>
                  <a:gd name="connsiteX7" fmla="*/ 102790 w 109626"/>
                  <a:gd name="connsiteY7" fmla="*/ 27490 h 223994"/>
                  <a:gd name="connsiteX8" fmla="*/ 61729 w 109626"/>
                  <a:gd name="connsiteY8" fmla="*/ 476 h 223994"/>
                  <a:gd name="connsiteX9" fmla="*/ 16346 w 109626"/>
                  <a:gd name="connsiteY9" fmla="*/ 19206 h 223994"/>
                  <a:gd name="connsiteX10" fmla="*/ 1578 w 109626"/>
                  <a:gd name="connsiteY10" fmla="*/ 69451 h 223994"/>
                  <a:gd name="connsiteX11" fmla="*/ 1578 w 109626"/>
                  <a:gd name="connsiteY11" fmla="*/ 69451 h 22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626" h="223994">
                    <a:moveTo>
                      <a:pt x="1578" y="69271"/>
                    </a:moveTo>
                    <a:cubicBezTo>
                      <a:pt x="-43" y="85480"/>
                      <a:pt x="-1304" y="104209"/>
                      <a:pt x="2479" y="122398"/>
                    </a:cubicBezTo>
                    <a:cubicBezTo>
                      <a:pt x="6261" y="140588"/>
                      <a:pt x="15986" y="156796"/>
                      <a:pt x="21388" y="172104"/>
                    </a:cubicBezTo>
                    <a:cubicBezTo>
                      <a:pt x="31294" y="200378"/>
                      <a:pt x="13284" y="221089"/>
                      <a:pt x="39578" y="223790"/>
                    </a:cubicBezTo>
                    <a:cubicBezTo>
                      <a:pt x="65871" y="226492"/>
                      <a:pt x="51464" y="201999"/>
                      <a:pt x="66592" y="176246"/>
                    </a:cubicBezTo>
                    <a:cubicBezTo>
                      <a:pt x="74876" y="162199"/>
                      <a:pt x="83700" y="146351"/>
                      <a:pt x="90904" y="129602"/>
                    </a:cubicBezTo>
                    <a:cubicBezTo>
                      <a:pt x="98108" y="112854"/>
                      <a:pt x="107472" y="96105"/>
                      <a:pt x="108913" y="79897"/>
                    </a:cubicBezTo>
                    <a:cubicBezTo>
                      <a:pt x="111254" y="56485"/>
                      <a:pt x="107472" y="39556"/>
                      <a:pt x="102790" y="27490"/>
                    </a:cubicBezTo>
                    <a:cubicBezTo>
                      <a:pt x="95226" y="8040"/>
                      <a:pt x="79558" y="2277"/>
                      <a:pt x="61729" y="476"/>
                    </a:cubicBezTo>
                    <a:cubicBezTo>
                      <a:pt x="43900" y="-1325"/>
                      <a:pt x="27692" y="1376"/>
                      <a:pt x="16346" y="19206"/>
                    </a:cubicBezTo>
                    <a:cubicBezTo>
                      <a:pt x="9322" y="30011"/>
                      <a:pt x="3919" y="45859"/>
                      <a:pt x="1578" y="69451"/>
                    </a:cubicBezTo>
                    <a:lnTo>
                      <a:pt x="1578" y="6945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8C72B26-988B-8047-B51F-B7758B3DCC76}"/>
                  </a:ext>
                </a:extLst>
              </p:cNvPr>
              <p:cNvSpPr/>
              <p:nvPr/>
            </p:nvSpPr>
            <p:spPr>
              <a:xfrm>
                <a:off x="10792776" y="2719378"/>
                <a:ext cx="83022" cy="128765"/>
              </a:xfrm>
              <a:custGeom>
                <a:avLst/>
                <a:gdLst>
                  <a:gd name="connsiteX0" fmla="*/ 83022 w 83022"/>
                  <a:gd name="connsiteY0" fmla="*/ 0 h 128765"/>
                  <a:gd name="connsiteX1" fmla="*/ 57449 w 83022"/>
                  <a:gd name="connsiteY1" fmla="*/ 44123 h 128765"/>
                  <a:gd name="connsiteX2" fmla="*/ 28275 w 83022"/>
                  <a:gd name="connsiteY2" fmla="*/ 86084 h 128765"/>
                  <a:gd name="connsiteX3" fmla="*/ 0 w 83022"/>
                  <a:gd name="connsiteY3" fmla="*/ 128766 h 1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22" h="128765">
                    <a:moveTo>
                      <a:pt x="83022" y="0"/>
                    </a:moveTo>
                    <a:cubicBezTo>
                      <a:pt x="69515" y="21611"/>
                      <a:pt x="70956" y="22512"/>
                      <a:pt x="57449" y="44123"/>
                    </a:cubicBezTo>
                    <a:cubicBezTo>
                      <a:pt x="43943" y="65734"/>
                      <a:pt x="41782" y="64473"/>
                      <a:pt x="28275" y="86084"/>
                    </a:cubicBezTo>
                    <a:cubicBezTo>
                      <a:pt x="14768" y="107695"/>
                      <a:pt x="13507" y="106975"/>
                      <a:pt x="0" y="12876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A68A42-C6C1-0DAC-DA40-3B398D881323}"/>
                  </a:ext>
                </a:extLst>
              </p:cNvPr>
              <p:cNvSpPr/>
              <p:nvPr/>
            </p:nvSpPr>
            <p:spPr>
              <a:xfrm>
                <a:off x="10698768" y="2661029"/>
                <a:ext cx="83202" cy="128405"/>
              </a:xfrm>
              <a:custGeom>
                <a:avLst/>
                <a:gdLst>
                  <a:gd name="connsiteX0" fmla="*/ 83203 w 83202"/>
                  <a:gd name="connsiteY0" fmla="*/ 0 h 128405"/>
                  <a:gd name="connsiteX1" fmla="*/ 53487 w 83202"/>
                  <a:gd name="connsiteY1" fmla="*/ 41421 h 128405"/>
                  <a:gd name="connsiteX2" fmla="*/ 28995 w 83202"/>
                  <a:gd name="connsiteY2" fmla="*/ 86264 h 128405"/>
                  <a:gd name="connsiteX3" fmla="*/ 0 w 83202"/>
                  <a:gd name="connsiteY3" fmla="*/ 128406 h 128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202" h="128405">
                    <a:moveTo>
                      <a:pt x="83203" y="0"/>
                    </a:moveTo>
                    <a:cubicBezTo>
                      <a:pt x="69696" y="21611"/>
                      <a:pt x="66814" y="19810"/>
                      <a:pt x="53487" y="41421"/>
                    </a:cubicBezTo>
                    <a:cubicBezTo>
                      <a:pt x="40161" y="63032"/>
                      <a:pt x="42682" y="64653"/>
                      <a:pt x="28995" y="86264"/>
                    </a:cubicBezTo>
                    <a:cubicBezTo>
                      <a:pt x="15488" y="107875"/>
                      <a:pt x="13507" y="106795"/>
                      <a:pt x="0" y="12840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43" name="Graphic 6">
              <a:extLst>
                <a:ext uri="{FF2B5EF4-FFF2-40B4-BE49-F238E27FC236}">
                  <a16:creationId xmlns:a16="http://schemas.microsoft.com/office/drawing/2014/main" id="{A751F84F-2F25-12EA-C49E-F46F21D02F41}"/>
                </a:ext>
              </a:extLst>
            </p:cNvPr>
            <p:cNvGrpSpPr/>
            <p:nvPr/>
          </p:nvGrpSpPr>
          <p:grpSpPr>
            <a:xfrm>
              <a:off x="6435485" y="1870548"/>
              <a:ext cx="393986" cy="453096"/>
              <a:chOff x="7220207" y="1805048"/>
              <a:chExt cx="340228" cy="391273"/>
            </a:xfrm>
            <a:noFill/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8BC89E3B-6893-8722-9BB2-1790DD5A5285}"/>
                  </a:ext>
                </a:extLst>
              </p:cNvPr>
              <p:cNvSpPr/>
              <p:nvPr/>
            </p:nvSpPr>
            <p:spPr>
              <a:xfrm>
                <a:off x="7307268" y="1986570"/>
                <a:ext cx="253167" cy="209750"/>
              </a:xfrm>
              <a:custGeom>
                <a:avLst/>
                <a:gdLst>
                  <a:gd name="connsiteX0" fmla="*/ 205308 w 253167"/>
                  <a:gd name="connsiteY0" fmla="*/ 152371 h 209750"/>
                  <a:gd name="connsiteX1" fmla="*/ 159745 w 253167"/>
                  <a:gd name="connsiteY1" fmla="*/ 178124 h 209750"/>
                  <a:gd name="connsiteX2" fmla="*/ 112921 w 253167"/>
                  <a:gd name="connsiteY2" fmla="*/ 201356 h 209750"/>
                  <a:gd name="connsiteX3" fmla="*/ 49529 w 253167"/>
                  <a:gd name="connsiteY3" fmla="*/ 205498 h 209750"/>
                  <a:gd name="connsiteX4" fmla="*/ 5766 w 253167"/>
                  <a:gd name="connsiteY4" fmla="*/ 161376 h 209750"/>
                  <a:gd name="connsiteX5" fmla="*/ 7567 w 253167"/>
                  <a:gd name="connsiteY5" fmla="*/ 160655 h 209750"/>
                  <a:gd name="connsiteX6" fmla="*/ 4686 w 253167"/>
                  <a:gd name="connsiteY6" fmla="*/ 102125 h 209750"/>
                  <a:gd name="connsiteX7" fmla="*/ 42505 w 253167"/>
                  <a:gd name="connsiteY7" fmla="*/ 56022 h 209750"/>
                  <a:gd name="connsiteX8" fmla="*/ 89509 w 253167"/>
                  <a:gd name="connsiteY8" fmla="*/ 33330 h 209750"/>
                  <a:gd name="connsiteX9" fmla="*/ 135793 w 253167"/>
                  <a:gd name="connsiteY9" fmla="*/ 9018 h 209750"/>
                  <a:gd name="connsiteX10" fmla="*/ 198285 w 253167"/>
                  <a:gd name="connsiteY10" fmla="*/ 3795 h 209750"/>
                  <a:gd name="connsiteX11" fmla="*/ 239346 w 253167"/>
                  <a:gd name="connsiteY11" fmla="*/ 48818 h 209750"/>
                  <a:gd name="connsiteX12" fmla="*/ 244028 w 253167"/>
                  <a:gd name="connsiteY12" fmla="*/ 46657 h 209750"/>
                  <a:gd name="connsiteX13" fmla="*/ 249431 w 253167"/>
                  <a:gd name="connsiteY13" fmla="*/ 108969 h 209750"/>
                  <a:gd name="connsiteX14" fmla="*/ 205308 w 253167"/>
                  <a:gd name="connsiteY14" fmla="*/ 152371 h 209750"/>
                  <a:gd name="connsiteX15" fmla="*/ 205308 w 253167"/>
                  <a:gd name="connsiteY15" fmla="*/ 152371 h 20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3167" h="209750">
                    <a:moveTo>
                      <a:pt x="205308" y="152371"/>
                    </a:moveTo>
                    <a:cubicBezTo>
                      <a:pt x="181896" y="163717"/>
                      <a:pt x="183337" y="166598"/>
                      <a:pt x="159745" y="178124"/>
                    </a:cubicBezTo>
                    <a:cubicBezTo>
                      <a:pt x="136333" y="189470"/>
                      <a:pt x="136693" y="190190"/>
                      <a:pt x="112921" y="201356"/>
                    </a:cubicBezTo>
                    <a:cubicBezTo>
                      <a:pt x="93111" y="210901"/>
                      <a:pt x="68798" y="212342"/>
                      <a:pt x="49529" y="205498"/>
                    </a:cubicBezTo>
                    <a:cubicBezTo>
                      <a:pt x="30259" y="198655"/>
                      <a:pt x="15311" y="181186"/>
                      <a:pt x="5766" y="161376"/>
                    </a:cubicBezTo>
                    <a:lnTo>
                      <a:pt x="7567" y="160655"/>
                    </a:lnTo>
                    <a:cubicBezTo>
                      <a:pt x="-1978" y="140845"/>
                      <a:pt x="-1978" y="121215"/>
                      <a:pt x="4686" y="102125"/>
                    </a:cubicBezTo>
                    <a:cubicBezTo>
                      <a:pt x="11349" y="83035"/>
                      <a:pt x="22695" y="65567"/>
                      <a:pt x="42505" y="56022"/>
                    </a:cubicBezTo>
                    <a:cubicBezTo>
                      <a:pt x="58173" y="48458"/>
                      <a:pt x="73841" y="40894"/>
                      <a:pt x="89509" y="33330"/>
                    </a:cubicBezTo>
                    <a:cubicBezTo>
                      <a:pt x="112921" y="21984"/>
                      <a:pt x="112381" y="20544"/>
                      <a:pt x="135793" y="9018"/>
                    </a:cubicBezTo>
                    <a:cubicBezTo>
                      <a:pt x="155603" y="-527"/>
                      <a:pt x="179015" y="-2869"/>
                      <a:pt x="198285" y="3795"/>
                    </a:cubicBezTo>
                    <a:cubicBezTo>
                      <a:pt x="217555" y="10458"/>
                      <a:pt x="229621" y="29368"/>
                      <a:pt x="239346" y="48818"/>
                    </a:cubicBezTo>
                    <a:lnTo>
                      <a:pt x="244028" y="46657"/>
                    </a:lnTo>
                    <a:cubicBezTo>
                      <a:pt x="253573" y="66467"/>
                      <a:pt x="256094" y="89879"/>
                      <a:pt x="249431" y="108969"/>
                    </a:cubicBezTo>
                    <a:cubicBezTo>
                      <a:pt x="242768" y="128058"/>
                      <a:pt x="224938" y="142826"/>
                      <a:pt x="205308" y="152371"/>
                    </a:cubicBezTo>
                    <a:lnTo>
                      <a:pt x="205308" y="15237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EB0596B-16EE-0979-88BB-E7642DD2F146}"/>
                  </a:ext>
                </a:extLst>
              </p:cNvPr>
              <p:cNvSpPr/>
              <p:nvPr/>
            </p:nvSpPr>
            <p:spPr>
              <a:xfrm>
                <a:off x="7220207" y="1874494"/>
                <a:ext cx="157929" cy="161578"/>
              </a:xfrm>
              <a:custGeom>
                <a:avLst/>
                <a:gdLst>
                  <a:gd name="connsiteX0" fmla="*/ 93548 w 157929"/>
                  <a:gd name="connsiteY0" fmla="*/ 30328 h 161578"/>
                  <a:gd name="connsiteX1" fmla="*/ 118941 w 157929"/>
                  <a:gd name="connsiteY1" fmla="*/ 69408 h 161578"/>
                  <a:gd name="connsiteX2" fmla="*/ 141813 w 157929"/>
                  <a:gd name="connsiteY2" fmla="*/ 111009 h 161578"/>
                  <a:gd name="connsiteX3" fmla="*/ 150817 w 157929"/>
                  <a:gd name="connsiteY3" fmla="*/ 155852 h 161578"/>
                  <a:gd name="connsiteX4" fmla="*/ 108315 w 157929"/>
                  <a:gd name="connsiteY4" fmla="*/ 139824 h 161578"/>
                  <a:gd name="connsiteX5" fmla="*/ 66174 w 157929"/>
                  <a:gd name="connsiteY5" fmla="*/ 120014 h 161578"/>
                  <a:gd name="connsiteX6" fmla="*/ 23492 w 157929"/>
                  <a:gd name="connsiteY6" fmla="*/ 98943 h 161578"/>
                  <a:gd name="connsiteX7" fmla="*/ 1881 w 157929"/>
                  <a:gd name="connsiteY7" fmla="*/ 56981 h 161578"/>
                  <a:gd name="connsiteX8" fmla="*/ 14668 w 157929"/>
                  <a:gd name="connsiteY8" fmla="*/ 17001 h 161578"/>
                  <a:gd name="connsiteX9" fmla="*/ 55909 w 157929"/>
                  <a:gd name="connsiteY9" fmla="*/ 1693 h 161578"/>
                  <a:gd name="connsiteX10" fmla="*/ 93368 w 157929"/>
                  <a:gd name="connsiteY10" fmla="*/ 30148 h 161578"/>
                  <a:gd name="connsiteX11" fmla="*/ 93368 w 157929"/>
                  <a:gd name="connsiteY11" fmla="*/ 30148 h 16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929" h="161578">
                    <a:moveTo>
                      <a:pt x="93548" y="30328"/>
                    </a:moveTo>
                    <a:cubicBezTo>
                      <a:pt x="103633" y="40593"/>
                      <a:pt x="111377" y="54820"/>
                      <a:pt x="118941" y="69408"/>
                    </a:cubicBezTo>
                    <a:cubicBezTo>
                      <a:pt x="126505" y="83995"/>
                      <a:pt x="136950" y="97142"/>
                      <a:pt x="141813" y="111009"/>
                    </a:cubicBezTo>
                    <a:cubicBezTo>
                      <a:pt x="150637" y="136042"/>
                      <a:pt x="167566" y="139464"/>
                      <a:pt x="150817" y="155852"/>
                    </a:cubicBezTo>
                    <a:cubicBezTo>
                      <a:pt x="134069" y="172240"/>
                      <a:pt x="133348" y="149189"/>
                      <a:pt x="108315" y="139824"/>
                    </a:cubicBezTo>
                    <a:cubicBezTo>
                      <a:pt x="94809" y="134601"/>
                      <a:pt x="80401" y="127758"/>
                      <a:pt x="66174" y="120014"/>
                    </a:cubicBezTo>
                    <a:cubicBezTo>
                      <a:pt x="51947" y="112270"/>
                      <a:pt x="33577" y="109208"/>
                      <a:pt x="23492" y="98943"/>
                    </a:cubicBezTo>
                    <a:cubicBezTo>
                      <a:pt x="8905" y="83995"/>
                      <a:pt x="5303" y="68147"/>
                      <a:pt x="1881" y="56981"/>
                    </a:cubicBezTo>
                    <a:cubicBezTo>
                      <a:pt x="-3522" y="39152"/>
                      <a:pt x="3322" y="28167"/>
                      <a:pt x="14668" y="17001"/>
                    </a:cubicBezTo>
                    <a:cubicBezTo>
                      <a:pt x="26013" y="5835"/>
                      <a:pt x="38260" y="-4070"/>
                      <a:pt x="55909" y="1693"/>
                    </a:cubicBezTo>
                    <a:cubicBezTo>
                      <a:pt x="66894" y="5475"/>
                      <a:pt x="78780" y="15200"/>
                      <a:pt x="93368" y="30148"/>
                    </a:cubicBezTo>
                    <a:lnTo>
                      <a:pt x="93368" y="30148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0906EA1-D6A7-1E07-181D-DD1220BA0047}"/>
                  </a:ext>
                </a:extLst>
              </p:cNvPr>
              <p:cNvSpPr/>
              <p:nvPr/>
            </p:nvSpPr>
            <p:spPr>
              <a:xfrm>
                <a:off x="7338926" y="1805048"/>
                <a:ext cx="105803" cy="233042"/>
              </a:xfrm>
              <a:custGeom>
                <a:avLst/>
                <a:gdLst>
                  <a:gd name="connsiteX0" fmla="*/ 105756 w 105803"/>
                  <a:gd name="connsiteY0" fmla="*/ 82304 h 233042"/>
                  <a:gd name="connsiteX1" fmla="*/ 94410 w 105803"/>
                  <a:gd name="connsiteY1" fmla="*/ 135071 h 233042"/>
                  <a:gd name="connsiteX2" fmla="*/ 75500 w 105803"/>
                  <a:gd name="connsiteY2" fmla="*/ 186037 h 233042"/>
                  <a:gd name="connsiteX3" fmla="*/ 49747 w 105803"/>
                  <a:gd name="connsiteY3" fmla="*/ 233042 h 233042"/>
                  <a:gd name="connsiteX4" fmla="*/ 25075 w 105803"/>
                  <a:gd name="connsiteY4" fmla="*/ 185497 h 233042"/>
                  <a:gd name="connsiteX5" fmla="*/ 5264 w 105803"/>
                  <a:gd name="connsiteY5" fmla="*/ 134531 h 233042"/>
                  <a:gd name="connsiteX6" fmla="*/ 42 w 105803"/>
                  <a:gd name="connsiteY6" fmla="*/ 80864 h 233042"/>
                  <a:gd name="connsiteX7" fmla="*/ 9767 w 105803"/>
                  <a:gd name="connsiteY7" fmla="*/ 29357 h 233042"/>
                  <a:gd name="connsiteX8" fmla="*/ 52088 w 105803"/>
                  <a:gd name="connsiteY8" fmla="*/ 2 h 233042"/>
                  <a:gd name="connsiteX9" fmla="*/ 98552 w 105803"/>
                  <a:gd name="connsiteY9" fmla="*/ 27917 h 233042"/>
                  <a:gd name="connsiteX10" fmla="*/ 105756 w 105803"/>
                  <a:gd name="connsiteY10" fmla="*/ 81944 h 233042"/>
                  <a:gd name="connsiteX11" fmla="*/ 105756 w 105803"/>
                  <a:gd name="connsiteY11" fmla="*/ 81944 h 23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803" h="233042">
                    <a:moveTo>
                      <a:pt x="105756" y="82304"/>
                    </a:moveTo>
                    <a:cubicBezTo>
                      <a:pt x="105756" y="99233"/>
                      <a:pt x="100173" y="117062"/>
                      <a:pt x="94410" y="135071"/>
                    </a:cubicBezTo>
                    <a:cubicBezTo>
                      <a:pt x="88647" y="153261"/>
                      <a:pt x="82704" y="170910"/>
                      <a:pt x="75500" y="186037"/>
                    </a:cubicBezTo>
                    <a:cubicBezTo>
                      <a:pt x="62174" y="213952"/>
                      <a:pt x="77121" y="233222"/>
                      <a:pt x="49747" y="233042"/>
                    </a:cubicBezTo>
                    <a:cubicBezTo>
                      <a:pt x="22373" y="233042"/>
                      <a:pt x="37861" y="213592"/>
                      <a:pt x="25075" y="185497"/>
                    </a:cubicBezTo>
                    <a:cubicBezTo>
                      <a:pt x="18231" y="170009"/>
                      <a:pt x="10667" y="152540"/>
                      <a:pt x="5264" y="134531"/>
                    </a:cubicBezTo>
                    <a:cubicBezTo>
                      <a:pt x="42" y="116522"/>
                      <a:pt x="-138" y="97612"/>
                      <a:pt x="42" y="80864"/>
                    </a:cubicBezTo>
                    <a:cubicBezTo>
                      <a:pt x="402" y="56551"/>
                      <a:pt x="3644" y="41063"/>
                      <a:pt x="9767" y="29357"/>
                    </a:cubicBezTo>
                    <a:cubicBezTo>
                      <a:pt x="19852" y="10268"/>
                      <a:pt x="33359" y="-178"/>
                      <a:pt x="52088" y="2"/>
                    </a:cubicBezTo>
                    <a:cubicBezTo>
                      <a:pt x="70818" y="182"/>
                      <a:pt x="88827" y="8467"/>
                      <a:pt x="98552" y="27917"/>
                    </a:cubicBezTo>
                    <a:cubicBezTo>
                      <a:pt x="104495" y="39803"/>
                      <a:pt x="106116" y="57812"/>
                      <a:pt x="105756" y="81944"/>
                    </a:cubicBezTo>
                    <a:lnTo>
                      <a:pt x="105756" y="81944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F95524-9266-14A9-80A7-CA9CFFD7DEF2}"/>
                  </a:ext>
                </a:extLst>
              </p:cNvPr>
              <p:cNvSpPr/>
              <p:nvPr/>
            </p:nvSpPr>
            <p:spPr>
              <a:xfrm>
                <a:off x="7343650" y="2045834"/>
                <a:ext cx="73297" cy="140291"/>
              </a:xfrm>
              <a:custGeom>
                <a:avLst/>
                <a:gdLst>
                  <a:gd name="connsiteX0" fmla="*/ 0 w 73297"/>
                  <a:gd name="connsiteY0" fmla="*/ 0 h 140291"/>
                  <a:gd name="connsiteX1" fmla="*/ 25753 w 73297"/>
                  <a:gd name="connsiteY1" fmla="*/ 46104 h 140291"/>
                  <a:gd name="connsiteX2" fmla="*/ 48445 w 73297"/>
                  <a:gd name="connsiteY2" fmla="*/ 93648 h 140291"/>
                  <a:gd name="connsiteX3" fmla="*/ 73298 w 73297"/>
                  <a:gd name="connsiteY3" fmla="*/ 140292 h 14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97" h="140291">
                    <a:moveTo>
                      <a:pt x="0" y="0"/>
                    </a:moveTo>
                    <a:cubicBezTo>
                      <a:pt x="11346" y="23772"/>
                      <a:pt x="14227" y="22331"/>
                      <a:pt x="25753" y="46104"/>
                    </a:cubicBezTo>
                    <a:cubicBezTo>
                      <a:pt x="37279" y="69876"/>
                      <a:pt x="36919" y="70056"/>
                      <a:pt x="48445" y="93648"/>
                    </a:cubicBezTo>
                    <a:cubicBezTo>
                      <a:pt x="59791" y="117240"/>
                      <a:pt x="61772" y="116520"/>
                      <a:pt x="73298" y="1402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DD48DA9-7C59-7AC0-F3E9-5262ADD0F31A}"/>
                  </a:ext>
                </a:extLst>
              </p:cNvPr>
              <p:cNvSpPr/>
              <p:nvPr/>
            </p:nvSpPr>
            <p:spPr>
              <a:xfrm>
                <a:off x="7447563" y="1995768"/>
                <a:ext cx="68615" cy="142452"/>
              </a:xfrm>
              <a:custGeom>
                <a:avLst/>
                <a:gdLst>
                  <a:gd name="connsiteX0" fmla="*/ 0 w 68615"/>
                  <a:gd name="connsiteY0" fmla="*/ 0 h 142452"/>
                  <a:gd name="connsiteX1" fmla="*/ 27734 w 68615"/>
                  <a:gd name="connsiteY1" fmla="*/ 45023 h 142452"/>
                  <a:gd name="connsiteX2" fmla="*/ 45924 w 68615"/>
                  <a:gd name="connsiteY2" fmla="*/ 94728 h 142452"/>
                  <a:gd name="connsiteX3" fmla="*/ 68615 w 68615"/>
                  <a:gd name="connsiteY3" fmla="*/ 142453 h 14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15" h="142452">
                    <a:moveTo>
                      <a:pt x="0" y="0"/>
                    </a:moveTo>
                    <a:cubicBezTo>
                      <a:pt x="11346" y="23772"/>
                      <a:pt x="16388" y="21431"/>
                      <a:pt x="27734" y="45023"/>
                    </a:cubicBezTo>
                    <a:cubicBezTo>
                      <a:pt x="39080" y="68795"/>
                      <a:pt x="34398" y="70956"/>
                      <a:pt x="45924" y="94728"/>
                    </a:cubicBezTo>
                    <a:cubicBezTo>
                      <a:pt x="57269" y="118501"/>
                      <a:pt x="57089" y="118681"/>
                      <a:pt x="68615" y="14245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F71746C-6B64-5BA1-B84C-B7B9FED880DE}"/>
                </a:ext>
              </a:extLst>
            </p:cNvPr>
            <p:cNvGrpSpPr/>
            <p:nvPr/>
          </p:nvGrpSpPr>
          <p:grpSpPr>
            <a:xfrm>
              <a:off x="10281413" y="5187505"/>
              <a:ext cx="393242" cy="1236897"/>
              <a:chOff x="10541368" y="4686165"/>
              <a:chExt cx="339585" cy="1068126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56A87152-7C46-8604-4DBF-98B984B8B9C4}"/>
                  </a:ext>
                </a:extLst>
              </p:cNvPr>
              <p:cNvSpPr/>
              <p:nvPr/>
            </p:nvSpPr>
            <p:spPr>
              <a:xfrm>
                <a:off x="10717498" y="5029961"/>
                <a:ext cx="5042" cy="724330"/>
              </a:xfrm>
              <a:custGeom>
                <a:avLst/>
                <a:gdLst>
                  <a:gd name="connsiteX0" fmla="*/ 0 w 5042"/>
                  <a:gd name="connsiteY0" fmla="*/ 0 h 724330"/>
                  <a:gd name="connsiteX1" fmla="*/ 2161 w 5042"/>
                  <a:gd name="connsiteY1" fmla="*/ 48265 h 724330"/>
                  <a:gd name="connsiteX2" fmla="*/ 2521 w 5042"/>
                  <a:gd name="connsiteY2" fmla="*/ 96529 h 724330"/>
                  <a:gd name="connsiteX3" fmla="*/ 900 w 5042"/>
                  <a:gd name="connsiteY3" fmla="*/ 144794 h 724330"/>
                  <a:gd name="connsiteX4" fmla="*/ 4322 w 5042"/>
                  <a:gd name="connsiteY4" fmla="*/ 193059 h 724330"/>
                  <a:gd name="connsiteX5" fmla="*/ 5043 w 5042"/>
                  <a:gd name="connsiteY5" fmla="*/ 241324 h 724330"/>
                  <a:gd name="connsiteX6" fmla="*/ 1981 w 5042"/>
                  <a:gd name="connsiteY6" fmla="*/ 289588 h 724330"/>
                  <a:gd name="connsiteX7" fmla="*/ 2701 w 5042"/>
                  <a:gd name="connsiteY7" fmla="*/ 337853 h 724330"/>
                  <a:gd name="connsiteX8" fmla="*/ 0 w 5042"/>
                  <a:gd name="connsiteY8" fmla="*/ 386118 h 724330"/>
                  <a:gd name="connsiteX9" fmla="*/ 3962 w 5042"/>
                  <a:gd name="connsiteY9" fmla="*/ 434383 h 724330"/>
                  <a:gd name="connsiteX10" fmla="*/ 0 w 5042"/>
                  <a:gd name="connsiteY10" fmla="*/ 482647 h 724330"/>
                  <a:gd name="connsiteX11" fmla="*/ 3422 w 5042"/>
                  <a:gd name="connsiteY11" fmla="*/ 530912 h 724330"/>
                  <a:gd name="connsiteX12" fmla="*/ 2341 w 5042"/>
                  <a:gd name="connsiteY12" fmla="*/ 579177 h 724330"/>
                  <a:gd name="connsiteX13" fmla="*/ 0 w 5042"/>
                  <a:gd name="connsiteY13" fmla="*/ 627441 h 724330"/>
                  <a:gd name="connsiteX14" fmla="*/ 4502 w 5042"/>
                  <a:gd name="connsiteY14" fmla="*/ 675886 h 724330"/>
                  <a:gd name="connsiteX15" fmla="*/ 2521 w 5042"/>
                  <a:gd name="connsiteY15" fmla="*/ 724331 h 72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42" h="724330">
                    <a:moveTo>
                      <a:pt x="0" y="0"/>
                    </a:moveTo>
                    <a:cubicBezTo>
                      <a:pt x="0" y="24133"/>
                      <a:pt x="2161" y="24133"/>
                      <a:pt x="2161" y="48265"/>
                    </a:cubicBezTo>
                    <a:cubicBezTo>
                      <a:pt x="2161" y="72397"/>
                      <a:pt x="2521" y="72397"/>
                      <a:pt x="2521" y="96529"/>
                    </a:cubicBezTo>
                    <a:cubicBezTo>
                      <a:pt x="2521" y="120662"/>
                      <a:pt x="900" y="120662"/>
                      <a:pt x="900" y="144794"/>
                    </a:cubicBezTo>
                    <a:cubicBezTo>
                      <a:pt x="900" y="168927"/>
                      <a:pt x="4322" y="168927"/>
                      <a:pt x="4322" y="193059"/>
                    </a:cubicBezTo>
                    <a:cubicBezTo>
                      <a:pt x="4322" y="217191"/>
                      <a:pt x="5043" y="217191"/>
                      <a:pt x="5043" y="241324"/>
                    </a:cubicBezTo>
                    <a:cubicBezTo>
                      <a:pt x="5043" y="265456"/>
                      <a:pt x="1981" y="265456"/>
                      <a:pt x="1981" y="289588"/>
                    </a:cubicBezTo>
                    <a:cubicBezTo>
                      <a:pt x="1981" y="313721"/>
                      <a:pt x="2701" y="313721"/>
                      <a:pt x="2701" y="337853"/>
                    </a:cubicBezTo>
                    <a:cubicBezTo>
                      <a:pt x="2701" y="361985"/>
                      <a:pt x="0" y="361985"/>
                      <a:pt x="0" y="386118"/>
                    </a:cubicBezTo>
                    <a:cubicBezTo>
                      <a:pt x="0" y="410250"/>
                      <a:pt x="3962" y="410250"/>
                      <a:pt x="3962" y="434383"/>
                    </a:cubicBezTo>
                    <a:cubicBezTo>
                      <a:pt x="3962" y="458515"/>
                      <a:pt x="0" y="458515"/>
                      <a:pt x="0" y="482647"/>
                    </a:cubicBezTo>
                    <a:cubicBezTo>
                      <a:pt x="0" y="506780"/>
                      <a:pt x="3422" y="506780"/>
                      <a:pt x="3422" y="530912"/>
                    </a:cubicBezTo>
                    <a:cubicBezTo>
                      <a:pt x="3422" y="555044"/>
                      <a:pt x="2341" y="555044"/>
                      <a:pt x="2341" y="579177"/>
                    </a:cubicBezTo>
                    <a:cubicBezTo>
                      <a:pt x="2341" y="603309"/>
                      <a:pt x="0" y="603309"/>
                      <a:pt x="0" y="627441"/>
                    </a:cubicBezTo>
                    <a:cubicBezTo>
                      <a:pt x="0" y="651574"/>
                      <a:pt x="4502" y="651574"/>
                      <a:pt x="4502" y="675886"/>
                    </a:cubicBezTo>
                    <a:cubicBezTo>
                      <a:pt x="4502" y="700199"/>
                      <a:pt x="2521" y="700019"/>
                      <a:pt x="2521" y="72433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BDC0B79B-9265-865D-620F-0DC5028FD7C5}"/>
                  </a:ext>
                </a:extLst>
              </p:cNvPr>
              <p:cNvSpPr/>
              <p:nvPr/>
            </p:nvSpPr>
            <p:spPr>
              <a:xfrm>
                <a:off x="10541368" y="4686165"/>
                <a:ext cx="314800" cy="346677"/>
              </a:xfrm>
              <a:custGeom>
                <a:avLst/>
                <a:gdLst>
                  <a:gd name="connsiteX0" fmla="*/ 42682 w 314800"/>
                  <a:gd name="connsiteY0" fmla="*/ 175410 h 346677"/>
                  <a:gd name="connsiteX1" fmla="*/ 11166 w 314800"/>
                  <a:gd name="connsiteY1" fmla="*/ 151097 h 346677"/>
                  <a:gd name="connsiteX2" fmla="*/ 0 w 314800"/>
                  <a:gd name="connsiteY2" fmla="*/ 116880 h 346677"/>
                  <a:gd name="connsiteX3" fmla="*/ 17829 w 314800"/>
                  <a:gd name="connsiteY3" fmla="*/ 77440 h 346677"/>
                  <a:gd name="connsiteX4" fmla="*/ 57449 w 314800"/>
                  <a:gd name="connsiteY4" fmla="*/ 59250 h 346677"/>
                  <a:gd name="connsiteX5" fmla="*/ 96709 w 314800"/>
                  <a:gd name="connsiteY5" fmla="*/ 77620 h 346677"/>
                  <a:gd name="connsiteX6" fmla="*/ 92928 w 314800"/>
                  <a:gd name="connsiteY6" fmla="*/ 60151 h 346677"/>
                  <a:gd name="connsiteX7" fmla="*/ 111837 w 314800"/>
                  <a:gd name="connsiteY7" fmla="*/ 16929 h 346677"/>
                  <a:gd name="connsiteX8" fmla="*/ 155059 w 314800"/>
                  <a:gd name="connsiteY8" fmla="*/ 0 h 346677"/>
                  <a:gd name="connsiteX9" fmla="*/ 197381 w 314800"/>
                  <a:gd name="connsiteY9" fmla="*/ 18009 h 346677"/>
                  <a:gd name="connsiteX10" fmla="*/ 211608 w 314800"/>
                  <a:gd name="connsiteY10" fmla="*/ 60331 h 346677"/>
                  <a:gd name="connsiteX11" fmla="*/ 212509 w 314800"/>
                  <a:gd name="connsiteY11" fmla="*/ 75459 h 346677"/>
                  <a:gd name="connsiteX12" fmla="*/ 252669 w 314800"/>
                  <a:gd name="connsiteY12" fmla="*/ 55829 h 346677"/>
                  <a:gd name="connsiteX13" fmla="*/ 293010 w 314800"/>
                  <a:gd name="connsiteY13" fmla="*/ 76359 h 346677"/>
                  <a:gd name="connsiteX14" fmla="*/ 311559 w 314800"/>
                  <a:gd name="connsiteY14" fmla="*/ 116700 h 346677"/>
                  <a:gd name="connsiteX15" fmla="*/ 300934 w 314800"/>
                  <a:gd name="connsiteY15" fmla="*/ 153439 h 346677"/>
                  <a:gd name="connsiteX16" fmla="*/ 271579 w 314800"/>
                  <a:gd name="connsiteY16" fmla="*/ 173069 h 346677"/>
                  <a:gd name="connsiteX17" fmla="*/ 299673 w 314800"/>
                  <a:gd name="connsiteY17" fmla="*/ 193779 h 346677"/>
                  <a:gd name="connsiteX18" fmla="*/ 314801 w 314800"/>
                  <a:gd name="connsiteY18" fmla="*/ 229618 h 346677"/>
                  <a:gd name="connsiteX19" fmla="*/ 292470 w 314800"/>
                  <a:gd name="connsiteY19" fmla="*/ 269238 h 346677"/>
                  <a:gd name="connsiteX20" fmla="*/ 252849 w 314800"/>
                  <a:gd name="connsiteY20" fmla="*/ 289228 h 346677"/>
                  <a:gd name="connsiteX21" fmla="*/ 211248 w 314800"/>
                  <a:gd name="connsiteY21" fmla="*/ 273200 h 346677"/>
                  <a:gd name="connsiteX22" fmla="*/ 212689 w 314800"/>
                  <a:gd name="connsiteY22" fmla="*/ 285626 h 346677"/>
                  <a:gd name="connsiteX23" fmla="*/ 197561 w 314800"/>
                  <a:gd name="connsiteY23" fmla="*/ 328128 h 346677"/>
                  <a:gd name="connsiteX24" fmla="*/ 155059 w 314800"/>
                  <a:gd name="connsiteY24" fmla="*/ 346677 h 346677"/>
                  <a:gd name="connsiteX25" fmla="*/ 113638 w 314800"/>
                  <a:gd name="connsiteY25" fmla="*/ 326867 h 346677"/>
                  <a:gd name="connsiteX26" fmla="*/ 95089 w 314800"/>
                  <a:gd name="connsiteY26" fmla="*/ 285626 h 346677"/>
                  <a:gd name="connsiteX27" fmla="*/ 99591 w 314800"/>
                  <a:gd name="connsiteY27" fmla="*/ 273380 h 346677"/>
                  <a:gd name="connsiteX28" fmla="*/ 57629 w 314800"/>
                  <a:gd name="connsiteY28" fmla="*/ 289588 h 346677"/>
                  <a:gd name="connsiteX29" fmla="*/ 16748 w 314800"/>
                  <a:gd name="connsiteY29" fmla="*/ 269778 h 346677"/>
                  <a:gd name="connsiteX30" fmla="*/ 1081 w 314800"/>
                  <a:gd name="connsiteY30" fmla="*/ 228897 h 346677"/>
                  <a:gd name="connsiteX31" fmla="*/ 42682 w 314800"/>
                  <a:gd name="connsiteY31" fmla="*/ 175410 h 346677"/>
                  <a:gd name="connsiteX32" fmla="*/ 42682 w 314800"/>
                  <a:gd name="connsiteY32" fmla="*/ 175410 h 34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14800" h="346677">
                    <a:moveTo>
                      <a:pt x="42682" y="175410"/>
                    </a:moveTo>
                    <a:cubicBezTo>
                      <a:pt x="30436" y="171808"/>
                      <a:pt x="18729" y="161182"/>
                      <a:pt x="11166" y="151097"/>
                    </a:cubicBezTo>
                    <a:cubicBezTo>
                      <a:pt x="3782" y="141012"/>
                      <a:pt x="0" y="130027"/>
                      <a:pt x="0" y="116880"/>
                    </a:cubicBezTo>
                    <a:cubicBezTo>
                      <a:pt x="0" y="100852"/>
                      <a:pt x="7204" y="88065"/>
                      <a:pt x="17829" y="77440"/>
                    </a:cubicBezTo>
                    <a:cubicBezTo>
                      <a:pt x="28454" y="66994"/>
                      <a:pt x="41061" y="59250"/>
                      <a:pt x="57449" y="59250"/>
                    </a:cubicBezTo>
                    <a:cubicBezTo>
                      <a:pt x="73838" y="59250"/>
                      <a:pt x="86084" y="67535"/>
                      <a:pt x="96709" y="77620"/>
                    </a:cubicBezTo>
                    <a:cubicBezTo>
                      <a:pt x="95449" y="72937"/>
                      <a:pt x="92928" y="65374"/>
                      <a:pt x="92928" y="60151"/>
                    </a:cubicBezTo>
                    <a:cubicBezTo>
                      <a:pt x="92928" y="44123"/>
                      <a:pt x="101212" y="27554"/>
                      <a:pt x="111837" y="16929"/>
                    </a:cubicBezTo>
                    <a:cubicBezTo>
                      <a:pt x="122462" y="6303"/>
                      <a:pt x="138851" y="0"/>
                      <a:pt x="155059" y="0"/>
                    </a:cubicBezTo>
                    <a:cubicBezTo>
                      <a:pt x="171267" y="0"/>
                      <a:pt x="186756" y="7204"/>
                      <a:pt x="197381" y="18009"/>
                    </a:cubicBezTo>
                    <a:cubicBezTo>
                      <a:pt x="208006" y="28815"/>
                      <a:pt x="211608" y="43943"/>
                      <a:pt x="211608" y="60331"/>
                    </a:cubicBezTo>
                    <a:cubicBezTo>
                      <a:pt x="211608" y="65194"/>
                      <a:pt x="213769" y="70956"/>
                      <a:pt x="212509" y="75459"/>
                    </a:cubicBezTo>
                    <a:cubicBezTo>
                      <a:pt x="222954" y="65194"/>
                      <a:pt x="236821" y="55829"/>
                      <a:pt x="252669" y="55829"/>
                    </a:cubicBezTo>
                    <a:cubicBezTo>
                      <a:pt x="268518" y="55829"/>
                      <a:pt x="282384" y="65734"/>
                      <a:pt x="293010" y="76359"/>
                    </a:cubicBezTo>
                    <a:cubicBezTo>
                      <a:pt x="303635" y="86985"/>
                      <a:pt x="311559" y="100311"/>
                      <a:pt x="311559" y="116700"/>
                    </a:cubicBezTo>
                    <a:cubicBezTo>
                      <a:pt x="311559" y="130027"/>
                      <a:pt x="308498" y="143533"/>
                      <a:pt x="300934" y="153439"/>
                    </a:cubicBezTo>
                    <a:cubicBezTo>
                      <a:pt x="293370" y="163344"/>
                      <a:pt x="284186" y="169647"/>
                      <a:pt x="271579" y="173069"/>
                    </a:cubicBezTo>
                    <a:cubicBezTo>
                      <a:pt x="284186" y="176490"/>
                      <a:pt x="291929" y="183694"/>
                      <a:pt x="299673" y="193779"/>
                    </a:cubicBezTo>
                    <a:cubicBezTo>
                      <a:pt x="307417" y="203864"/>
                      <a:pt x="314801" y="216111"/>
                      <a:pt x="314801" y="229618"/>
                    </a:cubicBezTo>
                    <a:cubicBezTo>
                      <a:pt x="314801" y="245646"/>
                      <a:pt x="303095" y="258612"/>
                      <a:pt x="292470" y="269238"/>
                    </a:cubicBezTo>
                    <a:cubicBezTo>
                      <a:pt x="281844" y="279863"/>
                      <a:pt x="268878" y="289228"/>
                      <a:pt x="252849" y="289228"/>
                    </a:cubicBezTo>
                    <a:cubicBezTo>
                      <a:pt x="236821" y="289228"/>
                      <a:pt x="221873" y="283285"/>
                      <a:pt x="211248" y="273200"/>
                    </a:cubicBezTo>
                    <a:cubicBezTo>
                      <a:pt x="212328" y="277702"/>
                      <a:pt x="212689" y="280764"/>
                      <a:pt x="212689" y="285626"/>
                    </a:cubicBezTo>
                    <a:cubicBezTo>
                      <a:pt x="212689" y="301654"/>
                      <a:pt x="208366" y="317503"/>
                      <a:pt x="197561" y="328128"/>
                    </a:cubicBezTo>
                    <a:cubicBezTo>
                      <a:pt x="186756" y="338753"/>
                      <a:pt x="171267" y="346677"/>
                      <a:pt x="155059" y="346677"/>
                    </a:cubicBezTo>
                    <a:cubicBezTo>
                      <a:pt x="138851" y="346677"/>
                      <a:pt x="124264" y="337493"/>
                      <a:pt x="113638" y="326867"/>
                    </a:cubicBezTo>
                    <a:cubicBezTo>
                      <a:pt x="103013" y="316242"/>
                      <a:pt x="95089" y="301654"/>
                      <a:pt x="95089" y="285626"/>
                    </a:cubicBezTo>
                    <a:cubicBezTo>
                      <a:pt x="95089" y="280584"/>
                      <a:pt x="98510" y="277882"/>
                      <a:pt x="99591" y="273380"/>
                    </a:cubicBezTo>
                    <a:cubicBezTo>
                      <a:pt x="89145" y="283645"/>
                      <a:pt x="73477" y="289588"/>
                      <a:pt x="57629" y="289588"/>
                    </a:cubicBezTo>
                    <a:cubicBezTo>
                      <a:pt x="41781" y="289588"/>
                      <a:pt x="27374" y="280404"/>
                      <a:pt x="16748" y="269778"/>
                    </a:cubicBezTo>
                    <a:cubicBezTo>
                      <a:pt x="6123" y="259153"/>
                      <a:pt x="1081" y="244925"/>
                      <a:pt x="1081" y="228897"/>
                    </a:cubicBezTo>
                    <a:cubicBezTo>
                      <a:pt x="1081" y="202604"/>
                      <a:pt x="18729" y="182794"/>
                      <a:pt x="42682" y="175410"/>
                    </a:cubicBezTo>
                    <a:lnTo>
                      <a:pt x="42682" y="175410"/>
                    </a:lnTo>
                    <a:close/>
                  </a:path>
                </a:pathLst>
              </a:custGeom>
              <a:solidFill>
                <a:srgbClr val="FBCCD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0204599-2C8E-42BD-64CF-CBA8C26C8B3C}"/>
                  </a:ext>
                </a:extLst>
              </p:cNvPr>
              <p:cNvSpPr/>
              <p:nvPr/>
            </p:nvSpPr>
            <p:spPr>
              <a:xfrm>
                <a:off x="10624751" y="4792960"/>
                <a:ext cx="121562" cy="123002"/>
              </a:xfrm>
              <a:custGeom>
                <a:avLst/>
                <a:gdLst>
                  <a:gd name="connsiteX0" fmla="*/ 180 w 121562"/>
                  <a:gd name="connsiteY0" fmla="*/ 62672 h 123002"/>
                  <a:gd name="connsiteX1" fmla="*/ 19269 w 121562"/>
                  <a:gd name="connsiteY1" fmla="*/ 20710 h 123002"/>
                  <a:gd name="connsiteX2" fmla="*/ 61231 w 121562"/>
                  <a:gd name="connsiteY2" fmla="*/ 0 h 123002"/>
                  <a:gd name="connsiteX3" fmla="*/ 106434 w 121562"/>
                  <a:gd name="connsiteY3" fmla="*/ 17469 h 123002"/>
                  <a:gd name="connsiteX4" fmla="*/ 121562 w 121562"/>
                  <a:gd name="connsiteY4" fmla="*/ 62672 h 123002"/>
                  <a:gd name="connsiteX5" fmla="*/ 101212 w 121562"/>
                  <a:gd name="connsiteY5" fmla="*/ 102832 h 123002"/>
                  <a:gd name="connsiteX6" fmla="*/ 61051 w 121562"/>
                  <a:gd name="connsiteY6" fmla="*/ 123003 h 123002"/>
                  <a:gd name="connsiteX7" fmla="*/ 19630 w 121562"/>
                  <a:gd name="connsiteY7" fmla="*/ 104093 h 123002"/>
                  <a:gd name="connsiteX8" fmla="*/ 0 w 121562"/>
                  <a:gd name="connsiteY8" fmla="*/ 62852 h 123002"/>
                  <a:gd name="connsiteX9" fmla="*/ 0 w 121562"/>
                  <a:gd name="connsiteY9" fmla="*/ 62852 h 12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562" h="123002">
                    <a:moveTo>
                      <a:pt x="180" y="62672"/>
                    </a:moveTo>
                    <a:cubicBezTo>
                      <a:pt x="180" y="46104"/>
                      <a:pt x="8284" y="31516"/>
                      <a:pt x="19269" y="20710"/>
                    </a:cubicBezTo>
                    <a:cubicBezTo>
                      <a:pt x="30255" y="9905"/>
                      <a:pt x="44663" y="0"/>
                      <a:pt x="61231" y="0"/>
                    </a:cubicBezTo>
                    <a:cubicBezTo>
                      <a:pt x="77799" y="0"/>
                      <a:pt x="95449" y="6483"/>
                      <a:pt x="106434" y="17469"/>
                    </a:cubicBezTo>
                    <a:cubicBezTo>
                      <a:pt x="117420" y="28455"/>
                      <a:pt x="121562" y="46104"/>
                      <a:pt x="121562" y="62672"/>
                    </a:cubicBezTo>
                    <a:cubicBezTo>
                      <a:pt x="121562" y="79240"/>
                      <a:pt x="112197" y="91847"/>
                      <a:pt x="101212" y="102832"/>
                    </a:cubicBezTo>
                    <a:cubicBezTo>
                      <a:pt x="90226" y="113818"/>
                      <a:pt x="77799" y="123003"/>
                      <a:pt x="61051" y="123003"/>
                    </a:cubicBezTo>
                    <a:cubicBezTo>
                      <a:pt x="44303" y="123003"/>
                      <a:pt x="30615" y="114899"/>
                      <a:pt x="19630" y="104093"/>
                    </a:cubicBezTo>
                    <a:cubicBezTo>
                      <a:pt x="8644" y="93108"/>
                      <a:pt x="0" y="79240"/>
                      <a:pt x="0" y="62852"/>
                    </a:cubicBezTo>
                    <a:lnTo>
                      <a:pt x="0" y="62852"/>
                    </a:lnTo>
                    <a:close/>
                  </a:path>
                </a:pathLst>
              </a:custGeom>
              <a:solidFill>
                <a:schemeClr val="bg1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6BE4CA3-1C60-45BC-6983-C631E71D9BF0}"/>
                  </a:ext>
                </a:extLst>
              </p:cNvPr>
              <p:cNvSpPr/>
              <p:nvPr/>
            </p:nvSpPr>
            <p:spPr>
              <a:xfrm>
                <a:off x="10560516" y="5262497"/>
                <a:ext cx="165947" cy="166196"/>
              </a:xfrm>
              <a:custGeom>
                <a:avLst/>
                <a:gdLst>
                  <a:gd name="connsiteX0" fmla="*/ 158603 w 165947"/>
                  <a:gd name="connsiteY0" fmla="*/ 158804 h 166196"/>
                  <a:gd name="connsiteX1" fmla="*/ 158603 w 165947"/>
                  <a:gd name="connsiteY1" fmla="*/ 117023 h 166196"/>
                  <a:gd name="connsiteX2" fmla="*/ 143835 w 165947"/>
                  <a:gd name="connsiteY2" fmla="*/ 78303 h 166196"/>
                  <a:gd name="connsiteX3" fmla="*/ 123845 w 165947"/>
                  <a:gd name="connsiteY3" fmla="*/ 42645 h 166196"/>
                  <a:gd name="connsiteX4" fmla="*/ 89087 w 165947"/>
                  <a:gd name="connsiteY4" fmla="*/ 20674 h 166196"/>
                  <a:gd name="connsiteX5" fmla="*/ 49647 w 165947"/>
                  <a:gd name="connsiteY5" fmla="*/ 6086 h 166196"/>
                  <a:gd name="connsiteX6" fmla="*/ 7686 w 165947"/>
                  <a:gd name="connsiteY6" fmla="*/ 8067 h 166196"/>
                  <a:gd name="connsiteX7" fmla="*/ 6785 w 165947"/>
                  <a:gd name="connsiteY7" fmla="*/ 49848 h 166196"/>
                  <a:gd name="connsiteX8" fmla="*/ 18491 w 165947"/>
                  <a:gd name="connsiteY8" fmla="*/ 90189 h 166196"/>
                  <a:gd name="connsiteX9" fmla="*/ 41183 w 165947"/>
                  <a:gd name="connsiteY9" fmla="*/ 125667 h 166196"/>
                  <a:gd name="connsiteX10" fmla="*/ 76481 w 165947"/>
                  <a:gd name="connsiteY10" fmla="*/ 148539 h 166196"/>
                  <a:gd name="connsiteX11" fmla="*/ 117002 w 165947"/>
                  <a:gd name="connsiteY11" fmla="*/ 158804 h 166196"/>
                  <a:gd name="connsiteX12" fmla="*/ 158783 w 165947"/>
                  <a:gd name="connsiteY12" fmla="*/ 158804 h 166196"/>
                  <a:gd name="connsiteX13" fmla="*/ 158783 w 165947"/>
                  <a:gd name="connsiteY13" fmla="*/ 158804 h 166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947" h="166196">
                    <a:moveTo>
                      <a:pt x="158603" y="158804"/>
                    </a:moveTo>
                    <a:cubicBezTo>
                      <a:pt x="173371" y="144037"/>
                      <a:pt x="161845" y="140255"/>
                      <a:pt x="158603" y="117023"/>
                    </a:cubicBezTo>
                    <a:cubicBezTo>
                      <a:pt x="156802" y="104596"/>
                      <a:pt x="149418" y="91810"/>
                      <a:pt x="143835" y="78303"/>
                    </a:cubicBezTo>
                    <a:cubicBezTo>
                      <a:pt x="138612" y="65877"/>
                      <a:pt x="133930" y="52550"/>
                      <a:pt x="123845" y="42645"/>
                    </a:cubicBezTo>
                    <a:cubicBezTo>
                      <a:pt x="113580" y="32559"/>
                      <a:pt x="101334" y="25716"/>
                      <a:pt x="89087" y="20674"/>
                    </a:cubicBezTo>
                    <a:cubicBezTo>
                      <a:pt x="75580" y="15091"/>
                      <a:pt x="62254" y="7887"/>
                      <a:pt x="49647" y="6086"/>
                    </a:cubicBezTo>
                    <a:cubicBezTo>
                      <a:pt x="26415" y="2664"/>
                      <a:pt x="22453" y="-6700"/>
                      <a:pt x="7686" y="8067"/>
                    </a:cubicBezTo>
                    <a:cubicBezTo>
                      <a:pt x="-7082" y="22835"/>
                      <a:pt x="3364" y="26617"/>
                      <a:pt x="6785" y="49848"/>
                    </a:cubicBezTo>
                    <a:cubicBezTo>
                      <a:pt x="8586" y="62275"/>
                      <a:pt x="12908" y="76502"/>
                      <a:pt x="18491" y="90189"/>
                    </a:cubicBezTo>
                    <a:cubicBezTo>
                      <a:pt x="23714" y="102615"/>
                      <a:pt x="31097" y="115402"/>
                      <a:pt x="41183" y="125667"/>
                    </a:cubicBezTo>
                    <a:cubicBezTo>
                      <a:pt x="51268" y="135932"/>
                      <a:pt x="64055" y="143496"/>
                      <a:pt x="76481" y="148539"/>
                    </a:cubicBezTo>
                    <a:cubicBezTo>
                      <a:pt x="89988" y="154122"/>
                      <a:pt x="104575" y="157184"/>
                      <a:pt x="117002" y="158804"/>
                    </a:cubicBezTo>
                    <a:cubicBezTo>
                      <a:pt x="140234" y="162226"/>
                      <a:pt x="144016" y="173572"/>
                      <a:pt x="158783" y="158804"/>
                    </a:cubicBezTo>
                    <a:lnTo>
                      <a:pt x="158783" y="158804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94ADE19-070C-1153-9C5C-0DB0C5CCD277}"/>
                  </a:ext>
                </a:extLst>
              </p:cNvPr>
              <p:cNvSpPr/>
              <p:nvPr/>
            </p:nvSpPr>
            <p:spPr>
              <a:xfrm>
                <a:off x="10718652" y="5464695"/>
                <a:ext cx="162301" cy="163635"/>
              </a:xfrm>
              <a:custGeom>
                <a:avLst/>
                <a:gdLst>
                  <a:gd name="connsiteX0" fmla="*/ 155166 w 162301"/>
                  <a:gd name="connsiteY0" fmla="*/ 7212 h 163635"/>
                  <a:gd name="connsiteX1" fmla="*/ 154626 w 162301"/>
                  <a:gd name="connsiteY1" fmla="*/ 48813 h 163635"/>
                  <a:gd name="connsiteX2" fmla="*/ 143100 w 162301"/>
                  <a:gd name="connsiteY2" fmla="*/ 88794 h 163635"/>
                  <a:gd name="connsiteX3" fmla="*/ 119148 w 162301"/>
                  <a:gd name="connsiteY3" fmla="*/ 122111 h 163635"/>
                  <a:gd name="connsiteX4" fmla="*/ 86551 w 162301"/>
                  <a:gd name="connsiteY4" fmla="*/ 147864 h 163635"/>
                  <a:gd name="connsiteX5" fmla="*/ 45670 w 162301"/>
                  <a:gd name="connsiteY5" fmla="*/ 156688 h 163635"/>
                  <a:gd name="connsiteX6" fmla="*/ 6590 w 162301"/>
                  <a:gd name="connsiteY6" fmla="*/ 156148 h 163635"/>
                  <a:gd name="connsiteX7" fmla="*/ 9112 w 162301"/>
                  <a:gd name="connsiteY7" fmla="*/ 117428 h 163635"/>
                  <a:gd name="connsiteX8" fmla="*/ 17215 w 162301"/>
                  <a:gd name="connsiteY8" fmla="*/ 77088 h 163635"/>
                  <a:gd name="connsiteX9" fmla="*/ 40267 w 162301"/>
                  <a:gd name="connsiteY9" fmla="*/ 43230 h 163635"/>
                  <a:gd name="connsiteX10" fmla="*/ 73584 w 162301"/>
                  <a:gd name="connsiteY10" fmla="*/ 19098 h 163635"/>
                  <a:gd name="connsiteX11" fmla="*/ 113745 w 162301"/>
                  <a:gd name="connsiteY11" fmla="*/ 7392 h 163635"/>
                  <a:gd name="connsiteX12" fmla="*/ 155346 w 162301"/>
                  <a:gd name="connsiteY12" fmla="*/ 7392 h 163635"/>
                  <a:gd name="connsiteX13" fmla="*/ 155346 w 162301"/>
                  <a:gd name="connsiteY13" fmla="*/ 7392 h 163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301" h="163635">
                    <a:moveTo>
                      <a:pt x="155166" y="7212"/>
                    </a:moveTo>
                    <a:cubicBezTo>
                      <a:pt x="169934" y="21979"/>
                      <a:pt x="157688" y="25401"/>
                      <a:pt x="154626" y="48813"/>
                    </a:cubicBezTo>
                    <a:cubicBezTo>
                      <a:pt x="152825" y="61240"/>
                      <a:pt x="148683" y="75287"/>
                      <a:pt x="143100" y="88794"/>
                    </a:cubicBezTo>
                    <a:cubicBezTo>
                      <a:pt x="137877" y="101220"/>
                      <a:pt x="129233" y="111845"/>
                      <a:pt x="119148" y="122111"/>
                    </a:cubicBezTo>
                    <a:cubicBezTo>
                      <a:pt x="109063" y="132376"/>
                      <a:pt x="99158" y="142641"/>
                      <a:pt x="86551" y="147864"/>
                    </a:cubicBezTo>
                    <a:cubicBezTo>
                      <a:pt x="73044" y="153447"/>
                      <a:pt x="58276" y="154887"/>
                      <a:pt x="45670" y="156688"/>
                    </a:cubicBezTo>
                    <a:cubicBezTo>
                      <a:pt x="22438" y="160110"/>
                      <a:pt x="21177" y="170736"/>
                      <a:pt x="6590" y="156148"/>
                    </a:cubicBezTo>
                    <a:cubicBezTo>
                      <a:pt x="-7997" y="141560"/>
                      <a:pt x="5690" y="140840"/>
                      <a:pt x="9112" y="117428"/>
                    </a:cubicBezTo>
                    <a:cubicBezTo>
                      <a:pt x="10912" y="105002"/>
                      <a:pt x="11633" y="90775"/>
                      <a:pt x="17215" y="77088"/>
                    </a:cubicBezTo>
                    <a:cubicBezTo>
                      <a:pt x="22438" y="64661"/>
                      <a:pt x="30182" y="53315"/>
                      <a:pt x="40267" y="43230"/>
                    </a:cubicBezTo>
                    <a:cubicBezTo>
                      <a:pt x="50352" y="33145"/>
                      <a:pt x="61338" y="24321"/>
                      <a:pt x="73584" y="19098"/>
                    </a:cubicBezTo>
                    <a:cubicBezTo>
                      <a:pt x="87091" y="13515"/>
                      <a:pt x="101319" y="9193"/>
                      <a:pt x="113745" y="7392"/>
                    </a:cubicBezTo>
                    <a:cubicBezTo>
                      <a:pt x="136977" y="3970"/>
                      <a:pt x="140759" y="-7376"/>
                      <a:pt x="155346" y="7392"/>
                    </a:cubicBezTo>
                    <a:lnTo>
                      <a:pt x="155346" y="7392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B680294-DD0A-5F83-1FE1-FFB54303F6F4}"/>
                </a:ext>
              </a:extLst>
            </p:cNvPr>
            <p:cNvGrpSpPr/>
            <p:nvPr/>
          </p:nvGrpSpPr>
          <p:grpSpPr>
            <a:xfrm>
              <a:off x="10782320" y="4267521"/>
              <a:ext cx="696221" cy="2047440"/>
              <a:chOff x="10973928" y="3874961"/>
              <a:chExt cx="601223" cy="1768073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F7DBFAF0-8F34-72FA-3DC1-4CE9A29ACEB2}"/>
                  </a:ext>
                </a:extLst>
              </p:cNvPr>
              <p:cNvGrpSpPr/>
              <p:nvPr/>
            </p:nvGrpSpPr>
            <p:grpSpPr>
              <a:xfrm>
                <a:off x="10973928" y="3874961"/>
                <a:ext cx="601223" cy="1295333"/>
                <a:chOff x="10973928" y="3887661"/>
                <a:chExt cx="601223" cy="1295333"/>
              </a:xfrm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42A528A8-190E-387B-EDD5-A7C91C655A3C}"/>
                    </a:ext>
                  </a:extLst>
                </p:cNvPr>
                <p:cNvSpPr/>
                <p:nvPr/>
              </p:nvSpPr>
              <p:spPr>
                <a:xfrm>
                  <a:off x="11259035" y="4477393"/>
                  <a:ext cx="4322" cy="705601"/>
                </a:xfrm>
                <a:custGeom>
                  <a:avLst/>
                  <a:gdLst>
                    <a:gd name="connsiteX0" fmla="*/ 1440 w 4322"/>
                    <a:gd name="connsiteY0" fmla="*/ 0 h 705601"/>
                    <a:gd name="connsiteX1" fmla="*/ 4322 w 4322"/>
                    <a:gd name="connsiteY1" fmla="*/ 88245 h 705601"/>
                    <a:gd name="connsiteX2" fmla="*/ 1800 w 4322"/>
                    <a:gd name="connsiteY2" fmla="*/ 176490 h 705601"/>
                    <a:gd name="connsiteX3" fmla="*/ 1800 w 4322"/>
                    <a:gd name="connsiteY3" fmla="*/ 264375 h 705601"/>
                    <a:gd name="connsiteX4" fmla="*/ 0 w 4322"/>
                    <a:gd name="connsiteY4" fmla="*/ 352621 h 705601"/>
                    <a:gd name="connsiteX5" fmla="*/ 3061 w 4322"/>
                    <a:gd name="connsiteY5" fmla="*/ 440866 h 705601"/>
                    <a:gd name="connsiteX6" fmla="*/ 4142 w 4322"/>
                    <a:gd name="connsiteY6" fmla="*/ 529111 h 705601"/>
                    <a:gd name="connsiteX7" fmla="*/ 4142 w 4322"/>
                    <a:gd name="connsiteY7" fmla="*/ 617356 h 705601"/>
                    <a:gd name="connsiteX8" fmla="*/ 3061 w 4322"/>
                    <a:gd name="connsiteY8" fmla="*/ 705601 h 705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22" h="705601">
                      <a:moveTo>
                        <a:pt x="1440" y="0"/>
                      </a:moveTo>
                      <a:cubicBezTo>
                        <a:pt x="1440" y="44123"/>
                        <a:pt x="4322" y="44123"/>
                        <a:pt x="4322" y="88245"/>
                      </a:cubicBezTo>
                      <a:cubicBezTo>
                        <a:pt x="4322" y="132368"/>
                        <a:pt x="1800" y="132368"/>
                        <a:pt x="1800" y="176490"/>
                      </a:cubicBezTo>
                      <a:cubicBezTo>
                        <a:pt x="1800" y="220613"/>
                        <a:pt x="1800" y="220613"/>
                        <a:pt x="1800" y="264375"/>
                      </a:cubicBezTo>
                      <a:cubicBezTo>
                        <a:pt x="1800" y="308138"/>
                        <a:pt x="0" y="308498"/>
                        <a:pt x="0" y="352621"/>
                      </a:cubicBezTo>
                      <a:cubicBezTo>
                        <a:pt x="0" y="396743"/>
                        <a:pt x="3061" y="396743"/>
                        <a:pt x="3061" y="440866"/>
                      </a:cubicBezTo>
                      <a:cubicBezTo>
                        <a:pt x="3061" y="484988"/>
                        <a:pt x="4142" y="484988"/>
                        <a:pt x="4142" y="529111"/>
                      </a:cubicBezTo>
                      <a:lnTo>
                        <a:pt x="4142" y="617356"/>
                      </a:lnTo>
                      <a:cubicBezTo>
                        <a:pt x="4142" y="661479"/>
                        <a:pt x="3061" y="661479"/>
                        <a:pt x="3061" y="705601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F69382DE-1AB8-269E-5E4A-53950B622B67}"/>
                    </a:ext>
                  </a:extLst>
                </p:cNvPr>
                <p:cNvSpPr/>
                <p:nvPr/>
              </p:nvSpPr>
              <p:spPr>
                <a:xfrm>
                  <a:off x="10973928" y="3887661"/>
                  <a:ext cx="601223" cy="597754"/>
                </a:xfrm>
                <a:custGeom>
                  <a:avLst/>
                  <a:gdLst>
                    <a:gd name="connsiteX0" fmla="*/ 153820 w 601223"/>
                    <a:gd name="connsiteY0" fmla="*/ 443678 h 597754"/>
                    <a:gd name="connsiteX1" fmla="*/ 112038 w 601223"/>
                    <a:gd name="connsiteY1" fmla="*/ 458085 h 597754"/>
                    <a:gd name="connsiteX2" fmla="*/ 68276 w 601223"/>
                    <a:gd name="connsiteY2" fmla="*/ 448000 h 597754"/>
                    <a:gd name="connsiteX3" fmla="*/ 32798 w 601223"/>
                    <a:gd name="connsiteY3" fmla="*/ 422787 h 597754"/>
                    <a:gd name="connsiteX4" fmla="*/ 3803 w 601223"/>
                    <a:gd name="connsiteY4" fmla="*/ 377764 h 597754"/>
                    <a:gd name="connsiteX5" fmla="*/ 3262 w 601223"/>
                    <a:gd name="connsiteY5" fmla="*/ 323376 h 597754"/>
                    <a:gd name="connsiteX6" fmla="*/ 30637 w 601223"/>
                    <a:gd name="connsiteY6" fmla="*/ 276192 h 597754"/>
                    <a:gd name="connsiteX7" fmla="*/ 65214 w 601223"/>
                    <a:gd name="connsiteY7" fmla="*/ 256382 h 597754"/>
                    <a:gd name="connsiteX8" fmla="*/ 103214 w 601223"/>
                    <a:gd name="connsiteY8" fmla="*/ 245576 h 597754"/>
                    <a:gd name="connsiteX9" fmla="*/ 83944 w 601223"/>
                    <a:gd name="connsiteY9" fmla="*/ 228288 h 597754"/>
                    <a:gd name="connsiteX10" fmla="*/ 53328 w 601223"/>
                    <a:gd name="connsiteY10" fmla="*/ 183265 h 597754"/>
                    <a:gd name="connsiteX11" fmla="*/ 57470 w 601223"/>
                    <a:gd name="connsiteY11" fmla="*/ 129057 h 597754"/>
                    <a:gd name="connsiteX12" fmla="*/ 81962 w 601223"/>
                    <a:gd name="connsiteY12" fmla="*/ 81152 h 597754"/>
                    <a:gd name="connsiteX13" fmla="*/ 129147 w 601223"/>
                    <a:gd name="connsiteY13" fmla="*/ 53418 h 597754"/>
                    <a:gd name="connsiteX14" fmla="*/ 184075 w 601223"/>
                    <a:gd name="connsiteY14" fmla="*/ 53418 h 597754"/>
                    <a:gd name="connsiteX15" fmla="*/ 231259 w 601223"/>
                    <a:gd name="connsiteY15" fmla="*/ 81152 h 597754"/>
                    <a:gd name="connsiteX16" fmla="*/ 243866 w 601223"/>
                    <a:gd name="connsiteY16" fmla="*/ 99882 h 597754"/>
                    <a:gd name="connsiteX17" fmla="*/ 253591 w 601223"/>
                    <a:gd name="connsiteY17" fmla="*/ 62243 h 597754"/>
                    <a:gd name="connsiteX18" fmla="*/ 275742 w 601223"/>
                    <a:gd name="connsiteY18" fmla="*/ 28385 h 597754"/>
                    <a:gd name="connsiteX19" fmla="*/ 324187 w 601223"/>
                    <a:gd name="connsiteY19" fmla="*/ 3172 h 597754"/>
                    <a:gd name="connsiteX20" fmla="*/ 377854 w 601223"/>
                    <a:gd name="connsiteY20" fmla="*/ 3893 h 597754"/>
                    <a:gd name="connsiteX21" fmla="*/ 427200 w 601223"/>
                    <a:gd name="connsiteY21" fmla="*/ 27665 h 597754"/>
                    <a:gd name="connsiteX22" fmla="*/ 452233 w 601223"/>
                    <a:gd name="connsiteY22" fmla="*/ 66565 h 597754"/>
                    <a:gd name="connsiteX23" fmla="*/ 453133 w 601223"/>
                    <a:gd name="connsiteY23" fmla="*/ 111948 h 597754"/>
                    <a:gd name="connsiteX24" fmla="*/ 441247 w 601223"/>
                    <a:gd name="connsiteY24" fmla="*/ 156431 h 597754"/>
                    <a:gd name="connsiteX25" fmla="*/ 485910 w 601223"/>
                    <a:gd name="connsiteY25" fmla="*/ 145265 h 597754"/>
                    <a:gd name="connsiteX26" fmla="*/ 530572 w 601223"/>
                    <a:gd name="connsiteY26" fmla="*/ 147426 h 597754"/>
                    <a:gd name="connsiteX27" fmla="*/ 571454 w 601223"/>
                    <a:gd name="connsiteY27" fmla="*/ 169217 h 597754"/>
                    <a:gd name="connsiteX28" fmla="*/ 592344 w 601223"/>
                    <a:gd name="connsiteY28" fmla="*/ 219823 h 597754"/>
                    <a:gd name="connsiteX29" fmla="*/ 599728 w 601223"/>
                    <a:gd name="connsiteY29" fmla="*/ 274031 h 597754"/>
                    <a:gd name="connsiteX30" fmla="*/ 566411 w 601223"/>
                    <a:gd name="connsiteY30" fmla="*/ 317613 h 597754"/>
                    <a:gd name="connsiteX31" fmla="*/ 535255 w 601223"/>
                    <a:gd name="connsiteY31" fmla="*/ 341565 h 597754"/>
                    <a:gd name="connsiteX32" fmla="*/ 494914 w 601223"/>
                    <a:gd name="connsiteY32" fmla="*/ 348589 h 597754"/>
                    <a:gd name="connsiteX33" fmla="*/ 515445 w 601223"/>
                    <a:gd name="connsiteY33" fmla="*/ 367139 h 597754"/>
                    <a:gd name="connsiteX34" fmla="*/ 541558 w 601223"/>
                    <a:gd name="connsiteY34" fmla="*/ 413602 h 597754"/>
                    <a:gd name="connsiteX35" fmla="*/ 540117 w 601223"/>
                    <a:gd name="connsiteY35" fmla="*/ 466370 h 597754"/>
                    <a:gd name="connsiteX36" fmla="*/ 517786 w 601223"/>
                    <a:gd name="connsiteY36" fmla="*/ 515715 h 597754"/>
                    <a:gd name="connsiteX37" fmla="*/ 468981 w 601223"/>
                    <a:gd name="connsiteY37" fmla="*/ 540027 h 597754"/>
                    <a:gd name="connsiteX38" fmla="*/ 414773 w 601223"/>
                    <a:gd name="connsiteY38" fmla="*/ 542368 h 597754"/>
                    <a:gd name="connsiteX39" fmla="*/ 368670 w 601223"/>
                    <a:gd name="connsiteY39" fmla="*/ 513374 h 597754"/>
                    <a:gd name="connsiteX40" fmla="*/ 352101 w 601223"/>
                    <a:gd name="connsiteY40" fmla="*/ 493383 h 597754"/>
                    <a:gd name="connsiteX41" fmla="*/ 346158 w 601223"/>
                    <a:gd name="connsiteY41" fmla="*/ 533364 h 597754"/>
                    <a:gd name="connsiteX42" fmla="*/ 322206 w 601223"/>
                    <a:gd name="connsiteY42" fmla="*/ 566320 h 597754"/>
                    <a:gd name="connsiteX43" fmla="*/ 275021 w 601223"/>
                    <a:gd name="connsiteY43" fmla="*/ 595315 h 597754"/>
                    <a:gd name="connsiteX44" fmla="*/ 219913 w 601223"/>
                    <a:gd name="connsiteY44" fmla="*/ 592614 h 597754"/>
                    <a:gd name="connsiteX45" fmla="*/ 172729 w 601223"/>
                    <a:gd name="connsiteY45" fmla="*/ 565780 h 597754"/>
                    <a:gd name="connsiteX46" fmla="*/ 152199 w 601223"/>
                    <a:gd name="connsiteY46" fmla="*/ 527421 h 597754"/>
                    <a:gd name="connsiteX47" fmla="*/ 140673 w 601223"/>
                    <a:gd name="connsiteY47" fmla="*/ 484919 h 597754"/>
                    <a:gd name="connsiteX48" fmla="*/ 153639 w 601223"/>
                    <a:gd name="connsiteY48" fmla="*/ 443137 h 597754"/>
                    <a:gd name="connsiteX49" fmla="*/ 153639 w 601223"/>
                    <a:gd name="connsiteY49" fmla="*/ 443137 h 597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601223" h="597754">
                      <a:moveTo>
                        <a:pt x="153820" y="443678"/>
                      </a:moveTo>
                      <a:cubicBezTo>
                        <a:pt x="140492" y="450701"/>
                        <a:pt x="126626" y="457185"/>
                        <a:pt x="112038" y="458085"/>
                      </a:cubicBezTo>
                      <a:cubicBezTo>
                        <a:pt x="97451" y="458986"/>
                        <a:pt x="82503" y="453403"/>
                        <a:pt x="68276" y="448000"/>
                      </a:cubicBezTo>
                      <a:cubicBezTo>
                        <a:pt x="54048" y="442597"/>
                        <a:pt x="43783" y="433773"/>
                        <a:pt x="32798" y="422787"/>
                      </a:cubicBezTo>
                      <a:cubicBezTo>
                        <a:pt x="19291" y="409280"/>
                        <a:pt x="8485" y="395053"/>
                        <a:pt x="3803" y="377764"/>
                      </a:cubicBezTo>
                      <a:cubicBezTo>
                        <a:pt x="-700" y="360475"/>
                        <a:pt x="-1600" y="341205"/>
                        <a:pt x="3262" y="323376"/>
                      </a:cubicBezTo>
                      <a:cubicBezTo>
                        <a:pt x="7945" y="305547"/>
                        <a:pt x="17130" y="289699"/>
                        <a:pt x="30637" y="276192"/>
                      </a:cubicBezTo>
                      <a:cubicBezTo>
                        <a:pt x="40541" y="266287"/>
                        <a:pt x="53148" y="261425"/>
                        <a:pt x="65214" y="256382"/>
                      </a:cubicBezTo>
                      <a:cubicBezTo>
                        <a:pt x="77280" y="251339"/>
                        <a:pt x="89887" y="245757"/>
                        <a:pt x="103214" y="245576"/>
                      </a:cubicBezTo>
                      <a:cubicBezTo>
                        <a:pt x="95650" y="241254"/>
                        <a:pt x="90427" y="234771"/>
                        <a:pt x="83944" y="228288"/>
                      </a:cubicBezTo>
                      <a:cubicBezTo>
                        <a:pt x="70437" y="214781"/>
                        <a:pt x="58010" y="200553"/>
                        <a:pt x="53328" y="183265"/>
                      </a:cubicBezTo>
                      <a:cubicBezTo>
                        <a:pt x="48646" y="165976"/>
                        <a:pt x="52788" y="146886"/>
                        <a:pt x="57470" y="129057"/>
                      </a:cubicBezTo>
                      <a:cubicBezTo>
                        <a:pt x="62153" y="111228"/>
                        <a:pt x="68456" y="94659"/>
                        <a:pt x="81962" y="81152"/>
                      </a:cubicBezTo>
                      <a:cubicBezTo>
                        <a:pt x="95469" y="67645"/>
                        <a:pt x="111858" y="58100"/>
                        <a:pt x="129147" y="53418"/>
                      </a:cubicBezTo>
                      <a:cubicBezTo>
                        <a:pt x="146436" y="48736"/>
                        <a:pt x="166246" y="48555"/>
                        <a:pt x="184075" y="53418"/>
                      </a:cubicBezTo>
                      <a:cubicBezTo>
                        <a:pt x="201904" y="58281"/>
                        <a:pt x="217752" y="67645"/>
                        <a:pt x="231259" y="81152"/>
                      </a:cubicBezTo>
                      <a:cubicBezTo>
                        <a:pt x="237382" y="87275"/>
                        <a:pt x="239543" y="92858"/>
                        <a:pt x="243866" y="99882"/>
                      </a:cubicBezTo>
                      <a:cubicBezTo>
                        <a:pt x="243866" y="86555"/>
                        <a:pt x="248368" y="74669"/>
                        <a:pt x="253591" y="62243"/>
                      </a:cubicBezTo>
                      <a:cubicBezTo>
                        <a:pt x="258813" y="49816"/>
                        <a:pt x="266017" y="38110"/>
                        <a:pt x="275742" y="28385"/>
                      </a:cubicBezTo>
                      <a:cubicBezTo>
                        <a:pt x="289249" y="14878"/>
                        <a:pt x="307078" y="8035"/>
                        <a:pt x="324187" y="3172"/>
                      </a:cubicBezTo>
                      <a:cubicBezTo>
                        <a:pt x="341296" y="-1510"/>
                        <a:pt x="360025" y="-790"/>
                        <a:pt x="377854" y="3893"/>
                      </a:cubicBezTo>
                      <a:cubicBezTo>
                        <a:pt x="395683" y="8575"/>
                        <a:pt x="413693" y="14158"/>
                        <a:pt x="427200" y="27665"/>
                      </a:cubicBezTo>
                      <a:cubicBezTo>
                        <a:pt x="438365" y="38831"/>
                        <a:pt x="447190" y="52878"/>
                        <a:pt x="452233" y="66565"/>
                      </a:cubicBezTo>
                      <a:cubicBezTo>
                        <a:pt x="457275" y="80252"/>
                        <a:pt x="454394" y="96820"/>
                        <a:pt x="453133" y="111948"/>
                      </a:cubicBezTo>
                      <a:cubicBezTo>
                        <a:pt x="451872" y="127076"/>
                        <a:pt x="448811" y="142924"/>
                        <a:pt x="441247" y="156431"/>
                      </a:cubicBezTo>
                      <a:cubicBezTo>
                        <a:pt x="454754" y="148687"/>
                        <a:pt x="470782" y="146706"/>
                        <a:pt x="485910" y="145265"/>
                      </a:cubicBezTo>
                      <a:cubicBezTo>
                        <a:pt x="501037" y="143824"/>
                        <a:pt x="516165" y="142204"/>
                        <a:pt x="530572" y="147426"/>
                      </a:cubicBezTo>
                      <a:cubicBezTo>
                        <a:pt x="544980" y="152829"/>
                        <a:pt x="560108" y="158052"/>
                        <a:pt x="571454" y="169217"/>
                      </a:cubicBezTo>
                      <a:cubicBezTo>
                        <a:pt x="584960" y="182724"/>
                        <a:pt x="587662" y="202534"/>
                        <a:pt x="592344" y="219823"/>
                      </a:cubicBezTo>
                      <a:cubicBezTo>
                        <a:pt x="597026" y="237112"/>
                        <a:pt x="604410" y="256202"/>
                        <a:pt x="599728" y="274031"/>
                      </a:cubicBezTo>
                      <a:cubicBezTo>
                        <a:pt x="595046" y="291860"/>
                        <a:pt x="579918" y="304106"/>
                        <a:pt x="566411" y="317613"/>
                      </a:cubicBezTo>
                      <a:cubicBezTo>
                        <a:pt x="556686" y="327338"/>
                        <a:pt x="547321" y="336523"/>
                        <a:pt x="535255" y="341565"/>
                      </a:cubicBezTo>
                      <a:cubicBezTo>
                        <a:pt x="523188" y="346608"/>
                        <a:pt x="508421" y="348409"/>
                        <a:pt x="494914" y="348589"/>
                      </a:cubicBezTo>
                      <a:cubicBezTo>
                        <a:pt x="501938" y="352911"/>
                        <a:pt x="509141" y="361015"/>
                        <a:pt x="515445" y="367139"/>
                      </a:cubicBezTo>
                      <a:cubicBezTo>
                        <a:pt x="528952" y="380645"/>
                        <a:pt x="536876" y="396494"/>
                        <a:pt x="541558" y="413602"/>
                      </a:cubicBezTo>
                      <a:cubicBezTo>
                        <a:pt x="546241" y="430711"/>
                        <a:pt x="544800" y="448720"/>
                        <a:pt x="540117" y="466370"/>
                      </a:cubicBezTo>
                      <a:cubicBezTo>
                        <a:pt x="535435" y="484198"/>
                        <a:pt x="531293" y="502208"/>
                        <a:pt x="517786" y="515715"/>
                      </a:cubicBezTo>
                      <a:cubicBezTo>
                        <a:pt x="504279" y="529222"/>
                        <a:pt x="486089" y="535525"/>
                        <a:pt x="468981" y="540027"/>
                      </a:cubicBezTo>
                      <a:cubicBezTo>
                        <a:pt x="451872" y="544529"/>
                        <a:pt x="432422" y="547051"/>
                        <a:pt x="414773" y="542368"/>
                      </a:cubicBezTo>
                      <a:cubicBezTo>
                        <a:pt x="396944" y="537686"/>
                        <a:pt x="382176" y="527061"/>
                        <a:pt x="368670" y="513374"/>
                      </a:cubicBezTo>
                      <a:cubicBezTo>
                        <a:pt x="362186" y="506890"/>
                        <a:pt x="356603" y="500767"/>
                        <a:pt x="352101" y="493383"/>
                      </a:cubicBezTo>
                      <a:cubicBezTo>
                        <a:pt x="351741" y="506710"/>
                        <a:pt x="351381" y="520937"/>
                        <a:pt x="346158" y="533364"/>
                      </a:cubicBezTo>
                      <a:cubicBezTo>
                        <a:pt x="340935" y="545790"/>
                        <a:pt x="332111" y="556596"/>
                        <a:pt x="322206" y="566320"/>
                      </a:cubicBezTo>
                      <a:cubicBezTo>
                        <a:pt x="308699" y="579827"/>
                        <a:pt x="292130" y="590633"/>
                        <a:pt x="275021" y="595315"/>
                      </a:cubicBezTo>
                      <a:cubicBezTo>
                        <a:pt x="257913" y="599998"/>
                        <a:pt x="237743" y="597296"/>
                        <a:pt x="219913" y="592614"/>
                      </a:cubicBezTo>
                      <a:cubicBezTo>
                        <a:pt x="202084" y="587932"/>
                        <a:pt x="186236" y="579287"/>
                        <a:pt x="172729" y="565780"/>
                      </a:cubicBezTo>
                      <a:cubicBezTo>
                        <a:pt x="161923" y="554975"/>
                        <a:pt x="157241" y="540928"/>
                        <a:pt x="152199" y="527421"/>
                      </a:cubicBezTo>
                      <a:cubicBezTo>
                        <a:pt x="146976" y="513914"/>
                        <a:pt x="139772" y="499686"/>
                        <a:pt x="140673" y="484919"/>
                      </a:cubicBezTo>
                      <a:cubicBezTo>
                        <a:pt x="141574" y="470151"/>
                        <a:pt x="146796" y="456464"/>
                        <a:pt x="153639" y="443137"/>
                      </a:cubicBezTo>
                      <a:lnTo>
                        <a:pt x="153639" y="443137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860C48E1-76F5-204A-F2F3-FCAA4061C7EC}"/>
                    </a:ext>
                  </a:extLst>
                </p:cNvPr>
                <p:cNvSpPr/>
                <p:nvPr/>
              </p:nvSpPr>
              <p:spPr>
                <a:xfrm>
                  <a:off x="11146826" y="4084632"/>
                  <a:ext cx="218989" cy="217246"/>
                </a:xfrm>
                <a:custGeom>
                  <a:avLst/>
                  <a:gdLst>
                    <a:gd name="connsiteX0" fmla="*/ 33869 w 218989"/>
                    <a:gd name="connsiteY0" fmla="*/ 184935 h 217246"/>
                    <a:gd name="connsiteX1" fmla="*/ 4694 w 218989"/>
                    <a:gd name="connsiteY1" fmla="*/ 138111 h 217246"/>
                    <a:gd name="connsiteX2" fmla="*/ 2893 w 218989"/>
                    <a:gd name="connsiteY2" fmla="*/ 82102 h 217246"/>
                    <a:gd name="connsiteX3" fmla="*/ 33329 w 218989"/>
                    <a:gd name="connsiteY3" fmla="*/ 35458 h 217246"/>
                    <a:gd name="connsiteX4" fmla="*/ 79612 w 218989"/>
                    <a:gd name="connsiteY4" fmla="*/ 3402 h 217246"/>
                    <a:gd name="connsiteX5" fmla="*/ 136882 w 218989"/>
                    <a:gd name="connsiteY5" fmla="*/ 3762 h 217246"/>
                    <a:gd name="connsiteX6" fmla="*/ 185327 w 218989"/>
                    <a:gd name="connsiteY6" fmla="*/ 33477 h 217246"/>
                    <a:gd name="connsiteX7" fmla="*/ 215221 w 218989"/>
                    <a:gd name="connsiteY7" fmla="*/ 81742 h 217246"/>
                    <a:gd name="connsiteX8" fmla="*/ 215582 w 218989"/>
                    <a:gd name="connsiteY8" fmla="*/ 139011 h 217246"/>
                    <a:gd name="connsiteX9" fmla="*/ 185687 w 218989"/>
                    <a:gd name="connsiteY9" fmla="*/ 187636 h 217246"/>
                    <a:gd name="connsiteX10" fmla="*/ 136161 w 218989"/>
                    <a:gd name="connsiteY10" fmla="*/ 213930 h 217246"/>
                    <a:gd name="connsiteX11" fmla="*/ 80873 w 218989"/>
                    <a:gd name="connsiteY11" fmla="*/ 213390 h 217246"/>
                    <a:gd name="connsiteX12" fmla="*/ 33869 w 218989"/>
                    <a:gd name="connsiteY12" fmla="*/ 184935 h 217246"/>
                    <a:gd name="connsiteX13" fmla="*/ 33869 w 218989"/>
                    <a:gd name="connsiteY13" fmla="*/ 184935 h 217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8989" h="217246">
                      <a:moveTo>
                        <a:pt x="33869" y="184935"/>
                      </a:moveTo>
                      <a:cubicBezTo>
                        <a:pt x="20002" y="171068"/>
                        <a:pt x="9556" y="155940"/>
                        <a:pt x="4694" y="138111"/>
                      </a:cubicBezTo>
                      <a:cubicBezTo>
                        <a:pt x="12" y="120282"/>
                        <a:pt x="-2149" y="100472"/>
                        <a:pt x="2893" y="82102"/>
                      </a:cubicBezTo>
                      <a:cubicBezTo>
                        <a:pt x="7755" y="63913"/>
                        <a:pt x="19642" y="49506"/>
                        <a:pt x="33329" y="35458"/>
                      </a:cubicBezTo>
                      <a:cubicBezTo>
                        <a:pt x="47015" y="21411"/>
                        <a:pt x="61783" y="8084"/>
                        <a:pt x="79612" y="3402"/>
                      </a:cubicBezTo>
                      <a:cubicBezTo>
                        <a:pt x="97442" y="-1280"/>
                        <a:pt x="118692" y="-1100"/>
                        <a:pt x="136882" y="3762"/>
                      </a:cubicBezTo>
                      <a:cubicBezTo>
                        <a:pt x="155071" y="8625"/>
                        <a:pt x="171279" y="19610"/>
                        <a:pt x="185327" y="33477"/>
                      </a:cubicBezTo>
                      <a:cubicBezTo>
                        <a:pt x="199374" y="47345"/>
                        <a:pt x="210539" y="64093"/>
                        <a:pt x="215221" y="81742"/>
                      </a:cubicBezTo>
                      <a:cubicBezTo>
                        <a:pt x="219904" y="99391"/>
                        <a:pt x="220444" y="120642"/>
                        <a:pt x="215582" y="139011"/>
                      </a:cubicBezTo>
                      <a:cubicBezTo>
                        <a:pt x="210719" y="157381"/>
                        <a:pt x="199734" y="173769"/>
                        <a:pt x="185687" y="187636"/>
                      </a:cubicBezTo>
                      <a:cubicBezTo>
                        <a:pt x="171639" y="201503"/>
                        <a:pt x="153811" y="209247"/>
                        <a:pt x="136161" y="213930"/>
                      </a:cubicBezTo>
                      <a:cubicBezTo>
                        <a:pt x="118512" y="218612"/>
                        <a:pt x="99062" y="218252"/>
                        <a:pt x="80873" y="213390"/>
                      </a:cubicBezTo>
                      <a:cubicBezTo>
                        <a:pt x="62684" y="208527"/>
                        <a:pt x="47916" y="198802"/>
                        <a:pt x="33869" y="184935"/>
                      </a:cubicBezTo>
                      <a:lnTo>
                        <a:pt x="33869" y="1849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3781F3DC-D643-E412-A9C1-3A7E997ADA77}"/>
                    </a:ext>
                  </a:extLst>
                </p:cNvPr>
                <p:cNvSpPr/>
                <p:nvPr/>
              </p:nvSpPr>
              <p:spPr>
                <a:xfrm>
                  <a:off x="11031384" y="4586743"/>
                  <a:ext cx="236093" cy="234684"/>
                </a:xfrm>
                <a:custGeom>
                  <a:avLst/>
                  <a:gdLst>
                    <a:gd name="connsiteX0" fmla="*/ 228011 w 236093"/>
                    <a:gd name="connsiteY0" fmla="*/ 227962 h 234684"/>
                    <a:gd name="connsiteX1" fmla="*/ 229092 w 236093"/>
                    <a:gd name="connsiteY1" fmla="*/ 182579 h 234684"/>
                    <a:gd name="connsiteX2" fmla="*/ 223869 w 236093"/>
                    <a:gd name="connsiteY2" fmla="*/ 136656 h 234684"/>
                    <a:gd name="connsiteX3" fmla="*/ 206940 w 236093"/>
                    <a:gd name="connsiteY3" fmla="*/ 93434 h 234684"/>
                    <a:gd name="connsiteX4" fmla="*/ 175605 w 236093"/>
                    <a:gd name="connsiteY4" fmla="*/ 59756 h 234684"/>
                    <a:gd name="connsiteX5" fmla="*/ 140667 w 236093"/>
                    <a:gd name="connsiteY5" fmla="*/ 30942 h 234684"/>
                    <a:gd name="connsiteX6" fmla="*/ 98345 w 236093"/>
                    <a:gd name="connsiteY6" fmla="*/ 12933 h 234684"/>
                    <a:gd name="connsiteX7" fmla="*/ 52782 w 236093"/>
                    <a:gd name="connsiteY7" fmla="*/ 7170 h 234684"/>
                    <a:gd name="connsiteX8" fmla="*/ 8119 w 236093"/>
                    <a:gd name="connsiteY8" fmla="*/ 7890 h 234684"/>
                    <a:gd name="connsiteX9" fmla="*/ 6678 w 236093"/>
                    <a:gd name="connsiteY9" fmla="*/ 52733 h 234684"/>
                    <a:gd name="connsiteX10" fmla="*/ 18204 w 236093"/>
                    <a:gd name="connsiteY10" fmla="*/ 96855 h 234684"/>
                    <a:gd name="connsiteX11" fmla="*/ 31171 w 236093"/>
                    <a:gd name="connsiteY11" fmla="*/ 140618 h 234684"/>
                    <a:gd name="connsiteX12" fmla="*/ 55663 w 236093"/>
                    <a:gd name="connsiteY12" fmla="*/ 179878 h 234684"/>
                    <a:gd name="connsiteX13" fmla="*/ 93843 w 236093"/>
                    <a:gd name="connsiteY13" fmla="*/ 206351 h 234684"/>
                    <a:gd name="connsiteX14" fmla="*/ 137245 w 236093"/>
                    <a:gd name="connsiteY14" fmla="*/ 222200 h 234684"/>
                    <a:gd name="connsiteX15" fmla="*/ 183169 w 236093"/>
                    <a:gd name="connsiteY15" fmla="*/ 224541 h 234684"/>
                    <a:gd name="connsiteX16" fmla="*/ 228192 w 236093"/>
                    <a:gd name="connsiteY16" fmla="*/ 227782 h 234684"/>
                    <a:gd name="connsiteX17" fmla="*/ 228192 w 236093"/>
                    <a:gd name="connsiteY17" fmla="*/ 227782 h 234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36093" h="234684">
                      <a:moveTo>
                        <a:pt x="228011" y="227962"/>
                      </a:moveTo>
                      <a:cubicBezTo>
                        <a:pt x="244220" y="211754"/>
                        <a:pt x="231433" y="209233"/>
                        <a:pt x="229092" y="182579"/>
                      </a:cubicBezTo>
                      <a:cubicBezTo>
                        <a:pt x="227831" y="169073"/>
                        <a:pt x="228011" y="152684"/>
                        <a:pt x="223869" y="136656"/>
                      </a:cubicBezTo>
                      <a:cubicBezTo>
                        <a:pt x="220087" y="122429"/>
                        <a:pt x="214145" y="107481"/>
                        <a:pt x="206940" y="93434"/>
                      </a:cubicBezTo>
                      <a:cubicBezTo>
                        <a:pt x="199737" y="79386"/>
                        <a:pt x="186590" y="70742"/>
                        <a:pt x="175605" y="59756"/>
                      </a:cubicBezTo>
                      <a:cubicBezTo>
                        <a:pt x="164619" y="48771"/>
                        <a:pt x="153814" y="37785"/>
                        <a:pt x="140667" y="30942"/>
                      </a:cubicBezTo>
                      <a:cubicBezTo>
                        <a:pt x="127520" y="24098"/>
                        <a:pt x="112753" y="16534"/>
                        <a:pt x="98345" y="12933"/>
                      </a:cubicBezTo>
                      <a:cubicBezTo>
                        <a:pt x="82317" y="8790"/>
                        <a:pt x="66288" y="8430"/>
                        <a:pt x="52782" y="7170"/>
                      </a:cubicBezTo>
                      <a:cubicBezTo>
                        <a:pt x="26128" y="4828"/>
                        <a:pt x="24147" y="-8138"/>
                        <a:pt x="8119" y="7890"/>
                      </a:cubicBezTo>
                      <a:cubicBezTo>
                        <a:pt x="-7909" y="24098"/>
                        <a:pt x="4337" y="26079"/>
                        <a:pt x="6678" y="52733"/>
                      </a:cubicBezTo>
                      <a:cubicBezTo>
                        <a:pt x="7939" y="66240"/>
                        <a:pt x="13882" y="81007"/>
                        <a:pt x="18204" y="96855"/>
                      </a:cubicBezTo>
                      <a:cubicBezTo>
                        <a:pt x="21986" y="111083"/>
                        <a:pt x="23787" y="126571"/>
                        <a:pt x="31171" y="140618"/>
                      </a:cubicBezTo>
                      <a:cubicBezTo>
                        <a:pt x="38555" y="154665"/>
                        <a:pt x="44678" y="168892"/>
                        <a:pt x="55663" y="179878"/>
                      </a:cubicBezTo>
                      <a:cubicBezTo>
                        <a:pt x="66649" y="190864"/>
                        <a:pt x="80696" y="199508"/>
                        <a:pt x="93843" y="206351"/>
                      </a:cubicBezTo>
                      <a:cubicBezTo>
                        <a:pt x="106989" y="213195"/>
                        <a:pt x="123017" y="218418"/>
                        <a:pt x="137245" y="222200"/>
                      </a:cubicBezTo>
                      <a:cubicBezTo>
                        <a:pt x="153273" y="226342"/>
                        <a:pt x="169662" y="223280"/>
                        <a:pt x="183169" y="224541"/>
                      </a:cubicBezTo>
                      <a:cubicBezTo>
                        <a:pt x="209822" y="226882"/>
                        <a:pt x="211983" y="243991"/>
                        <a:pt x="228192" y="227782"/>
                      </a:cubicBezTo>
                      <a:lnTo>
                        <a:pt x="228192" y="227782"/>
                      </a:lnTo>
                      <a:close/>
                    </a:path>
                  </a:pathLst>
                </a:custGeom>
                <a:solidFill>
                  <a:srgbClr val="8DC1B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73388FE7-685C-B283-ABA8-9BF318D2D0E2}"/>
                    </a:ext>
                  </a:extLst>
                </p:cNvPr>
                <p:cNvSpPr/>
                <p:nvPr/>
              </p:nvSpPr>
              <p:spPr>
                <a:xfrm>
                  <a:off x="11279926" y="4157189"/>
                  <a:ext cx="4142" cy="44662"/>
                </a:xfrm>
                <a:custGeom>
                  <a:avLst/>
                  <a:gdLst>
                    <a:gd name="connsiteX0" fmla="*/ 0 w 4142"/>
                    <a:gd name="connsiteY0" fmla="*/ 0 h 44662"/>
                    <a:gd name="connsiteX1" fmla="*/ 4142 w 414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42" h="44662">
                      <a:moveTo>
                        <a:pt x="0" y="0"/>
                      </a:moveTo>
                      <a:cubicBezTo>
                        <a:pt x="0" y="22332"/>
                        <a:pt x="4142" y="22332"/>
                        <a:pt x="4142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04866305-00D8-7B7D-3FAE-7A9399777D81}"/>
                    </a:ext>
                  </a:extLst>
                </p:cNvPr>
                <p:cNvSpPr/>
                <p:nvPr/>
              </p:nvSpPr>
              <p:spPr>
                <a:xfrm>
                  <a:off x="11227339" y="4157189"/>
                  <a:ext cx="4502" cy="44662"/>
                </a:xfrm>
                <a:custGeom>
                  <a:avLst/>
                  <a:gdLst>
                    <a:gd name="connsiteX0" fmla="*/ 4502 w 4502"/>
                    <a:gd name="connsiteY0" fmla="*/ 0 h 44662"/>
                    <a:gd name="connsiteX1" fmla="*/ 0 w 450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02" h="44662">
                      <a:moveTo>
                        <a:pt x="4502" y="0"/>
                      </a:moveTo>
                      <a:cubicBezTo>
                        <a:pt x="4502" y="22332"/>
                        <a:pt x="0" y="22332"/>
                        <a:pt x="0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E919F36E-526E-D140-1721-B0EAD19A2DCF}"/>
                    </a:ext>
                  </a:extLst>
                </p:cNvPr>
                <p:cNvSpPr/>
                <p:nvPr/>
              </p:nvSpPr>
              <p:spPr>
                <a:xfrm>
                  <a:off x="11186638" y="4196450"/>
                  <a:ext cx="138850" cy="68795"/>
                </a:xfrm>
                <a:custGeom>
                  <a:avLst/>
                  <a:gdLst>
                    <a:gd name="connsiteX0" fmla="*/ 138851 w 138850"/>
                    <a:gd name="connsiteY0" fmla="*/ 0 h 68795"/>
                    <a:gd name="connsiteX1" fmla="*/ 113638 w 138850"/>
                    <a:gd name="connsiteY1" fmla="*/ 44843 h 68795"/>
                    <a:gd name="connsiteX2" fmla="*/ 68795 w 138850"/>
                    <a:gd name="connsiteY2" fmla="*/ 68795 h 68795"/>
                    <a:gd name="connsiteX3" fmla="*/ 23232 w 138850"/>
                    <a:gd name="connsiteY3" fmla="*/ 45743 h 68795"/>
                    <a:gd name="connsiteX4" fmla="*/ 0 w 138850"/>
                    <a:gd name="connsiteY4" fmla="*/ 180 h 68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850" h="68795">
                      <a:moveTo>
                        <a:pt x="138851" y="0"/>
                      </a:moveTo>
                      <a:cubicBezTo>
                        <a:pt x="138851" y="18369"/>
                        <a:pt x="125705" y="32777"/>
                        <a:pt x="113638" y="44843"/>
                      </a:cubicBezTo>
                      <a:cubicBezTo>
                        <a:pt x="101752" y="56729"/>
                        <a:pt x="87165" y="68795"/>
                        <a:pt x="68795" y="68795"/>
                      </a:cubicBezTo>
                      <a:cubicBezTo>
                        <a:pt x="50426" y="68795"/>
                        <a:pt x="35118" y="57809"/>
                        <a:pt x="23232" y="45743"/>
                      </a:cubicBezTo>
                      <a:cubicBezTo>
                        <a:pt x="11346" y="33677"/>
                        <a:pt x="0" y="18369"/>
                        <a:pt x="0" y="180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449FDBF9-09DC-146A-8292-F700DFDB0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259035" y="5184360"/>
                <a:ext cx="4322" cy="458674"/>
              </a:xfrm>
              <a:custGeom>
                <a:avLst/>
                <a:gdLst>
                  <a:gd name="connsiteX0" fmla="*/ 1440 w 4322"/>
                  <a:gd name="connsiteY0" fmla="*/ 0 h 705601"/>
                  <a:gd name="connsiteX1" fmla="*/ 4322 w 4322"/>
                  <a:gd name="connsiteY1" fmla="*/ 88245 h 705601"/>
                  <a:gd name="connsiteX2" fmla="*/ 1800 w 4322"/>
                  <a:gd name="connsiteY2" fmla="*/ 176490 h 705601"/>
                  <a:gd name="connsiteX3" fmla="*/ 1800 w 4322"/>
                  <a:gd name="connsiteY3" fmla="*/ 264375 h 705601"/>
                  <a:gd name="connsiteX4" fmla="*/ 0 w 4322"/>
                  <a:gd name="connsiteY4" fmla="*/ 352621 h 705601"/>
                  <a:gd name="connsiteX5" fmla="*/ 3061 w 4322"/>
                  <a:gd name="connsiteY5" fmla="*/ 440866 h 705601"/>
                  <a:gd name="connsiteX6" fmla="*/ 4142 w 4322"/>
                  <a:gd name="connsiteY6" fmla="*/ 529111 h 705601"/>
                  <a:gd name="connsiteX7" fmla="*/ 4142 w 4322"/>
                  <a:gd name="connsiteY7" fmla="*/ 617356 h 705601"/>
                  <a:gd name="connsiteX8" fmla="*/ 3061 w 4322"/>
                  <a:gd name="connsiteY8" fmla="*/ 705601 h 70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22" h="705601">
                    <a:moveTo>
                      <a:pt x="1440" y="0"/>
                    </a:moveTo>
                    <a:cubicBezTo>
                      <a:pt x="1440" y="44123"/>
                      <a:pt x="4322" y="44123"/>
                      <a:pt x="4322" y="88245"/>
                    </a:cubicBezTo>
                    <a:cubicBezTo>
                      <a:pt x="4322" y="132368"/>
                      <a:pt x="1800" y="132368"/>
                      <a:pt x="1800" y="176490"/>
                    </a:cubicBezTo>
                    <a:cubicBezTo>
                      <a:pt x="1800" y="220613"/>
                      <a:pt x="1800" y="220613"/>
                      <a:pt x="1800" y="264375"/>
                    </a:cubicBezTo>
                    <a:cubicBezTo>
                      <a:pt x="1800" y="308138"/>
                      <a:pt x="0" y="308498"/>
                      <a:pt x="0" y="352621"/>
                    </a:cubicBezTo>
                    <a:cubicBezTo>
                      <a:pt x="0" y="396743"/>
                      <a:pt x="3061" y="396743"/>
                      <a:pt x="3061" y="440866"/>
                    </a:cubicBezTo>
                    <a:cubicBezTo>
                      <a:pt x="3061" y="484988"/>
                      <a:pt x="4142" y="484988"/>
                      <a:pt x="4142" y="529111"/>
                    </a:cubicBezTo>
                    <a:lnTo>
                      <a:pt x="4142" y="617356"/>
                    </a:lnTo>
                    <a:cubicBezTo>
                      <a:pt x="4142" y="661479"/>
                      <a:pt x="3061" y="661479"/>
                      <a:pt x="3061" y="70560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4AF29A5-1A30-013E-67AE-39175064E0DB}"/>
                </a:ext>
              </a:extLst>
            </p:cNvPr>
            <p:cNvSpPr/>
            <p:nvPr/>
          </p:nvSpPr>
          <p:spPr>
            <a:xfrm>
              <a:off x="10733060" y="6191821"/>
              <a:ext cx="1453536" cy="255983"/>
            </a:xfrm>
            <a:custGeom>
              <a:avLst/>
              <a:gdLst>
                <a:gd name="connsiteX0" fmla="*/ 188897 w 1236441"/>
                <a:gd name="connsiteY0" fmla="*/ 951 h 382071"/>
                <a:gd name="connsiteX1" fmla="*/ 251243 w 1236441"/>
                <a:gd name="connsiteY1" fmla="*/ 50285 h 382071"/>
                <a:gd name="connsiteX2" fmla="*/ 338144 w 1236441"/>
                <a:gd name="connsiteY2" fmla="*/ 94948 h 382071"/>
                <a:gd name="connsiteX3" fmla="*/ 426372 w 1236441"/>
                <a:gd name="connsiteY3" fmla="*/ 137269 h 382071"/>
                <a:gd name="connsiteX4" fmla="*/ 509293 w 1236441"/>
                <a:gd name="connsiteY4" fmla="*/ 186795 h 382071"/>
                <a:gd name="connsiteX5" fmla="*/ 602606 w 1236441"/>
                <a:gd name="connsiteY5" fmla="*/ 181932 h 382071"/>
                <a:gd name="connsiteX6" fmla="*/ 695697 w 1236441"/>
                <a:gd name="connsiteY6" fmla="*/ 190397 h 382071"/>
                <a:gd name="connsiteX7" fmla="*/ 788789 w 1236441"/>
                <a:gd name="connsiteY7" fmla="*/ 190397 h 382071"/>
                <a:gd name="connsiteX8" fmla="*/ 881882 w 1236441"/>
                <a:gd name="connsiteY8" fmla="*/ 182293 h 382071"/>
                <a:gd name="connsiteX9" fmla="*/ 974974 w 1236441"/>
                <a:gd name="connsiteY9" fmla="*/ 188416 h 382071"/>
                <a:gd name="connsiteX10" fmla="*/ 1067623 w 1236441"/>
                <a:gd name="connsiteY10" fmla="*/ 180852 h 382071"/>
                <a:gd name="connsiteX11" fmla="*/ 1160716 w 1236441"/>
                <a:gd name="connsiteY11" fmla="*/ 188055 h 382071"/>
                <a:gd name="connsiteX12" fmla="*/ 1236441 w 1236441"/>
                <a:gd name="connsiteY12" fmla="*/ 188055 h 382071"/>
                <a:gd name="connsiteX13" fmla="*/ 1236441 w 1236441"/>
                <a:gd name="connsiteY13" fmla="*/ 329149 h 382071"/>
                <a:gd name="connsiteX14" fmla="*/ 21832 w 1236441"/>
                <a:gd name="connsiteY14" fmla="*/ 382071 h 382071"/>
                <a:gd name="connsiteX15" fmla="*/ 70367 w 1236441"/>
                <a:gd name="connsiteY15" fmla="*/ 211648 h 382071"/>
                <a:gd name="connsiteX16" fmla="*/ 159478 w 1236441"/>
                <a:gd name="connsiteY16" fmla="*/ 212728 h 382071"/>
                <a:gd name="connsiteX17" fmla="*/ 113485 w 1236441"/>
                <a:gd name="connsiteY17" fmla="*/ 173828 h 382071"/>
                <a:gd name="connsiteX18" fmla="*/ 56878 w 1236441"/>
                <a:gd name="connsiteY18" fmla="*/ 136729 h 382071"/>
                <a:gd name="connsiteX19" fmla="*/ 138914 w 1236441"/>
                <a:gd name="connsiteY19" fmla="*/ 154198 h 382071"/>
                <a:gd name="connsiteX20" fmla="*/ 218960 w 1236441"/>
                <a:gd name="connsiteY20" fmla="*/ 175089 h 382071"/>
                <a:gd name="connsiteX21" fmla="*/ 298343 w 1236441"/>
                <a:gd name="connsiteY21" fmla="*/ 184274 h 382071"/>
                <a:gd name="connsiteX22" fmla="*/ 260531 w 1236441"/>
                <a:gd name="connsiteY22" fmla="*/ 123943 h 382071"/>
                <a:gd name="connsiteX23" fmla="*/ 213873 w 1236441"/>
                <a:gd name="connsiteY23" fmla="*/ 64512 h 382071"/>
                <a:gd name="connsiteX24" fmla="*/ 161246 w 1236441"/>
                <a:gd name="connsiteY24" fmla="*/ 4001 h 382071"/>
                <a:gd name="connsiteX25" fmla="*/ 188897 w 1236441"/>
                <a:gd name="connsiteY25" fmla="*/ 951 h 382071"/>
                <a:gd name="connsiteX0" fmla="*/ 21832 w 1236441"/>
                <a:gd name="connsiteY0" fmla="*/ 382071 h 473511"/>
                <a:gd name="connsiteX1" fmla="*/ 70367 w 1236441"/>
                <a:gd name="connsiteY1" fmla="*/ 211648 h 473511"/>
                <a:gd name="connsiteX2" fmla="*/ 159478 w 1236441"/>
                <a:gd name="connsiteY2" fmla="*/ 212728 h 473511"/>
                <a:gd name="connsiteX3" fmla="*/ 113485 w 1236441"/>
                <a:gd name="connsiteY3" fmla="*/ 173828 h 473511"/>
                <a:gd name="connsiteX4" fmla="*/ 56878 w 1236441"/>
                <a:gd name="connsiteY4" fmla="*/ 136729 h 473511"/>
                <a:gd name="connsiteX5" fmla="*/ 138914 w 1236441"/>
                <a:gd name="connsiteY5" fmla="*/ 154198 h 473511"/>
                <a:gd name="connsiteX6" fmla="*/ 218960 w 1236441"/>
                <a:gd name="connsiteY6" fmla="*/ 175089 h 473511"/>
                <a:gd name="connsiteX7" fmla="*/ 298343 w 1236441"/>
                <a:gd name="connsiteY7" fmla="*/ 184274 h 473511"/>
                <a:gd name="connsiteX8" fmla="*/ 260531 w 1236441"/>
                <a:gd name="connsiteY8" fmla="*/ 123943 h 473511"/>
                <a:gd name="connsiteX9" fmla="*/ 213873 w 1236441"/>
                <a:gd name="connsiteY9" fmla="*/ 64512 h 473511"/>
                <a:gd name="connsiteX10" fmla="*/ 161246 w 1236441"/>
                <a:gd name="connsiteY10" fmla="*/ 4001 h 473511"/>
                <a:gd name="connsiteX11" fmla="*/ 188897 w 1236441"/>
                <a:gd name="connsiteY11" fmla="*/ 951 h 473511"/>
                <a:gd name="connsiteX12" fmla="*/ 251243 w 1236441"/>
                <a:gd name="connsiteY12" fmla="*/ 50285 h 473511"/>
                <a:gd name="connsiteX13" fmla="*/ 338144 w 1236441"/>
                <a:gd name="connsiteY13" fmla="*/ 94948 h 473511"/>
                <a:gd name="connsiteX14" fmla="*/ 426372 w 1236441"/>
                <a:gd name="connsiteY14" fmla="*/ 137269 h 473511"/>
                <a:gd name="connsiteX15" fmla="*/ 509293 w 1236441"/>
                <a:gd name="connsiteY15" fmla="*/ 186795 h 473511"/>
                <a:gd name="connsiteX16" fmla="*/ 602606 w 1236441"/>
                <a:gd name="connsiteY16" fmla="*/ 181932 h 473511"/>
                <a:gd name="connsiteX17" fmla="*/ 695697 w 1236441"/>
                <a:gd name="connsiteY17" fmla="*/ 190397 h 473511"/>
                <a:gd name="connsiteX18" fmla="*/ 788789 w 1236441"/>
                <a:gd name="connsiteY18" fmla="*/ 190397 h 473511"/>
                <a:gd name="connsiteX19" fmla="*/ 881882 w 1236441"/>
                <a:gd name="connsiteY19" fmla="*/ 182293 h 473511"/>
                <a:gd name="connsiteX20" fmla="*/ 974974 w 1236441"/>
                <a:gd name="connsiteY20" fmla="*/ 188416 h 473511"/>
                <a:gd name="connsiteX21" fmla="*/ 1067623 w 1236441"/>
                <a:gd name="connsiteY21" fmla="*/ 180852 h 473511"/>
                <a:gd name="connsiteX22" fmla="*/ 1160716 w 1236441"/>
                <a:gd name="connsiteY22" fmla="*/ 188055 h 473511"/>
                <a:gd name="connsiteX23" fmla="*/ 1236441 w 1236441"/>
                <a:gd name="connsiteY23" fmla="*/ 188055 h 473511"/>
                <a:gd name="connsiteX24" fmla="*/ 1236441 w 1236441"/>
                <a:gd name="connsiteY24" fmla="*/ 329149 h 473511"/>
                <a:gd name="connsiteX25" fmla="*/ 113272 w 1236441"/>
                <a:gd name="connsiteY25" fmla="*/ 473511 h 473511"/>
                <a:gd name="connsiteX0" fmla="*/ 21832 w 1236441"/>
                <a:gd name="connsiteY0" fmla="*/ 382071 h 382071"/>
                <a:gd name="connsiteX1" fmla="*/ 70367 w 1236441"/>
                <a:gd name="connsiteY1" fmla="*/ 211648 h 382071"/>
                <a:gd name="connsiteX2" fmla="*/ 159478 w 1236441"/>
                <a:gd name="connsiteY2" fmla="*/ 212728 h 382071"/>
                <a:gd name="connsiteX3" fmla="*/ 113485 w 1236441"/>
                <a:gd name="connsiteY3" fmla="*/ 173828 h 382071"/>
                <a:gd name="connsiteX4" fmla="*/ 56878 w 1236441"/>
                <a:gd name="connsiteY4" fmla="*/ 136729 h 382071"/>
                <a:gd name="connsiteX5" fmla="*/ 138914 w 1236441"/>
                <a:gd name="connsiteY5" fmla="*/ 154198 h 382071"/>
                <a:gd name="connsiteX6" fmla="*/ 218960 w 1236441"/>
                <a:gd name="connsiteY6" fmla="*/ 175089 h 382071"/>
                <a:gd name="connsiteX7" fmla="*/ 298343 w 1236441"/>
                <a:gd name="connsiteY7" fmla="*/ 184274 h 382071"/>
                <a:gd name="connsiteX8" fmla="*/ 260531 w 1236441"/>
                <a:gd name="connsiteY8" fmla="*/ 123943 h 382071"/>
                <a:gd name="connsiteX9" fmla="*/ 213873 w 1236441"/>
                <a:gd name="connsiteY9" fmla="*/ 64512 h 382071"/>
                <a:gd name="connsiteX10" fmla="*/ 161246 w 1236441"/>
                <a:gd name="connsiteY10" fmla="*/ 4001 h 382071"/>
                <a:gd name="connsiteX11" fmla="*/ 188897 w 1236441"/>
                <a:gd name="connsiteY11" fmla="*/ 951 h 382071"/>
                <a:gd name="connsiteX12" fmla="*/ 251243 w 1236441"/>
                <a:gd name="connsiteY12" fmla="*/ 50285 h 382071"/>
                <a:gd name="connsiteX13" fmla="*/ 338144 w 1236441"/>
                <a:gd name="connsiteY13" fmla="*/ 94948 h 382071"/>
                <a:gd name="connsiteX14" fmla="*/ 426372 w 1236441"/>
                <a:gd name="connsiteY14" fmla="*/ 137269 h 382071"/>
                <a:gd name="connsiteX15" fmla="*/ 509293 w 1236441"/>
                <a:gd name="connsiteY15" fmla="*/ 186795 h 382071"/>
                <a:gd name="connsiteX16" fmla="*/ 602606 w 1236441"/>
                <a:gd name="connsiteY16" fmla="*/ 181932 h 382071"/>
                <a:gd name="connsiteX17" fmla="*/ 695697 w 1236441"/>
                <a:gd name="connsiteY17" fmla="*/ 190397 h 382071"/>
                <a:gd name="connsiteX18" fmla="*/ 788789 w 1236441"/>
                <a:gd name="connsiteY18" fmla="*/ 190397 h 382071"/>
                <a:gd name="connsiteX19" fmla="*/ 881882 w 1236441"/>
                <a:gd name="connsiteY19" fmla="*/ 182293 h 382071"/>
                <a:gd name="connsiteX20" fmla="*/ 974974 w 1236441"/>
                <a:gd name="connsiteY20" fmla="*/ 188416 h 382071"/>
                <a:gd name="connsiteX21" fmla="*/ 1067623 w 1236441"/>
                <a:gd name="connsiteY21" fmla="*/ 180852 h 382071"/>
                <a:gd name="connsiteX22" fmla="*/ 1160716 w 1236441"/>
                <a:gd name="connsiteY22" fmla="*/ 188055 h 382071"/>
                <a:gd name="connsiteX23" fmla="*/ 1236441 w 1236441"/>
                <a:gd name="connsiteY23" fmla="*/ 188055 h 382071"/>
                <a:gd name="connsiteX24" fmla="*/ 1236441 w 1236441"/>
                <a:gd name="connsiteY24" fmla="*/ 329149 h 382071"/>
                <a:gd name="connsiteX0" fmla="*/ 19996 w 1186070"/>
                <a:gd name="connsiteY0" fmla="*/ 211648 h 329149"/>
                <a:gd name="connsiteX1" fmla="*/ 109107 w 1186070"/>
                <a:gd name="connsiteY1" fmla="*/ 212728 h 329149"/>
                <a:gd name="connsiteX2" fmla="*/ 63114 w 1186070"/>
                <a:gd name="connsiteY2" fmla="*/ 173828 h 329149"/>
                <a:gd name="connsiteX3" fmla="*/ 6507 w 1186070"/>
                <a:gd name="connsiteY3" fmla="*/ 136729 h 329149"/>
                <a:gd name="connsiteX4" fmla="*/ 88543 w 1186070"/>
                <a:gd name="connsiteY4" fmla="*/ 154198 h 329149"/>
                <a:gd name="connsiteX5" fmla="*/ 168589 w 1186070"/>
                <a:gd name="connsiteY5" fmla="*/ 175089 h 329149"/>
                <a:gd name="connsiteX6" fmla="*/ 247972 w 1186070"/>
                <a:gd name="connsiteY6" fmla="*/ 184274 h 329149"/>
                <a:gd name="connsiteX7" fmla="*/ 210160 w 1186070"/>
                <a:gd name="connsiteY7" fmla="*/ 123943 h 329149"/>
                <a:gd name="connsiteX8" fmla="*/ 163502 w 1186070"/>
                <a:gd name="connsiteY8" fmla="*/ 64512 h 329149"/>
                <a:gd name="connsiteX9" fmla="*/ 110875 w 1186070"/>
                <a:gd name="connsiteY9" fmla="*/ 4001 h 329149"/>
                <a:gd name="connsiteX10" fmla="*/ 138526 w 1186070"/>
                <a:gd name="connsiteY10" fmla="*/ 951 h 329149"/>
                <a:gd name="connsiteX11" fmla="*/ 200872 w 1186070"/>
                <a:gd name="connsiteY11" fmla="*/ 50285 h 329149"/>
                <a:gd name="connsiteX12" fmla="*/ 287773 w 1186070"/>
                <a:gd name="connsiteY12" fmla="*/ 94948 h 329149"/>
                <a:gd name="connsiteX13" fmla="*/ 376001 w 1186070"/>
                <a:gd name="connsiteY13" fmla="*/ 137269 h 329149"/>
                <a:gd name="connsiteX14" fmla="*/ 458922 w 1186070"/>
                <a:gd name="connsiteY14" fmla="*/ 186795 h 329149"/>
                <a:gd name="connsiteX15" fmla="*/ 552235 w 1186070"/>
                <a:gd name="connsiteY15" fmla="*/ 181932 h 329149"/>
                <a:gd name="connsiteX16" fmla="*/ 645326 w 1186070"/>
                <a:gd name="connsiteY16" fmla="*/ 190397 h 329149"/>
                <a:gd name="connsiteX17" fmla="*/ 738418 w 1186070"/>
                <a:gd name="connsiteY17" fmla="*/ 190397 h 329149"/>
                <a:gd name="connsiteX18" fmla="*/ 831511 w 1186070"/>
                <a:gd name="connsiteY18" fmla="*/ 182293 h 329149"/>
                <a:gd name="connsiteX19" fmla="*/ 924603 w 1186070"/>
                <a:gd name="connsiteY19" fmla="*/ 188416 h 329149"/>
                <a:gd name="connsiteX20" fmla="*/ 1017252 w 1186070"/>
                <a:gd name="connsiteY20" fmla="*/ 180852 h 329149"/>
                <a:gd name="connsiteX21" fmla="*/ 1110345 w 1186070"/>
                <a:gd name="connsiteY21" fmla="*/ 188055 h 329149"/>
                <a:gd name="connsiteX22" fmla="*/ 1186070 w 1186070"/>
                <a:gd name="connsiteY22" fmla="*/ 188055 h 329149"/>
                <a:gd name="connsiteX23" fmla="*/ 1186070 w 1186070"/>
                <a:gd name="connsiteY23" fmla="*/ 329149 h 329149"/>
                <a:gd name="connsiteX0" fmla="*/ 19996 w 1186070"/>
                <a:gd name="connsiteY0" fmla="*/ 211648 h 221055"/>
                <a:gd name="connsiteX1" fmla="*/ 109107 w 1186070"/>
                <a:gd name="connsiteY1" fmla="*/ 212728 h 221055"/>
                <a:gd name="connsiteX2" fmla="*/ 63114 w 1186070"/>
                <a:gd name="connsiteY2" fmla="*/ 173828 h 221055"/>
                <a:gd name="connsiteX3" fmla="*/ 6507 w 1186070"/>
                <a:gd name="connsiteY3" fmla="*/ 136729 h 221055"/>
                <a:gd name="connsiteX4" fmla="*/ 88543 w 1186070"/>
                <a:gd name="connsiteY4" fmla="*/ 154198 h 221055"/>
                <a:gd name="connsiteX5" fmla="*/ 168589 w 1186070"/>
                <a:gd name="connsiteY5" fmla="*/ 175089 h 221055"/>
                <a:gd name="connsiteX6" fmla="*/ 247972 w 1186070"/>
                <a:gd name="connsiteY6" fmla="*/ 184274 h 221055"/>
                <a:gd name="connsiteX7" fmla="*/ 210160 w 1186070"/>
                <a:gd name="connsiteY7" fmla="*/ 123943 h 221055"/>
                <a:gd name="connsiteX8" fmla="*/ 163502 w 1186070"/>
                <a:gd name="connsiteY8" fmla="*/ 64512 h 221055"/>
                <a:gd name="connsiteX9" fmla="*/ 110875 w 1186070"/>
                <a:gd name="connsiteY9" fmla="*/ 4001 h 221055"/>
                <a:gd name="connsiteX10" fmla="*/ 138526 w 1186070"/>
                <a:gd name="connsiteY10" fmla="*/ 951 h 221055"/>
                <a:gd name="connsiteX11" fmla="*/ 200872 w 1186070"/>
                <a:gd name="connsiteY11" fmla="*/ 50285 h 221055"/>
                <a:gd name="connsiteX12" fmla="*/ 287773 w 1186070"/>
                <a:gd name="connsiteY12" fmla="*/ 94948 h 221055"/>
                <a:gd name="connsiteX13" fmla="*/ 376001 w 1186070"/>
                <a:gd name="connsiteY13" fmla="*/ 137269 h 221055"/>
                <a:gd name="connsiteX14" fmla="*/ 458922 w 1186070"/>
                <a:gd name="connsiteY14" fmla="*/ 186795 h 221055"/>
                <a:gd name="connsiteX15" fmla="*/ 552235 w 1186070"/>
                <a:gd name="connsiteY15" fmla="*/ 181932 h 221055"/>
                <a:gd name="connsiteX16" fmla="*/ 645326 w 1186070"/>
                <a:gd name="connsiteY16" fmla="*/ 190397 h 221055"/>
                <a:gd name="connsiteX17" fmla="*/ 738418 w 1186070"/>
                <a:gd name="connsiteY17" fmla="*/ 190397 h 221055"/>
                <a:gd name="connsiteX18" fmla="*/ 831511 w 1186070"/>
                <a:gd name="connsiteY18" fmla="*/ 182293 h 221055"/>
                <a:gd name="connsiteX19" fmla="*/ 924603 w 1186070"/>
                <a:gd name="connsiteY19" fmla="*/ 188416 h 221055"/>
                <a:gd name="connsiteX20" fmla="*/ 1017252 w 1186070"/>
                <a:gd name="connsiteY20" fmla="*/ 180852 h 221055"/>
                <a:gd name="connsiteX21" fmla="*/ 1110345 w 1186070"/>
                <a:gd name="connsiteY21" fmla="*/ 188055 h 221055"/>
                <a:gd name="connsiteX22" fmla="*/ 1186070 w 1186070"/>
                <a:gd name="connsiteY22" fmla="*/ 188055 h 22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070" h="221055">
                  <a:moveTo>
                    <a:pt x="19996" y="211648"/>
                  </a:moveTo>
                  <a:cubicBezTo>
                    <a:pt x="42936" y="183424"/>
                    <a:pt x="79034" y="241723"/>
                    <a:pt x="109107" y="212728"/>
                  </a:cubicBezTo>
                  <a:cubicBezTo>
                    <a:pt x="132103" y="190397"/>
                    <a:pt x="89649" y="193458"/>
                    <a:pt x="63114" y="173828"/>
                  </a:cubicBezTo>
                  <a:cubicBezTo>
                    <a:pt x="36579" y="154198"/>
                    <a:pt x="-18923" y="156899"/>
                    <a:pt x="6507" y="136729"/>
                  </a:cubicBezTo>
                  <a:cubicBezTo>
                    <a:pt x="36579" y="112957"/>
                    <a:pt x="47856" y="145914"/>
                    <a:pt x="88543" y="154198"/>
                  </a:cubicBezTo>
                  <a:cubicBezTo>
                    <a:pt x="129229" y="162482"/>
                    <a:pt x="127903" y="166985"/>
                    <a:pt x="168589" y="175089"/>
                  </a:cubicBezTo>
                  <a:cubicBezTo>
                    <a:pt x="209276" y="183193"/>
                    <a:pt x="224312" y="213809"/>
                    <a:pt x="247972" y="184274"/>
                  </a:cubicBezTo>
                  <a:cubicBezTo>
                    <a:pt x="271853" y="154738"/>
                    <a:pt x="233378" y="153658"/>
                    <a:pt x="210160" y="123943"/>
                  </a:cubicBezTo>
                  <a:cubicBezTo>
                    <a:pt x="186942" y="94227"/>
                    <a:pt x="186500" y="94227"/>
                    <a:pt x="163502" y="64512"/>
                  </a:cubicBezTo>
                  <a:cubicBezTo>
                    <a:pt x="140506" y="34797"/>
                    <a:pt x="71516" y="18409"/>
                    <a:pt x="110875" y="4001"/>
                  </a:cubicBezTo>
                  <a:cubicBezTo>
                    <a:pt x="122540" y="-231"/>
                    <a:pt x="131288" y="-850"/>
                    <a:pt x="138526" y="951"/>
                  </a:cubicBezTo>
                  <a:cubicBezTo>
                    <a:pt x="160242" y="6354"/>
                    <a:pt x="168368" y="33536"/>
                    <a:pt x="200872" y="50285"/>
                  </a:cubicBezTo>
                  <a:lnTo>
                    <a:pt x="287773" y="94948"/>
                  </a:lnTo>
                  <a:cubicBezTo>
                    <a:pt x="331113" y="117279"/>
                    <a:pt x="332661" y="114938"/>
                    <a:pt x="376001" y="137269"/>
                  </a:cubicBezTo>
                  <a:cubicBezTo>
                    <a:pt x="419340" y="159601"/>
                    <a:pt x="410053" y="174548"/>
                    <a:pt x="458922" y="186795"/>
                  </a:cubicBezTo>
                  <a:cubicBezTo>
                    <a:pt x="503366" y="197780"/>
                    <a:pt x="505799" y="181932"/>
                    <a:pt x="552235" y="181932"/>
                  </a:cubicBezTo>
                  <a:cubicBezTo>
                    <a:pt x="598670" y="181932"/>
                    <a:pt x="598670" y="190397"/>
                    <a:pt x="645326" y="190397"/>
                  </a:cubicBezTo>
                  <a:lnTo>
                    <a:pt x="738418" y="190397"/>
                  </a:lnTo>
                  <a:cubicBezTo>
                    <a:pt x="785076" y="190397"/>
                    <a:pt x="784855" y="182293"/>
                    <a:pt x="831511" y="182293"/>
                  </a:cubicBezTo>
                  <a:cubicBezTo>
                    <a:pt x="878168" y="182293"/>
                    <a:pt x="878389" y="188416"/>
                    <a:pt x="924603" y="188416"/>
                  </a:cubicBezTo>
                  <a:cubicBezTo>
                    <a:pt x="970817" y="188416"/>
                    <a:pt x="970596" y="180852"/>
                    <a:pt x="1017252" y="180852"/>
                  </a:cubicBezTo>
                  <a:cubicBezTo>
                    <a:pt x="1063910" y="180852"/>
                    <a:pt x="1063689" y="188055"/>
                    <a:pt x="1110345" y="188055"/>
                  </a:cubicBezTo>
                  <a:lnTo>
                    <a:pt x="1186070" y="188055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725243D-79B5-9EF5-A062-7FB132721EE6}"/>
                </a:ext>
              </a:extLst>
            </p:cNvPr>
            <p:cNvSpPr/>
            <p:nvPr/>
          </p:nvSpPr>
          <p:spPr>
            <a:xfrm>
              <a:off x="4254445" y="6219246"/>
              <a:ext cx="6446396" cy="260945"/>
            </a:xfrm>
            <a:custGeom>
              <a:avLst/>
              <a:gdLst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0 w 5633519"/>
                <a:gd name="connsiteY50" fmla="*/ 284663 h 284663"/>
                <a:gd name="connsiteX51" fmla="*/ 5088 w 5633519"/>
                <a:gd name="connsiteY51" fmla="*/ 282101 h 284663"/>
                <a:gd name="connsiteX52" fmla="*/ 53499 w 5633519"/>
                <a:gd name="connsiteY52" fmla="*/ 215429 h 284663"/>
                <a:gd name="connsiteX53" fmla="*/ 146812 w 5633519"/>
                <a:gd name="connsiteY53" fmla="*/ 213989 h 284663"/>
                <a:gd name="connsiteX54" fmla="*/ 239905 w 5633519"/>
                <a:gd name="connsiteY54" fmla="*/ 215069 h 284663"/>
                <a:gd name="connsiteX55" fmla="*/ 332996 w 5633519"/>
                <a:gd name="connsiteY55" fmla="*/ 214169 h 284663"/>
                <a:gd name="connsiteX56" fmla="*/ 426088 w 5633519"/>
                <a:gd name="connsiteY56" fmla="*/ 220112 h 284663"/>
                <a:gd name="connsiteX57" fmla="*/ 519180 w 5633519"/>
                <a:gd name="connsiteY57" fmla="*/ 217050 h 284663"/>
                <a:gd name="connsiteX58" fmla="*/ 612273 w 5633519"/>
                <a:gd name="connsiteY58" fmla="*/ 218671 h 284663"/>
                <a:gd name="connsiteX59" fmla="*/ 705365 w 5633519"/>
                <a:gd name="connsiteY59" fmla="*/ 214529 h 284663"/>
                <a:gd name="connsiteX60" fmla="*/ 798457 w 5633519"/>
                <a:gd name="connsiteY60" fmla="*/ 213989 h 284663"/>
                <a:gd name="connsiteX61" fmla="*/ 891548 w 5633519"/>
                <a:gd name="connsiteY61" fmla="*/ 217590 h 284663"/>
                <a:gd name="connsiteX62" fmla="*/ 984641 w 5633519"/>
                <a:gd name="connsiteY62" fmla="*/ 218491 h 284663"/>
                <a:gd name="connsiteX63" fmla="*/ 1077733 w 5633519"/>
                <a:gd name="connsiteY63" fmla="*/ 221012 h 284663"/>
                <a:gd name="connsiteX64" fmla="*/ 1170825 w 5633519"/>
                <a:gd name="connsiteY64" fmla="*/ 213629 h 284663"/>
                <a:gd name="connsiteX65" fmla="*/ 1263476 w 5633519"/>
                <a:gd name="connsiteY65" fmla="*/ 211648 h 284663"/>
                <a:gd name="connsiteX66" fmla="*/ 1352587 w 5633519"/>
                <a:gd name="connsiteY66" fmla="*/ 212728 h 284663"/>
                <a:gd name="connsiteX67" fmla="*/ 1306594 w 5633519"/>
                <a:gd name="connsiteY67" fmla="*/ 173828 h 284663"/>
                <a:gd name="connsiteX68" fmla="*/ 1249987 w 5633519"/>
                <a:gd name="connsiteY68" fmla="*/ 136729 h 284663"/>
                <a:gd name="connsiteX69" fmla="*/ 1332023 w 5633519"/>
                <a:gd name="connsiteY69" fmla="*/ 154198 h 284663"/>
                <a:gd name="connsiteX70" fmla="*/ 1412069 w 5633519"/>
                <a:gd name="connsiteY70" fmla="*/ 175089 h 284663"/>
                <a:gd name="connsiteX71" fmla="*/ 1491452 w 5633519"/>
                <a:gd name="connsiteY71" fmla="*/ 184274 h 284663"/>
                <a:gd name="connsiteX72" fmla="*/ 1453640 w 5633519"/>
                <a:gd name="connsiteY72" fmla="*/ 123943 h 284663"/>
                <a:gd name="connsiteX73" fmla="*/ 1406982 w 5633519"/>
                <a:gd name="connsiteY73" fmla="*/ 64512 h 284663"/>
                <a:gd name="connsiteX74" fmla="*/ 1354355 w 5633519"/>
                <a:gd name="connsiteY74" fmla="*/ 4001 h 284663"/>
                <a:gd name="connsiteX75" fmla="*/ 1382006 w 5633519"/>
                <a:gd name="connsiteY75" fmla="*/ 951 h 284663"/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2235618 w 5633519"/>
                <a:gd name="connsiteY50" fmla="*/ 277048 h 284663"/>
                <a:gd name="connsiteX51" fmla="*/ 0 w 5633519"/>
                <a:gd name="connsiteY51" fmla="*/ 284663 h 284663"/>
                <a:gd name="connsiteX52" fmla="*/ 5088 w 5633519"/>
                <a:gd name="connsiteY52" fmla="*/ 282101 h 284663"/>
                <a:gd name="connsiteX53" fmla="*/ 53499 w 5633519"/>
                <a:gd name="connsiteY53" fmla="*/ 215429 h 284663"/>
                <a:gd name="connsiteX54" fmla="*/ 146812 w 5633519"/>
                <a:gd name="connsiteY54" fmla="*/ 213989 h 284663"/>
                <a:gd name="connsiteX55" fmla="*/ 239905 w 5633519"/>
                <a:gd name="connsiteY55" fmla="*/ 215069 h 284663"/>
                <a:gd name="connsiteX56" fmla="*/ 332996 w 5633519"/>
                <a:gd name="connsiteY56" fmla="*/ 214169 h 284663"/>
                <a:gd name="connsiteX57" fmla="*/ 426088 w 5633519"/>
                <a:gd name="connsiteY57" fmla="*/ 220112 h 284663"/>
                <a:gd name="connsiteX58" fmla="*/ 519180 w 5633519"/>
                <a:gd name="connsiteY58" fmla="*/ 217050 h 284663"/>
                <a:gd name="connsiteX59" fmla="*/ 612273 w 5633519"/>
                <a:gd name="connsiteY59" fmla="*/ 218671 h 284663"/>
                <a:gd name="connsiteX60" fmla="*/ 705365 w 5633519"/>
                <a:gd name="connsiteY60" fmla="*/ 214529 h 284663"/>
                <a:gd name="connsiteX61" fmla="*/ 798457 w 5633519"/>
                <a:gd name="connsiteY61" fmla="*/ 213989 h 284663"/>
                <a:gd name="connsiteX62" fmla="*/ 891548 w 5633519"/>
                <a:gd name="connsiteY62" fmla="*/ 217590 h 284663"/>
                <a:gd name="connsiteX63" fmla="*/ 984641 w 5633519"/>
                <a:gd name="connsiteY63" fmla="*/ 218491 h 284663"/>
                <a:gd name="connsiteX64" fmla="*/ 1077733 w 5633519"/>
                <a:gd name="connsiteY64" fmla="*/ 221012 h 284663"/>
                <a:gd name="connsiteX65" fmla="*/ 1170825 w 5633519"/>
                <a:gd name="connsiteY65" fmla="*/ 213629 h 284663"/>
                <a:gd name="connsiteX66" fmla="*/ 1263476 w 5633519"/>
                <a:gd name="connsiteY66" fmla="*/ 211648 h 284663"/>
                <a:gd name="connsiteX67" fmla="*/ 1352587 w 5633519"/>
                <a:gd name="connsiteY67" fmla="*/ 212728 h 284663"/>
                <a:gd name="connsiteX68" fmla="*/ 1306594 w 5633519"/>
                <a:gd name="connsiteY68" fmla="*/ 173828 h 284663"/>
                <a:gd name="connsiteX69" fmla="*/ 1249987 w 5633519"/>
                <a:gd name="connsiteY69" fmla="*/ 136729 h 284663"/>
                <a:gd name="connsiteX70" fmla="*/ 1332023 w 5633519"/>
                <a:gd name="connsiteY70" fmla="*/ 154198 h 284663"/>
                <a:gd name="connsiteX71" fmla="*/ 1412069 w 5633519"/>
                <a:gd name="connsiteY71" fmla="*/ 175089 h 284663"/>
                <a:gd name="connsiteX72" fmla="*/ 1491452 w 5633519"/>
                <a:gd name="connsiteY72" fmla="*/ 184274 h 284663"/>
                <a:gd name="connsiteX73" fmla="*/ 1453640 w 5633519"/>
                <a:gd name="connsiteY73" fmla="*/ 123943 h 284663"/>
                <a:gd name="connsiteX74" fmla="*/ 1406982 w 5633519"/>
                <a:gd name="connsiteY74" fmla="*/ 64512 h 284663"/>
                <a:gd name="connsiteX75" fmla="*/ 1354355 w 5633519"/>
                <a:gd name="connsiteY75" fmla="*/ 4001 h 284663"/>
                <a:gd name="connsiteX76" fmla="*/ 1382006 w 5633519"/>
                <a:gd name="connsiteY76" fmla="*/ 951 h 284663"/>
                <a:gd name="connsiteX0" fmla="*/ 2235618 w 5633519"/>
                <a:gd name="connsiteY0" fmla="*/ 277048 h 368488"/>
                <a:gd name="connsiteX1" fmla="*/ 0 w 5633519"/>
                <a:gd name="connsiteY1" fmla="*/ 284663 h 368488"/>
                <a:gd name="connsiteX2" fmla="*/ 5088 w 5633519"/>
                <a:gd name="connsiteY2" fmla="*/ 282101 h 368488"/>
                <a:gd name="connsiteX3" fmla="*/ 53499 w 5633519"/>
                <a:gd name="connsiteY3" fmla="*/ 215429 h 368488"/>
                <a:gd name="connsiteX4" fmla="*/ 146812 w 5633519"/>
                <a:gd name="connsiteY4" fmla="*/ 213989 h 368488"/>
                <a:gd name="connsiteX5" fmla="*/ 239905 w 5633519"/>
                <a:gd name="connsiteY5" fmla="*/ 215069 h 368488"/>
                <a:gd name="connsiteX6" fmla="*/ 332996 w 5633519"/>
                <a:gd name="connsiteY6" fmla="*/ 214169 h 368488"/>
                <a:gd name="connsiteX7" fmla="*/ 426088 w 5633519"/>
                <a:gd name="connsiteY7" fmla="*/ 220112 h 368488"/>
                <a:gd name="connsiteX8" fmla="*/ 519180 w 5633519"/>
                <a:gd name="connsiteY8" fmla="*/ 217050 h 368488"/>
                <a:gd name="connsiteX9" fmla="*/ 612273 w 5633519"/>
                <a:gd name="connsiteY9" fmla="*/ 218671 h 368488"/>
                <a:gd name="connsiteX10" fmla="*/ 705365 w 5633519"/>
                <a:gd name="connsiteY10" fmla="*/ 214529 h 368488"/>
                <a:gd name="connsiteX11" fmla="*/ 798457 w 5633519"/>
                <a:gd name="connsiteY11" fmla="*/ 213989 h 368488"/>
                <a:gd name="connsiteX12" fmla="*/ 891548 w 5633519"/>
                <a:gd name="connsiteY12" fmla="*/ 217590 h 368488"/>
                <a:gd name="connsiteX13" fmla="*/ 984641 w 5633519"/>
                <a:gd name="connsiteY13" fmla="*/ 218491 h 368488"/>
                <a:gd name="connsiteX14" fmla="*/ 1077733 w 5633519"/>
                <a:gd name="connsiteY14" fmla="*/ 221012 h 368488"/>
                <a:gd name="connsiteX15" fmla="*/ 1170825 w 5633519"/>
                <a:gd name="connsiteY15" fmla="*/ 213629 h 368488"/>
                <a:gd name="connsiteX16" fmla="*/ 1263476 w 5633519"/>
                <a:gd name="connsiteY16" fmla="*/ 211648 h 368488"/>
                <a:gd name="connsiteX17" fmla="*/ 1352587 w 5633519"/>
                <a:gd name="connsiteY17" fmla="*/ 212728 h 368488"/>
                <a:gd name="connsiteX18" fmla="*/ 1306594 w 5633519"/>
                <a:gd name="connsiteY18" fmla="*/ 173828 h 368488"/>
                <a:gd name="connsiteX19" fmla="*/ 1249987 w 5633519"/>
                <a:gd name="connsiteY19" fmla="*/ 136729 h 368488"/>
                <a:gd name="connsiteX20" fmla="*/ 1332023 w 5633519"/>
                <a:gd name="connsiteY20" fmla="*/ 154198 h 368488"/>
                <a:gd name="connsiteX21" fmla="*/ 1412069 w 5633519"/>
                <a:gd name="connsiteY21" fmla="*/ 175089 h 368488"/>
                <a:gd name="connsiteX22" fmla="*/ 1491452 w 5633519"/>
                <a:gd name="connsiteY22" fmla="*/ 184274 h 368488"/>
                <a:gd name="connsiteX23" fmla="*/ 1453640 w 5633519"/>
                <a:gd name="connsiteY23" fmla="*/ 123943 h 368488"/>
                <a:gd name="connsiteX24" fmla="*/ 1406982 w 5633519"/>
                <a:gd name="connsiteY24" fmla="*/ 64512 h 368488"/>
                <a:gd name="connsiteX25" fmla="*/ 1354355 w 5633519"/>
                <a:gd name="connsiteY25" fmla="*/ 4001 h 368488"/>
                <a:gd name="connsiteX26" fmla="*/ 1382006 w 5633519"/>
                <a:gd name="connsiteY26" fmla="*/ 951 h 368488"/>
                <a:gd name="connsiteX27" fmla="*/ 1444352 w 5633519"/>
                <a:gd name="connsiteY27" fmla="*/ 50285 h 368488"/>
                <a:gd name="connsiteX28" fmla="*/ 1531253 w 5633519"/>
                <a:gd name="connsiteY28" fmla="*/ 94948 h 368488"/>
                <a:gd name="connsiteX29" fmla="*/ 1619481 w 5633519"/>
                <a:gd name="connsiteY29" fmla="*/ 137269 h 368488"/>
                <a:gd name="connsiteX30" fmla="*/ 1702402 w 5633519"/>
                <a:gd name="connsiteY30" fmla="*/ 186795 h 368488"/>
                <a:gd name="connsiteX31" fmla="*/ 1795715 w 5633519"/>
                <a:gd name="connsiteY31" fmla="*/ 181932 h 368488"/>
                <a:gd name="connsiteX32" fmla="*/ 1888806 w 5633519"/>
                <a:gd name="connsiteY32" fmla="*/ 190397 h 368488"/>
                <a:gd name="connsiteX33" fmla="*/ 1981898 w 5633519"/>
                <a:gd name="connsiteY33" fmla="*/ 190397 h 368488"/>
                <a:gd name="connsiteX34" fmla="*/ 2074991 w 5633519"/>
                <a:gd name="connsiteY34" fmla="*/ 182293 h 368488"/>
                <a:gd name="connsiteX35" fmla="*/ 2168083 w 5633519"/>
                <a:gd name="connsiteY35" fmla="*/ 188416 h 368488"/>
                <a:gd name="connsiteX36" fmla="*/ 2260732 w 5633519"/>
                <a:gd name="connsiteY36" fmla="*/ 180852 h 368488"/>
                <a:gd name="connsiteX37" fmla="*/ 2353824 w 5633519"/>
                <a:gd name="connsiteY37" fmla="*/ 188055 h 368488"/>
                <a:gd name="connsiteX38" fmla="*/ 2446917 w 5633519"/>
                <a:gd name="connsiteY38" fmla="*/ 188055 h 368488"/>
                <a:gd name="connsiteX39" fmla="*/ 2539567 w 5633519"/>
                <a:gd name="connsiteY39" fmla="*/ 185714 h 368488"/>
                <a:gd name="connsiteX40" fmla="*/ 2632217 w 5633519"/>
                <a:gd name="connsiteY40" fmla="*/ 182653 h 368488"/>
                <a:gd name="connsiteX41" fmla="*/ 2725308 w 5633519"/>
                <a:gd name="connsiteY41" fmla="*/ 183733 h 368488"/>
                <a:gd name="connsiteX42" fmla="*/ 2817959 w 5633519"/>
                <a:gd name="connsiteY42" fmla="*/ 188596 h 368488"/>
                <a:gd name="connsiteX43" fmla="*/ 2910609 w 5633519"/>
                <a:gd name="connsiteY43" fmla="*/ 188596 h 368488"/>
                <a:gd name="connsiteX44" fmla="*/ 3003258 w 5633519"/>
                <a:gd name="connsiteY44" fmla="*/ 188416 h 368488"/>
                <a:gd name="connsiteX45" fmla="*/ 3095908 w 5633519"/>
                <a:gd name="connsiteY45" fmla="*/ 185894 h 368488"/>
                <a:gd name="connsiteX46" fmla="*/ 3188559 w 5633519"/>
                <a:gd name="connsiteY46" fmla="*/ 186795 h 368488"/>
                <a:gd name="connsiteX47" fmla="*/ 3281207 w 5633519"/>
                <a:gd name="connsiteY47" fmla="*/ 181032 h 368488"/>
                <a:gd name="connsiteX48" fmla="*/ 3373858 w 5633519"/>
                <a:gd name="connsiteY48" fmla="*/ 183373 h 368488"/>
                <a:gd name="connsiteX49" fmla="*/ 3466507 w 5633519"/>
                <a:gd name="connsiteY49" fmla="*/ 187335 h 368488"/>
                <a:gd name="connsiteX50" fmla="*/ 3559157 w 5633519"/>
                <a:gd name="connsiteY50" fmla="*/ 191297 h 368488"/>
                <a:gd name="connsiteX51" fmla="*/ 3651807 w 5633519"/>
                <a:gd name="connsiteY51" fmla="*/ 181032 h 368488"/>
                <a:gd name="connsiteX52" fmla="*/ 3744457 w 5633519"/>
                <a:gd name="connsiteY52" fmla="*/ 181572 h 368488"/>
                <a:gd name="connsiteX53" fmla="*/ 3837107 w 5633519"/>
                <a:gd name="connsiteY53" fmla="*/ 186255 h 368488"/>
                <a:gd name="connsiteX54" fmla="*/ 3929757 w 5633519"/>
                <a:gd name="connsiteY54" fmla="*/ 190937 h 368488"/>
                <a:gd name="connsiteX55" fmla="*/ 4022406 w 5633519"/>
                <a:gd name="connsiteY55" fmla="*/ 191477 h 368488"/>
                <a:gd name="connsiteX56" fmla="*/ 4115057 w 5633519"/>
                <a:gd name="connsiteY56" fmla="*/ 186615 h 368488"/>
                <a:gd name="connsiteX57" fmla="*/ 4207707 w 5633519"/>
                <a:gd name="connsiteY57" fmla="*/ 184274 h 368488"/>
                <a:gd name="connsiteX58" fmla="*/ 4300356 w 5633519"/>
                <a:gd name="connsiteY58" fmla="*/ 192017 h 368488"/>
                <a:gd name="connsiteX59" fmla="*/ 4393007 w 5633519"/>
                <a:gd name="connsiteY59" fmla="*/ 183193 h 368488"/>
                <a:gd name="connsiteX60" fmla="*/ 4485657 w 5633519"/>
                <a:gd name="connsiteY60" fmla="*/ 184093 h 368488"/>
                <a:gd name="connsiteX61" fmla="*/ 4578305 w 5633519"/>
                <a:gd name="connsiteY61" fmla="*/ 187335 h 368488"/>
                <a:gd name="connsiteX62" fmla="*/ 4670956 w 5633519"/>
                <a:gd name="connsiteY62" fmla="*/ 190036 h 368488"/>
                <a:gd name="connsiteX63" fmla="*/ 4763605 w 5633519"/>
                <a:gd name="connsiteY63" fmla="*/ 186435 h 368488"/>
                <a:gd name="connsiteX64" fmla="*/ 4856255 w 5633519"/>
                <a:gd name="connsiteY64" fmla="*/ 192378 h 368488"/>
                <a:gd name="connsiteX65" fmla="*/ 4948905 w 5633519"/>
                <a:gd name="connsiteY65" fmla="*/ 191657 h 368488"/>
                <a:gd name="connsiteX66" fmla="*/ 5041556 w 5633519"/>
                <a:gd name="connsiteY66" fmla="*/ 190757 h 368488"/>
                <a:gd name="connsiteX67" fmla="*/ 5134205 w 5633519"/>
                <a:gd name="connsiteY67" fmla="*/ 186074 h 368488"/>
                <a:gd name="connsiteX68" fmla="*/ 5226855 w 5633519"/>
                <a:gd name="connsiteY68" fmla="*/ 186074 h 368488"/>
                <a:gd name="connsiteX69" fmla="*/ 5319505 w 5633519"/>
                <a:gd name="connsiteY69" fmla="*/ 190036 h 368488"/>
                <a:gd name="connsiteX70" fmla="*/ 5412155 w 5633519"/>
                <a:gd name="connsiteY70" fmla="*/ 184274 h 368488"/>
                <a:gd name="connsiteX71" fmla="*/ 5493944 w 5633519"/>
                <a:gd name="connsiteY71" fmla="*/ 190073 h 368488"/>
                <a:gd name="connsiteX72" fmla="*/ 5585487 w 5633519"/>
                <a:gd name="connsiteY72" fmla="*/ 197578 h 368488"/>
                <a:gd name="connsiteX73" fmla="*/ 5633304 w 5633519"/>
                <a:gd name="connsiteY73" fmla="*/ 207189 h 368488"/>
                <a:gd name="connsiteX74" fmla="*/ 5629900 w 5633519"/>
                <a:gd name="connsiteY74" fmla="*/ 253384 h 368488"/>
                <a:gd name="connsiteX75" fmla="*/ 5625668 w 5633519"/>
                <a:gd name="connsiteY75" fmla="*/ 280398 h 368488"/>
                <a:gd name="connsiteX76" fmla="*/ 2327058 w 5633519"/>
                <a:gd name="connsiteY76" fmla="*/ 368488 h 368488"/>
                <a:gd name="connsiteX0" fmla="*/ 2235618 w 5633519"/>
                <a:gd name="connsiteY0" fmla="*/ 277048 h 284663"/>
                <a:gd name="connsiteX1" fmla="*/ 0 w 5633519"/>
                <a:gd name="connsiteY1" fmla="*/ 284663 h 284663"/>
                <a:gd name="connsiteX2" fmla="*/ 5088 w 5633519"/>
                <a:gd name="connsiteY2" fmla="*/ 282101 h 284663"/>
                <a:gd name="connsiteX3" fmla="*/ 53499 w 5633519"/>
                <a:gd name="connsiteY3" fmla="*/ 215429 h 284663"/>
                <a:gd name="connsiteX4" fmla="*/ 146812 w 5633519"/>
                <a:gd name="connsiteY4" fmla="*/ 213989 h 284663"/>
                <a:gd name="connsiteX5" fmla="*/ 239905 w 5633519"/>
                <a:gd name="connsiteY5" fmla="*/ 215069 h 284663"/>
                <a:gd name="connsiteX6" fmla="*/ 332996 w 5633519"/>
                <a:gd name="connsiteY6" fmla="*/ 214169 h 284663"/>
                <a:gd name="connsiteX7" fmla="*/ 426088 w 5633519"/>
                <a:gd name="connsiteY7" fmla="*/ 220112 h 284663"/>
                <a:gd name="connsiteX8" fmla="*/ 519180 w 5633519"/>
                <a:gd name="connsiteY8" fmla="*/ 217050 h 284663"/>
                <a:gd name="connsiteX9" fmla="*/ 612273 w 5633519"/>
                <a:gd name="connsiteY9" fmla="*/ 218671 h 284663"/>
                <a:gd name="connsiteX10" fmla="*/ 705365 w 5633519"/>
                <a:gd name="connsiteY10" fmla="*/ 214529 h 284663"/>
                <a:gd name="connsiteX11" fmla="*/ 798457 w 5633519"/>
                <a:gd name="connsiteY11" fmla="*/ 213989 h 284663"/>
                <a:gd name="connsiteX12" fmla="*/ 891548 w 5633519"/>
                <a:gd name="connsiteY12" fmla="*/ 217590 h 284663"/>
                <a:gd name="connsiteX13" fmla="*/ 984641 w 5633519"/>
                <a:gd name="connsiteY13" fmla="*/ 218491 h 284663"/>
                <a:gd name="connsiteX14" fmla="*/ 1077733 w 5633519"/>
                <a:gd name="connsiteY14" fmla="*/ 221012 h 284663"/>
                <a:gd name="connsiteX15" fmla="*/ 1170825 w 5633519"/>
                <a:gd name="connsiteY15" fmla="*/ 213629 h 284663"/>
                <a:gd name="connsiteX16" fmla="*/ 1263476 w 5633519"/>
                <a:gd name="connsiteY16" fmla="*/ 211648 h 284663"/>
                <a:gd name="connsiteX17" fmla="*/ 1352587 w 5633519"/>
                <a:gd name="connsiteY17" fmla="*/ 212728 h 284663"/>
                <a:gd name="connsiteX18" fmla="*/ 1306594 w 5633519"/>
                <a:gd name="connsiteY18" fmla="*/ 173828 h 284663"/>
                <a:gd name="connsiteX19" fmla="*/ 1249987 w 5633519"/>
                <a:gd name="connsiteY19" fmla="*/ 136729 h 284663"/>
                <a:gd name="connsiteX20" fmla="*/ 1332023 w 5633519"/>
                <a:gd name="connsiteY20" fmla="*/ 154198 h 284663"/>
                <a:gd name="connsiteX21" fmla="*/ 1412069 w 5633519"/>
                <a:gd name="connsiteY21" fmla="*/ 175089 h 284663"/>
                <a:gd name="connsiteX22" fmla="*/ 1491452 w 5633519"/>
                <a:gd name="connsiteY22" fmla="*/ 184274 h 284663"/>
                <a:gd name="connsiteX23" fmla="*/ 1453640 w 5633519"/>
                <a:gd name="connsiteY23" fmla="*/ 123943 h 284663"/>
                <a:gd name="connsiteX24" fmla="*/ 1406982 w 5633519"/>
                <a:gd name="connsiteY24" fmla="*/ 64512 h 284663"/>
                <a:gd name="connsiteX25" fmla="*/ 1354355 w 5633519"/>
                <a:gd name="connsiteY25" fmla="*/ 4001 h 284663"/>
                <a:gd name="connsiteX26" fmla="*/ 1382006 w 5633519"/>
                <a:gd name="connsiteY26" fmla="*/ 951 h 284663"/>
                <a:gd name="connsiteX27" fmla="*/ 1444352 w 5633519"/>
                <a:gd name="connsiteY27" fmla="*/ 50285 h 284663"/>
                <a:gd name="connsiteX28" fmla="*/ 1531253 w 5633519"/>
                <a:gd name="connsiteY28" fmla="*/ 94948 h 284663"/>
                <a:gd name="connsiteX29" fmla="*/ 1619481 w 5633519"/>
                <a:gd name="connsiteY29" fmla="*/ 137269 h 284663"/>
                <a:gd name="connsiteX30" fmla="*/ 1702402 w 5633519"/>
                <a:gd name="connsiteY30" fmla="*/ 186795 h 284663"/>
                <a:gd name="connsiteX31" fmla="*/ 1795715 w 5633519"/>
                <a:gd name="connsiteY31" fmla="*/ 181932 h 284663"/>
                <a:gd name="connsiteX32" fmla="*/ 1888806 w 5633519"/>
                <a:gd name="connsiteY32" fmla="*/ 190397 h 284663"/>
                <a:gd name="connsiteX33" fmla="*/ 1981898 w 5633519"/>
                <a:gd name="connsiteY33" fmla="*/ 190397 h 284663"/>
                <a:gd name="connsiteX34" fmla="*/ 2074991 w 5633519"/>
                <a:gd name="connsiteY34" fmla="*/ 182293 h 284663"/>
                <a:gd name="connsiteX35" fmla="*/ 2168083 w 5633519"/>
                <a:gd name="connsiteY35" fmla="*/ 188416 h 284663"/>
                <a:gd name="connsiteX36" fmla="*/ 2260732 w 5633519"/>
                <a:gd name="connsiteY36" fmla="*/ 180852 h 284663"/>
                <a:gd name="connsiteX37" fmla="*/ 2353824 w 5633519"/>
                <a:gd name="connsiteY37" fmla="*/ 188055 h 284663"/>
                <a:gd name="connsiteX38" fmla="*/ 2446917 w 5633519"/>
                <a:gd name="connsiteY38" fmla="*/ 188055 h 284663"/>
                <a:gd name="connsiteX39" fmla="*/ 2539567 w 5633519"/>
                <a:gd name="connsiteY39" fmla="*/ 185714 h 284663"/>
                <a:gd name="connsiteX40" fmla="*/ 2632217 w 5633519"/>
                <a:gd name="connsiteY40" fmla="*/ 182653 h 284663"/>
                <a:gd name="connsiteX41" fmla="*/ 2725308 w 5633519"/>
                <a:gd name="connsiteY41" fmla="*/ 183733 h 284663"/>
                <a:gd name="connsiteX42" fmla="*/ 2817959 w 5633519"/>
                <a:gd name="connsiteY42" fmla="*/ 188596 h 284663"/>
                <a:gd name="connsiteX43" fmla="*/ 2910609 w 5633519"/>
                <a:gd name="connsiteY43" fmla="*/ 188596 h 284663"/>
                <a:gd name="connsiteX44" fmla="*/ 3003258 w 5633519"/>
                <a:gd name="connsiteY44" fmla="*/ 188416 h 284663"/>
                <a:gd name="connsiteX45" fmla="*/ 3095908 w 5633519"/>
                <a:gd name="connsiteY45" fmla="*/ 185894 h 284663"/>
                <a:gd name="connsiteX46" fmla="*/ 3188559 w 5633519"/>
                <a:gd name="connsiteY46" fmla="*/ 186795 h 284663"/>
                <a:gd name="connsiteX47" fmla="*/ 3281207 w 5633519"/>
                <a:gd name="connsiteY47" fmla="*/ 181032 h 284663"/>
                <a:gd name="connsiteX48" fmla="*/ 3373858 w 5633519"/>
                <a:gd name="connsiteY48" fmla="*/ 183373 h 284663"/>
                <a:gd name="connsiteX49" fmla="*/ 3466507 w 5633519"/>
                <a:gd name="connsiteY49" fmla="*/ 187335 h 284663"/>
                <a:gd name="connsiteX50" fmla="*/ 3559157 w 5633519"/>
                <a:gd name="connsiteY50" fmla="*/ 191297 h 284663"/>
                <a:gd name="connsiteX51" fmla="*/ 3651807 w 5633519"/>
                <a:gd name="connsiteY51" fmla="*/ 181032 h 284663"/>
                <a:gd name="connsiteX52" fmla="*/ 3744457 w 5633519"/>
                <a:gd name="connsiteY52" fmla="*/ 181572 h 284663"/>
                <a:gd name="connsiteX53" fmla="*/ 3837107 w 5633519"/>
                <a:gd name="connsiteY53" fmla="*/ 186255 h 284663"/>
                <a:gd name="connsiteX54" fmla="*/ 3929757 w 5633519"/>
                <a:gd name="connsiteY54" fmla="*/ 190937 h 284663"/>
                <a:gd name="connsiteX55" fmla="*/ 4022406 w 5633519"/>
                <a:gd name="connsiteY55" fmla="*/ 191477 h 284663"/>
                <a:gd name="connsiteX56" fmla="*/ 4115057 w 5633519"/>
                <a:gd name="connsiteY56" fmla="*/ 186615 h 284663"/>
                <a:gd name="connsiteX57" fmla="*/ 4207707 w 5633519"/>
                <a:gd name="connsiteY57" fmla="*/ 184274 h 284663"/>
                <a:gd name="connsiteX58" fmla="*/ 4300356 w 5633519"/>
                <a:gd name="connsiteY58" fmla="*/ 192017 h 284663"/>
                <a:gd name="connsiteX59" fmla="*/ 4393007 w 5633519"/>
                <a:gd name="connsiteY59" fmla="*/ 183193 h 284663"/>
                <a:gd name="connsiteX60" fmla="*/ 4485657 w 5633519"/>
                <a:gd name="connsiteY60" fmla="*/ 184093 h 284663"/>
                <a:gd name="connsiteX61" fmla="*/ 4578305 w 5633519"/>
                <a:gd name="connsiteY61" fmla="*/ 187335 h 284663"/>
                <a:gd name="connsiteX62" fmla="*/ 4670956 w 5633519"/>
                <a:gd name="connsiteY62" fmla="*/ 190036 h 284663"/>
                <a:gd name="connsiteX63" fmla="*/ 4763605 w 5633519"/>
                <a:gd name="connsiteY63" fmla="*/ 186435 h 284663"/>
                <a:gd name="connsiteX64" fmla="*/ 4856255 w 5633519"/>
                <a:gd name="connsiteY64" fmla="*/ 192378 h 284663"/>
                <a:gd name="connsiteX65" fmla="*/ 4948905 w 5633519"/>
                <a:gd name="connsiteY65" fmla="*/ 191657 h 284663"/>
                <a:gd name="connsiteX66" fmla="*/ 5041556 w 5633519"/>
                <a:gd name="connsiteY66" fmla="*/ 190757 h 284663"/>
                <a:gd name="connsiteX67" fmla="*/ 5134205 w 5633519"/>
                <a:gd name="connsiteY67" fmla="*/ 186074 h 284663"/>
                <a:gd name="connsiteX68" fmla="*/ 5226855 w 5633519"/>
                <a:gd name="connsiteY68" fmla="*/ 186074 h 284663"/>
                <a:gd name="connsiteX69" fmla="*/ 5319505 w 5633519"/>
                <a:gd name="connsiteY69" fmla="*/ 190036 h 284663"/>
                <a:gd name="connsiteX70" fmla="*/ 5412155 w 5633519"/>
                <a:gd name="connsiteY70" fmla="*/ 184274 h 284663"/>
                <a:gd name="connsiteX71" fmla="*/ 5493944 w 5633519"/>
                <a:gd name="connsiteY71" fmla="*/ 190073 h 284663"/>
                <a:gd name="connsiteX72" fmla="*/ 5585487 w 5633519"/>
                <a:gd name="connsiteY72" fmla="*/ 197578 h 284663"/>
                <a:gd name="connsiteX73" fmla="*/ 5633304 w 5633519"/>
                <a:gd name="connsiteY73" fmla="*/ 207189 h 284663"/>
                <a:gd name="connsiteX74" fmla="*/ 5629900 w 5633519"/>
                <a:gd name="connsiteY74" fmla="*/ 253384 h 284663"/>
                <a:gd name="connsiteX75" fmla="*/ 5625668 w 5633519"/>
                <a:gd name="connsiteY75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74" fmla="*/ 5625668 w 5633519"/>
                <a:gd name="connsiteY74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0" fmla="*/ 0 w 5633304"/>
                <a:gd name="connsiteY0" fmla="*/ 284663 h 284663"/>
                <a:gd name="connsiteX1" fmla="*/ 5088 w 5633304"/>
                <a:gd name="connsiteY1" fmla="*/ 282101 h 284663"/>
                <a:gd name="connsiteX2" fmla="*/ 53499 w 5633304"/>
                <a:gd name="connsiteY2" fmla="*/ 215429 h 284663"/>
                <a:gd name="connsiteX3" fmla="*/ 146812 w 5633304"/>
                <a:gd name="connsiteY3" fmla="*/ 213989 h 284663"/>
                <a:gd name="connsiteX4" fmla="*/ 239905 w 5633304"/>
                <a:gd name="connsiteY4" fmla="*/ 215069 h 284663"/>
                <a:gd name="connsiteX5" fmla="*/ 332996 w 5633304"/>
                <a:gd name="connsiteY5" fmla="*/ 214169 h 284663"/>
                <a:gd name="connsiteX6" fmla="*/ 426088 w 5633304"/>
                <a:gd name="connsiteY6" fmla="*/ 220112 h 284663"/>
                <a:gd name="connsiteX7" fmla="*/ 519180 w 5633304"/>
                <a:gd name="connsiteY7" fmla="*/ 217050 h 284663"/>
                <a:gd name="connsiteX8" fmla="*/ 612273 w 5633304"/>
                <a:gd name="connsiteY8" fmla="*/ 218671 h 284663"/>
                <a:gd name="connsiteX9" fmla="*/ 705365 w 5633304"/>
                <a:gd name="connsiteY9" fmla="*/ 214529 h 284663"/>
                <a:gd name="connsiteX10" fmla="*/ 798457 w 5633304"/>
                <a:gd name="connsiteY10" fmla="*/ 213989 h 284663"/>
                <a:gd name="connsiteX11" fmla="*/ 891548 w 5633304"/>
                <a:gd name="connsiteY11" fmla="*/ 217590 h 284663"/>
                <a:gd name="connsiteX12" fmla="*/ 984641 w 5633304"/>
                <a:gd name="connsiteY12" fmla="*/ 218491 h 284663"/>
                <a:gd name="connsiteX13" fmla="*/ 1077733 w 5633304"/>
                <a:gd name="connsiteY13" fmla="*/ 221012 h 284663"/>
                <a:gd name="connsiteX14" fmla="*/ 1170825 w 5633304"/>
                <a:gd name="connsiteY14" fmla="*/ 213629 h 284663"/>
                <a:gd name="connsiteX15" fmla="*/ 1263476 w 5633304"/>
                <a:gd name="connsiteY15" fmla="*/ 211648 h 284663"/>
                <a:gd name="connsiteX16" fmla="*/ 1352587 w 5633304"/>
                <a:gd name="connsiteY16" fmla="*/ 212728 h 284663"/>
                <a:gd name="connsiteX17" fmla="*/ 1306594 w 5633304"/>
                <a:gd name="connsiteY17" fmla="*/ 173828 h 284663"/>
                <a:gd name="connsiteX18" fmla="*/ 1249987 w 5633304"/>
                <a:gd name="connsiteY18" fmla="*/ 136729 h 284663"/>
                <a:gd name="connsiteX19" fmla="*/ 1332023 w 5633304"/>
                <a:gd name="connsiteY19" fmla="*/ 154198 h 284663"/>
                <a:gd name="connsiteX20" fmla="*/ 1412069 w 5633304"/>
                <a:gd name="connsiteY20" fmla="*/ 175089 h 284663"/>
                <a:gd name="connsiteX21" fmla="*/ 1491452 w 5633304"/>
                <a:gd name="connsiteY21" fmla="*/ 184274 h 284663"/>
                <a:gd name="connsiteX22" fmla="*/ 1453640 w 5633304"/>
                <a:gd name="connsiteY22" fmla="*/ 123943 h 284663"/>
                <a:gd name="connsiteX23" fmla="*/ 1406982 w 5633304"/>
                <a:gd name="connsiteY23" fmla="*/ 64512 h 284663"/>
                <a:gd name="connsiteX24" fmla="*/ 1354355 w 5633304"/>
                <a:gd name="connsiteY24" fmla="*/ 4001 h 284663"/>
                <a:gd name="connsiteX25" fmla="*/ 1382006 w 5633304"/>
                <a:gd name="connsiteY25" fmla="*/ 951 h 284663"/>
                <a:gd name="connsiteX26" fmla="*/ 1444352 w 5633304"/>
                <a:gd name="connsiteY26" fmla="*/ 50285 h 284663"/>
                <a:gd name="connsiteX27" fmla="*/ 1531253 w 5633304"/>
                <a:gd name="connsiteY27" fmla="*/ 94948 h 284663"/>
                <a:gd name="connsiteX28" fmla="*/ 1619481 w 5633304"/>
                <a:gd name="connsiteY28" fmla="*/ 137269 h 284663"/>
                <a:gd name="connsiteX29" fmla="*/ 1702402 w 5633304"/>
                <a:gd name="connsiteY29" fmla="*/ 186795 h 284663"/>
                <a:gd name="connsiteX30" fmla="*/ 1795715 w 5633304"/>
                <a:gd name="connsiteY30" fmla="*/ 181932 h 284663"/>
                <a:gd name="connsiteX31" fmla="*/ 1888806 w 5633304"/>
                <a:gd name="connsiteY31" fmla="*/ 190397 h 284663"/>
                <a:gd name="connsiteX32" fmla="*/ 1981898 w 5633304"/>
                <a:gd name="connsiteY32" fmla="*/ 190397 h 284663"/>
                <a:gd name="connsiteX33" fmla="*/ 2074991 w 5633304"/>
                <a:gd name="connsiteY33" fmla="*/ 182293 h 284663"/>
                <a:gd name="connsiteX34" fmla="*/ 2168083 w 5633304"/>
                <a:gd name="connsiteY34" fmla="*/ 188416 h 284663"/>
                <a:gd name="connsiteX35" fmla="*/ 2260732 w 5633304"/>
                <a:gd name="connsiteY35" fmla="*/ 180852 h 284663"/>
                <a:gd name="connsiteX36" fmla="*/ 2353824 w 5633304"/>
                <a:gd name="connsiteY36" fmla="*/ 188055 h 284663"/>
                <a:gd name="connsiteX37" fmla="*/ 2446917 w 5633304"/>
                <a:gd name="connsiteY37" fmla="*/ 188055 h 284663"/>
                <a:gd name="connsiteX38" fmla="*/ 2539567 w 5633304"/>
                <a:gd name="connsiteY38" fmla="*/ 185714 h 284663"/>
                <a:gd name="connsiteX39" fmla="*/ 2632217 w 5633304"/>
                <a:gd name="connsiteY39" fmla="*/ 182653 h 284663"/>
                <a:gd name="connsiteX40" fmla="*/ 2725308 w 5633304"/>
                <a:gd name="connsiteY40" fmla="*/ 183733 h 284663"/>
                <a:gd name="connsiteX41" fmla="*/ 2817959 w 5633304"/>
                <a:gd name="connsiteY41" fmla="*/ 188596 h 284663"/>
                <a:gd name="connsiteX42" fmla="*/ 2910609 w 5633304"/>
                <a:gd name="connsiteY42" fmla="*/ 188596 h 284663"/>
                <a:gd name="connsiteX43" fmla="*/ 3003258 w 5633304"/>
                <a:gd name="connsiteY43" fmla="*/ 188416 h 284663"/>
                <a:gd name="connsiteX44" fmla="*/ 3095908 w 5633304"/>
                <a:gd name="connsiteY44" fmla="*/ 185894 h 284663"/>
                <a:gd name="connsiteX45" fmla="*/ 3188559 w 5633304"/>
                <a:gd name="connsiteY45" fmla="*/ 186795 h 284663"/>
                <a:gd name="connsiteX46" fmla="*/ 3281207 w 5633304"/>
                <a:gd name="connsiteY46" fmla="*/ 181032 h 284663"/>
                <a:gd name="connsiteX47" fmla="*/ 3373858 w 5633304"/>
                <a:gd name="connsiteY47" fmla="*/ 183373 h 284663"/>
                <a:gd name="connsiteX48" fmla="*/ 3466507 w 5633304"/>
                <a:gd name="connsiteY48" fmla="*/ 187335 h 284663"/>
                <a:gd name="connsiteX49" fmla="*/ 3559157 w 5633304"/>
                <a:gd name="connsiteY49" fmla="*/ 191297 h 284663"/>
                <a:gd name="connsiteX50" fmla="*/ 3651807 w 5633304"/>
                <a:gd name="connsiteY50" fmla="*/ 181032 h 284663"/>
                <a:gd name="connsiteX51" fmla="*/ 3744457 w 5633304"/>
                <a:gd name="connsiteY51" fmla="*/ 181572 h 284663"/>
                <a:gd name="connsiteX52" fmla="*/ 3837107 w 5633304"/>
                <a:gd name="connsiteY52" fmla="*/ 186255 h 284663"/>
                <a:gd name="connsiteX53" fmla="*/ 3929757 w 5633304"/>
                <a:gd name="connsiteY53" fmla="*/ 190937 h 284663"/>
                <a:gd name="connsiteX54" fmla="*/ 4022406 w 5633304"/>
                <a:gd name="connsiteY54" fmla="*/ 191477 h 284663"/>
                <a:gd name="connsiteX55" fmla="*/ 4115057 w 5633304"/>
                <a:gd name="connsiteY55" fmla="*/ 186615 h 284663"/>
                <a:gd name="connsiteX56" fmla="*/ 4207707 w 5633304"/>
                <a:gd name="connsiteY56" fmla="*/ 184274 h 284663"/>
                <a:gd name="connsiteX57" fmla="*/ 4300356 w 5633304"/>
                <a:gd name="connsiteY57" fmla="*/ 192017 h 284663"/>
                <a:gd name="connsiteX58" fmla="*/ 4393007 w 5633304"/>
                <a:gd name="connsiteY58" fmla="*/ 183193 h 284663"/>
                <a:gd name="connsiteX59" fmla="*/ 4485657 w 5633304"/>
                <a:gd name="connsiteY59" fmla="*/ 184093 h 284663"/>
                <a:gd name="connsiteX60" fmla="*/ 4578305 w 5633304"/>
                <a:gd name="connsiteY60" fmla="*/ 187335 h 284663"/>
                <a:gd name="connsiteX61" fmla="*/ 4670956 w 5633304"/>
                <a:gd name="connsiteY61" fmla="*/ 190036 h 284663"/>
                <a:gd name="connsiteX62" fmla="*/ 4763605 w 5633304"/>
                <a:gd name="connsiteY62" fmla="*/ 186435 h 284663"/>
                <a:gd name="connsiteX63" fmla="*/ 4856255 w 5633304"/>
                <a:gd name="connsiteY63" fmla="*/ 192378 h 284663"/>
                <a:gd name="connsiteX64" fmla="*/ 4948905 w 5633304"/>
                <a:gd name="connsiteY64" fmla="*/ 191657 h 284663"/>
                <a:gd name="connsiteX65" fmla="*/ 5041556 w 5633304"/>
                <a:gd name="connsiteY65" fmla="*/ 190757 h 284663"/>
                <a:gd name="connsiteX66" fmla="*/ 5134205 w 5633304"/>
                <a:gd name="connsiteY66" fmla="*/ 186074 h 284663"/>
                <a:gd name="connsiteX67" fmla="*/ 5226855 w 5633304"/>
                <a:gd name="connsiteY67" fmla="*/ 186074 h 284663"/>
                <a:gd name="connsiteX68" fmla="*/ 5319505 w 5633304"/>
                <a:gd name="connsiteY68" fmla="*/ 190036 h 284663"/>
                <a:gd name="connsiteX69" fmla="*/ 5412155 w 5633304"/>
                <a:gd name="connsiteY69" fmla="*/ 184274 h 284663"/>
                <a:gd name="connsiteX70" fmla="*/ 5493944 w 5633304"/>
                <a:gd name="connsiteY70" fmla="*/ 190073 h 284663"/>
                <a:gd name="connsiteX71" fmla="*/ 5585487 w 5633304"/>
                <a:gd name="connsiteY71" fmla="*/ 197578 h 284663"/>
                <a:gd name="connsiteX72" fmla="*/ 5633304 w 5633304"/>
                <a:gd name="connsiteY72" fmla="*/ 207189 h 284663"/>
                <a:gd name="connsiteX0" fmla="*/ 0 w 5633304"/>
                <a:gd name="connsiteY0" fmla="*/ 284663 h 284663"/>
                <a:gd name="connsiteX1" fmla="*/ 53499 w 5633304"/>
                <a:gd name="connsiteY1" fmla="*/ 215429 h 284663"/>
                <a:gd name="connsiteX2" fmla="*/ 146812 w 5633304"/>
                <a:gd name="connsiteY2" fmla="*/ 213989 h 284663"/>
                <a:gd name="connsiteX3" fmla="*/ 239905 w 5633304"/>
                <a:gd name="connsiteY3" fmla="*/ 215069 h 284663"/>
                <a:gd name="connsiteX4" fmla="*/ 332996 w 5633304"/>
                <a:gd name="connsiteY4" fmla="*/ 214169 h 284663"/>
                <a:gd name="connsiteX5" fmla="*/ 426088 w 5633304"/>
                <a:gd name="connsiteY5" fmla="*/ 220112 h 284663"/>
                <a:gd name="connsiteX6" fmla="*/ 519180 w 5633304"/>
                <a:gd name="connsiteY6" fmla="*/ 217050 h 284663"/>
                <a:gd name="connsiteX7" fmla="*/ 612273 w 5633304"/>
                <a:gd name="connsiteY7" fmla="*/ 218671 h 284663"/>
                <a:gd name="connsiteX8" fmla="*/ 705365 w 5633304"/>
                <a:gd name="connsiteY8" fmla="*/ 214529 h 284663"/>
                <a:gd name="connsiteX9" fmla="*/ 798457 w 5633304"/>
                <a:gd name="connsiteY9" fmla="*/ 213989 h 284663"/>
                <a:gd name="connsiteX10" fmla="*/ 891548 w 5633304"/>
                <a:gd name="connsiteY10" fmla="*/ 217590 h 284663"/>
                <a:gd name="connsiteX11" fmla="*/ 984641 w 5633304"/>
                <a:gd name="connsiteY11" fmla="*/ 218491 h 284663"/>
                <a:gd name="connsiteX12" fmla="*/ 1077733 w 5633304"/>
                <a:gd name="connsiteY12" fmla="*/ 221012 h 284663"/>
                <a:gd name="connsiteX13" fmla="*/ 1170825 w 5633304"/>
                <a:gd name="connsiteY13" fmla="*/ 213629 h 284663"/>
                <a:gd name="connsiteX14" fmla="*/ 1263476 w 5633304"/>
                <a:gd name="connsiteY14" fmla="*/ 211648 h 284663"/>
                <a:gd name="connsiteX15" fmla="*/ 1352587 w 5633304"/>
                <a:gd name="connsiteY15" fmla="*/ 212728 h 284663"/>
                <a:gd name="connsiteX16" fmla="*/ 1306594 w 5633304"/>
                <a:gd name="connsiteY16" fmla="*/ 173828 h 284663"/>
                <a:gd name="connsiteX17" fmla="*/ 1249987 w 5633304"/>
                <a:gd name="connsiteY17" fmla="*/ 136729 h 284663"/>
                <a:gd name="connsiteX18" fmla="*/ 1332023 w 5633304"/>
                <a:gd name="connsiteY18" fmla="*/ 154198 h 284663"/>
                <a:gd name="connsiteX19" fmla="*/ 1412069 w 5633304"/>
                <a:gd name="connsiteY19" fmla="*/ 175089 h 284663"/>
                <a:gd name="connsiteX20" fmla="*/ 1491452 w 5633304"/>
                <a:gd name="connsiteY20" fmla="*/ 184274 h 284663"/>
                <a:gd name="connsiteX21" fmla="*/ 1453640 w 5633304"/>
                <a:gd name="connsiteY21" fmla="*/ 123943 h 284663"/>
                <a:gd name="connsiteX22" fmla="*/ 1406982 w 5633304"/>
                <a:gd name="connsiteY22" fmla="*/ 64512 h 284663"/>
                <a:gd name="connsiteX23" fmla="*/ 1354355 w 5633304"/>
                <a:gd name="connsiteY23" fmla="*/ 4001 h 284663"/>
                <a:gd name="connsiteX24" fmla="*/ 1382006 w 5633304"/>
                <a:gd name="connsiteY24" fmla="*/ 951 h 284663"/>
                <a:gd name="connsiteX25" fmla="*/ 1444352 w 5633304"/>
                <a:gd name="connsiteY25" fmla="*/ 50285 h 284663"/>
                <a:gd name="connsiteX26" fmla="*/ 1531253 w 5633304"/>
                <a:gd name="connsiteY26" fmla="*/ 94948 h 284663"/>
                <a:gd name="connsiteX27" fmla="*/ 1619481 w 5633304"/>
                <a:gd name="connsiteY27" fmla="*/ 137269 h 284663"/>
                <a:gd name="connsiteX28" fmla="*/ 1702402 w 5633304"/>
                <a:gd name="connsiteY28" fmla="*/ 186795 h 284663"/>
                <a:gd name="connsiteX29" fmla="*/ 1795715 w 5633304"/>
                <a:gd name="connsiteY29" fmla="*/ 181932 h 284663"/>
                <a:gd name="connsiteX30" fmla="*/ 1888806 w 5633304"/>
                <a:gd name="connsiteY30" fmla="*/ 190397 h 284663"/>
                <a:gd name="connsiteX31" fmla="*/ 1981898 w 5633304"/>
                <a:gd name="connsiteY31" fmla="*/ 190397 h 284663"/>
                <a:gd name="connsiteX32" fmla="*/ 2074991 w 5633304"/>
                <a:gd name="connsiteY32" fmla="*/ 182293 h 284663"/>
                <a:gd name="connsiteX33" fmla="*/ 2168083 w 5633304"/>
                <a:gd name="connsiteY33" fmla="*/ 188416 h 284663"/>
                <a:gd name="connsiteX34" fmla="*/ 2260732 w 5633304"/>
                <a:gd name="connsiteY34" fmla="*/ 180852 h 284663"/>
                <a:gd name="connsiteX35" fmla="*/ 2353824 w 5633304"/>
                <a:gd name="connsiteY35" fmla="*/ 188055 h 284663"/>
                <a:gd name="connsiteX36" fmla="*/ 2446917 w 5633304"/>
                <a:gd name="connsiteY36" fmla="*/ 188055 h 284663"/>
                <a:gd name="connsiteX37" fmla="*/ 2539567 w 5633304"/>
                <a:gd name="connsiteY37" fmla="*/ 185714 h 284663"/>
                <a:gd name="connsiteX38" fmla="*/ 2632217 w 5633304"/>
                <a:gd name="connsiteY38" fmla="*/ 182653 h 284663"/>
                <a:gd name="connsiteX39" fmla="*/ 2725308 w 5633304"/>
                <a:gd name="connsiteY39" fmla="*/ 183733 h 284663"/>
                <a:gd name="connsiteX40" fmla="*/ 2817959 w 5633304"/>
                <a:gd name="connsiteY40" fmla="*/ 188596 h 284663"/>
                <a:gd name="connsiteX41" fmla="*/ 2910609 w 5633304"/>
                <a:gd name="connsiteY41" fmla="*/ 188596 h 284663"/>
                <a:gd name="connsiteX42" fmla="*/ 3003258 w 5633304"/>
                <a:gd name="connsiteY42" fmla="*/ 188416 h 284663"/>
                <a:gd name="connsiteX43" fmla="*/ 3095908 w 5633304"/>
                <a:gd name="connsiteY43" fmla="*/ 185894 h 284663"/>
                <a:gd name="connsiteX44" fmla="*/ 3188559 w 5633304"/>
                <a:gd name="connsiteY44" fmla="*/ 186795 h 284663"/>
                <a:gd name="connsiteX45" fmla="*/ 3281207 w 5633304"/>
                <a:gd name="connsiteY45" fmla="*/ 181032 h 284663"/>
                <a:gd name="connsiteX46" fmla="*/ 3373858 w 5633304"/>
                <a:gd name="connsiteY46" fmla="*/ 183373 h 284663"/>
                <a:gd name="connsiteX47" fmla="*/ 3466507 w 5633304"/>
                <a:gd name="connsiteY47" fmla="*/ 187335 h 284663"/>
                <a:gd name="connsiteX48" fmla="*/ 3559157 w 5633304"/>
                <a:gd name="connsiteY48" fmla="*/ 191297 h 284663"/>
                <a:gd name="connsiteX49" fmla="*/ 3651807 w 5633304"/>
                <a:gd name="connsiteY49" fmla="*/ 181032 h 284663"/>
                <a:gd name="connsiteX50" fmla="*/ 3744457 w 5633304"/>
                <a:gd name="connsiteY50" fmla="*/ 181572 h 284663"/>
                <a:gd name="connsiteX51" fmla="*/ 3837107 w 5633304"/>
                <a:gd name="connsiteY51" fmla="*/ 186255 h 284663"/>
                <a:gd name="connsiteX52" fmla="*/ 3929757 w 5633304"/>
                <a:gd name="connsiteY52" fmla="*/ 190937 h 284663"/>
                <a:gd name="connsiteX53" fmla="*/ 4022406 w 5633304"/>
                <a:gd name="connsiteY53" fmla="*/ 191477 h 284663"/>
                <a:gd name="connsiteX54" fmla="*/ 4115057 w 5633304"/>
                <a:gd name="connsiteY54" fmla="*/ 186615 h 284663"/>
                <a:gd name="connsiteX55" fmla="*/ 4207707 w 5633304"/>
                <a:gd name="connsiteY55" fmla="*/ 184274 h 284663"/>
                <a:gd name="connsiteX56" fmla="*/ 4300356 w 5633304"/>
                <a:gd name="connsiteY56" fmla="*/ 192017 h 284663"/>
                <a:gd name="connsiteX57" fmla="*/ 4393007 w 5633304"/>
                <a:gd name="connsiteY57" fmla="*/ 183193 h 284663"/>
                <a:gd name="connsiteX58" fmla="*/ 4485657 w 5633304"/>
                <a:gd name="connsiteY58" fmla="*/ 184093 h 284663"/>
                <a:gd name="connsiteX59" fmla="*/ 4578305 w 5633304"/>
                <a:gd name="connsiteY59" fmla="*/ 187335 h 284663"/>
                <a:gd name="connsiteX60" fmla="*/ 4670956 w 5633304"/>
                <a:gd name="connsiteY60" fmla="*/ 190036 h 284663"/>
                <a:gd name="connsiteX61" fmla="*/ 4763605 w 5633304"/>
                <a:gd name="connsiteY61" fmla="*/ 186435 h 284663"/>
                <a:gd name="connsiteX62" fmla="*/ 4856255 w 5633304"/>
                <a:gd name="connsiteY62" fmla="*/ 192378 h 284663"/>
                <a:gd name="connsiteX63" fmla="*/ 4948905 w 5633304"/>
                <a:gd name="connsiteY63" fmla="*/ 191657 h 284663"/>
                <a:gd name="connsiteX64" fmla="*/ 5041556 w 5633304"/>
                <a:gd name="connsiteY64" fmla="*/ 190757 h 284663"/>
                <a:gd name="connsiteX65" fmla="*/ 5134205 w 5633304"/>
                <a:gd name="connsiteY65" fmla="*/ 186074 h 284663"/>
                <a:gd name="connsiteX66" fmla="*/ 5226855 w 5633304"/>
                <a:gd name="connsiteY66" fmla="*/ 186074 h 284663"/>
                <a:gd name="connsiteX67" fmla="*/ 5319505 w 5633304"/>
                <a:gd name="connsiteY67" fmla="*/ 190036 h 284663"/>
                <a:gd name="connsiteX68" fmla="*/ 5412155 w 5633304"/>
                <a:gd name="connsiteY68" fmla="*/ 184274 h 284663"/>
                <a:gd name="connsiteX69" fmla="*/ 5493944 w 5633304"/>
                <a:gd name="connsiteY69" fmla="*/ 190073 h 284663"/>
                <a:gd name="connsiteX70" fmla="*/ 5585487 w 5633304"/>
                <a:gd name="connsiteY70" fmla="*/ 197578 h 284663"/>
                <a:gd name="connsiteX71" fmla="*/ 5633304 w 5633304"/>
                <a:gd name="connsiteY71" fmla="*/ 207189 h 284663"/>
                <a:gd name="connsiteX0" fmla="*/ 0 w 5579805"/>
                <a:gd name="connsiteY0" fmla="*/ 215429 h 225340"/>
                <a:gd name="connsiteX1" fmla="*/ 93313 w 5579805"/>
                <a:gd name="connsiteY1" fmla="*/ 213989 h 225340"/>
                <a:gd name="connsiteX2" fmla="*/ 186406 w 5579805"/>
                <a:gd name="connsiteY2" fmla="*/ 215069 h 225340"/>
                <a:gd name="connsiteX3" fmla="*/ 279497 w 5579805"/>
                <a:gd name="connsiteY3" fmla="*/ 214169 h 225340"/>
                <a:gd name="connsiteX4" fmla="*/ 372589 w 5579805"/>
                <a:gd name="connsiteY4" fmla="*/ 220112 h 225340"/>
                <a:gd name="connsiteX5" fmla="*/ 465681 w 5579805"/>
                <a:gd name="connsiteY5" fmla="*/ 217050 h 225340"/>
                <a:gd name="connsiteX6" fmla="*/ 558774 w 5579805"/>
                <a:gd name="connsiteY6" fmla="*/ 218671 h 225340"/>
                <a:gd name="connsiteX7" fmla="*/ 651866 w 5579805"/>
                <a:gd name="connsiteY7" fmla="*/ 214529 h 225340"/>
                <a:gd name="connsiteX8" fmla="*/ 744958 w 5579805"/>
                <a:gd name="connsiteY8" fmla="*/ 213989 h 225340"/>
                <a:gd name="connsiteX9" fmla="*/ 838049 w 5579805"/>
                <a:gd name="connsiteY9" fmla="*/ 217590 h 225340"/>
                <a:gd name="connsiteX10" fmla="*/ 931142 w 5579805"/>
                <a:gd name="connsiteY10" fmla="*/ 218491 h 225340"/>
                <a:gd name="connsiteX11" fmla="*/ 1024234 w 5579805"/>
                <a:gd name="connsiteY11" fmla="*/ 221012 h 225340"/>
                <a:gd name="connsiteX12" fmla="*/ 1117326 w 5579805"/>
                <a:gd name="connsiteY12" fmla="*/ 213629 h 225340"/>
                <a:gd name="connsiteX13" fmla="*/ 1209977 w 5579805"/>
                <a:gd name="connsiteY13" fmla="*/ 211648 h 225340"/>
                <a:gd name="connsiteX14" fmla="*/ 1299088 w 5579805"/>
                <a:gd name="connsiteY14" fmla="*/ 212728 h 225340"/>
                <a:gd name="connsiteX15" fmla="*/ 1253095 w 5579805"/>
                <a:gd name="connsiteY15" fmla="*/ 173828 h 225340"/>
                <a:gd name="connsiteX16" fmla="*/ 1196488 w 5579805"/>
                <a:gd name="connsiteY16" fmla="*/ 136729 h 225340"/>
                <a:gd name="connsiteX17" fmla="*/ 1278524 w 5579805"/>
                <a:gd name="connsiteY17" fmla="*/ 154198 h 225340"/>
                <a:gd name="connsiteX18" fmla="*/ 1358570 w 5579805"/>
                <a:gd name="connsiteY18" fmla="*/ 175089 h 225340"/>
                <a:gd name="connsiteX19" fmla="*/ 1437953 w 5579805"/>
                <a:gd name="connsiteY19" fmla="*/ 184274 h 225340"/>
                <a:gd name="connsiteX20" fmla="*/ 1400141 w 5579805"/>
                <a:gd name="connsiteY20" fmla="*/ 123943 h 225340"/>
                <a:gd name="connsiteX21" fmla="*/ 1353483 w 5579805"/>
                <a:gd name="connsiteY21" fmla="*/ 64512 h 225340"/>
                <a:gd name="connsiteX22" fmla="*/ 1300856 w 5579805"/>
                <a:gd name="connsiteY22" fmla="*/ 4001 h 225340"/>
                <a:gd name="connsiteX23" fmla="*/ 1328507 w 5579805"/>
                <a:gd name="connsiteY23" fmla="*/ 951 h 225340"/>
                <a:gd name="connsiteX24" fmla="*/ 1390853 w 5579805"/>
                <a:gd name="connsiteY24" fmla="*/ 50285 h 225340"/>
                <a:gd name="connsiteX25" fmla="*/ 1477754 w 5579805"/>
                <a:gd name="connsiteY25" fmla="*/ 94948 h 225340"/>
                <a:gd name="connsiteX26" fmla="*/ 1565982 w 5579805"/>
                <a:gd name="connsiteY26" fmla="*/ 137269 h 225340"/>
                <a:gd name="connsiteX27" fmla="*/ 1648903 w 5579805"/>
                <a:gd name="connsiteY27" fmla="*/ 186795 h 225340"/>
                <a:gd name="connsiteX28" fmla="*/ 1742216 w 5579805"/>
                <a:gd name="connsiteY28" fmla="*/ 181932 h 225340"/>
                <a:gd name="connsiteX29" fmla="*/ 1835307 w 5579805"/>
                <a:gd name="connsiteY29" fmla="*/ 190397 h 225340"/>
                <a:gd name="connsiteX30" fmla="*/ 1928399 w 5579805"/>
                <a:gd name="connsiteY30" fmla="*/ 190397 h 225340"/>
                <a:gd name="connsiteX31" fmla="*/ 2021492 w 5579805"/>
                <a:gd name="connsiteY31" fmla="*/ 182293 h 225340"/>
                <a:gd name="connsiteX32" fmla="*/ 2114584 w 5579805"/>
                <a:gd name="connsiteY32" fmla="*/ 188416 h 225340"/>
                <a:gd name="connsiteX33" fmla="*/ 2207233 w 5579805"/>
                <a:gd name="connsiteY33" fmla="*/ 180852 h 225340"/>
                <a:gd name="connsiteX34" fmla="*/ 2300325 w 5579805"/>
                <a:gd name="connsiteY34" fmla="*/ 188055 h 225340"/>
                <a:gd name="connsiteX35" fmla="*/ 2393418 w 5579805"/>
                <a:gd name="connsiteY35" fmla="*/ 188055 h 225340"/>
                <a:gd name="connsiteX36" fmla="*/ 2486068 w 5579805"/>
                <a:gd name="connsiteY36" fmla="*/ 185714 h 225340"/>
                <a:gd name="connsiteX37" fmla="*/ 2578718 w 5579805"/>
                <a:gd name="connsiteY37" fmla="*/ 182653 h 225340"/>
                <a:gd name="connsiteX38" fmla="*/ 2671809 w 5579805"/>
                <a:gd name="connsiteY38" fmla="*/ 183733 h 225340"/>
                <a:gd name="connsiteX39" fmla="*/ 2764460 w 5579805"/>
                <a:gd name="connsiteY39" fmla="*/ 188596 h 225340"/>
                <a:gd name="connsiteX40" fmla="*/ 2857110 w 5579805"/>
                <a:gd name="connsiteY40" fmla="*/ 188596 h 225340"/>
                <a:gd name="connsiteX41" fmla="*/ 2949759 w 5579805"/>
                <a:gd name="connsiteY41" fmla="*/ 188416 h 225340"/>
                <a:gd name="connsiteX42" fmla="*/ 3042409 w 5579805"/>
                <a:gd name="connsiteY42" fmla="*/ 185894 h 225340"/>
                <a:gd name="connsiteX43" fmla="*/ 3135060 w 5579805"/>
                <a:gd name="connsiteY43" fmla="*/ 186795 h 225340"/>
                <a:gd name="connsiteX44" fmla="*/ 3227708 w 5579805"/>
                <a:gd name="connsiteY44" fmla="*/ 181032 h 225340"/>
                <a:gd name="connsiteX45" fmla="*/ 3320359 w 5579805"/>
                <a:gd name="connsiteY45" fmla="*/ 183373 h 225340"/>
                <a:gd name="connsiteX46" fmla="*/ 3413008 w 5579805"/>
                <a:gd name="connsiteY46" fmla="*/ 187335 h 225340"/>
                <a:gd name="connsiteX47" fmla="*/ 3505658 w 5579805"/>
                <a:gd name="connsiteY47" fmla="*/ 191297 h 225340"/>
                <a:gd name="connsiteX48" fmla="*/ 3598308 w 5579805"/>
                <a:gd name="connsiteY48" fmla="*/ 181032 h 225340"/>
                <a:gd name="connsiteX49" fmla="*/ 3690958 w 5579805"/>
                <a:gd name="connsiteY49" fmla="*/ 181572 h 225340"/>
                <a:gd name="connsiteX50" fmla="*/ 3783608 w 5579805"/>
                <a:gd name="connsiteY50" fmla="*/ 186255 h 225340"/>
                <a:gd name="connsiteX51" fmla="*/ 3876258 w 5579805"/>
                <a:gd name="connsiteY51" fmla="*/ 190937 h 225340"/>
                <a:gd name="connsiteX52" fmla="*/ 3968907 w 5579805"/>
                <a:gd name="connsiteY52" fmla="*/ 191477 h 225340"/>
                <a:gd name="connsiteX53" fmla="*/ 4061558 w 5579805"/>
                <a:gd name="connsiteY53" fmla="*/ 186615 h 225340"/>
                <a:gd name="connsiteX54" fmla="*/ 4154208 w 5579805"/>
                <a:gd name="connsiteY54" fmla="*/ 184274 h 225340"/>
                <a:gd name="connsiteX55" fmla="*/ 4246857 w 5579805"/>
                <a:gd name="connsiteY55" fmla="*/ 192017 h 225340"/>
                <a:gd name="connsiteX56" fmla="*/ 4339508 w 5579805"/>
                <a:gd name="connsiteY56" fmla="*/ 183193 h 225340"/>
                <a:gd name="connsiteX57" fmla="*/ 4432158 w 5579805"/>
                <a:gd name="connsiteY57" fmla="*/ 184093 h 225340"/>
                <a:gd name="connsiteX58" fmla="*/ 4524806 w 5579805"/>
                <a:gd name="connsiteY58" fmla="*/ 187335 h 225340"/>
                <a:gd name="connsiteX59" fmla="*/ 4617457 w 5579805"/>
                <a:gd name="connsiteY59" fmla="*/ 190036 h 225340"/>
                <a:gd name="connsiteX60" fmla="*/ 4710106 w 5579805"/>
                <a:gd name="connsiteY60" fmla="*/ 186435 h 225340"/>
                <a:gd name="connsiteX61" fmla="*/ 4802756 w 5579805"/>
                <a:gd name="connsiteY61" fmla="*/ 192378 h 225340"/>
                <a:gd name="connsiteX62" fmla="*/ 4895406 w 5579805"/>
                <a:gd name="connsiteY62" fmla="*/ 191657 h 225340"/>
                <a:gd name="connsiteX63" fmla="*/ 4988057 w 5579805"/>
                <a:gd name="connsiteY63" fmla="*/ 190757 h 225340"/>
                <a:gd name="connsiteX64" fmla="*/ 5080706 w 5579805"/>
                <a:gd name="connsiteY64" fmla="*/ 186074 h 225340"/>
                <a:gd name="connsiteX65" fmla="*/ 5173356 w 5579805"/>
                <a:gd name="connsiteY65" fmla="*/ 186074 h 225340"/>
                <a:gd name="connsiteX66" fmla="*/ 5266006 w 5579805"/>
                <a:gd name="connsiteY66" fmla="*/ 190036 h 225340"/>
                <a:gd name="connsiteX67" fmla="*/ 5358656 w 5579805"/>
                <a:gd name="connsiteY67" fmla="*/ 184274 h 225340"/>
                <a:gd name="connsiteX68" fmla="*/ 5440445 w 5579805"/>
                <a:gd name="connsiteY68" fmla="*/ 190073 h 225340"/>
                <a:gd name="connsiteX69" fmla="*/ 5531988 w 5579805"/>
                <a:gd name="connsiteY69" fmla="*/ 197578 h 225340"/>
                <a:gd name="connsiteX70" fmla="*/ 5579805 w 5579805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31988 w 5605806"/>
                <a:gd name="connsiteY69" fmla="*/ 197578 h 225340"/>
                <a:gd name="connsiteX70" fmla="*/ 5605806 w 5605806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14653 w 5605806"/>
                <a:gd name="connsiteY69" fmla="*/ 223580 h 225340"/>
                <a:gd name="connsiteX70" fmla="*/ 5605806 w 5605806"/>
                <a:gd name="connsiteY70" fmla="*/ 207189 h 225340"/>
                <a:gd name="connsiteX0" fmla="*/ 0 w 5566803"/>
                <a:gd name="connsiteY0" fmla="*/ 215429 h 225340"/>
                <a:gd name="connsiteX1" fmla="*/ 93313 w 5566803"/>
                <a:gd name="connsiteY1" fmla="*/ 213989 h 225340"/>
                <a:gd name="connsiteX2" fmla="*/ 186406 w 5566803"/>
                <a:gd name="connsiteY2" fmla="*/ 215069 h 225340"/>
                <a:gd name="connsiteX3" fmla="*/ 279497 w 5566803"/>
                <a:gd name="connsiteY3" fmla="*/ 214169 h 225340"/>
                <a:gd name="connsiteX4" fmla="*/ 372589 w 5566803"/>
                <a:gd name="connsiteY4" fmla="*/ 220112 h 225340"/>
                <a:gd name="connsiteX5" fmla="*/ 465681 w 5566803"/>
                <a:gd name="connsiteY5" fmla="*/ 217050 h 225340"/>
                <a:gd name="connsiteX6" fmla="*/ 558774 w 5566803"/>
                <a:gd name="connsiteY6" fmla="*/ 218671 h 225340"/>
                <a:gd name="connsiteX7" fmla="*/ 651866 w 5566803"/>
                <a:gd name="connsiteY7" fmla="*/ 214529 h 225340"/>
                <a:gd name="connsiteX8" fmla="*/ 744958 w 5566803"/>
                <a:gd name="connsiteY8" fmla="*/ 213989 h 225340"/>
                <a:gd name="connsiteX9" fmla="*/ 838049 w 5566803"/>
                <a:gd name="connsiteY9" fmla="*/ 217590 h 225340"/>
                <a:gd name="connsiteX10" fmla="*/ 931142 w 5566803"/>
                <a:gd name="connsiteY10" fmla="*/ 218491 h 225340"/>
                <a:gd name="connsiteX11" fmla="*/ 1024234 w 5566803"/>
                <a:gd name="connsiteY11" fmla="*/ 221012 h 225340"/>
                <a:gd name="connsiteX12" fmla="*/ 1117326 w 5566803"/>
                <a:gd name="connsiteY12" fmla="*/ 213629 h 225340"/>
                <a:gd name="connsiteX13" fmla="*/ 1209977 w 5566803"/>
                <a:gd name="connsiteY13" fmla="*/ 211648 h 225340"/>
                <a:gd name="connsiteX14" fmla="*/ 1299088 w 5566803"/>
                <a:gd name="connsiteY14" fmla="*/ 212728 h 225340"/>
                <a:gd name="connsiteX15" fmla="*/ 1253095 w 5566803"/>
                <a:gd name="connsiteY15" fmla="*/ 173828 h 225340"/>
                <a:gd name="connsiteX16" fmla="*/ 1196488 w 5566803"/>
                <a:gd name="connsiteY16" fmla="*/ 136729 h 225340"/>
                <a:gd name="connsiteX17" fmla="*/ 1278524 w 5566803"/>
                <a:gd name="connsiteY17" fmla="*/ 154198 h 225340"/>
                <a:gd name="connsiteX18" fmla="*/ 1358570 w 5566803"/>
                <a:gd name="connsiteY18" fmla="*/ 175089 h 225340"/>
                <a:gd name="connsiteX19" fmla="*/ 1437953 w 5566803"/>
                <a:gd name="connsiteY19" fmla="*/ 184274 h 225340"/>
                <a:gd name="connsiteX20" fmla="*/ 1400141 w 5566803"/>
                <a:gd name="connsiteY20" fmla="*/ 123943 h 225340"/>
                <a:gd name="connsiteX21" fmla="*/ 1353483 w 5566803"/>
                <a:gd name="connsiteY21" fmla="*/ 64512 h 225340"/>
                <a:gd name="connsiteX22" fmla="*/ 1300856 w 5566803"/>
                <a:gd name="connsiteY22" fmla="*/ 4001 h 225340"/>
                <a:gd name="connsiteX23" fmla="*/ 1328507 w 5566803"/>
                <a:gd name="connsiteY23" fmla="*/ 951 h 225340"/>
                <a:gd name="connsiteX24" fmla="*/ 1390853 w 5566803"/>
                <a:gd name="connsiteY24" fmla="*/ 50285 h 225340"/>
                <a:gd name="connsiteX25" fmla="*/ 1477754 w 5566803"/>
                <a:gd name="connsiteY25" fmla="*/ 94948 h 225340"/>
                <a:gd name="connsiteX26" fmla="*/ 1565982 w 5566803"/>
                <a:gd name="connsiteY26" fmla="*/ 137269 h 225340"/>
                <a:gd name="connsiteX27" fmla="*/ 1648903 w 5566803"/>
                <a:gd name="connsiteY27" fmla="*/ 186795 h 225340"/>
                <a:gd name="connsiteX28" fmla="*/ 1742216 w 5566803"/>
                <a:gd name="connsiteY28" fmla="*/ 181932 h 225340"/>
                <a:gd name="connsiteX29" fmla="*/ 1835307 w 5566803"/>
                <a:gd name="connsiteY29" fmla="*/ 190397 h 225340"/>
                <a:gd name="connsiteX30" fmla="*/ 1928399 w 5566803"/>
                <a:gd name="connsiteY30" fmla="*/ 190397 h 225340"/>
                <a:gd name="connsiteX31" fmla="*/ 2021492 w 5566803"/>
                <a:gd name="connsiteY31" fmla="*/ 182293 h 225340"/>
                <a:gd name="connsiteX32" fmla="*/ 2114584 w 5566803"/>
                <a:gd name="connsiteY32" fmla="*/ 188416 h 225340"/>
                <a:gd name="connsiteX33" fmla="*/ 2207233 w 5566803"/>
                <a:gd name="connsiteY33" fmla="*/ 180852 h 225340"/>
                <a:gd name="connsiteX34" fmla="*/ 2300325 w 5566803"/>
                <a:gd name="connsiteY34" fmla="*/ 188055 h 225340"/>
                <a:gd name="connsiteX35" fmla="*/ 2393418 w 5566803"/>
                <a:gd name="connsiteY35" fmla="*/ 188055 h 225340"/>
                <a:gd name="connsiteX36" fmla="*/ 2486068 w 5566803"/>
                <a:gd name="connsiteY36" fmla="*/ 185714 h 225340"/>
                <a:gd name="connsiteX37" fmla="*/ 2578718 w 5566803"/>
                <a:gd name="connsiteY37" fmla="*/ 182653 h 225340"/>
                <a:gd name="connsiteX38" fmla="*/ 2671809 w 5566803"/>
                <a:gd name="connsiteY38" fmla="*/ 183733 h 225340"/>
                <a:gd name="connsiteX39" fmla="*/ 2764460 w 5566803"/>
                <a:gd name="connsiteY39" fmla="*/ 188596 h 225340"/>
                <a:gd name="connsiteX40" fmla="*/ 2857110 w 5566803"/>
                <a:gd name="connsiteY40" fmla="*/ 188596 h 225340"/>
                <a:gd name="connsiteX41" fmla="*/ 2949759 w 5566803"/>
                <a:gd name="connsiteY41" fmla="*/ 188416 h 225340"/>
                <a:gd name="connsiteX42" fmla="*/ 3042409 w 5566803"/>
                <a:gd name="connsiteY42" fmla="*/ 185894 h 225340"/>
                <a:gd name="connsiteX43" fmla="*/ 3135060 w 5566803"/>
                <a:gd name="connsiteY43" fmla="*/ 186795 h 225340"/>
                <a:gd name="connsiteX44" fmla="*/ 3227708 w 5566803"/>
                <a:gd name="connsiteY44" fmla="*/ 181032 h 225340"/>
                <a:gd name="connsiteX45" fmla="*/ 3320359 w 5566803"/>
                <a:gd name="connsiteY45" fmla="*/ 183373 h 225340"/>
                <a:gd name="connsiteX46" fmla="*/ 3413008 w 5566803"/>
                <a:gd name="connsiteY46" fmla="*/ 187335 h 225340"/>
                <a:gd name="connsiteX47" fmla="*/ 3505658 w 5566803"/>
                <a:gd name="connsiteY47" fmla="*/ 191297 h 225340"/>
                <a:gd name="connsiteX48" fmla="*/ 3598308 w 5566803"/>
                <a:gd name="connsiteY48" fmla="*/ 181032 h 225340"/>
                <a:gd name="connsiteX49" fmla="*/ 3690958 w 5566803"/>
                <a:gd name="connsiteY49" fmla="*/ 181572 h 225340"/>
                <a:gd name="connsiteX50" fmla="*/ 3783608 w 5566803"/>
                <a:gd name="connsiteY50" fmla="*/ 186255 h 225340"/>
                <a:gd name="connsiteX51" fmla="*/ 3876258 w 5566803"/>
                <a:gd name="connsiteY51" fmla="*/ 190937 h 225340"/>
                <a:gd name="connsiteX52" fmla="*/ 3968907 w 5566803"/>
                <a:gd name="connsiteY52" fmla="*/ 191477 h 225340"/>
                <a:gd name="connsiteX53" fmla="*/ 4061558 w 5566803"/>
                <a:gd name="connsiteY53" fmla="*/ 186615 h 225340"/>
                <a:gd name="connsiteX54" fmla="*/ 4154208 w 5566803"/>
                <a:gd name="connsiteY54" fmla="*/ 184274 h 225340"/>
                <a:gd name="connsiteX55" fmla="*/ 4246857 w 5566803"/>
                <a:gd name="connsiteY55" fmla="*/ 192017 h 225340"/>
                <a:gd name="connsiteX56" fmla="*/ 4339508 w 5566803"/>
                <a:gd name="connsiteY56" fmla="*/ 183193 h 225340"/>
                <a:gd name="connsiteX57" fmla="*/ 4432158 w 5566803"/>
                <a:gd name="connsiteY57" fmla="*/ 184093 h 225340"/>
                <a:gd name="connsiteX58" fmla="*/ 4524806 w 5566803"/>
                <a:gd name="connsiteY58" fmla="*/ 187335 h 225340"/>
                <a:gd name="connsiteX59" fmla="*/ 4617457 w 5566803"/>
                <a:gd name="connsiteY59" fmla="*/ 190036 h 225340"/>
                <a:gd name="connsiteX60" fmla="*/ 4710106 w 5566803"/>
                <a:gd name="connsiteY60" fmla="*/ 186435 h 225340"/>
                <a:gd name="connsiteX61" fmla="*/ 4802756 w 5566803"/>
                <a:gd name="connsiteY61" fmla="*/ 192378 h 225340"/>
                <a:gd name="connsiteX62" fmla="*/ 4895406 w 5566803"/>
                <a:gd name="connsiteY62" fmla="*/ 191657 h 225340"/>
                <a:gd name="connsiteX63" fmla="*/ 4988057 w 5566803"/>
                <a:gd name="connsiteY63" fmla="*/ 190757 h 225340"/>
                <a:gd name="connsiteX64" fmla="*/ 5080706 w 5566803"/>
                <a:gd name="connsiteY64" fmla="*/ 186074 h 225340"/>
                <a:gd name="connsiteX65" fmla="*/ 5173356 w 5566803"/>
                <a:gd name="connsiteY65" fmla="*/ 186074 h 225340"/>
                <a:gd name="connsiteX66" fmla="*/ 5266006 w 5566803"/>
                <a:gd name="connsiteY66" fmla="*/ 190036 h 225340"/>
                <a:gd name="connsiteX67" fmla="*/ 5358656 w 5566803"/>
                <a:gd name="connsiteY67" fmla="*/ 184274 h 225340"/>
                <a:gd name="connsiteX68" fmla="*/ 5440445 w 5566803"/>
                <a:gd name="connsiteY68" fmla="*/ 190073 h 225340"/>
                <a:gd name="connsiteX69" fmla="*/ 5514653 w 5566803"/>
                <a:gd name="connsiteY69" fmla="*/ 223580 h 225340"/>
                <a:gd name="connsiteX70" fmla="*/ 5566803 w 5566803"/>
                <a:gd name="connsiteY70" fmla="*/ 198521 h 22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566803" h="225340">
                  <a:moveTo>
                    <a:pt x="0" y="215429"/>
                  </a:moveTo>
                  <a:cubicBezTo>
                    <a:pt x="46656" y="215429"/>
                    <a:pt x="46877" y="213989"/>
                    <a:pt x="93313" y="213989"/>
                  </a:cubicBezTo>
                  <a:cubicBezTo>
                    <a:pt x="139748" y="213989"/>
                    <a:pt x="139969" y="215069"/>
                    <a:pt x="186406" y="215069"/>
                  </a:cubicBezTo>
                  <a:lnTo>
                    <a:pt x="279497" y="214169"/>
                  </a:lnTo>
                  <a:cubicBezTo>
                    <a:pt x="325933" y="214169"/>
                    <a:pt x="325933" y="220112"/>
                    <a:pt x="372589" y="220112"/>
                  </a:cubicBezTo>
                  <a:cubicBezTo>
                    <a:pt x="419246" y="220112"/>
                    <a:pt x="419246" y="217050"/>
                    <a:pt x="465681" y="217050"/>
                  </a:cubicBezTo>
                  <a:cubicBezTo>
                    <a:pt x="512116" y="217050"/>
                    <a:pt x="512339" y="218671"/>
                    <a:pt x="558774" y="218671"/>
                  </a:cubicBezTo>
                  <a:cubicBezTo>
                    <a:pt x="605209" y="218671"/>
                    <a:pt x="605209" y="214529"/>
                    <a:pt x="651866" y="214529"/>
                  </a:cubicBezTo>
                  <a:lnTo>
                    <a:pt x="744958" y="213989"/>
                  </a:lnTo>
                  <a:cubicBezTo>
                    <a:pt x="791614" y="213989"/>
                    <a:pt x="791393" y="217590"/>
                    <a:pt x="838049" y="217590"/>
                  </a:cubicBezTo>
                  <a:lnTo>
                    <a:pt x="931142" y="218491"/>
                  </a:lnTo>
                  <a:cubicBezTo>
                    <a:pt x="977799" y="218491"/>
                    <a:pt x="977578" y="221012"/>
                    <a:pt x="1024234" y="221012"/>
                  </a:cubicBezTo>
                  <a:cubicBezTo>
                    <a:pt x="1070891" y="221012"/>
                    <a:pt x="1071112" y="213629"/>
                    <a:pt x="1117326" y="213629"/>
                  </a:cubicBezTo>
                  <a:cubicBezTo>
                    <a:pt x="1163540" y="213629"/>
                    <a:pt x="1163319" y="211648"/>
                    <a:pt x="1209977" y="211648"/>
                  </a:cubicBezTo>
                  <a:cubicBezTo>
                    <a:pt x="1256633" y="211648"/>
                    <a:pt x="1269015" y="241723"/>
                    <a:pt x="1299088" y="212728"/>
                  </a:cubicBezTo>
                  <a:cubicBezTo>
                    <a:pt x="1322084" y="190397"/>
                    <a:pt x="1279630" y="193458"/>
                    <a:pt x="1253095" y="173828"/>
                  </a:cubicBezTo>
                  <a:cubicBezTo>
                    <a:pt x="1226560" y="154198"/>
                    <a:pt x="1171058" y="156899"/>
                    <a:pt x="1196488" y="136729"/>
                  </a:cubicBezTo>
                  <a:cubicBezTo>
                    <a:pt x="1226560" y="112957"/>
                    <a:pt x="1237837" y="145914"/>
                    <a:pt x="1278524" y="154198"/>
                  </a:cubicBezTo>
                  <a:cubicBezTo>
                    <a:pt x="1319210" y="162482"/>
                    <a:pt x="1317884" y="166985"/>
                    <a:pt x="1358570" y="175089"/>
                  </a:cubicBezTo>
                  <a:cubicBezTo>
                    <a:pt x="1399257" y="183193"/>
                    <a:pt x="1414293" y="213809"/>
                    <a:pt x="1437953" y="184274"/>
                  </a:cubicBezTo>
                  <a:cubicBezTo>
                    <a:pt x="1461834" y="154738"/>
                    <a:pt x="1423359" y="153658"/>
                    <a:pt x="1400141" y="123943"/>
                  </a:cubicBezTo>
                  <a:cubicBezTo>
                    <a:pt x="1376923" y="94227"/>
                    <a:pt x="1376481" y="94227"/>
                    <a:pt x="1353483" y="64512"/>
                  </a:cubicBezTo>
                  <a:cubicBezTo>
                    <a:pt x="1330488" y="34797"/>
                    <a:pt x="1261497" y="18409"/>
                    <a:pt x="1300856" y="4001"/>
                  </a:cubicBezTo>
                  <a:cubicBezTo>
                    <a:pt x="1312521" y="-231"/>
                    <a:pt x="1321269" y="-850"/>
                    <a:pt x="1328507" y="951"/>
                  </a:cubicBezTo>
                  <a:cubicBezTo>
                    <a:pt x="1350223" y="6354"/>
                    <a:pt x="1358349" y="33536"/>
                    <a:pt x="1390853" y="50285"/>
                  </a:cubicBezTo>
                  <a:lnTo>
                    <a:pt x="1477754" y="94948"/>
                  </a:lnTo>
                  <a:cubicBezTo>
                    <a:pt x="1521094" y="117279"/>
                    <a:pt x="1522642" y="114938"/>
                    <a:pt x="1565982" y="137269"/>
                  </a:cubicBezTo>
                  <a:cubicBezTo>
                    <a:pt x="1609321" y="159601"/>
                    <a:pt x="1600034" y="174548"/>
                    <a:pt x="1648903" y="186795"/>
                  </a:cubicBezTo>
                  <a:cubicBezTo>
                    <a:pt x="1693347" y="197780"/>
                    <a:pt x="1695780" y="181932"/>
                    <a:pt x="1742216" y="181932"/>
                  </a:cubicBezTo>
                  <a:cubicBezTo>
                    <a:pt x="1788651" y="181932"/>
                    <a:pt x="1788651" y="190397"/>
                    <a:pt x="1835307" y="190397"/>
                  </a:cubicBezTo>
                  <a:lnTo>
                    <a:pt x="1928399" y="190397"/>
                  </a:lnTo>
                  <a:cubicBezTo>
                    <a:pt x="1975057" y="190397"/>
                    <a:pt x="1974836" y="182293"/>
                    <a:pt x="2021492" y="182293"/>
                  </a:cubicBezTo>
                  <a:cubicBezTo>
                    <a:pt x="2068149" y="182293"/>
                    <a:pt x="2068370" y="188416"/>
                    <a:pt x="2114584" y="188416"/>
                  </a:cubicBezTo>
                  <a:cubicBezTo>
                    <a:pt x="2160798" y="188416"/>
                    <a:pt x="2160577" y="180852"/>
                    <a:pt x="2207233" y="180852"/>
                  </a:cubicBezTo>
                  <a:cubicBezTo>
                    <a:pt x="2253890" y="180852"/>
                    <a:pt x="2253669" y="188055"/>
                    <a:pt x="2300325" y="188055"/>
                  </a:cubicBezTo>
                  <a:lnTo>
                    <a:pt x="2393418" y="188055"/>
                  </a:lnTo>
                  <a:cubicBezTo>
                    <a:pt x="2439633" y="188055"/>
                    <a:pt x="2439854" y="185714"/>
                    <a:pt x="2486068" y="185714"/>
                  </a:cubicBezTo>
                  <a:cubicBezTo>
                    <a:pt x="2532282" y="185714"/>
                    <a:pt x="2532061" y="182653"/>
                    <a:pt x="2578718" y="182653"/>
                  </a:cubicBezTo>
                  <a:cubicBezTo>
                    <a:pt x="2625374" y="182653"/>
                    <a:pt x="2625595" y="183733"/>
                    <a:pt x="2671809" y="183733"/>
                  </a:cubicBezTo>
                  <a:cubicBezTo>
                    <a:pt x="2718025" y="183733"/>
                    <a:pt x="2718025" y="188596"/>
                    <a:pt x="2764460" y="188596"/>
                  </a:cubicBezTo>
                  <a:lnTo>
                    <a:pt x="2857110" y="188596"/>
                  </a:lnTo>
                  <a:lnTo>
                    <a:pt x="2949759" y="188416"/>
                  </a:lnTo>
                  <a:cubicBezTo>
                    <a:pt x="2995973" y="188416"/>
                    <a:pt x="2996195" y="185894"/>
                    <a:pt x="3042409" y="185894"/>
                  </a:cubicBezTo>
                  <a:lnTo>
                    <a:pt x="3135060" y="186795"/>
                  </a:lnTo>
                  <a:cubicBezTo>
                    <a:pt x="3181274" y="186795"/>
                    <a:pt x="3181494" y="181032"/>
                    <a:pt x="3227708" y="181032"/>
                  </a:cubicBezTo>
                  <a:cubicBezTo>
                    <a:pt x="3273924" y="181032"/>
                    <a:pt x="3274145" y="183373"/>
                    <a:pt x="3320359" y="183373"/>
                  </a:cubicBezTo>
                  <a:cubicBezTo>
                    <a:pt x="3366573" y="183373"/>
                    <a:pt x="3366794" y="187335"/>
                    <a:pt x="3413008" y="187335"/>
                  </a:cubicBezTo>
                  <a:cubicBezTo>
                    <a:pt x="3459223" y="187335"/>
                    <a:pt x="3459444" y="191297"/>
                    <a:pt x="3505658" y="191297"/>
                  </a:cubicBezTo>
                  <a:cubicBezTo>
                    <a:pt x="3551872" y="191297"/>
                    <a:pt x="3552094" y="181032"/>
                    <a:pt x="3598308" y="181032"/>
                  </a:cubicBezTo>
                  <a:lnTo>
                    <a:pt x="3690958" y="181572"/>
                  </a:lnTo>
                  <a:cubicBezTo>
                    <a:pt x="3737173" y="181572"/>
                    <a:pt x="3737394" y="186255"/>
                    <a:pt x="3783608" y="186255"/>
                  </a:cubicBezTo>
                  <a:cubicBezTo>
                    <a:pt x="3829822" y="186255"/>
                    <a:pt x="3830043" y="190937"/>
                    <a:pt x="3876258" y="190937"/>
                  </a:cubicBezTo>
                  <a:lnTo>
                    <a:pt x="3968907" y="191477"/>
                  </a:lnTo>
                  <a:cubicBezTo>
                    <a:pt x="4015122" y="191477"/>
                    <a:pt x="4015344" y="186615"/>
                    <a:pt x="4061558" y="186615"/>
                  </a:cubicBezTo>
                  <a:cubicBezTo>
                    <a:pt x="4107772" y="186615"/>
                    <a:pt x="4107993" y="184274"/>
                    <a:pt x="4154208" y="184274"/>
                  </a:cubicBezTo>
                  <a:cubicBezTo>
                    <a:pt x="4200422" y="184274"/>
                    <a:pt x="4200643" y="192017"/>
                    <a:pt x="4246857" y="192017"/>
                  </a:cubicBezTo>
                  <a:cubicBezTo>
                    <a:pt x="4293072" y="192017"/>
                    <a:pt x="4293294" y="183193"/>
                    <a:pt x="4339508" y="183193"/>
                  </a:cubicBezTo>
                  <a:lnTo>
                    <a:pt x="4432158" y="184093"/>
                  </a:lnTo>
                  <a:cubicBezTo>
                    <a:pt x="4478372" y="184093"/>
                    <a:pt x="4478592" y="187335"/>
                    <a:pt x="4524806" y="187335"/>
                  </a:cubicBezTo>
                  <a:cubicBezTo>
                    <a:pt x="4571022" y="187335"/>
                    <a:pt x="4571243" y="190036"/>
                    <a:pt x="4617457" y="190036"/>
                  </a:cubicBezTo>
                  <a:cubicBezTo>
                    <a:pt x="4663671" y="190036"/>
                    <a:pt x="4663892" y="186435"/>
                    <a:pt x="4710106" y="186435"/>
                  </a:cubicBezTo>
                  <a:cubicBezTo>
                    <a:pt x="4756322" y="186435"/>
                    <a:pt x="4756542" y="192378"/>
                    <a:pt x="4802756" y="192378"/>
                  </a:cubicBezTo>
                  <a:lnTo>
                    <a:pt x="4895406" y="191657"/>
                  </a:lnTo>
                  <a:lnTo>
                    <a:pt x="4988057" y="190757"/>
                  </a:lnTo>
                  <a:cubicBezTo>
                    <a:pt x="5034271" y="190757"/>
                    <a:pt x="5034271" y="186074"/>
                    <a:pt x="5080706" y="186074"/>
                  </a:cubicBezTo>
                  <a:lnTo>
                    <a:pt x="5173356" y="186074"/>
                  </a:lnTo>
                  <a:cubicBezTo>
                    <a:pt x="5219570" y="186074"/>
                    <a:pt x="5219792" y="190036"/>
                    <a:pt x="5266006" y="190036"/>
                  </a:cubicBezTo>
                  <a:cubicBezTo>
                    <a:pt x="5312220" y="190036"/>
                    <a:pt x="5329584" y="184268"/>
                    <a:pt x="5358656" y="184274"/>
                  </a:cubicBezTo>
                  <a:cubicBezTo>
                    <a:pt x="5387728" y="184280"/>
                    <a:pt x="5414446" y="183522"/>
                    <a:pt x="5440445" y="190073"/>
                  </a:cubicBezTo>
                  <a:cubicBezTo>
                    <a:pt x="5466444" y="196624"/>
                    <a:pt x="5493593" y="222172"/>
                    <a:pt x="5514653" y="223580"/>
                  </a:cubicBezTo>
                  <a:cubicBezTo>
                    <a:pt x="5535713" y="224988"/>
                    <a:pt x="5563586" y="160887"/>
                    <a:pt x="5566803" y="198521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D60F05C0-0C39-FE7C-D7A6-606E1AD55BE9}"/>
                </a:ext>
              </a:extLst>
            </p:cNvPr>
            <p:cNvGrpSpPr/>
            <p:nvPr/>
          </p:nvGrpSpPr>
          <p:grpSpPr>
            <a:xfrm>
              <a:off x="8561246" y="4573527"/>
              <a:ext cx="313579" cy="386198"/>
              <a:chOff x="8569940" y="3706813"/>
              <a:chExt cx="333128" cy="50165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4D89746B-219B-1B5D-FFB2-A329496A2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940" y="3706813"/>
                <a:ext cx="154961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A0B33122-2C4C-8858-C8FF-9643E25D2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1889" y="3746500"/>
                <a:ext cx="151179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0EEBB35-B6D6-BF60-AC9A-3FBDC612662D}"/>
                </a:ext>
              </a:extLst>
            </p:cNvPr>
            <p:cNvGrpSpPr/>
            <p:nvPr/>
          </p:nvGrpSpPr>
          <p:grpSpPr>
            <a:xfrm>
              <a:off x="7415961" y="1625980"/>
              <a:ext cx="1936686" cy="2255663"/>
              <a:chOff x="8066900" y="1502265"/>
              <a:chExt cx="1672430" cy="2039469"/>
            </a:xfrm>
          </p:grpSpPr>
          <p:sp>
            <p:nvSpPr>
              <p:cNvPr id="2" name="Freeform: Shape 1">
                <a:extLst>
                  <a:ext uri="{FF2B5EF4-FFF2-40B4-BE49-F238E27FC236}">
                    <a16:creationId xmlns:a16="http://schemas.microsoft.com/office/drawing/2014/main" id="{A4B7A00F-7A8F-930F-4C5E-DD2161A71E3B}"/>
                  </a:ext>
                </a:extLst>
              </p:cNvPr>
              <p:cNvSpPr/>
              <p:nvPr/>
            </p:nvSpPr>
            <p:spPr>
              <a:xfrm rot="432125">
                <a:off x="8067874" y="1502266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solidFill>
                <a:schemeClr val="bg1"/>
              </a:solidFill>
              <a:ln w="11163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FB9987D-2F60-C7B3-B808-EC276EF8E832}"/>
                  </a:ext>
                </a:extLst>
              </p:cNvPr>
              <p:cNvSpPr/>
              <p:nvPr/>
            </p:nvSpPr>
            <p:spPr>
              <a:xfrm rot="432125">
                <a:off x="8067874" y="1502265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grpSp>
            <p:nvGrpSpPr>
              <p:cNvPr id="63" name="Graphic 6">
                <a:extLst>
                  <a:ext uri="{FF2B5EF4-FFF2-40B4-BE49-F238E27FC236}">
                    <a16:creationId xmlns:a16="http://schemas.microsoft.com/office/drawing/2014/main" id="{346B8EA7-E7E7-3A4C-C8A8-164AFB0AF065}"/>
                  </a:ext>
                </a:extLst>
              </p:cNvPr>
              <p:cNvGrpSpPr/>
              <p:nvPr/>
            </p:nvGrpSpPr>
            <p:grpSpPr>
              <a:xfrm rot="432125">
                <a:off x="8490870" y="2263324"/>
                <a:ext cx="445188" cy="226015"/>
                <a:chOff x="8570078" y="2105985"/>
                <a:chExt cx="445188" cy="226015"/>
              </a:xfrm>
              <a:noFill/>
            </p:grpSpPr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45FD88ED-9B4A-BD43-5318-D94E2EFAAD5A}"/>
                    </a:ext>
                  </a:extLst>
                </p:cNvPr>
                <p:cNvSpPr/>
                <p:nvPr/>
              </p:nvSpPr>
              <p:spPr>
                <a:xfrm>
                  <a:off x="8570078" y="2105985"/>
                  <a:ext cx="18009" cy="226015"/>
                </a:xfrm>
                <a:custGeom>
                  <a:avLst/>
                  <a:gdLst>
                    <a:gd name="connsiteX0" fmla="*/ 0 w 18009"/>
                    <a:gd name="connsiteY0" fmla="*/ 0 h 226015"/>
                    <a:gd name="connsiteX1" fmla="*/ 0 w 18009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9" h="226015">
                      <a:moveTo>
                        <a:pt x="0" y="0"/>
                      </a:moveTo>
                      <a:lnTo>
                        <a:pt x="0" y="226016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9D5A5AF-31EB-3BEA-2AC3-7CE230391883}"/>
                    </a:ext>
                  </a:extLst>
                </p:cNvPr>
                <p:cNvSpPr/>
                <p:nvPr/>
              </p:nvSpPr>
              <p:spPr>
                <a:xfrm>
                  <a:off x="9001039" y="2105985"/>
                  <a:ext cx="14227" cy="226015"/>
                </a:xfrm>
                <a:custGeom>
                  <a:avLst/>
                  <a:gdLst>
                    <a:gd name="connsiteX0" fmla="*/ 0 w 14227"/>
                    <a:gd name="connsiteY0" fmla="*/ 0 h 226015"/>
                    <a:gd name="connsiteX1" fmla="*/ 14227 w 14227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27" h="226015">
                      <a:moveTo>
                        <a:pt x="0" y="0"/>
                      </a:moveTo>
                      <a:cubicBezTo>
                        <a:pt x="0" y="112918"/>
                        <a:pt x="14227" y="112918"/>
                        <a:pt x="14227" y="226016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35303A6-374D-D660-800C-1A961F623158}"/>
                  </a:ext>
                </a:extLst>
              </p:cNvPr>
              <p:cNvSpPr/>
              <p:nvPr/>
            </p:nvSpPr>
            <p:spPr>
              <a:xfrm rot="432125">
                <a:off x="8066900" y="2687719"/>
                <a:ext cx="1422728" cy="467686"/>
              </a:xfrm>
              <a:custGeom>
                <a:avLst/>
                <a:gdLst>
                  <a:gd name="connsiteX0" fmla="*/ 0 w 1650905"/>
                  <a:gd name="connsiteY0" fmla="*/ 157401 h 593427"/>
                  <a:gd name="connsiteX1" fmla="*/ 130927 w 1650905"/>
                  <a:gd name="connsiteY1" fmla="*/ 310119 h 593427"/>
                  <a:gd name="connsiteX2" fmla="*/ 291749 w 1650905"/>
                  <a:gd name="connsiteY2" fmla="*/ 432401 h 593427"/>
                  <a:gd name="connsiteX3" fmla="*/ 467339 w 1650905"/>
                  <a:gd name="connsiteY3" fmla="*/ 533613 h 593427"/>
                  <a:gd name="connsiteX4" fmla="*/ 663280 w 1650905"/>
                  <a:gd name="connsiteY4" fmla="*/ 585840 h 593427"/>
                  <a:gd name="connsiteX5" fmla="*/ 864983 w 1650905"/>
                  <a:gd name="connsiteY5" fmla="*/ 587101 h 593427"/>
                  <a:gd name="connsiteX6" fmla="*/ 1061644 w 1650905"/>
                  <a:gd name="connsiteY6" fmla="*/ 540637 h 593427"/>
                  <a:gd name="connsiteX7" fmla="*/ 1246779 w 1650905"/>
                  <a:gd name="connsiteY7" fmla="*/ 454012 h 593427"/>
                  <a:gd name="connsiteX8" fmla="*/ 1405080 w 1650905"/>
                  <a:gd name="connsiteY8" fmla="*/ 323446 h 593427"/>
                  <a:gd name="connsiteX9" fmla="*/ 1532225 w 1650905"/>
                  <a:gd name="connsiteY9" fmla="*/ 164244 h 593427"/>
                  <a:gd name="connsiteX10" fmla="*/ 1650905 w 1650905"/>
                  <a:gd name="connsiteY10" fmla="*/ 0 h 59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905" h="593427">
                    <a:moveTo>
                      <a:pt x="0" y="157401"/>
                    </a:moveTo>
                    <a:cubicBezTo>
                      <a:pt x="61232" y="237542"/>
                      <a:pt x="42142" y="229257"/>
                      <a:pt x="130927" y="310119"/>
                    </a:cubicBezTo>
                    <a:cubicBezTo>
                      <a:pt x="175050" y="350279"/>
                      <a:pt x="229978" y="391521"/>
                      <a:pt x="291749" y="432401"/>
                    </a:cubicBezTo>
                    <a:cubicBezTo>
                      <a:pt x="345417" y="468060"/>
                      <a:pt x="402146" y="506960"/>
                      <a:pt x="467339" y="533613"/>
                    </a:cubicBezTo>
                    <a:cubicBezTo>
                      <a:pt x="528031" y="559006"/>
                      <a:pt x="594485" y="575034"/>
                      <a:pt x="663280" y="585840"/>
                    </a:cubicBezTo>
                    <a:cubicBezTo>
                      <a:pt x="727753" y="596105"/>
                      <a:pt x="794747" y="595385"/>
                      <a:pt x="864983" y="587101"/>
                    </a:cubicBezTo>
                    <a:cubicBezTo>
                      <a:pt x="928196" y="579537"/>
                      <a:pt x="994650" y="567290"/>
                      <a:pt x="1061644" y="540637"/>
                    </a:cubicBezTo>
                    <a:cubicBezTo>
                      <a:pt x="1119814" y="517045"/>
                      <a:pt x="1186808" y="495434"/>
                      <a:pt x="1246779" y="454012"/>
                    </a:cubicBezTo>
                    <a:cubicBezTo>
                      <a:pt x="1298465" y="418354"/>
                      <a:pt x="1352133" y="373871"/>
                      <a:pt x="1405080" y="323446"/>
                    </a:cubicBezTo>
                    <a:cubicBezTo>
                      <a:pt x="1450463" y="280224"/>
                      <a:pt x="1486121" y="219713"/>
                      <a:pt x="1532225" y="164244"/>
                    </a:cubicBezTo>
                    <a:cubicBezTo>
                      <a:pt x="1572385" y="115259"/>
                      <a:pt x="1610205" y="59250"/>
                      <a:pt x="1650905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8E3118D-5F96-57C3-EA4B-FBCB61A3A9E9}"/>
                </a:ext>
              </a:extLst>
            </p:cNvPr>
            <p:cNvSpPr/>
            <p:nvPr/>
          </p:nvSpPr>
          <p:spPr>
            <a:xfrm flipH="1">
              <a:off x="5700472" y="3076892"/>
              <a:ext cx="934354" cy="1334146"/>
            </a:xfrm>
            <a:custGeom>
              <a:avLst/>
              <a:gdLst>
                <a:gd name="connsiteX0" fmla="*/ 0 w 847763"/>
                <a:gd name="connsiteY0" fmla="*/ 1032906 h 1210504"/>
                <a:gd name="connsiteX1" fmla="*/ 235979 w 847763"/>
                <a:gd name="connsiteY1" fmla="*/ 1210505 h 1210504"/>
                <a:gd name="connsiteX2" fmla="*/ 648046 w 847763"/>
                <a:gd name="connsiteY2" fmla="*/ 512013 h 1210504"/>
                <a:gd name="connsiteX3" fmla="*/ 622162 w 847763"/>
                <a:gd name="connsiteY3" fmla="*/ 221620 h 1210504"/>
                <a:gd name="connsiteX4" fmla="*/ 820921 w 847763"/>
                <a:gd name="connsiteY4" fmla="*/ 0 h 1210504"/>
                <a:gd name="connsiteX5" fmla="*/ 781623 w 847763"/>
                <a:gd name="connsiteY5" fmla="*/ 152659 h 121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63" h="1210504">
                  <a:moveTo>
                    <a:pt x="0" y="1032906"/>
                  </a:moveTo>
                  <a:lnTo>
                    <a:pt x="235979" y="1210505"/>
                  </a:lnTo>
                  <a:cubicBezTo>
                    <a:pt x="235979" y="1210505"/>
                    <a:pt x="577574" y="781056"/>
                    <a:pt x="648046" y="512013"/>
                  </a:cubicBezTo>
                  <a:cubicBezTo>
                    <a:pt x="648046" y="512013"/>
                    <a:pt x="618194" y="287370"/>
                    <a:pt x="622162" y="221620"/>
                  </a:cubicBezTo>
                  <a:cubicBezTo>
                    <a:pt x="626129" y="155871"/>
                    <a:pt x="800327" y="0"/>
                    <a:pt x="820921" y="0"/>
                  </a:cubicBezTo>
                  <a:cubicBezTo>
                    <a:pt x="841515" y="0"/>
                    <a:pt x="884970" y="91255"/>
                    <a:pt x="781623" y="15265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8A0E8AE-4D36-F2CC-1511-080B5A33C757}"/>
                </a:ext>
              </a:extLst>
            </p:cNvPr>
            <p:cNvSpPr/>
            <p:nvPr/>
          </p:nvSpPr>
          <p:spPr>
            <a:xfrm flipH="1">
              <a:off x="5513078" y="3612882"/>
              <a:ext cx="1316654" cy="1284171"/>
            </a:xfrm>
            <a:custGeom>
              <a:avLst/>
              <a:gdLst>
                <a:gd name="connsiteX0" fmla="*/ 0 w 1194634"/>
                <a:gd name="connsiteY0" fmla="*/ 1070882 h 1165160"/>
                <a:gd name="connsiteX1" fmla="*/ 663161 w 1194634"/>
                <a:gd name="connsiteY1" fmla="*/ 1165161 h 1165160"/>
                <a:gd name="connsiteX2" fmla="*/ 1073149 w 1194634"/>
                <a:gd name="connsiteY2" fmla="*/ 47800 h 1165160"/>
                <a:gd name="connsiteX3" fmla="*/ 1194634 w 1194634"/>
                <a:gd name="connsiteY3" fmla="*/ 0 h 116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634" h="1165160">
                  <a:moveTo>
                    <a:pt x="0" y="1070882"/>
                  </a:moveTo>
                  <a:cubicBezTo>
                    <a:pt x="0" y="1070882"/>
                    <a:pt x="530906" y="1152691"/>
                    <a:pt x="663161" y="1165161"/>
                  </a:cubicBezTo>
                  <a:cubicBezTo>
                    <a:pt x="715307" y="956388"/>
                    <a:pt x="1073149" y="47800"/>
                    <a:pt x="1073149" y="47800"/>
                  </a:cubicBezTo>
                  <a:cubicBezTo>
                    <a:pt x="1073149" y="47800"/>
                    <a:pt x="1145133" y="50635"/>
                    <a:pt x="1194634" y="0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0DAF662-B562-B060-EEE6-34512E9873A5}"/>
                </a:ext>
              </a:extLst>
            </p:cNvPr>
            <p:cNvGrpSpPr/>
            <p:nvPr userDrawn="1"/>
          </p:nvGrpSpPr>
          <p:grpSpPr>
            <a:xfrm>
              <a:off x="9437570" y="248189"/>
              <a:ext cx="2604824" cy="1701171"/>
              <a:chOff x="9686206" y="652129"/>
              <a:chExt cx="2429364" cy="1586580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8021D8EB-4CD8-5F09-239E-AA9FFB7C0233}"/>
                  </a:ext>
                </a:extLst>
              </p:cNvPr>
              <p:cNvSpPr/>
              <p:nvPr/>
            </p:nvSpPr>
            <p:spPr>
              <a:xfrm flipH="1">
                <a:off x="10409685" y="1085263"/>
                <a:ext cx="920139" cy="950147"/>
              </a:xfrm>
              <a:custGeom>
                <a:avLst/>
                <a:gdLst>
                  <a:gd name="connsiteX0" fmla="*/ 1110910 w 1110909"/>
                  <a:gd name="connsiteY0" fmla="*/ 555455 h 1084407"/>
                  <a:gd name="connsiteX1" fmla="*/ 555455 w 1110909"/>
                  <a:gd name="connsiteY1" fmla="*/ 0 h 1084407"/>
                  <a:gd name="connsiteX2" fmla="*/ 0 w 1110909"/>
                  <a:gd name="connsiteY2" fmla="*/ 555455 h 1084407"/>
                  <a:gd name="connsiteX3" fmla="*/ 189298 w 1110909"/>
                  <a:gd name="connsiteY3" fmla="*/ 972992 h 1084407"/>
                  <a:gd name="connsiteX4" fmla="*/ 614948 w 1110909"/>
                  <a:gd name="connsiteY4" fmla="*/ 971911 h 1084407"/>
                  <a:gd name="connsiteX5" fmla="*/ 725823 w 1110909"/>
                  <a:gd name="connsiteY5" fmla="*/ 1084408 h 1084407"/>
                  <a:gd name="connsiteX6" fmla="*/ 1110910 w 1110909"/>
                  <a:gd name="connsiteY6" fmla="*/ 555455 h 108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0909" h="1084407">
                    <a:moveTo>
                      <a:pt x="1110910" y="555455"/>
                    </a:moveTo>
                    <a:cubicBezTo>
                      <a:pt x="1110910" y="248792"/>
                      <a:pt x="862118" y="0"/>
                      <a:pt x="555455" y="0"/>
                    </a:cubicBezTo>
                    <a:cubicBezTo>
                      <a:pt x="248792" y="0"/>
                      <a:pt x="0" y="248792"/>
                      <a:pt x="0" y="555455"/>
                    </a:cubicBezTo>
                    <a:cubicBezTo>
                      <a:pt x="0" y="722037"/>
                      <a:pt x="73015" y="871312"/>
                      <a:pt x="189298" y="972992"/>
                    </a:cubicBezTo>
                    <a:lnTo>
                      <a:pt x="614948" y="971911"/>
                    </a:lnTo>
                    <a:cubicBezTo>
                      <a:pt x="614948" y="971911"/>
                      <a:pt x="709057" y="1067100"/>
                      <a:pt x="725823" y="1084408"/>
                    </a:cubicBezTo>
                    <a:cubicBezTo>
                      <a:pt x="949195" y="1011934"/>
                      <a:pt x="1110910" y="802624"/>
                      <a:pt x="1110910" y="555455"/>
                    </a:cubicBezTo>
                    <a:close/>
                  </a:path>
                </a:pathLst>
              </a:custGeom>
              <a:solidFill>
                <a:srgbClr val="FEF5F6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9E89E44-6C8F-9D5E-8364-F35C6DA1B481}"/>
                  </a:ext>
                </a:extLst>
              </p:cNvPr>
              <p:cNvSpPr/>
              <p:nvPr/>
            </p:nvSpPr>
            <p:spPr>
              <a:xfrm flipH="1">
                <a:off x="9691397" y="1543989"/>
                <a:ext cx="1331116" cy="693300"/>
              </a:xfrm>
              <a:custGeom>
                <a:avLst/>
                <a:gdLst>
                  <a:gd name="connsiteX0" fmla="*/ 1281278 w 1607094"/>
                  <a:gd name="connsiteY0" fmla="*/ 424028 h 791266"/>
                  <a:gd name="connsiteX1" fmla="*/ 1144983 w 1607094"/>
                  <a:gd name="connsiteY1" fmla="*/ 372647 h 791266"/>
                  <a:gd name="connsiteX2" fmla="*/ 1144983 w 1607094"/>
                  <a:gd name="connsiteY2" fmla="*/ 372647 h 791266"/>
                  <a:gd name="connsiteX3" fmla="*/ 802624 w 1607094"/>
                  <a:gd name="connsiteY3" fmla="*/ 0 h 791266"/>
                  <a:gd name="connsiteX4" fmla="*/ 562486 w 1607094"/>
                  <a:gd name="connsiteY4" fmla="*/ 116283 h 791266"/>
                  <a:gd name="connsiteX5" fmla="*/ 366698 w 1607094"/>
                  <a:gd name="connsiteY5" fmla="*/ 23798 h 791266"/>
                  <a:gd name="connsiteX6" fmla="*/ 0 w 1607094"/>
                  <a:gd name="connsiteY6" fmla="*/ 393740 h 791266"/>
                  <a:gd name="connsiteX7" fmla="*/ 194166 w 1607094"/>
                  <a:gd name="connsiteY7" fmla="*/ 791266 h 791266"/>
                  <a:gd name="connsiteX8" fmla="*/ 222831 w 1607094"/>
                  <a:gd name="connsiteY8" fmla="*/ 790184 h 791266"/>
                  <a:gd name="connsiteX9" fmla="*/ 777204 w 1607094"/>
                  <a:gd name="connsiteY9" fmla="*/ 790184 h 791266"/>
                  <a:gd name="connsiteX10" fmla="*/ 802624 w 1607094"/>
                  <a:gd name="connsiteY10" fmla="*/ 791266 h 791266"/>
                  <a:gd name="connsiteX11" fmla="*/ 828044 w 1607094"/>
                  <a:gd name="connsiteY11" fmla="*/ 790184 h 791266"/>
                  <a:gd name="connsiteX12" fmla="*/ 1606330 w 1607094"/>
                  <a:gd name="connsiteY12" fmla="*/ 790184 h 791266"/>
                  <a:gd name="connsiteX13" fmla="*/ 1281278 w 1607094"/>
                  <a:gd name="connsiteY13" fmla="*/ 424028 h 791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7094" h="791266">
                    <a:moveTo>
                      <a:pt x="1281278" y="424028"/>
                    </a:moveTo>
                    <a:cubicBezTo>
                      <a:pt x="1277492" y="386168"/>
                      <a:pt x="1214212" y="328297"/>
                      <a:pt x="1144983" y="372647"/>
                    </a:cubicBezTo>
                    <a:lnTo>
                      <a:pt x="1144983" y="372647"/>
                    </a:lnTo>
                    <a:cubicBezTo>
                      <a:pt x="1134707" y="164960"/>
                      <a:pt x="983269" y="0"/>
                      <a:pt x="802624" y="0"/>
                    </a:cubicBezTo>
                    <a:cubicBezTo>
                      <a:pt x="709057" y="0"/>
                      <a:pt x="624143" y="44350"/>
                      <a:pt x="562486" y="116283"/>
                    </a:cubicBezTo>
                    <a:cubicBezTo>
                      <a:pt x="497043" y="55167"/>
                      <a:pt x="427814" y="27043"/>
                      <a:pt x="366698" y="23798"/>
                    </a:cubicBezTo>
                    <a:cubicBezTo>
                      <a:pt x="163337" y="9195"/>
                      <a:pt x="0" y="189298"/>
                      <a:pt x="0" y="393740"/>
                    </a:cubicBezTo>
                    <a:cubicBezTo>
                      <a:pt x="0" y="449448"/>
                      <a:pt x="10817" y="791266"/>
                      <a:pt x="194166" y="791266"/>
                    </a:cubicBezTo>
                    <a:cubicBezTo>
                      <a:pt x="203360" y="791266"/>
                      <a:pt x="213096" y="790725"/>
                      <a:pt x="222831" y="790184"/>
                    </a:cubicBezTo>
                    <a:lnTo>
                      <a:pt x="777204" y="790184"/>
                    </a:lnTo>
                    <a:cubicBezTo>
                      <a:pt x="785317" y="790725"/>
                      <a:pt x="793971" y="791266"/>
                      <a:pt x="802624" y="791266"/>
                    </a:cubicBezTo>
                    <a:cubicBezTo>
                      <a:pt x="811278" y="791266"/>
                      <a:pt x="819390" y="790725"/>
                      <a:pt x="828044" y="790184"/>
                    </a:cubicBezTo>
                    <a:lnTo>
                      <a:pt x="1606330" y="790184"/>
                    </a:lnTo>
                    <a:cubicBezTo>
                      <a:pt x="1614443" y="699862"/>
                      <a:pt x="1561439" y="471082"/>
                      <a:pt x="1281278" y="424028"/>
                    </a:cubicBezTo>
                    <a:close/>
                  </a:path>
                </a:pathLst>
              </a:custGeom>
              <a:solidFill>
                <a:srgbClr val="E1EBE5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DB0AA600-99BB-9554-AFD2-B89B8DA41B23}"/>
                  </a:ext>
                </a:extLst>
              </p:cNvPr>
              <p:cNvSpPr/>
              <p:nvPr/>
            </p:nvSpPr>
            <p:spPr>
              <a:xfrm flipH="1">
                <a:off x="9686206" y="2235393"/>
                <a:ext cx="768724" cy="3316"/>
              </a:xfrm>
              <a:custGeom>
                <a:avLst/>
                <a:gdLst>
                  <a:gd name="connsiteX0" fmla="*/ 0 w 928102"/>
                  <a:gd name="connsiteY0" fmla="*/ 0 h 3785"/>
                  <a:gd name="connsiteX1" fmla="*/ 17848 w 928102"/>
                  <a:gd name="connsiteY1" fmla="*/ 0 h 3785"/>
                  <a:gd name="connsiteX2" fmla="*/ 35697 w 928102"/>
                  <a:gd name="connsiteY2" fmla="*/ 1082 h 3785"/>
                  <a:gd name="connsiteX3" fmla="*/ 53544 w 928102"/>
                  <a:gd name="connsiteY3" fmla="*/ 1082 h 3785"/>
                  <a:gd name="connsiteX4" fmla="*/ 71393 w 928102"/>
                  <a:gd name="connsiteY4" fmla="*/ 1082 h 3785"/>
                  <a:gd name="connsiteX5" fmla="*/ 89241 w 928102"/>
                  <a:gd name="connsiteY5" fmla="*/ 541 h 3785"/>
                  <a:gd name="connsiteX6" fmla="*/ 107089 w 928102"/>
                  <a:gd name="connsiteY6" fmla="*/ 0 h 3785"/>
                  <a:gd name="connsiteX7" fmla="*/ 124937 w 928102"/>
                  <a:gd name="connsiteY7" fmla="*/ 2163 h 3785"/>
                  <a:gd name="connsiteX8" fmla="*/ 142785 w 928102"/>
                  <a:gd name="connsiteY8" fmla="*/ 1622 h 3785"/>
                  <a:gd name="connsiteX9" fmla="*/ 160633 w 928102"/>
                  <a:gd name="connsiteY9" fmla="*/ 0 h 3785"/>
                  <a:gd name="connsiteX10" fmla="*/ 178481 w 928102"/>
                  <a:gd name="connsiteY10" fmla="*/ 1622 h 3785"/>
                  <a:gd name="connsiteX11" fmla="*/ 196329 w 928102"/>
                  <a:gd name="connsiteY11" fmla="*/ 1622 h 3785"/>
                  <a:gd name="connsiteX12" fmla="*/ 214178 w 928102"/>
                  <a:gd name="connsiteY12" fmla="*/ 1622 h 3785"/>
                  <a:gd name="connsiteX13" fmla="*/ 232026 w 928102"/>
                  <a:gd name="connsiteY13" fmla="*/ 2704 h 3785"/>
                  <a:gd name="connsiteX14" fmla="*/ 249874 w 928102"/>
                  <a:gd name="connsiteY14" fmla="*/ 2704 h 3785"/>
                  <a:gd name="connsiteX15" fmla="*/ 267722 w 928102"/>
                  <a:gd name="connsiteY15" fmla="*/ 541 h 3785"/>
                  <a:gd name="connsiteX16" fmla="*/ 285570 w 928102"/>
                  <a:gd name="connsiteY16" fmla="*/ 1622 h 3785"/>
                  <a:gd name="connsiteX17" fmla="*/ 303418 w 928102"/>
                  <a:gd name="connsiteY17" fmla="*/ 541 h 3785"/>
                  <a:gd name="connsiteX18" fmla="*/ 321266 w 928102"/>
                  <a:gd name="connsiteY18" fmla="*/ 2163 h 3785"/>
                  <a:gd name="connsiteX19" fmla="*/ 339114 w 928102"/>
                  <a:gd name="connsiteY19" fmla="*/ 2704 h 3785"/>
                  <a:gd name="connsiteX20" fmla="*/ 356962 w 928102"/>
                  <a:gd name="connsiteY20" fmla="*/ 3245 h 3785"/>
                  <a:gd name="connsiteX21" fmla="*/ 374811 w 928102"/>
                  <a:gd name="connsiteY21" fmla="*/ 1082 h 3785"/>
                  <a:gd name="connsiteX22" fmla="*/ 392659 w 928102"/>
                  <a:gd name="connsiteY22" fmla="*/ 2163 h 3785"/>
                  <a:gd name="connsiteX23" fmla="*/ 410507 w 928102"/>
                  <a:gd name="connsiteY23" fmla="*/ 1622 h 3785"/>
                  <a:gd name="connsiteX24" fmla="*/ 428355 w 928102"/>
                  <a:gd name="connsiteY24" fmla="*/ 3245 h 3785"/>
                  <a:gd name="connsiteX25" fmla="*/ 446203 w 928102"/>
                  <a:gd name="connsiteY25" fmla="*/ 1082 h 3785"/>
                  <a:gd name="connsiteX26" fmla="*/ 464051 w 928102"/>
                  <a:gd name="connsiteY26" fmla="*/ 3245 h 3785"/>
                  <a:gd name="connsiteX27" fmla="*/ 481899 w 928102"/>
                  <a:gd name="connsiteY27" fmla="*/ 2704 h 3785"/>
                  <a:gd name="connsiteX28" fmla="*/ 499747 w 928102"/>
                  <a:gd name="connsiteY28" fmla="*/ 3786 h 3785"/>
                  <a:gd name="connsiteX29" fmla="*/ 517596 w 928102"/>
                  <a:gd name="connsiteY29" fmla="*/ 2704 h 3785"/>
                  <a:gd name="connsiteX30" fmla="*/ 535443 w 928102"/>
                  <a:gd name="connsiteY30" fmla="*/ 1622 h 3785"/>
                  <a:gd name="connsiteX31" fmla="*/ 553292 w 928102"/>
                  <a:gd name="connsiteY31" fmla="*/ 3786 h 3785"/>
                  <a:gd name="connsiteX32" fmla="*/ 571140 w 928102"/>
                  <a:gd name="connsiteY32" fmla="*/ 2163 h 3785"/>
                  <a:gd name="connsiteX33" fmla="*/ 588988 w 928102"/>
                  <a:gd name="connsiteY33" fmla="*/ 1622 h 3785"/>
                  <a:gd name="connsiteX34" fmla="*/ 606836 w 928102"/>
                  <a:gd name="connsiteY34" fmla="*/ 2704 h 3785"/>
                  <a:gd name="connsiteX35" fmla="*/ 624684 w 928102"/>
                  <a:gd name="connsiteY35" fmla="*/ 1622 h 3785"/>
                  <a:gd name="connsiteX36" fmla="*/ 642532 w 928102"/>
                  <a:gd name="connsiteY36" fmla="*/ 3245 h 3785"/>
                  <a:gd name="connsiteX37" fmla="*/ 660381 w 928102"/>
                  <a:gd name="connsiteY37" fmla="*/ 2163 h 3785"/>
                  <a:gd name="connsiteX38" fmla="*/ 678228 w 928102"/>
                  <a:gd name="connsiteY38" fmla="*/ 2163 h 3785"/>
                  <a:gd name="connsiteX39" fmla="*/ 696077 w 928102"/>
                  <a:gd name="connsiteY39" fmla="*/ 2163 h 3785"/>
                  <a:gd name="connsiteX40" fmla="*/ 713924 w 928102"/>
                  <a:gd name="connsiteY40" fmla="*/ 2704 h 3785"/>
                  <a:gd name="connsiteX41" fmla="*/ 731773 w 928102"/>
                  <a:gd name="connsiteY41" fmla="*/ 2704 h 3785"/>
                  <a:gd name="connsiteX42" fmla="*/ 749621 w 928102"/>
                  <a:gd name="connsiteY42" fmla="*/ 1082 h 3785"/>
                  <a:gd name="connsiteX43" fmla="*/ 767469 w 928102"/>
                  <a:gd name="connsiteY43" fmla="*/ 1082 h 3785"/>
                  <a:gd name="connsiteX44" fmla="*/ 785317 w 928102"/>
                  <a:gd name="connsiteY44" fmla="*/ 1082 h 3785"/>
                  <a:gd name="connsiteX45" fmla="*/ 803165 w 928102"/>
                  <a:gd name="connsiteY45" fmla="*/ 1622 h 3785"/>
                  <a:gd name="connsiteX46" fmla="*/ 821013 w 928102"/>
                  <a:gd name="connsiteY46" fmla="*/ 2163 h 3785"/>
                  <a:gd name="connsiteX47" fmla="*/ 838862 w 928102"/>
                  <a:gd name="connsiteY47" fmla="*/ 1082 h 3785"/>
                  <a:gd name="connsiteX48" fmla="*/ 856709 w 928102"/>
                  <a:gd name="connsiteY48" fmla="*/ 3245 h 3785"/>
                  <a:gd name="connsiteX49" fmla="*/ 874558 w 928102"/>
                  <a:gd name="connsiteY49" fmla="*/ 1622 h 3785"/>
                  <a:gd name="connsiteX50" fmla="*/ 892405 w 928102"/>
                  <a:gd name="connsiteY50" fmla="*/ 2163 h 3785"/>
                  <a:gd name="connsiteX51" fmla="*/ 910254 w 928102"/>
                  <a:gd name="connsiteY51" fmla="*/ 1622 h 3785"/>
                  <a:gd name="connsiteX52" fmla="*/ 928102 w 928102"/>
                  <a:gd name="connsiteY52" fmla="*/ 2163 h 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28102" h="3785">
                    <a:moveTo>
                      <a:pt x="0" y="0"/>
                    </a:moveTo>
                    <a:cubicBezTo>
                      <a:pt x="8654" y="0"/>
                      <a:pt x="8654" y="0"/>
                      <a:pt x="17848" y="0"/>
                    </a:cubicBezTo>
                    <a:cubicBezTo>
                      <a:pt x="26502" y="0"/>
                      <a:pt x="26502" y="1082"/>
                      <a:pt x="35697" y="1082"/>
                    </a:cubicBezTo>
                    <a:cubicBezTo>
                      <a:pt x="44350" y="1082"/>
                      <a:pt x="44350" y="1082"/>
                      <a:pt x="53544" y="1082"/>
                    </a:cubicBezTo>
                    <a:cubicBezTo>
                      <a:pt x="62198" y="1082"/>
                      <a:pt x="62198" y="1082"/>
                      <a:pt x="71393" y="1082"/>
                    </a:cubicBezTo>
                    <a:cubicBezTo>
                      <a:pt x="80046" y="1082"/>
                      <a:pt x="80046" y="541"/>
                      <a:pt x="89241" y="541"/>
                    </a:cubicBezTo>
                    <a:cubicBezTo>
                      <a:pt x="97895" y="541"/>
                      <a:pt x="97895" y="0"/>
                      <a:pt x="107089" y="0"/>
                    </a:cubicBezTo>
                    <a:cubicBezTo>
                      <a:pt x="115742" y="0"/>
                      <a:pt x="115742" y="2163"/>
                      <a:pt x="124937" y="2163"/>
                    </a:cubicBezTo>
                    <a:cubicBezTo>
                      <a:pt x="133591" y="2163"/>
                      <a:pt x="133591" y="1622"/>
                      <a:pt x="142785" y="1622"/>
                    </a:cubicBezTo>
                    <a:cubicBezTo>
                      <a:pt x="151438" y="1622"/>
                      <a:pt x="151438" y="0"/>
                      <a:pt x="160633" y="0"/>
                    </a:cubicBezTo>
                    <a:cubicBezTo>
                      <a:pt x="169287" y="0"/>
                      <a:pt x="169287" y="1622"/>
                      <a:pt x="178481" y="1622"/>
                    </a:cubicBezTo>
                    <a:cubicBezTo>
                      <a:pt x="187135" y="1622"/>
                      <a:pt x="187135" y="1622"/>
                      <a:pt x="196329" y="1622"/>
                    </a:cubicBezTo>
                    <a:cubicBezTo>
                      <a:pt x="204983" y="1622"/>
                      <a:pt x="204983" y="1622"/>
                      <a:pt x="214178" y="1622"/>
                    </a:cubicBezTo>
                    <a:cubicBezTo>
                      <a:pt x="222831" y="1622"/>
                      <a:pt x="222831" y="2704"/>
                      <a:pt x="232026" y="2704"/>
                    </a:cubicBezTo>
                    <a:cubicBezTo>
                      <a:pt x="240679" y="2704"/>
                      <a:pt x="240679" y="2704"/>
                      <a:pt x="249874" y="2704"/>
                    </a:cubicBezTo>
                    <a:cubicBezTo>
                      <a:pt x="258527" y="2704"/>
                      <a:pt x="258527" y="541"/>
                      <a:pt x="267722" y="541"/>
                    </a:cubicBezTo>
                    <a:cubicBezTo>
                      <a:pt x="276376" y="541"/>
                      <a:pt x="276376" y="1622"/>
                      <a:pt x="285570" y="1622"/>
                    </a:cubicBezTo>
                    <a:cubicBezTo>
                      <a:pt x="294224" y="1622"/>
                      <a:pt x="294224" y="541"/>
                      <a:pt x="303418" y="541"/>
                    </a:cubicBezTo>
                    <a:cubicBezTo>
                      <a:pt x="312072" y="541"/>
                      <a:pt x="312072" y="2163"/>
                      <a:pt x="321266" y="2163"/>
                    </a:cubicBezTo>
                    <a:cubicBezTo>
                      <a:pt x="329920" y="2163"/>
                      <a:pt x="329920" y="2704"/>
                      <a:pt x="339114" y="2704"/>
                    </a:cubicBezTo>
                    <a:cubicBezTo>
                      <a:pt x="347768" y="2704"/>
                      <a:pt x="347768" y="3245"/>
                      <a:pt x="356962" y="3245"/>
                    </a:cubicBezTo>
                    <a:cubicBezTo>
                      <a:pt x="365616" y="3245"/>
                      <a:pt x="365616" y="1082"/>
                      <a:pt x="374811" y="1082"/>
                    </a:cubicBezTo>
                    <a:cubicBezTo>
                      <a:pt x="383464" y="1082"/>
                      <a:pt x="383464" y="2163"/>
                      <a:pt x="392659" y="2163"/>
                    </a:cubicBezTo>
                    <a:cubicBezTo>
                      <a:pt x="401312" y="2163"/>
                      <a:pt x="401312" y="1622"/>
                      <a:pt x="410507" y="1622"/>
                    </a:cubicBezTo>
                    <a:cubicBezTo>
                      <a:pt x="419160" y="1622"/>
                      <a:pt x="419160" y="3245"/>
                      <a:pt x="428355" y="3245"/>
                    </a:cubicBezTo>
                    <a:cubicBezTo>
                      <a:pt x="437008" y="3245"/>
                      <a:pt x="437008" y="1082"/>
                      <a:pt x="446203" y="1082"/>
                    </a:cubicBezTo>
                    <a:cubicBezTo>
                      <a:pt x="454857" y="1082"/>
                      <a:pt x="454857" y="3245"/>
                      <a:pt x="464051" y="3245"/>
                    </a:cubicBezTo>
                    <a:cubicBezTo>
                      <a:pt x="472705" y="3245"/>
                      <a:pt x="472705" y="2704"/>
                      <a:pt x="481899" y="2704"/>
                    </a:cubicBezTo>
                    <a:cubicBezTo>
                      <a:pt x="490553" y="2704"/>
                      <a:pt x="490553" y="3786"/>
                      <a:pt x="499747" y="3786"/>
                    </a:cubicBezTo>
                    <a:cubicBezTo>
                      <a:pt x="508401" y="3786"/>
                      <a:pt x="508401" y="2704"/>
                      <a:pt x="517596" y="2704"/>
                    </a:cubicBezTo>
                    <a:cubicBezTo>
                      <a:pt x="526249" y="2704"/>
                      <a:pt x="526249" y="1622"/>
                      <a:pt x="535443" y="1622"/>
                    </a:cubicBezTo>
                    <a:cubicBezTo>
                      <a:pt x="544097" y="1622"/>
                      <a:pt x="544097" y="3786"/>
                      <a:pt x="553292" y="3786"/>
                    </a:cubicBezTo>
                    <a:cubicBezTo>
                      <a:pt x="561945" y="3786"/>
                      <a:pt x="561945" y="2163"/>
                      <a:pt x="571140" y="2163"/>
                    </a:cubicBezTo>
                    <a:cubicBezTo>
                      <a:pt x="579794" y="2163"/>
                      <a:pt x="579794" y="1622"/>
                      <a:pt x="588988" y="1622"/>
                    </a:cubicBezTo>
                    <a:cubicBezTo>
                      <a:pt x="597641" y="1622"/>
                      <a:pt x="597641" y="2704"/>
                      <a:pt x="606836" y="2704"/>
                    </a:cubicBezTo>
                    <a:cubicBezTo>
                      <a:pt x="616030" y="2704"/>
                      <a:pt x="615490" y="1622"/>
                      <a:pt x="624684" y="1622"/>
                    </a:cubicBezTo>
                    <a:cubicBezTo>
                      <a:pt x="633338" y="1622"/>
                      <a:pt x="633338" y="3245"/>
                      <a:pt x="642532" y="3245"/>
                    </a:cubicBezTo>
                    <a:cubicBezTo>
                      <a:pt x="651186" y="3245"/>
                      <a:pt x="651186" y="2163"/>
                      <a:pt x="660381" y="2163"/>
                    </a:cubicBezTo>
                    <a:cubicBezTo>
                      <a:pt x="669034" y="2163"/>
                      <a:pt x="669034" y="2163"/>
                      <a:pt x="678228" y="2163"/>
                    </a:cubicBezTo>
                    <a:cubicBezTo>
                      <a:pt x="686882" y="2163"/>
                      <a:pt x="686882" y="2163"/>
                      <a:pt x="696077" y="2163"/>
                    </a:cubicBezTo>
                    <a:cubicBezTo>
                      <a:pt x="704730" y="2163"/>
                      <a:pt x="704730" y="2704"/>
                      <a:pt x="713924" y="2704"/>
                    </a:cubicBezTo>
                    <a:cubicBezTo>
                      <a:pt x="722578" y="2704"/>
                      <a:pt x="722578" y="2704"/>
                      <a:pt x="731773" y="2704"/>
                    </a:cubicBezTo>
                    <a:cubicBezTo>
                      <a:pt x="740426" y="2704"/>
                      <a:pt x="740426" y="1082"/>
                      <a:pt x="749621" y="1082"/>
                    </a:cubicBezTo>
                    <a:cubicBezTo>
                      <a:pt x="758275" y="1082"/>
                      <a:pt x="758275" y="1082"/>
                      <a:pt x="767469" y="1082"/>
                    </a:cubicBezTo>
                    <a:cubicBezTo>
                      <a:pt x="776122" y="1082"/>
                      <a:pt x="776122" y="1082"/>
                      <a:pt x="785317" y="1082"/>
                    </a:cubicBezTo>
                    <a:cubicBezTo>
                      <a:pt x="793971" y="1082"/>
                      <a:pt x="793971" y="1622"/>
                      <a:pt x="803165" y="1622"/>
                    </a:cubicBezTo>
                    <a:cubicBezTo>
                      <a:pt x="811819" y="1622"/>
                      <a:pt x="811819" y="2163"/>
                      <a:pt x="821013" y="2163"/>
                    </a:cubicBezTo>
                    <a:cubicBezTo>
                      <a:pt x="829667" y="2163"/>
                      <a:pt x="829667" y="1082"/>
                      <a:pt x="838862" y="1082"/>
                    </a:cubicBezTo>
                    <a:cubicBezTo>
                      <a:pt x="847515" y="1082"/>
                      <a:pt x="847515" y="3245"/>
                      <a:pt x="856709" y="3245"/>
                    </a:cubicBezTo>
                    <a:cubicBezTo>
                      <a:pt x="865363" y="3245"/>
                      <a:pt x="865363" y="1622"/>
                      <a:pt x="874558" y="1622"/>
                    </a:cubicBezTo>
                    <a:cubicBezTo>
                      <a:pt x="883211" y="1622"/>
                      <a:pt x="883211" y="2163"/>
                      <a:pt x="892405" y="2163"/>
                    </a:cubicBezTo>
                    <a:cubicBezTo>
                      <a:pt x="901060" y="2163"/>
                      <a:pt x="901060" y="1622"/>
                      <a:pt x="910254" y="1622"/>
                    </a:cubicBezTo>
                    <a:cubicBezTo>
                      <a:pt x="919448" y="1622"/>
                      <a:pt x="918907" y="2163"/>
                      <a:pt x="928102" y="21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566C8DF-246A-DDD5-735A-31C7FB209B13}"/>
                  </a:ext>
                </a:extLst>
              </p:cNvPr>
              <p:cNvSpPr/>
              <p:nvPr/>
            </p:nvSpPr>
            <p:spPr>
              <a:xfrm flipH="1">
                <a:off x="10569163" y="1564269"/>
                <a:ext cx="453869" cy="330397"/>
              </a:xfrm>
              <a:custGeom>
                <a:avLst/>
                <a:gdLst>
                  <a:gd name="connsiteX0" fmla="*/ 547969 w 547969"/>
                  <a:gd name="connsiteY0" fmla="*/ 79616 h 377083"/>
                  <a:gd name="connsiteX1" fmla="*/ 535530 w 547969"/>
                  <a:gd name="connsiteY1" fmla="*/ 67176 h 377083"/>
                  <a:gd name="connsiteX2" fmla="*/ 520386 w 547969"/>
                  <a:gd name="connsiteY2" fmla="*/ 57981 h 377083"/>
                  <a:gd name="connsiteX3" fmla="*/ 506865 w 547969"/>
                  <a:gd name="connsiteY3" fmla="*/ 47164 h 377083"/>
                  <a:gd name="connsiteX4" fmla="*/ 491180 w 547969"/>
                  <a:gd name="connsiteY4" fmla="*/ 40133 h 377083"/>
                  <a:gd name="connsiteX5" fmla="*/ 476577 w 547969"/>
                  <a:gd name="connsiteY5" fmla="*/ 30398 h 377083"/>
                  <a:gd name="connsiteX6" fmla="*/ 460352 w 547969"/>
                  <a:gd name="connsiteY6" fmla="*/ 24449 h 377083"/>
                  <a:gd name="connsiteX7" fmla="*/ 444667 w 547969"/>
                  <a:gd name="connsiteY7" fmla="*/ 16877 h 377083"/>
                  <a:gd name="connsiteX8" fmla="*/ 427360 w 547969"/>
                  <a:gd name="connsiteY8" fmla="*/ 13632 h 377083"/>
                  <a:gd name="connsiteX9" fmla="*/ 410593 w 547969"/>
                  <a:gd name="connsiteY9" fmla="*/ 9305 h 377083"/>
                  <a:gd name="connsiteX10" fmla="*/ 393826 w 547969"/>
                  <a:gd name="connsiteY10" fmla="*/ 3356 h 377083"/>
                  <a:gd name="connsiteX11" fmla="*/ 376519 w 547969"/>
                  <a:gd name="connsiteY11" fmla="*/ 1192 h 377083"/>
                  <a:gd name="connsiteX12" fmla="*/ 359212 w 547969"/>
                  <a:gd name="connsiteY12" fmla="*/ 110 h 377083"/>
                  <a:gd name="connsiteX13" fmla="*/ 341905 w 547969"/>
                  <a:gd name="connsiteY13" fmla="*/ 1192 h 377083"/>
                  <a:gd name="connsiteX14" fmla="*/ 324057 w 547969"/>
                  <a:gd name="connsiteY14" fmla="*/ 1192 h 377083"/>
                  <a:gd name="connsiteX15" fmla="*/ 306749 w 547969"/>
                  <a:gd name="connsiteY15" fmla="*/ 2815 h 377083"/>
                  <a:gd name="connsiteX16" fmla="*/ 289442 w 547969"/>
                  <a:gd name="connsiteY16" fmla="*/ 4978 h 377083"/>
                  <a:gd name="connsiteX17" fmla="*/ 272135 w 547969"/>
                  <a:gd name="connsiteY17" fmla="*/ 7682 h 377083"/>
                  <a:gd name="connsiteX18" fmla="*/ 255369 w 547969"/>
                  <a:gd name="connsiteY18" fmla="*/ 13632 h 377083"/>
                  <a:gd name="connsiteX19" fmla="*/ 238062 w 547969"/>
                  <a:gd name="connsiteY19" fmla="*/ 17958 h 377083"/>
                  <a:gd name="connsiteX20" fmla="*/ 221836 w 547969"/>
                  <a:gd name="connsiteY20" fmla="*/ 24990 h 377083"/>
                  <a:gd name="connsiteX21" fmla="*/ 206151 w 547969"/>
                  <a:gd name="connsiteY21" fmla="*/ 32561 h 377083"/>
                  <a:gd name="connsiteX22" fmla="*/ 189385 w 547969"/>
                  <a:gd name="connsiteY22" fmla="*/ 39052 h 377083"/>
                  <a:gd name="connsiteX23" fmla="*/ 174241 w 547969"/>
                  <a:gd name="connsiteY23" fmla="*/ 48246 h 377083"/>
                  <a:gd name="connsiteX24" fmla="*/ 159638 w 547969"/>
                  <a:gd name="connsiteY24" fmla="*/ 58522 h 377083"/>
                  <a:gd name="connsiteX25" fmla="*/ 146117 w 547969"/>
                  <a:gd name="connsiteY25" fmla="*/ 69880 h 377083"/>
                  <a:gd name="connsiteX26" fmla="*/ 133136 w 547969"/>
                  <a:gd name="connsiteY26" fmla="*/ 81779 h 377083"/>
                  <a:gd name="connsiteX27" fmla="*/ 119615 w 547969"/>
                  <a:gd name="connsiteY27" fmla="*/ 92596 h 377083"/>
                  <a:gd name="connsiteX28" fmla="*/ 107716 w 547969"/>
                  <a:gd name="connsiteY28" fmla="*/ 105576 h 377083"/>
                  <a:gd name="connsiteX29" fmla="*/ 95817 w 547969"/>
                  <a:gd name="connsiteY29" fmla="*/ 118557 h 377083"/>
                  <a:gd name="connsiteX30" fmla="*/ 83378 w 547969"/>
                  <a:gd name="connsiteY30" fmla="*/ 130996 h 377083"/>
                  <a:gd name="connsiteX31" fmla="*/ 72561 w 547969"/>
                  <a:gd name="connsiteY31" fmla="*/ 145059 h 377083"/>
                  <a:gd name="connsiteX32" fmla="*/ 63907 w 547969"/>
                  <a:gd name="connsiteY32" fmla="*/ 160203 h 377083"/>
                  <a:gd name="connsiteX33" fmla="*/ 54172 w 547969"/>
                  <a:gd name="connsiteY33" fmla="*/ 174805 h 377083"/>
                  <a:gd name="connsiteX34" fmla="*/ 46059 w 547969"/>
                  <a:gd name="connsiteY34" fmla="*/ 190490 h 377083"/>
                  <a:gd name="connsiteX35" fmla="*/ 38487 w 547969"/>
                  <a:gd name="connsiteY35" fmla="*/ 206175 h 377083"/>
                  <a:gd name="connsiteX36" fmla="*/ 31456 w 547969"/>
                  <a:gd name="connsiteY36" fmla="*/ 222400 h 377083"/>
                  <a:gd name="connsiteX37" fmla="*/ 23884 w 547969"/>
                  <a:gd name="connsiteY37" fmla="*/ 238626 h 377083"/>
                  <a:gd name="connsiteX38" fmla="*/ 20098 w 547969"/>
                  <a:gd name="connsiteY38" fmla="*/ 255933 h 377083"/>
                  <a:gd name="connsiteX39" fmla="*/ 14690 w 547969"/>
                  <a:gd name="connsiteY39" fmla="*/ 272700 h 377083"/>
                  <a:gd name="connsiteX40" fmla="*/ 11445 w 547969"/>
                  <a:gd name="connsiteY40" fmla="*/ 290007 h 377083"/>
                  <a:gd name="connsiteX41" fmla="*/ 7117 w 547969"/>
                  <a:gd name="connsiteY41" fmla="*/ 307314 h 377083"/>
                  <a:gd name="connsiteX42" fmla="*/ 4955 w 547969"/>
                  <a:gd name="connsiteY42" fmla="*/ 324621 h 377083"/>
                  <a:gd name="connsiteX43" fmla="*/ 2791 w 547969"/>
                  <a:gd name="connsiteY43" fmla="*/ 341929 h 377083"/>
                  <a:gd name="connsiteX44" fmla="*/ 87 w 547969"/>
                  <a:gd name="connsiteY44" fmla="*/ 359236 h 377083"/>
                  <a:gd name="connsiteX45" fmla="*/ 1709 w 547969"/>
                  <a:gd name="connsiteY45" fmla="*/ 377084 h 377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47969" h="377083">
                    <a:moveTo>
                      <a:pt x="547969" y="79616"/>
                    </a:moveTo>
                    <a:cubicBezTo>
                      <a:pt x="543643" y="75830"/>
                      <a:pt x="540398" y="70962"/>
                      <a:pt x="535530" y="67176"/>
                    </a:cubicBezTo>
                    <a:cubicBezTo>
                      <a:pt x="531203" y="63390"/>
                      <a:pt x="525254" y="61227"/>
                      <a:pt x="520386" y="57981"/>
                    </a:cubicBezTo>
                    <a:cubicBezTo>
                      <a:pt x="515518" y="54736"/>
                      <a:pt x="511732" y="49869"/>
                      <a:pt x="506865" y="47164"/>
                    </a:cubicBezTo>
                    <a:cubicBezTo>
                      <a:pt x="501997" y="43919"/>
                      <a:pt x="496048" y="42838"/>
                      <a:pt x="491180" y="40133"/>
                    </a:cubicBezTo>
                    <a:cubicBezTo>
                      <a:pt x="486313" y="37429"/>
                      <a:pt x="481986" y="32561"/>
                      <a:pt x="476577" y="30398"/>
                    </a:cubicBezTo>
                    <a:cubicBezTo>
                      <a:pt x="471169" y="27694"/>
                      <a:pt x="465219" y="26612"/>
                      <a:pt x="460352" y="24449"/>
                    </a:cubicBezTo>
                    <a:cubicBezTo>
                      <a:pt x="454943" y="22285"/>
                      <a:pt x="450075" y="18499"/>
                      <a:pt x="444667" y="16877"/>
                    </a:cubicBezTo>
                    <a:cubicBezTo>
                      <a:pt x="439258" y="14713"/>
                      <a:pt x="432768" y="15254"/>
                      <a:pt x="427360" y="13632"/>
                    </a:cubicBezTo>
                    <a:cubicBezTo>
                      <a:pt x="421951" y="12009"/>
                      <a:pt x="416002" y="10927"/>
                      <a:pt x="410593" y="9305"/>
                    </a:cubicBezTo>
                    <a:cubicBezTo>
                      <a:pt x="405185" y="8223"/>
                      <a:pt x="399776" y="4437"/>
                      <a:pt x="393826" y="3356"/>
                    </a:cubicBezTo>
                    <a:cubicBezTo>
                      <a:pt x="387877" y="2274"/>
                      <a:pt x="382469" y="1733"/>
                      <a:pt x="376519" y="1192"/>
                    </a:cubicBezTo>
                    <a:cubicBezTo>
                      <a:pt x="370570" y="651"/>
                      <a:pt x="365162" y="110"/>
                      <a:pt x="359212" y="110"/>
                    </a:cubicBezTo>
                    <a:cubicBezTo>
                      <a:pt x="353263" y="-430"/>
                      <a:pt x="347854" y="1192"/>
                      <a:pt x="341905" y="1192"/>
                    </a:cubicBezTo>
                    <a:cubicBezTo>
                      <a:pt x="335956" y="1192"/>
                      <a:pt x="330006" y="1192"/>
                      <a:pt x="324057" y="1192"/>
                    </a:cubicBezTo>
                    <a:cubicBezTo>
                      <a:pt x="318107" y="1733"/>
                      <a:pt x="312158" y="2274"/>
                      <a:pt x="306749" y="2815"/>
                    </a:cubicBezTo>
                    <a:cubicBezTo>
                      <a:pt x="300800" y="3356"/>
                      <a:pt x="294851" y="3896"/>
                      <a:pt x="289442" y="4978"/>
                    </a:cubicBezTo>
                    <a:cubicBezTo>
                      <a:pt x="283493" y="6060"/>
                      <a:pt x="277543" y="6060"/>
                      <a:pt x="272135" y="7682"/>
                    </a:cubicBezTo>
                    <a:cubicBezTo>
                      <a:pt x="266186" y="8764"/>
                      <a:pt x="260777" y="12009"/>
                      <a:pt x="255369" y="13632"/>
                    </a:cubicBezTo>
                    <a:cubicBezTo>
                      <a:pt x="249960" y="15254"/>
                      <a:pt x="244011" y="16336"/>
                      <a:pt x="238062" y="17958"/>
                    </a:cubicBezTo>
                    <a:cubicBezTo>
                      <a:pt x="232653" y="20122"/>
                      <a:pt x="227245" y="22826"/>
                      <a:pt x="221836" y="24990"/>
                    </a:cubicBezTo>
                    <a:cubicBezTo>
                      <a:pt x="216427" y="27153"/>
                      <a:pt x="211019" y="29857"/>
                      <a:pt x="206151" y="32561"/>
                    </a:cubicBezTo>
                    <a:cubicBezTo>
                      <a:pt x="200743" y="35266"/>
                      <a:pt x="194793" y="36347"/>
                      <a:pt x="189385" y="39052"/>
                    </a:cubicBezTo>
                    <a:cubicBezTo>
                      <a:pt x="184517" y="41756"/>
                      <a:pt x="179109" y="45001"/>
                      <a:pt x="174241" y="48246"/>
                    </a:cubicBezTo>
                    <a:cubicBezTo>
                      <a:pt x="169373" y="51491"/>
                      <a:pt x="164506" y="54736"/>
                      <a:pt x="159638" y="58522"/>
                    </a:cubicBezTo>
                    <a:cubicBezTo>
                      <a:pt x="154770" y="61767"/>
                      <a:pt x="150985" y="66635"/>
                      <a:pt x="146117" y="69880"/>
                    </a:cubicBezTo>
                    <a:cubicBezTo>
                      <a:pt x="141249" y="73666"/>
                      <a:pt x="137463" y="77452"/>
                      <a:pt x="133136" y="81779"/>
                    </a:cubicBezTo>
                    <a:cubicBezTo>
                      <a:pt x="128809" y="85565"/>
                      <a:pt x="123401" y="88810"/>
                      <a:pt x="119615" y="92596"/>
                    </a:cubicBezTo>
                    <a:cubicBezTo>
                      <a:pt x="115288" y="96923"/>
                      <a:pt x="112043" y="101250"/>
                      <a:pt x="107716" y="105576"/>
                    </a:cubicBezTo>
                    <a:cubicBezTo>
                      <a:pt x="103930" y="109903"/>
                      <a:pt x="99604" y="114230"/>
                      <a:pt x="95817" y="118557"/>
                    </a:cubicBezTo>
                    <a:cubicBezTo>
                      <a:pt x="92032" y="122884"/>
                      <a:pt x="87164" y="126670"/>
                      <a:pt x="83378" y="130996"/>
                    </a:cubicBezTo>
                    <a:cubicBezTo>
                      <a:pt x="79592" y="135864"/>
                      <a:pt x="75806" y="140191"/>
                      <a:pt x="72561" y="145059"/>
                    </a:cubicBezTo>
                    <a:cubicBezTo>
                      <a:pt x="69315" y="149926"/>
                      <a:pt x="67153" y="155335"/>
                      <a:pt x="63907" y="160203"/>
                    </a:cubicBezTo>
                    <a:cubicBezTo>
                      <a:pt x="60662" y="165070"/>
                      <a:pt x="56876" y="169938"/>
                      <a:pt x="54172" y="174805"/>
                    </a:cubicBezTo>
                    <a:cubicBezTo>
                      <a:pt x="51468" y="179673"/>
                      <a:pt x="48763" y="185082"/>
                      <a:pt x="46059" y="190490"/>
                    </a:cubicBezTo>
                    <a:cubicBezTo>
                      <a:pt x="43355" y="195899"/>
                      <a:pt x="41191" y="201307"/>
                      <a:pt x="38487" y="206175"/>
                    </a:cubicBezTo>
                    <a:cubicBezTo>
                      <a:pt x="35783" y="211583"/>
                      <a:pt x="33619" y="216992"/>
                      <a:pt x="31456" y="222400"/>
                    </a:cubicBezTo>
                    <a:cubicBezTo>
                      <a:pt x="29293" y="227809"/>
                      <a:pt x="26047" y="232677"/>
                      <a:pt x="23884" y="238626"/>
                    </a:cubicBezTo>
                    <a:cubicBezTo>
                      <a:pt x="21721" y="244035"/>
                      <a:pt x="21721" y="250525"/>
                      <a:pt x="20098" y="255933"/>
                    </a:cubicBezTo>
                    <a:cubicBezTo>
                      <a:pt x="18476" y="261342"/>
                      <a:pt x="16312" y="266750"/>
                      <a:pt x="14690" y="272700"/>
                    </a:cubicBezTo>
                    <a:cubicBezTo>
                      <a:pt x="13067" y="278108"/>
                      <a:pt x="12526" y="284058"/>
                      <a:pt x="11445" y="290007"/>
                    </a:cubicBezTo>
                    <a:cubicBezTo>
                      <a:pt x="10363" y="295956"/>
                      <a:pt x="8200" y="301365"/>
                      <a:pt x="7117" y="307314"/>
                    </a:cubicBezTo>
                    <a:cubicBezTo>
                      <a:pt x="6036" y="313264"/>
                      <a:pt x="6036" y="319213"/>
                      <a:pt x="4955" y="324621"/>
                    </a:cubicBezTo>
                    <a:cubicBezTo>
                      <a:pt x="4413" y="330571"/>
                      <a:pt x="3332" y="335979"/>
                      <a:pt x="2791" y="341929"/>
                    </a:cubicBezTo>
                    <a:cubicBezTo>
                      <a:pt x="2250" y="347878"/>
                      <a:pt x="628" y="353287"/>
                      <a:pt x="87" y="359236"/>
                    </a:cubicBezTo>
                    <a:cubicBezTo>
                      <a:pt x="-454" y="365185"/>
                      <a:pt x="1709" y="371135"/>
                      <a:pt x="1709" y="377084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A01A25E-F3E5-E097-839E-A8EF01FD80CE}"/>
                  </a:ext>
                </a:extLst>
              </p:cNvPr>
              <p:cNvSpPr/>
              <p:nvPr/>
            </p:nvSpPr>
            <p:spPr>
              <a:xfrm flipH="1">
                <a:off x="10074061" y="1545884"/>
                <a:ext cx="568122" cy="335040"/>
              </a:xfrm>
              <a:custGeom>
                <a:avLst/>
                <a:gdLst>
                  <a:gd name="connsiteX0" fmla="*/ 684718 w 685910"/>
                  <a:gd name="connsiteY0" fmla="*/ 369402 h 382382"/>
                  <a:gd name="connsiteX1" fmla="*/ 685800 w 685910"/>
                  <a:gd name="connsiteY1" fmla="*/ 351554 h 382382"/>
                  <a:gd name="connsiteX2" fmla="*/ 682555 w 685910"/>
                  <a:gd name="connsiteY2" fmla="*/ 333705 h 382382"/>
                  <a:gd name="connsiteX3" fmla="*/ 682014 w 685910"/>
                  <a:gd name="connsiteY3" fmla="*/ 315857 h 382382"/>
                  <a:gd name="connsiteX4" fmla="*/ 676605 w 685910"/>
                  <a:gd name="connsiteY4" fmla="*/ 298550 h 382382"/>
                  <a:gd name="connsiteX5" fmla="*/ 672820 w 685910"/>
                  <a:gd name="connsiteY5" fmla="*/ 281243 h 382382"/>
                  <a:gd name="connsiteX6" fmla="*/ 669574 w 685910"/>
                  <a:gd name="connsiteY6" fmla="*/ 263395 h 382382"/>
                  <a:gd name="connsiteX7" fmla="*/ 664707 w 685910"/>
                  <a:gd name="connsiteY7" fmla="*/ 246088 h 382382"/>
                  <a:gd name="connsiteX8" fmla="*/ 658216 w 685910"/>
                  <a:gd name="connsiteY8" fmla="*/ 229321 h 382382"/>
                  <a:gd name="connsiteX9" fmla="*/ 651186 w 685910"/>
                  <a:gd name="connsiteY9" fmla="*/ 213096 h 382382"/>
                  <a:gd name="connsiteX10" fmla="*/ 644695 w 685910"/>
                  <a:gd name="connsiteY10" fmla="*/ 196329 h 382382"/>
                  <a:gd name="connsiteX11" fmla="*/ 635501 w 685910"/>
                  <a:gd name="connsiteY11" fmla="*/ 180644 h 382382"/>
                  <a:gd name="connsiteX12" fmla="*/ 626306 w 685910"/>
                  <a:gd name="connsiteY12" fmla="*/ 164960 h 382382"/>
                  <a:gd name="connsiteX13" fmla="*/ 616030 w 685910"/>
                  <a:gd name="connsiteY13" fmla="*/ 150357 h 382382"/>
                  <a:gd name="connsiteX14" fmla="*/ 605754 w 685910"/>
                  <a:gd name="connsiteY14" fmla="*/ 135754 h 382382"/>
                  <a:gd name="connsiteX15" fmla="*/ 593855 w 685910"/>
                  <a:gd name="connsiteY15" fmla="*/ 122232 h 382382"/>
                  <a:gd name="connsiteX16" fmla="*/ 581956 w 685910"/>
                  <a:gd name="connsiteY16" fmla="*/ 108711 h 382382"/>
                  <a:gd name="connsiteX17" fmla="*/ 568976 w 685910"/>
                  <a:gd name="connsiteY17" fmla="*/ 96272 h 382382"/>
                  <a:gd name="connsiteX18" fmla="*/ 555995 w 685910"/>
                  <a:gd name="connsiteY18" fmla="*/ 83832 h 382382"/>
                  <a:gd name="connsiteX19" fmla="*/ 541933 w 685910"/>
                  <a:gd name="connsiteY19" fmla="*/ 72474 h 382382"/>
                  <a:gd name="connsiteX20" fmla="*/ 527871 w 685910"/>
                  <a:gd name="connsiteY20" fmla="*/ 61116 h 382382"/>
                  <a:gd name="connsiteX21" fmla="*/ 513268 w 685910"/>
                  <a:gd name="connsiteY21" fmla="*/ 50840 h 382382"/>
                  <a:gd name="connsiteX22" fmla="*/ 497584 w 685910"/>
                  <a:gd name="connsiteY22" fmla="*/ 42186 h 382382"/>
                  <a:gd name="connsiteX23" fmla="*/ 482440 w 685910"/>
                  <a:gd name="connsiteY23" fmla="*/ 32451 h 382382"/>
                  <a:gd name="connsiteX24" fmla="*/ 465133 w 685910"/>
                  <a:gd name="connsiteY24" fmla="*/ 27043 h 382382"/>
                  <a:gd name="connsiteX25" fmla="*/ 448907 w 685910"/>
                  <a:gd name="connsiteY25" fmla="*/ 18389 h 382382"/>
                  <a:gd name="connsiteX26" fmla="*/ 431599 w 685910"/>
                  <a:gd name="connsiteY26" fmla="*/ 12980 h 382382"/>
                  <a:gd name="connsiteX27" fmla="*/ 414292 w 685910"/>
                  <a:gd name="connsiteY27" fmla="*/ 8113 h 382382"/>
                  <a:gd name="connsiteX28" fmla="*/ 396444 w 685910"/>
                  <a:gd name="connsiteY28" fmla="*/ 5409 h 382382"/>
                  <a:gd name="connsiteX29" fmla="*/ 378596 w 685910"/>
                  <a:gd name="connsiteY29" fmla="*/ 3786 h 382382"/>
                  <a:gd name="connsiteX30" fmla="*/ 360748 w 685910"/>
                  <a:gd name="connsiteY30" fmla="*/ 1082 h 382382"/>
                  <a:gd name="connsiteX31" fmla="*/ 342900 w 685910"/>
                  <a:gd name="connsiteY31" fmla="*/ 0 h 382382"/>
                  <a:gd name="connsiteX32" fmla="*/ 325052 w 685910"/>
                  <a:gd name="connsiteY32" fmla="*/ 2163 h 382382"/>
                  <a:gd name="connsiteX33" fmla="*/ 307203 w 685910"/>
                  <a:gd name="connsiteY33" fmla="*/ 3786 h 382382"/>
                  <a:gd name="connsiteX34" fmla="*/ 289356 w 685910"/>
                  <a:gd name="connsiteY34" fmla="*/ 4327 h 382382"/>
                  <a:gd name="connsiteX35" fmla="*/ 272048 w 685910"/>
                  <a:gd name="connsiteY35" fmla="*/ 8653 h 382382"/>
                  <a:gd name="connsiteX36" fmla="*/ 255282 w 685910"/>
                  <a:gd name="connsiteY36" fmla="*/ 14603 h 382382"/>
                  <a:gd name="connsiteX37" fmla="*/ 237975 w 685910"/>
                  <a:gd name="connsiteY37" fmla="*/ 18930 h 382382"/>
                  <a:gd name="connsiteX38" fmla="*/ 221209 w 685910"/>
                  <a:gd name="connsiteY38" fmla="*/ 24338 h 382382"/>
                  <a:gd name="connsiteX39" fmla="*/ 204983 w 685910"/>
                  <a:gd name="connsiteY39" fmla="*/ 31910 h 382382"/>
                  <a:gd name="connsiteX40" fmla="*/ 189839 w 685910"/>
                  <a:gd name="connsiteY40" fmla="*/ 41105 h 382382"/>
                  <a:gd name="connsiteX41" fmla="*/ 175236 w 685910"/>
                  <a:gd name="connsiteY41" fmla="*/ 51381 h 382382"/>
                  <a:gd name="connsiteX42" fmla="*/ 159011 w 685910"/>
                  <a:gd name="connsiteY42" fmla="*/ 59494 h 382382"/>
                  <a:gd name="connsiteX43" fmla="*/ 144948 w 685910"/>
                  <a:gd name="connsiteY43" fmla="*/ 70311 h 382382"/>
                  <a:gd name="connsiteX44" fmla="*/ 130886 w 685910"/>
                  <a:gd name="connsiteY44" fmla="*/ 81128 h 382382"/>
                  <a:gd name="connsiteX45" fmla="*/ 117905 w 685910"/>
                  <a:gd name="connsiteY45" fmla="*/ 93567 h 382382"/>
                  <a:gd name="connsiteX46" fmla="*/ 105466 w 685910"/>
                  <a:gd name="connsiteY46" fmla="*/ 106007 h 382382"/>
                  <a:gd name="connsiteX47" fmla="*/ 95190 w 685910"/>
                  <a:gd name="connsiteY47" fmla="*/ 120610 h 382382"/>
                  <a:gd name="connsiteX48" fmla="*/ 82750 w 685910"/>
                  <a:gd name="connsiteY48" fmla="*/ 133590 h 382382"/>
                  <a:gd name="connsiteX49" fmla="*/ 72474 w 685910"/>
                  <a:gd name="connsiteY49" fmla="*/ 148193 h 382382"/>
                  <a:gd name="connsiteX50" fmla="*/ 62739 w 685910"/>
                  <a:gd name="connsiteY50" fmla="*/ 163337 h 382382"/>
                  <a:gd name="connsiteX51" fmla="*/ 52462 w 685910"/>
                  <a:gd name="connsiteY51" fmla="*/ 177940 h 382382"/>
                  <a:gd name="connsiteX52" fmla="*/ 45972 w 685910"/>
                  <a:gd name="connsiteY52" fmla="*/ 194707 h 382382"/>
                  <a:gd name="connsiteX53" fmla="*/ 37860 w 685910"/>
                  <a:gd name="connsiteY53" fmla="*/ 210391 h 382382"/>
                  <a:gd name="connsiteX54" fmla="*/ 30828 w 685910"/>
                  <a:gd name="connsiteY54" fmla="*/ 226617 h 382382"/>
                  <a:gd name="connsiteX55" fmla="*/ 23256 w 685910"/>
                  <a:gd name="connsiteY55" fmla="*/ 242842 h 382382"/>
                  <a:gd name="connsiteX56" fmla="*/ 17307 w 685910"/>
                  <a:gd name="connsiteY56" fmla="*/ 259609 h 382382"/>
                  <a:gd name="connsiteX57" fmla="*/ 11898 w 685910"/>
                  <a:gd name="connsiteY57" fmla="*/ 276375 h 382382"/>
                  <a:gd name="connsiteX58" fmla="*/ 9735 w 685910"/>
                  <a:gd name="connsiteY58" fmla="*/ 294223 h 382382"/>
                  <a:gd name="connsiteX59" fmla="*/ 6490 w 685910"/>
                  <a:gd name="connsiteY59" fmla="*/ 311530 h 382382"/>
                  <a:gd name="connsiteX60" fmla="*/ 4326 w 685910"/>
                  <a:gd name="connsiteY60" fmla="*/ 328838 h 382382"/>
                  <a:gd name="connsiteX61" fmla="*/ 2704 w 685910"/>
                  <a:gd name="connsiteY61" fmla="*/ 346686 h 382382"/>
                  <a:gd name="connsiteX62" fmla="*/ 1081 w 685910"/>
                  <a:gd name="connsiteY62" fmla="*/ 364534 h 382382"/>
                  <a:gd name="connsiteX63" fmla="*/ 0 w 685910"/>
                  <a:gd name="connsiteY63" fmla="*/ 382382 h 38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685910" h="382382">
                    <a:moveTo>
                      <a:pt x="684718" y="369402"/>
                    </a:moveTo>
                    <a:cubicBezTo>
                      <a:pt x="684718" y="363452"/>
                      <a:pt x="686341" y="357503"/>
                      <a:pt x="685800" y="351554"/>
                    </a:cubicBezTo>
                    <a:cubicBezTo>
                      <a:pt x="685259" y="345604"/>
                      <a:pt x="683095" y="339655"/>
                      <a:pt x="682555" y="333705"/>
                    </a:cubicBezTo>
                    <a:cubicBezTo>
                      <a:pt x="682014" y="327756"/>
                      <a:pt x="683095" y="321266"/>
                      <a:pt x="682014" y="315857"/>
                    </a:cubicBezTo>
                    <a:cubicBezTo>
                      <a:pt x="680933" y="309908"/>
                      <a:pt x="677687" y="304499"/>
                      <a:pt x="676605" y="298550"/>
                    </a:cubicBezTo>
                    <a:cubicBezTo>
                      <a:pt x="675524" y="292601"/>
                      <a:pt x="674442" y="286651"/>
                      <a:pt x="672820" y="281243"/>
                    </a:cubicBezTo>
                    <a:cubicBezTo>
                      <a:pt x="671197" y="275294"/>
                      <a:pt x="671197" y="269344"/>
                      <a:pt x="669574" y="263395"/>
                    </a:cubicBezTo>
                    <a:cubicBezTo>
                      <a:pt x="667952" y="257445"/>
                      <a:pt x="666329" y="251496"/>
                      <a:pt x="664707" y="246088"/>
                    </a:cubicBezTo>
                    <a:cubicBezTo>
                      <a:pt x="662543" y="240138"/>
                      <a:pt x="660380" y="234730"/>
                      <a:pt x="658216" y="229321"/>
                    </a:cubicBezTo>
                    <a:cubicBezTo>
                      <a:pt x="656053" y="223913"/>
                      <a:pt x="653349" y="218504"/>
                      <a:pt x="651186" y="213096"/>
                    </a:cubicBezTo>
                    <a:cubicBezTo>
                      <a:pt x="648481" y="207687"/>
                      <a:pt x="647399" y="201738"/>
                      <a:pt x="644695" y="196329"/>
                    </a:cubicBezTo>
                    <a:cubicBezTo>
                      <a:pt x="641991" y="190921"/>
                      <a:pt x="638205" y="186053"/>
                      <a:pt x="635501" y="180644"/>
                    </a:cubicBezTo>
                    <a:cubicBezTo>
                      <a:pt x="632797" y="175236"/>
                      <a:pt x="629552" y="170368"/>
                      <a:pt x="626306" y="164960"/>
                    </a:cubicBezTo>
                    <a:cubicBezTo>
                      <a:pt x="623061" y="160092"/>
                      <a:pt x="619275" y="155224"/>
                      <a:pt x="616030" y="150357"/>
                    </a:cubicBezTo>
                    <a:cubicBezTo>
                      <a:pt x="612785" y="145489"/>
                      <a:pt x="609540" y="140081"/>
                      <a:pt x="605754" y="135754"/>
                    </a:cubicBezTo>
                    <a:cubicBezTo>
                      <a:pt x="601968" y="130886"/>
                      <a:pt x="597641" y="126559"/>
                      <a:pt x="593855" y="122232"/>
                    </a:cubicBezTo>
                    <a:cubicBezTo>
                      <a:pt x="590069" y="117365"/>
                      <a:pt x="586283" y="113038"/>
                      <a:pt x="581956" y="108711"/>
                    </a:cubicBezTo>
                    <a:cubicBezTo>
                      <a:pt x="577629" y="104384"/>
                      <a:pt x="573303" y="100598"/>
                      <a:pt x="568976" y="96272"/>
                    </a:cubicBezTo>
                    <a:cubicBezTo>
                      <a:pt x="564649" y="91945"/>
                      <a:pt x="560322" y="87618"/>
                      <a:pt x="555995" y="83832"/>
                    </a:cubicBezTo>
                    <a:cubicBezTo>
                      <a:pt x="551669" y="80046"/>
                      <a:pt x="546801" y="76260"/>
                      <a:pt x="541933" y="72474"/>
                    </a:cubicBezTo>
                    <a:cubicBezTo>
                      <a:pt x="537065" y="68688"/>
                      <a:pt x="532739" y="64902"/>
                      <a:pt x="527871" y="61116"/>
                    </a:cubicBezTo>
                    <a:cubicBezTo>
                      <a:pt x="523003" y="57871"/>
                      <a:pt x="518136" y="54085"/>
                      <a:pt x="513268" y="50840"/>
                    </a:cubicBezTo>
                    <a:cubicBezTo>
                      <a:pt x="508401" y="47595"/>
                      <a:pt x="502992" y="44891"/>
                      <a:pt x="497584" y="42186"/>
                    </a:cubicBezTo>
                    <a:cubicBezTo>
                      <a:pt x="492175" y="39482"/>
                      <a:pt x="487848" y="35155"/>
                      <a:pt x="482440" y="32451"/>
                    </a:cubicBezTo>
                    <a:cubicBezTo>
                      <a:pt x="477031" y="29747"/>
                      <a:pt x="470541" y="29206"/>
                      <a:pt x="465133" y="27043"/>
                    </a:cubicBezTo>
                    <a:cubicBezTo>
                      <a:pt x="459724" y="24879"/>
                      <a:pt x="454856" y="20552"/>
                      <a:pt x="448907" y="18389"/>
                    </a:cubicBezTo>
                    <a:cubicBezTo>
                      <a:pt x="443498" y="16226"/>
                      <a:pt x="437549" y="14603"/>
                      <a:pt x="431599" y="12980"/>
                    </a:cubicBezTo>
                    <a:cubicBezTo>
                      <a:pt x="425650" y="11358"/>
                      <a:pt x="420242" y="9194"/>
                      <a:pt x="414292" y="8113"/>
                    </a:cubicBezTo>
                    <a:cubicBezTo>
                      <a:pt x="408343" y="6490"/>
                      <a:pt x="402394" y="6490"/>
                      <a:pt x="396444" y="5409"/>
                    </a:cubicBezTo>
                    <a:cubicBezTo>
                      <a:pt x="390495" y="4327"/>
                      <a:pt x="384545" y="4327"/>
                      <a:pt x="378596" y="3786"/>
                    </a:cubicBezTo>
                    <a:cubicBezTo>
                      <a:pt x="372647" y="3245"/>
                      <a:pt x="366697" y="1082"/>
                      <a:pt x="360748" y="1082"/>
                    </a:cubicBezTo>
                    <a:cubicBezTo>
                      <a:pt x="354799" y="541"/>
                      <a:pt x="348849" y="0"/>
                      <a:pt x="342900" y="0"/>
                    </a:cubicBezTo>
                    <a:cubicBezTo>
                      <a:pt x="336950" y="0"/>
                      <a:pt x="331001" y="1622"/>
                      <a:pt x="325052" y="2163"/>
                    </a:cubicBezTo>
                    <a:cubicBezTo>
                      <a:pt x="319103" y="2704"/>
                      <a:pt x="313153" y="3245"/>
                      <a:pt x="307203" y="3786"/>
                    </a:cubicBezTo>
                    <a:cubicBezTo>
                      <a:pt x="301254" y="4327"/>
                      <a:pt x="295305" y="3245"/>
                      <a:pt x="289356" y="4327"/>
                    </a:cubicBezTo>
                    <a:cubicBezTo>
                      <a:pt x="283406" y="5409"/>
                      <a:pt x="277998" y="7031"/>
                      <a:pt x="272048" y="8653"/>
                    </a:cubicBezTo>
                    <a:cubicBezTo>
                      <a:pt x="266099" y="9735"/>
                      <a:pt x="260690" y="12980"/>
                      <a:pt x="255282" y="14603"/>
                    </a:cubicBezTo>
                    <a:cubicBezTo>
                      <a:pt x="249333" y="16226"/>
                      <a:pt x="243383" y="16766"/>
                      <a:pt x="237975" y="18930"/>
                    </a:cubicBezTo>
                    <a:cubicBezTo>
                      <a:pt x="232566" y="21093"/>
                      <a:pt x="226617" y="22175"/>
                      <a:pt x="221209" y="24338"/>
                    </a:cubicBezTo>
                    <a:cubicBezTo>
                      <a:pt x="215800" y="26502"/>
                      <a:pt x="210391" y="29206"/>
                      <a:pt x="204983" y="31910"/>
                    </a:cubicBezTo>
                    <a:cubicBezTo>
                      <a:pt x="199574" y="34614"/>
                      <a:pt x="194707" y="38400"/>
                      <a:pt x="189839" y="41105"/>
                    </a:cubicBezTo>
                    <a:cubicBezTo>
                      <a:pt x="184430" y="43809"/>
                      <a:pt x="180103" y="48136"/>
                      <a:pt x="175236" y="51381"/>
                    </a:cubicBezTo>
                    <a:cubicBezTo>
                      <a:pt x="170368" y="54626"/>
                      <a:pt x="163878" y="55708"/>
                      <a:pt x="159011" y="59494"/>
                    </a:cubicBezTo>
                    <a:cubicBezTo>
                      <a:pt x="154143" y="62739"/>
                      <a:pt x="149816" y="67066"/>
                      <a:pt x="144948" y="70311"/>
                    </a:cubicBezTo>
                    <a:cubicBezTo>
                      <a:pt x="140081" y="74097"/>
                      <a:pt x="135213" y="77342"/>
                      <a:pt x="130886" y="81128"/>
                    </a:cubicBezTo>
                    <a:cubicBezTo>
                      <a:pt x="126559" y="84914"/>
                      <a:pt x="122232" y="89241"/>
                      <a:pt x="117905" y="93567"/>
                    </a:cubicBezTo>
                    <a:cubicBezTo>
                      <a:pt x="113579" y="97894"/>
                      <a:pt x="109252" y="101680"/>
                      <a:pt x="105466" y="106007"/>
                    </a:cubicBezTo>
                    <a:cubicBezTo>
                      <a:pt x="101680" y="110334"/>
                      <a:pt x="98975" y="116283"/>
                      <a:pt x="95190" y="120610"/>
                    </a:cubicBezTo>
                    <a:cubicBezTo>
                      <a:pt x="91404" y="124937"/>
                      <a:pt x="86536" y="128723"/>
                      <a:pt x="82750" y="133590"/>
                    </a:cubicBezTo>
                    <a:cubicBezTo>
                      <a:pt x="78964" y="138458"/>
                      <a:pt x="75719" y="143326"/>
                      <a:pt x="72474" y="148193"/>
                    </a:cubicBezTo>
                    <a:cubicBezTo>
                      <a:pt x="69229" y="153061"/>
                      <a:pt x="65984" y="157929"/>
                      <a:pt x="62739" y="163337"/>
                    </a:cubicBezTo>
                    <a:cubicBezTo>
                      <a:pt x="59494" y="168205"/>
                      <a:pt x="55167" y="172532"/>
                      <a:pt x="52462" y="177940"/>
                    </a:cubicBezTo>
                    <a:cubicBezTo>
                      <a:pt x="49758" y="182808"/>
                      <a:pt x="48677" y="189298"/>
                      <a:pt x="45972" y="194707"/>
                    </a:cubicBezTo>
                    <a:cubicBezTo>
                      <a:pt x="43268" y="200115"/>
                      <a:pt x="40023" y="204983"/>
                      <a:pt x="37860" y="210391"/>
                    </a:cubicBezTo>
                    <a:cubicBezTo>
                      <a:pt x="35155" y="215800"/>
                      <a:pt x="33533" y="221208"/>
                      <a:pt x="30828" y="226617"/>
                    </a:cubicBezTo>
                    <a:cubicBezTo>
                      <a:pt x="28665" y="232025"/>
                      <a:pt x="25420" y="237434"/>
                      <a:pt x="23256" y="242842"/>
                    </a:cubicBezTo>
                    <a:cubicBezTo>
                      <a:pt x="21093" y="248251"/>
                      <a:pt x="18930" y="254200"/>
                      <a:pt x="17307" y="259609"/>
                    </a:cubicBezTo>
                    <a:cubicBezTo>
                      <a:pt x="15685" y="265017"/>
                      <a:pt x="13521" y="270967"/>
                      <a:pt x="11898" y="276375"/>
                    </a:cubicBezTo>
                    <a:cubicBezTo>
                      <a:pt x="10276" y="282325"/>
                      <a:pt x="10817" y="288274"/>
                      <a:pt x="9735" y="294223"/>
                    </a:cubicBezTo>
                    <a:cubicBezTo>
                      <a:pt x="8653" y="300173"/>
                      <a:pt x="7572" y="305581"/>
                      <a:pt x="6490" y="311530"/>
                    </a:cubicBezTo>
                    <a:cubicBezTo>
                      <a:pt x="5409" y="317480"/>
                      <a:pt x="4868" y="323429"/>
                      <a:pt x="4326" y="328838"/>
                    </a:cubicBezTo>
                    <a:cubicBezTo>
                      <a:pt x="3786" y="334787"/>
                      <a:pt x="3245" y="340737"/>
                      <a:pt x="2704" y="346686"/>
                    </a:cubicBezTo>
                    <a:cubicBezTo>
                      <a:pt x="2164" y="352635"/>
                      <a:pt x="1081" y="358585"/>
                      <a:pt x="1081" y="364534"/>
                    </a:cubicBezTo>
                    <a:cubicBezTo>
                      <a:pt x="1081" y="370483"/>
                      <a:pt x="0" y="376433"/>
                      <a:pt x="0" y="38238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3896621-DD2E-BDCC-4740-CE21AA49BB2F}"/>
                  </a:ext>
                </a:extLst>
              </p:cNvPr>
              <p:cNvSpPr/>
              <p:nvPr/>
            </p:nvSpPr>
            <p:spPr>
              <a:xfrm flipH="1">
                <a:off x="9960815" y="1855807"/>
                <a:ext cx="146039" cy="79613"/>
              </a:xfrm>
              <a:custGeom>
                <a:avLst/>
                <a:gdLst>
                  <a:gd name="connsiteX0" fmla="*/ 176318 w 176317"/>
                  <a:gd name="connsiteY0" fmla="*/ 68688 h 90863"/>
                  <a:gd name="connsiteX1" fmla="*/ 171450 w 176317"/>
                  <a:gd name="connsiteY1" fmla="*/ 52463 h 90863"/>
                  <a:gd name="connsiteX2" fmla="*/ 162796 w 176317"/>
                  <a:gd name="connsiteY2" fmla="*/ 37860 h 90863"/>
                  <a:gd name="connsiteX3" fmla="*/ 151438 w 176317"/>
                  <a:gd name="connsiteY3" fmla="*/ 25420 h 90863"/>
                  <a:gd name="connsiteX4" fmla="*/ 138458 w 176317"/>
                  <a:gd name="connsiteY4" fmla="*/ 14603 h 90863"/>
                  <a:gd name="connsiteX5" fmla="*/ 122773 w 176317"/>
                  <a:gd name="connsiteY5" fmla="*/ 8113 h 90863"/>
                  <a:gd name="connsiteX6" fmla="*/ 107088 w 176317"/>
                  <a:gd name="connsiteY6" fmla="*/ 2704 h 90863"/>
                  <a:gd name="connsiteX7" fmla="*/ 90322 w 176317"/>
                  <a:gd name="connsiteY7" fmla="*/ 0 h 90863"/>
                  <a:gd name="connsiteX8" fmla="*/ 72474 w 176317"/>
                  <a:gd name="connsiteY8" fmla="*/ 1622 h 90863"/>
                  <a:gd name="connsiteX9" fmla="*/ 55707 w 176317"/>
                  <a:gd name="connsiteY9" fmla="*/ 8654 h 90863"/>
                  <a:gd name="connsiteX10" fmla="*/ 40564 w 176317"/>
                  <a:gd name="connsiteY10" fmla="*/ 17307 h 90863"/>
                  <a:gd name="connsiteX11" fmla="*/ 25420 w 176317"/>
                  <a:gd name="connsiteY11" fmla="*/ 27043 h 90863"/>
                  <a:gd name="connsiteX12" fmla="*/ 15685 w 176317"/>
                  <a:gd name="connsiteY12" fmla="*/ 41645 h 90863"/>
                  <a:gd name="connsiteX13" fmla="*/ 5949 w 176317"/>
                  <a:gd name="connsiteY13" fmla="*/ 56249 h 90863"/>
                  <a:gd name="connsiteX14" fmla="*/ 2704 w 176317"/>
                  <a:gd name="connsiteY14" fmla="*/ 73556 h 90863"/>
                  <a:gd name="connsiteX15" fmla="*/ 0 w 176317"/>
                  <a:gd name="connsiteY15" fmla="*/ 90863 h 9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317" h="90863">
                    <a:moveTo>
                      <a:pt x="176318" y="68688"/>
                    </a:moveTo>
                    <a:cubicBezTo>
                      <a:pt x="174695" y="63280"/>
                      <a:pt x="173613" y="57871"/>
                      <a:pt x="171450" y="52463"/>
                    </a:cubicBezTo>
                    <a:cubicBezTo>
                      <a:pt x="168745" y="47595"/>
                      <a:pt x="166041" y="42727"/>
                      <a:pt x="162796" y="37860"/>
                    </a:cubicBezTo>
                    <a:cubicBezTo>
                      <a:pt x="159551" y="33533"/>
                      <a:pt x="155765" y="29206"/>
                      <a:pt x="151438" y="25420"/>
                    </a:cubicBezTo>
                    <a:cubicBezTo>
                      <a:pt x="147111" y="21634"/>
                      <a:pt x="143326" y="17848"/>
                      <a:pt x="138458" y="14603"/>
                    </a:cubicBezTo>
                    <a:cubicBezTo>
                      <a:pt x="133590" y="11358"/>
                      <a:pt x="128182" y="9735"/>
                      <a:pt x="122773" y="8113"/>
                    </a:cubicBezTo>
                    <a:cubicBezTo>
                      <a:pt x="117365" y="5949"/>
                      <a:pt x="112497" y="3786"/>
                      <a:pt x="107088" y="2704"/>
                    </a:cubicBezTo>
                    <a:cubicBezTo>
                      <a:pt x="101680" y="1622"/>
                      <a:pt x="96271" y="0"/>
                      <a:pt x="90322" y="0"/>
                    </a:cubicBezTo>
                    <a:cubicBezTo>
                      <a:pt x="84373" y="0"/>
                      <a:pt x="78424" y="541"/>
                      <a:pt x="72474" y="1622"/>
                    </a:cubicBezTo>
                    <a:cubicBezTo>
                      <a:pt x="66524" y="2704"/>
                      <a:pt x="61657" y="6490"/>
                      <a:pt x="55707" y="8654"/>
                    </a:cubicBezTo>
                    <a:cubicBezTo>
                      <a:pt x="50299" y="10817"/>
                      <a:pt x="45432" y="14062"/>
                      <a:pt x="40564" y="17307"/>
                    </a:cubicBezTo>
                    <a:cubicBezTo>
                      <a:pt x="35696" y="20552"/>
                      <a:pt x="29747" y="22716"/>
                      <a:pt x="25420" y="27043"/>
                    </a:cubicBezTo>
                    <a:cubicBezTo>
                      <a:pt x="21093" y="31369"/>
                      <a:pt x="18930" y="36778"/>
                      <a:pt x="15685" y="41645"/>
                    </a:cubicBezTo>
                    <a:cubicBezTo>
                      <a:pt x="12439" y="46513"/>
                      <a:pt x="8113" y="50840"/>
                      <a:pt x="5949" y="56249"/>
                    </a:cubicBezTo>
                    <a:cubicBezTo>
                      <a:pt x="3786" y="61657"/>
                      <a:pt x="3786" y="68147"/>
                      <a:pt x="2704" y="73556"/>
                    </a:cubicBezTo>
                    <a:cubicBezTo>
                      <a:pt x="1622" y="79505"/>
                      <a:pt x="0" y="84914"/>
                      <a:pt x="0" y="908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607040C-112C-9B52-022D-C705055BF7A2}"/>
                  </a:ext>
                </a:extLst>
              </p:cNvPr>
              <p:cNvSpPr/>
              <p:nvPr/>
            </p:nvSpPr>
            <p:spPr>
              <a:xfrm flipH="1">
                <a:off x="9690686" y="1915421"/>
                <a:ext cx="299694" cy="315706"/>
              </a:xfrm>
              <a:custGeom>
                <a:avLst/>
                <a:gdLst>
                  <a:gd name="connsiteX0" fmla="*/ 361830 w 361829"/>
                  <a:gd name="connsiteY0" fmla="*/ 360318 h 360317"/>
                  <a:gd name="connsiteX1" fmla="*/ 360748 w 361829"/>
                  <a:gd name="connsiteY1" fmla="*/ 342469 h 360317"/>
                  <a:gd name="connsiteX2" fmla="*/ 359126 w 361829"/>
                  <a:gd name="connsiteY2" fmla="*/ 324621 h 360317"/>
                  <a:gd name="connsiteX3" fmla="*/ 356421 w 361829"/>
                  <a:gd name="connsiteY3" fmla="*/ 307314 h 360317"/>
                  <a:gd name="connsiteX4" fmla="*/ 354799 w 361829"/>
                  <a:gd name="connsiteY4" fmla="*/ 289466 h 360317"/>
                  <a:gd name="connsiteX5" fmla="*/ 349390 w 361829"/>
                  <a:gd name="connsiteY5" fmla="*/ 272700 h 360317"/>
                  <a:gd name="connsiteX6" fmla="*/ 345604 w 361829"/>
                  <a:gd name="connsiteY6" fmla="*/ 255392 h 360317"/>
                  <a:gd name="connsiteX7" fmla="*/ 340196 w 361829"/>
                  <a:gd name="connsiteY7" fmla="*/ 238626 h 360317"/>
                  <a:gd name="connsiteX8" fmla="*/ 333705 w 361829"/>
                  <a:gd name="connsiteY8" fmla="*/ 221860 h 360317"/>
                  <a:gd name="connsiteX9" fmla="*/ 326133 w 361829"/>
                  <a:gd name="connsiteY9" fmla="*/ 205634 h 360317"/>
                  <a:gd name="connsiteX10" fmla="*/ 318562 w 361829"/>
                  <a:gd name="connsiteY10" fmla="*/ 189949 h 360317"/>
                  <a:gd name="connsiteX11" fmla="*/ 309367 w 361829"/>
                  <a:gd name="connsiteY11" fmla="*/ 174805 h 360317"/>
                  <a:gd name="connsiteX12" fmla="*/ 300173 w 361829"/>
                  <a:gd name="connsiteY12" fmla="*/ 159662 h 360317"/>
                  <a:gd name="connsiteX13" fmla="*/ 288815 w 361829"/>
                  <a:gd name="connsiteY13" fmla="*/ 146140 h 360317"/>
                  <a:gd name="connsiteX14" fmla="*/ 278539 w 361829"/>
                  <a:gd name="connsiteY14" fmla="*/ 131537 h 360317"/>
                  <a:gd name="connsiteX15" fmla="*/ 267181 w 361829"/>
                  <a:gd name="connsiteY15" fmla="*/ 117475 h 360317"/>
                  <a:gd name="connsiteX16" fmla="*/ 255282 w 361829"/>
                  <a:gd name="connsiteY16" fmla="*/ 104495 h 360317"/>
                  <a:gd name="connsiteX17" fmla="*/ 240679 w 361829"/>
                  <a:gd name="connsiteY17" fmla="*/ 94219 h 360317"/>
                  <a:gd name="connsiteX18" fmla="*/ 227698 w 361829"/>
                  <a:gd name="connsiteY18" fmla="*/ 82320 h 360317"/>
                  <a:gd name="connsiteX19" fmla="*/ 214177 w 361829"/>
                  <a:gd name="connsiteY19" fmla="*/ 70962 h 360317"/>
                  <a:gd name="connsiteX20" fmla="*/ 200115 w 361829"/>
                  <a:gd name="connsiteY20" fmla="*/ 60145 h 360317"/>
                  <a:gd name="connsiteX21" fmla="*/ 184971 w 361829"/>
                  <a:gd name="connsiteY21" fmla="*/ 51491 h 360317"/>
                  <a:gd name="connsiteX22" fmla="*/ 170368 w 361829"/>
                  <a:gd name="connsiteY22" fmla="*/ 41756 h 360317"/>
                  <a:gd name="connsiteX23" fmla="*/ 153602 w 361829"/>
                  <a:gd name="connsiteY23" fmla="*/ 35806 h 360317"/>
                  <a:gd name="connsiteX24" fmla="*/ 137917 w 361829"/>
                  <a:gd name="connsiteY24" fmla="*/ 27694 h 360317"/>
                  <a:gd name="connsiteX25" fmla="*/ 122232 w 361829"/>
                  <a:gd name="connsiteY25" fmla="*/ 19581 h 360317"/>
                  <a:gd name="connsiteX26" fmla="*/ 104925 w 361829"/>
                  <a:gd name="connsiteY26" fmla="*/ 15795 h 360317"/>
                  <a:gd name="connsiteX27" fmla="*/ 88158 w 361829"/>
                  <a:gd name="connsiteY27" fmla="*/ 10927 h 360317"/>
                  <a:gd name="connsiteX28" fmla="*/ 70851 w 361829"/>
                  <a:gd name="connsiteY28" fmla="*/ 8223 h 360317"/>
                  <a:gd name="connsiteX29" fmla="*/ 53544 w 361829"/>
                  <a:gd name="connsiteY29" fmla="*/ 2815 h 360317"/>
                  <a:gd name="connsiteX30" fmla="*/ 35696 w 361829"/>
                  <a:gd name="connsiteY30" fmla="*/ 651 h 360317"/>
                  <a:gd name="connsiteX31" fmla="*/ 17848 w 361829"/>
                  <a:gd name="connsiteY31" fmla="*/ 110 h 360317"/>
                  <a:gd name="connsiteX32" fmla="*/ 0 w 361829"/>
                  <a:gd name="connsiteY32" fmla="*/ 1192 h 360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1829" h="360317">
                    <a:moveTo>
                      <a:pt x="361830" y="360318"/>
                    </a:moveTo>
                    <a:cubicBezTo>
                      <a:pt x="361830" y="354368"/>
                      <a:pt x="361289" y="348419"/>
                      <a:pt x="360748" y="342469"/>
                    </a:cubicBezTo>
                    <a:cubicBezTo>
                      <a:pt x="360207" y="336520"/>
                      <a:pt x="359666" y="330571"/>
                      <a:pt x="359126" y="324621"/>
                    </a:cubicBezTo>
                    <a:cubicBezTo>
                      <a:pt x="358584" y="318672"/>
                      <a:pt x="357503" y="312723"/>
                      <a:pt x="356421" y="307314"/>
                    </a:cubicBezTo>
                    <a:cubicBezTo>
                      <a:pt x="355339" y="301365"/>
                      <a:pt x="355880" y="295415"/>
                      <a:pt x="354799" y="289466"/>
                    </a:cubicBezTo>
                    <a:cubicBezTo>
                      <a:pt x="353717" y="283517"/>
                      <a:pt x="351013" y="278108"/>
                      <a:pt x="349390" y="272700"/>
                    </a:cubicBezTo>
                    <a:cubicBezTo>
                      <a:pt x="347767" y="266750"/>
                      <a:pt x="347227" y="260801"/>
                      <a:pt x="345604" y="255392"/>
                    </a:cubicBezTo>
                    <a:cubicBezTo>
                      <a:pt x="343982" y="249984"/>
                      <a:pt x="342359" y="244034"/>
                      <a:pt x="340196" y="238626"/>
                    </a:cubicBezTo>
                    <a:cubicBezTo>
                      <a:pt x="338032" y="233217"/>
                      <a:pt x="335869" y="227268"/>
                      <a:pt x="333705" y="221860"/>
                    </a:cubicBezTo>
                    <a:cubicBezTo>
                      <a:pt x="331542" y="216451"/>
                      <a:pt x="328837" y="211043"/>
                      <a:pt x="326133" y="205634"/>
                    </a:cubicBezTo>
                    <a:cubicBezTo>
                      <a:pt x="323429" y="200226"/>
                      <a:pt x="321266" y="194817"/>
                      <a:pt x="318562" y="189949"/>
                    </a:cubicBezTo>
                    <a:cubicBezTo>
                      <a:pt x="315858" y="184541"/>
                      <a:pt x="312071" y="179673"/>
                      <a:pt x="309367" y="174805"/>
                    </a:cubicBezTo>
                    <a:cubicBezTo>
                      <a:pt x="306122" y="169938"/>
                      <a:pt x="303418" y="164529"/>
                      <a:pt x="300173" y="159662"/>
                    </a:cubicBezTo>
                    <a:cubicBezTo>
                      <a:pt x="296928" y="154794"/>
                      <a:pt x="292601" y="150467"/>
                      <a:pt x="288815" y="146140"/>
                    </a:cubicBezTo>
                    <a:cubicBezTo>
                      <a:pt x="285029" y="141273"/>
                      <a:pt x="282324" y="135864"/>
                      <a:pt x="278539" y="131537"/>
                    </a:cubicBezTo>
                    <a:cubicBezTo>
                      <a:pt x="274752" y="127211"/>
                      <a:pt x="271507" y="121802"/>
                      <a:pt x="267181" y="117475"/>
                    </a:cubicBezTo>
                    <a:cubicBezTo>
                      <a:pt x="263395" y="113148"/>
                      <a:pt x="259609" y="108281"/>
                      <a:pt x="255282" y="104495"/>
                    </a:cubicBezTo>
                    <a:cubicBezTo>
                      <a:pt x="250955" y="100168"/>
                      <a:pt x="245005" y="98004"/>
                      <a:pt x="240679" y="94219"/>
                    </a:cubicBezTo>
                    <a:cubicBezTo>
                      <a:pt x="236352" y="90433"/>
                      <a:pt x="232026" y="86106"/>
                      <a:pt x="227698" y="82320"/>
                    </a:cubicBezTo>
                    <a:cubicBezTo>
                      <a:pt x="223371" y="78534"/>
                      <a:pt x="218504" y="74748"/>
                      <a:pt x="214177" y="70962"/>
                    </a:cubicBezTo>
                    <a:cubicBezTo>
                      <a:pt x="209309" y="67176"/>
                      <a:pt x="204983" y="63390"/>
                      <a:pt x="200115" y="60145"/>
                    </a:cubicBezTo>
                    <a:cubicBezTo>
                      <a:pt x="195247" y="56900"/>
                      <a:pt x="189839" y="54196"/>
                      <a:pt x="184971" y="51491"/>
                    </a:cubicBezTo>
                    <a:cubicBezTo>
                      <a:pt x="180103" y="48246"/>
                      <a:pt x="175236" y="44460"/>
                      <a:pt x="170368" y="41756"/>
                    </a:cubicBezTo>
                    <a:cubicBezTo>
                      <a:pt x="164960" y="39052"/>
                      <a:pt x="159011" y="37970"/>
                      <a:pt x="153602" y="35806"/>
                    </a:cubicBezTo>
                    <a:cubicBezTo>
                      <a:pt x="148194" y="33102"/>
                      <a:pt x="143326" y="29857"/>
                      <a:pt x="137917" y="27694"/>
                    </a:cubicBezTo>
                    <a:cubicBezTo>
                      <a:pt x="132509" y="25530"/>
                      <a:pt x="127641" y="21744"/>
                      <a:pt x="122232" y="19581"/>
                    </a:cubicBezTo>
                    <a:cubicBezTo>
                      <a:pt x="116824" y="17418"/>
                      <a:pt x="110334" y="17418"/>
                      <a:pt x="104925" y="15795"/>
                    </a:cubicBezTo>
                    <a:cubicBezTo>
                      <a:pt x="99517" y="14172"/>
                      <a:pt x="93567" y="12009"/>
                      <a:pt x="88158" y="10927"/>
                    </a:cubicBezTo>
                    <a:cubicBezTo>
                      <a:pt x="82209" y="9305"/>
                      <a:pt x="76260" y="9305"/>
                      <a:pt x="70851" y="8223"/>
                    </a:cubicBezTo>
                    <a:cubicBezTo>
                      <a:pt x="64902" y="7141"/>
                      <a:pt x="59494" y="3896"/>
                      <a:pt x="53544" y="2815"/>
                    </a:cubicBezTo>
                    <a:cubicBezTo>
                      <a:pt x="47595" y="1733"/>
                      <a:pt x="41645" y="1192"/>
                      <a:pt x="35696" y="651"/>
                    </a:cubicBezTo>
                    <a:cubicBezTo>
                      <a:pt x="29747" y="110"/>
                      <a:pt x="23798" y="110"/>
                      <a:pt x="17848" y="110"/>
                    </a:cubicBezTo>
                    <a:cubicBezTo>
                      <a:pt x="11898" y="-430"/>
                      <a:pt x="5949" y="1192"/>
                      <a:pt x="0" y="11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793C3A0-59B3-4244-E230-490148A8E2FC}"/>
                  </a:ext>
                </a:extLst>
              </p:cNvPr>
              <p:cNvSpPr/>
              <p:nvPr/>
            </p:nvSpPr>
            <p:spPr>
              <a:xfrm flipH="1">
                <a:off x="10404309" y="1085167"/>
                <a:ext cx="922378" cy="785331"/>
              </a:xfrm>
              <a:custGeom>
                <a:avLst/>
                <a:gdLst>
                  <a:gd name="connsiteX0" fmla="*/ 112497 w 1113613"/>
                  <a:gd name="connsiteY0" fmla="*/ 896302 h 896301"/>
                  <a:gd name="connsiteX1" fmla="*/ 101140 w 1113613"/>
                  <a:gd name="connsiteY1" fmla="*/ 882240 h 896301"/>
                  <a:gd name="connsiteX2" fmla="*/ 90323 w 1113613"/>
                  <a:gd name="connsiteY2" fmla="*/ 867637 h 896301"/>
                  <a:gd name="connsiteX3" fmla="*/ 81128 w 1113613"/>
                  <a:gd name="connsiteY3" fmla="*/ 851952 h 896301"/>
                  <a:gd name="connsiteX4" fmla="*/ 73556 w 1113613"/>
                  <a:gd name="connsiteY4" fmla="*/ 835726 h 896301"/>
                  <a:gd name="connsiteX5" fmla="*/ 64902 w 1113613"/>
                  <a:gd name="connsiteY5" fmla="*/ 820042 h 896301"/>
                  <a:gd name="connsiteX6" fmla="*/ 55708 w 1113613"/>
                  <a:gd name="connsiteY6" fmla="*/ 804357 h 896301"/>
                  <a:gd name="connsiteX7" fmla="*/ 48677 w 1113613"/>
                  <a:gd name="connsiteY7" fmla="*/ 787591 h 896301"/>
                  <a:gd name="connsiteX8" fmla="*/ 42727 w 1113613"/>
                  <a:gd name="connsiteY8" fmla="*/ 770283 h 896301"/>
                  <a:gd name="connsiteX9" fmla="*/ 34074 w 1113613"/>
                  <a:gd name="connsiteY9" fmla="*/ 754058 h 896301"/>
                  <a:gd name="connsiteX10" fmla="*/ 28125 w 1113613"/>
                  <a:gd name="connsiteY10" fmla="*/ 736751 h 896301"/>
                  <a:gd name="connsiteX11" fmla="*/ 22716 w 1113613"/>
                  <a:gd name="connsiteY11" fmla="*/ 719443 h 896301"/>
                  <a:gd name="connsiteX12" fmla="*/ 19471 w 1113613"/>
                  <a:gd name="connsiteY12" fmla="*/ 701595 h 896301"/>
                  <a:gd name="connsiteX13" fmla="*/ 13521 w 1113613"/>
                  <a:gd name="connsiteY13" fmla="*/ 684288 h 896301"/>
                  <a:gd name="connsiteX14" fmla="*/ 9736 w 1113613"/>
                  <a:gd name="connsiteY14" fmla="*/ 666440 h 896301"/>
                  <a:gd name="connsiteX15" fmla="*/ 6491 w 1113613"/>
                  <a:gd name="connsiteY15" fmla="*/ 648592 h 896301"/>
                  <a:gd name="connsiteX16" fmla="*/ 4327 w 1113613"/>
                  <a:gd name="connsiteY16" fmla="*/ 630744 h 896301"/>
                  <a:gd name="connsiteX17" fmla="*/ 2704 w 1113613"/>
                  <a:gd name="connsiteY17" fmla="*/ 612895 h 896301"/>
                  <a:gd name="connsiteX18" fmla="*/ 1082 w 1113613"/>
                  <a:gd name="connsiteY18" fmla="*/ 595047 h 896301"/>
                  <a:gd name="connsiteX19" fmla="*/ 1623 w 1113613"/>
                  <a:gd name="connsiteY19" fmla="*/ 576658 h 896301"/>
                  <a:gd name="connsiteX20" fmla="*/ 0 w 1113613"/>
                  <a:gd name="connsiteY20" fmla="*/ 558810 h 896301"/>
                  <a:gd name="connsiteX21" fmla="*/ 1082 w 1113613"/>
                  <a:gd name="connsiteY21" fmla="*/ 541503 h 896301"/>
                  <a:gd name="connsiteX22" fmla="*/ 2164 w 1113613"/>
                  <a:gd name="connsiteY22" fmla="*/ 524196 h 896301"/>
                  <a:gd name="connsiteX23" fmla="*/ 4327 w 1113613"/>
                  <a:gd name="connsiteY23" fmla="*/ 506889 h 896301"/>
                  <a:gd name="connsiteX24" fmla="*/ 3786 w 1113613"/>
                  <a:gd name="connsiteY24" fmla="*/ 489040 h 896301"/>
                  <a:gd name="connsiteX25" fmla="*/ 7031 w 1113613"/>
                  <a:gd name="connsiteY25" fmla="*/ 471733 h 896301"/>
                  <a:gd name="connsiteX26" fmla="*/ 9195 w 1113613"/>
                  <a:gd name="connsiteY26" fmla="*/ 454426 h 896301"/>
                  <a:gd name="connsiteX27" fmla="*/ 12440 w 1113613"/>
                  <a:gd name="connsiteY27" fmla="*/ 437119 h 896301"/>
                  <a:gd name="connsiteX28" fmla="*/ 16226 w 1113613"/>
                  <a:gd name="connsiteY28" fmla="*/ 419811 h 896301"/>
                  <a:gd name="connsiteX29" fmla="*/ 21093 w 1113613"/>
                  <a:gd name="connsiteY29" fmla="*/ 403045 h 896301"/>
                  <a:gd name="connsiteX30" fmla="*/ 28125 w 1113613"/>
                  <a:gd name="connsiteY30" fmla="*/ 386819 h 896301"/>
                  <a:gd name="connsiteX31" fmla="*/ 32992 w 1113613"/>
                  <a:gd name="connsiteY31" fmla="*/ 370053 h 896301"/>
                  <a:gd name="connsiteX32" fmla="*/ 40023 w 1113613"/>
                  <a:gd name="connsiteY32" fmla="*/ 353827 h 896301"/>
                  <a:gd name="connsiteX33" fmla="*/ 45432 w 1113613"/>
                  <a:gd name="connsiteY33" fmla="*/ 337061 h 896301"/>
                  <a:gd name="connsiteX34" fmla="*/ 53004 w 1113613"/>
                  <a:gd name="connsiteY34" fmla="*/ 321376 h 896301"/>
                  <a:gd name="connsiteX35" fmla="*/ 61117 w 1113613"/>
                  <a:gd name="connsiteY35" fmla="*/ 305692 h 896301"/>
                  <a:gd name="connsiteX36" fmla="*/ 69229 w 1113613"/>
                  <a:gd name="connsiteY36" fmla="*/ 290007 h 896301"/>
                  <a:gd name="connsiteX37" fmla="*/ 77342 w 1113613"/>
                  <a:gd name="connsiteY37" fmla="*/ 274322 h 896301"/>
                  <a:gd name="connsiteX38" fmla="*/ 87077 w 1113613"/>
                  <a:gd name="connsiteY38" fmla="*/ 259719 h 896301"/>
                  <a:gd name="connsiteX39" fmla="*/ 96813 w 1113613"/>
                  <a:gd name="connsiteY39" fmla="*/ 245116 h 896301"/>
                  <a:gd name="connsiteX40" fmla="*/ 107630 w 1113613"/>
                  <a:gd name="connsiteY40" fmla="*/ 231054 h 896301"/>
                  <a:gd name="connsiteX41" fmla="*/ 116824 w 1113613"/>
                  <a:gd name="connsiteY41" fmla="*/ 216451 h 896301"/>
                  <a:gd name="connsiteX42" fmla="*/ 127100 w 1113613"/>
                  <a:gd name="connsiteY42" fmla="*/ 202389 h 896301"/>
                  <a:gd name="connsiteX43" fmla="*/ 138458 w 1113613"/>
                  <a:gd name="connsiteY43" fmla="*/ 189409 h 896301"/>
                  <a:gd name="connsiteX44" fmla="*/ 150357 w 1113613"/>
                  <a:gd name="connsiteY44" fmla="*/ 176428 h 896301"/>
                  <a:gd name="connsiteX45" fmla="*/ 163878 w 1113613"/>
                  <a:gd name="connsiteY45" fmla="*/ 165070 h 896301"/>
                  <a:gd name="connsiteX46" fmla="*/ 175236 w 1113613"/>
                  <a:gd name="connsiteY46" fmla="*/ 151549 h 896301"/>
                  <a:gd name="connsiteX47" fmla="*/ 189298 w 1113613"/>
                  <a:gd name="connsiteY47" fmla="*/ 140732 h 896301"/>
                  <a:gd name="connsiteX48" fmla="*/ 202819 w 1113613"/>
                  <a:gd name="connsiteY48" fmla="*/ 129374 h 896301"/>
                  <a:gd name="connsiteX49" fmla="*/ 216881 w 1113613"/>
                  <a:gd name="connsiteY49" fmla="*/ 119098 h 896301"/>
                  <a:gd name="connsiteX50" fmla="*/ 229321 w 1113613"/>
                  <a:gd name="connsiteY50" fmla="*/ 106658 h 896301"/>
                  <a:gd name="connsiteX51" fmla="*/ 243924 w 1113613"/>
                  <a:gd name="connsiteY51" fmla="*/ 96923 h 896301"/>
                  <a:gd name="connsiteX52" fmla="*/ 258527 w 1113613"/>
                  <a:gd name="connsiteY52" fmla="*/ 87188 h 896301"/>
                  <a:gd name="connsiteX53" fmla="*/ 273130 w 1113613"/>
                  <a:gd name="connsiteY53" fmla="*/ 77452 h 896301"/>
                  <a:gd name="connsiteX54" fmla="*/ 289356 w 1113613"/>
                  <a:gd name="connsiteY54" fmla="*/ 70962 h 896301"/>
                  <a:gd name="connsiteX55" fmla="*/ 303959 w 1113613"/>
                  <a:gd name="connsiteY55" fmla="*/ 60686 h 896301"/>
                  <a:gd name="connsiteX56" fmla="*/ 320185 w 1113613"/>
                  <a:gd name="connsiteY56" fmla="*/ 53655 h 896301"/>
                  <a:gd name="connsiteX57" fmla="*/ 336410 w 1113613"/>
                  <a:gd name="connsiteY57" fmla="*/ 47164 h 896301"/>
                  <a:gd name="connsiteX58" fmla="*/ 352636 w 1113613"/>
                  <a:gd name="connsiteY58" fmla="*/ 40674 h 896301"/>
                  <a:gd name="connsiteX59" fmla="*/ 368861 w 1113613"/>
                  <a:gd name="connsiteY59" fmla="*/ 34184 h 896301"/>
                  <a:gd name="connsiteX60" fmla="*/ 385087 w 1113613"/>
                  <a:gd name="connsiteY60" fmla="*/ 26612 h 896301"/>
                  <a:gd name="connsiteX61" fmla="*/ 402394 w 1113613"/>
                  <a:gd name="connsiteY61" fmla="*/ 22826 h 896301"/>
                  <a:gd name="connsiteX62" fmla="*/ 419160 w 1113613"/>
                  <a:gd name="connsiteY62" fmla="*/ 16877 h 896301"/>
                  <a:gd name="connsiteX63" fmla="*/ 436468 w 1113613"/>
                  <a:gd name="connsiteY63" fmla="*/ 12550 h 896301"/>
                  <a:gd name="connsiteX64" fmla="*/ 453775 w 1113613"/>
                  <a:gd name="connsiteY64" fmla="*/ 9305 h 896301"/>
                  <a:gd name="connsiteX65" fmla="*/ 471082 w 1113613"/>
                  <a:gd name="connsiteY65" fmla="*/ 5519 h 896301"/>
                  <a:gd name="connsiteX66" fmla="*/ 488930 w 1113613"/>
                  <a:gd name="connsiteY66" fmla="*/ 4437 h 896301"/>
                  <a:gd name="connsiteX67" fmla="*/ 506237 w 1113613"/>
                  <a:gd name="connsiteY67" fmla="*/ 2274 h 896301"/>
                  <a:gd name="connsiteX68" fmla="*/ 523545 w 1113613"/>
                  <a:gd name="connsiteY68" fmla="*/ 651 h 896301"/>
                  <a:gd name="connsiteX69" fmla="*/ 541393 w 1113613"/>
                  <a:gd name="connsiteY69" fmla="*/ 651 h 896301"/>
                  <a:gd name="connsiteX70" fmla="*/ 558700 w 1113613"/>
                  <a:gd name="connsiteY70" fmla="*/ 110 h 896301"/>
                  <a:gd name="connsiteX71" fmla="*/ 576007 w 1113613"/>
                  <a:gd name="connsiteY71" fmla="*/ 1192 h 896301"/>
                  <a:gd name="connsiteX72" fmla="*/ 593856 w 1113613"/>
                  <a:gd name="connsiteY72" fmla="*/ 110 h 896301"/>
                  <a:gd name="connsiteX73" fmla="*/ 611163 w 1113613"/>
                  <a:gd name="connsiteY73" fmla="*/ 3356 h 896301"/>
                  <a:gd name="connsiteX74" fmla="*/ 629011 w 1113613"/>
                  <a:gd name="connsiteY74" fmla="*/ 3356 h 896301"/>
                  <a:gd name="connsiteX75" fmla="*/ 646318 w 1113613"/>
                  <a:gd name="connsiteY75" fmla="*/ 6601 h 896301"/>
                  <a:gd name="connsiteX76" fmla="*/ 663626 w 1113613"/>
                  <a:gd name="connsiteY76" fmla="*/ 9846 h 896301"/>
                  <a:gd name="connsiteX77" fmla="*/ 680933 w 1113613"/>
                  <a:gd name="connsiteY77" fmla="*/ 13091 h 896301"/>
                  <a:gd name="connsiteX78" fmla="*/ 698240 w 1113613"/>
                  <a:gd name="connsiteY78" fmla="*/ 16877 h 896301"/>
                  <a:gd name="connsiteX79" fmla="*/ 715547 w 1113613"/>
                  <a:gd name="connsiteY79" fmla="*/ 20663 h 896301"/>
                  <a:gd name="connsiteX80" fmla="*/ 731773 w 1113613"/>
                  <a:gd name="connsiteY80" fmla="*/ 27694 h 896301"/>
                  <a:gd name="connsiteX81" fmla="*/ 749080 w 1113613"/>
                  <a:gd name="connsiteY81" fmla="*/ 31480 h 896301"/>
                  <a:gd name="connsiteX82" fmla="*/ 765846 w 1113613"/>
                  <a:gd name="connsiteY82" fmla="*/ 36888 h 896301"/>
                  <a:gd name="connsiteX83" fmla="*/ 782072 w 1113613"/>
                  <a:gd name="connsiteY83" fmla="*/ 44460 h 896301"/>
                  <a:gd name="connsiteX84" fmla="*/ 797756 w 1113613"/>
                  <a:gd name="connsiteY84" fmla="*/ 52573 h 896301"/>
                  <a:gd name="connsiteX85" fmla="*/ 812900 w 1113613"/>
                  <a:gd name="connsiteY85" fmla="*/ 61227 h 896301"/>
                  <a:gd name="connsiteX86" fmla="*/ 829126 w 1113613"/>
                  <a:gd name="connsiteY86" fmla="*/ 67717 h 896301"/>
                  <a:gd name="connsiteX87" fmla="*/ 844811 w 1113613"/>
                  <a:gd name="connsiteY87" fmla="*/ 75830 h 896301"/>
                  <a:gd name="connsiteX88" fmla="*/ 859414 w 1113613"/>
                  <a:gd name="connsiteY88" fmla="*/ 85024 h 896301"/>
                  <a:gd name="connsiteX89" fmla="*/ 872935 w 1113613"/>
                  <a:gd name="connsiteY89" fmla="*/ 96382 h 896301"/>
                  <a:gd name="connsiteX90" fmla="*/ 888079 w 1113613"/>
                  <a:gd name="connsiteY90" fmla="*/ 105576 h 896301"/>
                  <a:gd name="connsiteX91" fmla="*/ 902682 w 1113613"/>
                  <a:gd name="connsiteY91" fmla="*/ 115312 h 896301"/>
                  <a:gd name="connsiteX92" fmla="*/ 915662 w 1113613"/>
                  <a:gd name="connsiteY92" fmla="*/ 127211 h 896301"/>
                  <a:gd name="connsiteX93" fmla="*/ 929184 w 1113613"/>
                  <a:gd name="connsiteY93" fmla="*/ 138568 h 896301"/>
                  <a:gd name="connsiteX94" fmla="*/ 941623 w 1113613"/>
                  <a:gd name="connsiteY94" fmla="*/ 151008 h 896301"/>
                  <a:gd name="connsiteX95" fmla="*/ 955144 w 1113613"/>
                  <a:gd name="connsiteY95" fmla="*/ 162366 h 896301"/>
                  <a:gd name="connsiteX96" fmla="*/ 967584 w 1113613"/>
                  <a:gd name="connsiteY96" fmla="*/ 174806 h 896301"/>
                  <a:gd name="connsiteX97" fmla="*/ 977860 w 1113613"/>
                  <a:gd name="connsiteY97" fmla="*/ 189409 h 896301"/>
                  <a:gd name="connsiteX98" fmla="*/ 989218 w 1113613"/>
                  <a:gd name="connsiteY98" fmla="*/ 202389 h 896301"/>
                  <a:gd name="connsiteX99" fmla="*/ 1001116 w 1113613"/>
                  <a:gd name="connsiteY99" fmla="*/ 215369 h 896301"/>
                  <a:gd name="connsiteX100" fmla="*/ 1011393 w 1113613"/>
                  <a:gd name="connsiteY100" fmla="*/ 229431 h 896301"/>
                  <a:gd name="connsiteX101" fmla="*/ 1022210 w 1113613"/>
                  <a:gd name="connsiteY101" fmla="*/ 243494 h 896301"/>
                  <a:gd name="connsiteX102" fmla="*/ 1030323 w 1113613"/>
                  <a:gd name="connsiteY102" fmla="*/ 259178 h 896301"/>
                  <a:gd name="connsiteX103" fmla="*/ 1040599 w 1113613"/>
                  <a:gd name="connsiteY103" fmla="*/ 273241 h 896301"/>
                  <a:gd name="connsiteX104" fmla="*/ 1048712 w 1113613"/>
                  <a:gd name="connsiteY104" fmla="*/ 288925 h 896301"/>
                  <a:gd name="connsiteX105" fmla="*/ 1056284 w 1113613"/>
                  <a:gd name="connsiteY105" fmla="*/ 304610 h 896301"/>
                  <a:gd name="connsiteX106" fmla="*/ 1065478 w 1113613"/>
                  <a:gd name="connsiteY106" fmla="*/ 319754 h 896301"/>
                  <a:gd name="connsiteX107" fmla="*/ 1072509 w 1113613"/>
                  <a:gd name="connsiteY107" fmla="*/ 335979 h 896301"/>
                  <a:gd name="connsiteX108" fmla="*/ 1079540 w 1113613"/>
                  <a:gd name="connsiteY108" fmla="*/ 352205 h 896301"/>
                  <a:gd name="connsiteX109" fmla="*/ 1084949 w 1113613"/>
                  <a:gd name="connsiteY109" fmla="*/ 368971 h 896301"/>
                  <a:gd name="connsiteX110" fmla="*/ 1090898 w 1113613"/>
                  <a:gd name="connsiteY110" fmla="*/ 385738 h 896301"/>
                  <a:gd name="connsiteX111" fmla="*/ 1096307 w 1113613"/>
                  <a:gd name="connsiteY111" fmla="*/ 402504 h 896301"/>
                  <a:gd name="connsiteX112" fmla="*/ 1101174 w 1113613"/>
                  <a:gd name="connsiteY112" fmla="*/ 419270 h 896301"/>
                  <a:gd name="connsiteX113" fmla="*/ 1104420 w 1113613"/>
                  <a:gd name="connsiteY113" fmla="*/ 436578 h 896301"/>
                  <a:gd name="connsiteX114" fmla="*/ 1108205 w 1113613"/>
                  <a:gd name="connsiteY114" fmla="*/ 453885 h 896301"/>
                  <a:gd name="connsiteX115" fmla="*/ 1113614 w 1113613"/>
                  <a:gd name="connsiteY115" fmla="*/ 470651 h 896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113613" h="896301">
                    <a:moveTo>
                      <a:pt x="112497" y="896302"/>
                    </a:moveTo>
                    <a:cubicBezTo>
                      <a:pt x="108711" y="891434"/>
                      <a:pt x="104385" y="887107"/>
                      <a:pt x="101140" y="882240"/>
                    </a:cubicBezTo>
                    <a:cubicBezTo>
                      <a:pt x="97894" y="877372"/>
                      <a:pt x="93568" y="872504"/>
                      <a:pt x="90323" y="867637"/>
                    </a:cubicBezTo>
                    <a:cubicBezTo>
                      <a:pt x="87077" y="862769"/>
                      <a:pt x="84373" y="857360"/>
                      <a:pt x="81128" y="851952"/>
                    </a:cubicBezTo>
                    <a:cubicBezTo>
                      <a:pt x="77883" y="846543"/>
                      <a:pt x="76260" y="840594"/>
                      <a:pt x="73556" y="835726"/>
                    </a:cubicBezTo>
                    <a:cubicBezTo>
                      <a:pt x="70311" y="830318"/>
                      <a:pt x="67606" y="825450"/>
                      <a:pt x="64902" y="820042"/>
                    </a:cubicBezTo>
                    <a:cubicBezTo>
                      <a:pt x="62198" y="814633"/>
                      <a:pt x="57872" y="809766"/>
                      <a:pt x="55708" y="804357"/>
                    </a:cubicBezTo>
                    <a:cubicBezTo>
                      <a:pt x="53004" y="798948"/>
                      <a:pt x="50840" y="792999"/>
                      <a:pt x="48677" y="787591"/>
                    </a:cubicBezTo>
                    <a:cubicBezTo>
                      <a:pt x="45972" y="782182"/>
                      <a:pt x="44891" y="776233"/>
                      <a:pt x="42727" y="770283"/>
                    </a:cubicBezTo>
                    <a:cubicBezTo>
                      <a:pt x="40564" y="764875"/>
                      <a:pt x="36237" y="760007"/>
                      <a:pt x="34074" y="754058"/>
                    </a:cubicBezTo>
                    <a:cubicBezTo>
                      <a:pt x="31910" y="748649"/>
                      <a:pt x="30288" y="742700"/>
                      <a:pt x="28125" y="736751"/>
                    </a:cubicBezTo>
                    <a:cubicBezTo>
                      <a:pt x="25961" y="730801"/>
                      <a:pt x="24338" y="725393"/>
                      <a:pt x="22716" y="719443"/>
                    </a:cubicBezTo>
                    <a:cubicBezTo>
                      <a:pt x="21093" y="713494"/>
                      <a:pt x="21093" y="707544"/>
                      <a:pt x="19471" y="701595"/>
                    </a:cubicBezTo>
                    <a:cubicBezTo>
                      <a:pt x="17848" y="695646"/>
                      <a:pt x="15144" y="690237"/>
                      <a:pt x="13521" y="684288"/>
                    </a:cubicBezTo>
                    <a:cubicBezTo>
                      <a:pt x="11899" y="678338"/>
                      <a:pt x="10817" y="672389"/>
                      <a:pt x="9736" y="666440"/>
                    </a:cubicBezTo>
                    <a:cubicBezTo>
                      <a:pt x="8653" y="660490"/>
                      <a:pt x="7572" y="654541"/>
                      <a:pt x="6491" y="648592"/>
                    </a:cubicBezTo>
                    <a:cubicBezTo>
                      <a:pt x="5409" y="642642"/>
                      <a:pt x="4868" y="636693"/>
                      <a:pt x="4327" y="630744"/>
                    </a:cubicBezTo>
                    <a:cubicBezTo>
                      <a:pt x="3786" y="624794"/>
                      <a:pt x="3245" y="618845"/>
                      <a:pt x="2704" y="612895"/>
                    </a:cubicBezTo>
                    <a:cubicBezTo>
                      <a:pt x="2164" y="606946"/>
                      <a:pt x="1082" y="600997"/>
                      <a:pt x="1082" y="595047"/>
                    </a:cubicBezTo>
                    <a:cubicBezTo>
                      <a:pt x="541" y="589098"/>
                      <a:pt x="1623" y="583149"/>
                      <a:pt x="1623" y="576658"/>
                    </a:cubicBezTo>
                    <a:cubicBezTo>
                      <a:pt x="1623" y="570709"/>
                      <a:pt x="0" y="564760"/>
                      <a:pt x="0" y="558810"/>
                    </a:cubicBezTo>
                    <a:cubicBezTo>
                      <a:pt x="0" y="552861"/>
                      <a:pt x="541" y="546912"/>
                      <a:pt x="1082" y="541503"/>
                    </a:cubicBezTo>
                    <a:cubicBezTo>
                      <a:pt x="1082" y="535554"/>
                      <a:pt x="1623" y="529604"/>
                      <a:pt x="2164" y="524196"/>
                    </a:cubicBezTo>
                    <a:cubicBezTo>
                      <a:pt x="2704" y="518246"/>
                      <a:pt x="3786" y="512838"/>
                      <a:pt x="4327" y="506889"/>
                    </a:cubicBezTo>
                    <a:cubicBezTo>
                      <a:pt x="4868" y="500939"/>
                      <a:pt x="3245" y="494990"/>
                      <a:pt x="3786" y="489040"/>
                    </a:cubicBezTo>
                    <a:cubicBezTo>
                      <a:pt x="4327" y="483091"/>
                      <a:pt x="5949" y="477682"/>
                      <a:pt x="7031" y="471733"/>
                    </a:cubicBezTo>
                    <a:cubicBezTo>
                      <a:pt x="8113" y="465784"/>
                      <a:pt x="8113" y="459834"/>
                      <a:pt x="9195" y="454426"/>
                    </a:cubicBezTo>
                    <a:cubicBezTo>
                      <a:pt x="10276" y="448476"/>
                      <a:pt x="11358" y="443068"/>
                      <a:pt x="12440" y="437119"/>
                    </a:cubicBezTo>
                    <a:cubicBezTo>
                      <a:pt x="13521" y="431169"/>
                      <a:pt x="14603" y="425761"/>
                      <a:pt x="16226" y="419811"/>
                    </a:cubicBezTo>
                    <a:cubicBezTo>
                      <a:pt x="17848" y="413862"/>
                      <a:pt x="19471" y="408453"/>
                      <a:pt x="21093" y="403045"/>
                    </a:cubicBezTo>
                    <a:cubicBezTo>
                      <a:pt x="22716" y="397636"/>
                      <a:pt x="25961" y="392228"/>
                      <a:pt x="28125" y="386819"/>
                    </a:cubicBezTo>
                    <a:cubicBezTo>
                      <a:pt x="29747" y="381411"/>
                      <a:pt x="30829" y="375461"/>
                      <a:pt x="32992" y="370053"/>
                    </a:cubicBezTo>
                    <a:cubicBezTo>
                      <a:pt x="35155" y="364644"/>
                      <a:pt x="37860" y="359236"/>
                      <a:pt x="40023" y="353827"/>
                    </a:cubicBezTo>
                    <a:cubicBezTo>
                      <a:pt x="42187" y="348419"/>
                      <a:pt x="43268" y="342470"/>
                      <a:pt x="45432" y="337061"/>
                    </a:cubicBezTo>
                    <a:cubicBezTo>
                      <a:pt x="47595" y="331653"/>
                      <a:pt x="50299" y="326244"/>
                      <a:pt x="53004" y="321376"/>
                    </a:cubicBezTo>
                    <a:cubicBezTo>
                      <a:pt x="55708" y="315968"/>
                      <a:pt x="58412" y="311100"/>
                      <a:pt x="61117" y="305692"/>
                    </a:cubicBezTo>
                    <a:cubicBezTo>
                      <a:pt x="63821" y="300283"/>
                      <a:pt x="66525" y="295415"/>
                      <a:pt x="69229" y="290007"/>
                    </a:cubicBezTo>
                    <a:cubicBezTo>
                      <a:pt x="71934" y="285139"/>
                      <a:pt x="74638" y="279190"/>
                      <a:pt x="77342" y="274322"/>
                    </a:cubicBezTo>
                    <a:cubicBezTo>
                      <a:pt x="80587" y="269455"/>
                      <a:pt x="83832" y="264587"/>
                      <a:pt x="87077" y="259719"/>
                    </a:cubicBezTo>
                    <a:cubicBezTo>
                      <a:pt x="90323" y="254852"/>
                      <a:pt x="93568" y="249984"/>
                      <a:pt x="96813" y="245116"/>
                    </a:cubicBezTo>
                    <a:cubicBezTo>
                      <a:pt x="100058" y="240249"/>
                      <a:pt x="104385" y="235922"/>
                      <a:pt x="107630" y="231054"/>
                    </a:cubicBezTo>
                    <a:cubicBezTo>
                      <a:pt x="110875" y="226186"/>
                      <a:pt x="113579" y="220778"/>
                      <a:pt x="116824" y="216451"/>
                    </a:cubicBezTo>
                    <a:cubicBezTo>
                      <a:pt x="120610" y="211583"/>
                      <a:pt x="123314" y="206716"/>
                      <a:pt x="127100" y="202389"/>
                    </a:cubicBezTo>
                    <a:cubicBezTo>
                      <a:pt x="130887" y="198062"/>
                      <a:pt x="134672" y="193735"/>
                      <a:pt x="138458" y="189409"/>
                    </a:cubicBezTo>
                    <a:cubicBezTo>
                      <a:pt x="142244" y="185082"/>
                      <a:pt x="146030" y="180755"/>
                      <a:pt x="150357" y="176428"/>
                    </a:cubicBezTo>
                    <a:cubicBezTo>
                      <a:pt x="154143" y="172101"/>
                      <a:pt x="159551" y="168856"/>
                      <a:pt x="163878" y="165070"/>
                    </a:cubicBezTo>
                    <a:cubicBezTo>
                      <a:pt x="168205" y="161284"/>
                      <a:pt x="170909" y="155335"/>
                      <a:pt x="175236" y="151549"/>
                    </a:cubicBezTo>
                    <a:cubicBezTo>
                      <a:pt x="179563" y="147763"/>
                      <a:pt x="184972" y="144518"/>
                      <a:pt x="189298" y="140732"/>
                    </a:cubicBezTo>
                    <a:cubicBezTo>
                      <a:pt x="193625" y="136946"/>
                      <a:pt x="197952" y="133160"/>
                      <a:pt x="202819" y="129374"/>
                    </a:cubicBezTo>
                    <a:cubicBezTo>
                      <a:pt x="207146" y="125588"/>
                      <a:pt x="212555" y="122884"/>
                      <a:pt x="216881" y="119098"/>
                    </a:cubicBezTo>
                    <a:cubicBezTo>
                      <a:pt x="221749" y="115312"/>
                      <a:pt x="224994" y="109903"/>
                      <a:pt x="229321" y="106658"/>
                    </a:cubicBezTo>
                    <a:cubicBezTo>
                      <a:pt x="234189" y="103413"/>
                      <a:pt x="239057" y="100168"/>
                      <a:pt x="243924" y="96923"/>
                    </a:cubicBezTo>
                    <a:cubicBezTo>
                      <a:pt x="248792" y="93678"/>
                      <a:pt x="253660" y="90433"/>
                      <a:pt x="258527" y="87188"/>
                    </a:cubicBezTo>
                    <a:cubicBezTo>
                      <a:pt x="263395" y="83942"/>
                      <a:pt x="268262" y="80697"/>
                      <a:pt x="273130" y="77452"/>
                    </a:cubicBezTo>
                    <a:cubicBezTo>
                      <a:pt x="277998" y="74207"/>
                      <a:pt x="284488" y="73666"/>
                      <a:pt x="289356" y="70962"/>
                    </a:cubicBezTo>
                    <a:cubicBezTo>
                      <a:pt x="294224" y="68258"/>
                      <a:pt x="298551" y="63390"/>
                      <a:pt x="303959" y="60686"/>
                    </a:cubicBezTo>
                    <a:cubicBezTo>
                      <a:pt x="309368" y="57982"/>
                      <a:pt x="314776" y="56359"/>
                      <a:pt x="320185" y="53655"/>
                    </a:cubicBezTo>
                    <a:cubicBezTo>
                      <a:pt x="325593" y="50950"/>
                      <a:pt x="331002" y="49328"/>
                      <a:pt x="336410" y="47164"/>
                    </a:cubicBezTo>
                    <a:cubicBezTo>
                      <a:pt x="341819" y="45001"/>
                      <a:pt x="347227" y="42838"/>
                      <a:pt x="352636" y="40674"/>
                    </a:cubicBezTo>
                    <a:cubicBezTo>
                      <a:pt x="358044" y="38511"/>
                      <a:pt x="363453" y="35807"/>
                      <a:pt x="368861" y="34184"/>
                    </a:cubicBezTo>
                    <a:cubicBezTo>
                      <a:pt x="374270" y="32021"/>
                      <a:pt x="379137" y="28776"/>
                      <a:pt x="385087" y="26612"/>
                    </a:cubicBezTo>
                    <a:cubicBezTo>
                      <a:pt x="390495" y="24990"/>
                      <a:pt x="396985" y="24449"/>
                      <a:pt x="402394" y="22826"/>
                    </a:cubicBezTo>
                    <a:cubicBezTo>
                      <a:pt x="407802" y="21204"/>
                      <a:pt x="413211" y="18499"/>
                      <a:pt x="419160" y="16877"/>
                    </a:cubicBezTo>
                    <a:cubicBezTo>
                      <a:pt x="424569" y="15254"/>
                      <a:pt x="430518" y="14173"/>
                      <a:pt x="436468" y="12550"/>
                    </a:cubicBezTo>
                    <a:cubicBezTo>
                      <a:pt x="442417" y="11468"/>
                      <a:pt x="447826" y="10387"/>
                      <a:pt x="453775" y="9305"/>
                    </a:cubicBezTo>
                    <a:cubicBezTo>
                      <a:pt x="459724" y="8223"/>
                      <a:pt x="465133" y="6601"/>
                      <a:pt x="471082" y="5519"/>
                    </a:cubicBezTo>
                    <a:cubicBezTo>
                      <a:pt x="477032" y="4437"/>
                      <a:pt x="482981" y="5519"/>
                      <a:pt x="488930" y="4437"/>
                    </a:cubicBezTo>
                    <a:cubicBezTo>
                      <a:pt x="494879" y="3896"/>
                      <a:pt x="500288" y="2815"/>
                      <a:pt x="506237" y="2274"/>
                    </a:cubicBezTo>
                    <a:cubicBezTo>
                      <a:pt x="512187" y="1733"/>
                      <a:pt x="517596" y="651"/>
                      <a:pt x="523545" y="651"/>
                    </a:cubicBezTo>
                    <a:cubicBezTo>
                      <a:pt x="529494" y="110"/>
                      <a:pt x="535443" y="651"/>
                      <a:pt x="541393" y="651"/>
                    </a:cubicBezTo>
                    <a:cubicBezTo>
                      <a:pt x="547342" y="651"/>
                      <a:pt x="553292" y="110"/>
                      <a:pt x="558700" y="110"/>
                    </a:cubicBezTo>
                    <a:cubicBezTo>
                      <a:pt x="564649" y="110"/>
                      <a:pt x="570599" y="1192"/>
                      <a:pt x="576007" y="1192"/>
                    </a:cubicBezTo>
                    <a:cubicBezTo>
                      <a:pt x="581956" y="1192"/>
                      <a:pt x="587906" y="-430"/>
                      <a:pt x="593856" y="110"/>
                    </a:cubicBezTo>
                    <a:cubicBezTo>
                      <a:pt x="599805" y="651"/>
                      <a:pt x="605213" y="2815"/>
                      <a:pt x="611163" y="3356"/>
                    </a:cubicBezTo>
                    <a:cubicBezTo>
                      <a:pt x="617112" y="3896"/>
                      <a:pt x="623062" y="2815"/>
                      <a:pt x="629011" y="3356"/>
                    </a:cubicBezTo>
                    <a:cubicBezTo>
                      <a:pt x="634960" y="3896"/>
                      <a:pt x="640369" y="6060"/>
                      <a:pt x="646318" y="6601"/>
                    </a:cubicBezTo>
                    <a:cubicBezTo>
                      <a:pt x="652267" y="7682"/>
                      <a:pt x="657676" y="8764"/>
                      <a:pt x="663626" y="9846"/>
                    </a:cubicBezTo>
                    <a:cubicBezTo>
                      <a:pt x="669575" y="10927"/>
                      <a:pt x="674983" y="12009"/>
                      <a:pt x="680933" y="13091"/>
                    </a:cubicBezTo>
                    <a:cubicBezTo>
                      <a:pt x="686882" y="14173"/>
                      <a:pt x="692290" y="15254"/>
                      <a:pt x="698240" y="16877"/>
                    </a:cubicBezTo>
                    <a:cubicBezTo>
                      <a:pt x="704189" y="18499"/>
                      <a:pt x="709598" y="19040"/>
                      <a:pt x="715547" y="20663"/>
                    </a:cubicBezTo>
                    <a:cubicBezTo>
                      <a:pt x="720956" y="22285"/>
                      <a:pt x="726364" y="26071"/>
                      <a:pt x="731773" y="27694"/>
                    </a:cubicBezTo>
                    <a:cubicBezTo>
                      <a:pt x="737181" y="29316"/>
                      <a:pt x="743671" y="29857"/>
                      <a:pt x="749080" y="31480"/>
                    </a:cubicBezTo>
                    <a:cubicBezTo>
                      <a:pt x="754488" y="33643"/>
                      <a:pt x="760437" y="34725"/>
                      <a:pt x="765846" y="36888"/>
                    </a:cubicBezTo>
                    <a:cubicBezTo>
                      <a:pt x="771254" y="39052"/>
                      <a:pt x="776663" y="41756"/>
                      <a:pt x="782072" y="44460"/>
                    </a:cubicBezTo>
                    <a:cubicBezTo>
                      <a:pt x="787480" y="46624"/>
                      <a:pt x="792348" y="49869"/>
                      <a:pt x="797756" y="52573"/>
                    </a:cubicBezTo>
                    <a:cubicBezTo>
                      <a:pt x="803165" y="55277"/>
                      <a:pt x="808033" y="58522"/>
                      <a:pt x="812900" y="61227"/>
                    </a:cubicBezTo>
                    <a:cubicBezTo>
                      <a:pt x="818309" y="63931"/>
                      <a:pt x="824258" y="65013"/>
                      <a:pt x="829126" y="67717"/>
                    </a:cubicBezTo>
                    <a:cubicBezTo>
                      <a:pt x="833994" y="70421"/>
                      <a:pt x="839402" y="73125"/>
                      <a:pt x="844811" y="75830"/>
                    </a:cubicBezTo>
                    <a:cubicBezTo>
                      <a:pt x="849678" y="79075"/>
                      <a:pt x="854546" y="82320"/>
                      <a:pt x="859414" y="85024"/>
                    </a:cubicBezTo>
                    <a:cubicBezTo>
                      <a:pt x="864281" y="88269"/>
                      <a:pt x="868067" y="93137"/>
                      <a:pt x="872935" y="96382"/>
                    </a:cubicBezTo>
                    <a:cubicBezTo>
                      <a:pt x="877803" y="99627"/>
                      <a:pt x="883211" y="102331"/>
                      <a:pt x="888079" y="105576"/>
                    </a:cubicBezTo>
                    <a:cubicBezTo>
                      <a:pt x="892946" y="108822"/>
                      <a:pt x="898355" y="111526"/>
                      <a:pt x="902682" y="115312"/>
                    </a:cubicBezTo>
                    <a:cubicBezTo>
                      <a:pt x="907550" y="119098"/>
                      <a:pt x="911335" y="123425"/>
                      <a:pt x="915662" y="127211"/>
                    </a:cubicBezTo>
                    <a:cubicBezTo>
                      <a:pt x="919989" y="130996"/>
                      <a:pt x="924857" y="134242"/>
                      <a:pt x="929184" y="138568"/>
                    </a:cubicBezTo>
                    <a:cubicBezTo>
                      <a:pt x="933510" y="142354"/>
                      <a:pt x="937296" y="147222"/>
                      <a:pt x="941623" y="151008"/>
                    </a:cubicBezTo>
                    <a:cubicBezTo>
                      <a:pt x="945950" y="154794"/>
                      <a:pt x="950818" y="158039"/>
                      <a:pt x="955144" y="162366"/>
                    </a:cubicBezTo>
                    <a:cubicBezTo>
                      <a:pt x="959471" y="166693"/>
                      <a:pt x="963257" y="170479"/>
                      <a:pt x="967584" y="174806"/>
                    </a:cubicBezTo>
                    <a:cubicBezTo>
                      <a:pt x="971370" y="179132"/>
                      <a:pt x="974074" y="184541"/>
                      <a:pt x="977860" y="189409"/>
                    </a:cubicBezTo>
                    <a:cubicBezTo>
                      <a:pt x="981646" y="193735"/>
                      <a:pt x="985432" y="198062"/>
                      <a:pt x="989218" y="202389"/>
                    </a:cubicBezTo>
                    <a:cubicBezTo>
                      <a:pt x="993004" y="206716"/>
                      <a:pt x="997872" y="210502"/>
                      <a:pt x="1001116" y="215369"/>
                    </a:cubicBezTo>
                    <a:cubicBezTo>
                      <a:pt x="1004903" y="220237"/>
                      <a:pt x="1008148" y="224564"/>
                      <a:pt x="1011393" y="229431"/>
                    </a:cubicBezTo>
                    <a:cubicBezTo>
                      <a:pt x="1014638" y="234299"/>
                      <a:pt x="1018965" y="238626"/>
                      <a:pt x="1022210" y="243494"/>
                    </a:cubicBezTo>
                    <a:cubicBezTo>
                      <a:pt x="1025455" y="248361"/>
                      <a:pt x="1027078" y="254311"/>
                      <a:pt x="1030323" y="259178"/>
                    </a:cubicBezTo>
                    <a:cubicBezTo>
                      <a:pt x="1033568" y="264046"/>
                      <a:pt x="1037895" y="268373"/>
                      <a:pt x="1040599" y="273241"/>
                    </a:cubicBezTo>
                    <a:cubicBezTo>
                      <a:pt x="1043844" y="278108"/>
                      <a:pt x="1046007" y="283517"/>
                      <a:pt x="1048712" y="288925"/>
                    </a:cubicBezTo>
                    <a:cubicBezTo>
                      <a:pt x="1051416" y="293793"/>
                      <a:pt x="1053580" y="299742"/>
                      <a:pt x="1056284" y="304610"/>
                    </a:cubicBezTo>
                    <a:cubicBezTo>
                      <a:pt x="1058988" y="310018"/>
                      <a:pt x="1062774" y="314345"/>
                      <a:pt x="1065478" y="319754"/>
                    </a:cubicBezTo>
                    <a:cubicBezTo>
                      <a:pt x="1068182" y="325162"/>
                      <a:pt x="1070346" y="330571"/>
                      <a:pt x="1072509" y="335979"/>
                    </a:cubicBezTo>
                    <a:cubicBezTo>
                      <a:pt x="1074673" y="341388"/>
                      <a:pt x="1077377" y="346796"/>
                      <a:pt x="1079540" y="352205"/>
                    </a:cubicBezTo>
                    <a:cubicBezTo>
                      <a:pt x="1081704" y="357613"/>
                      <a:pt x="1082786" y="363563"/>
                      <a:pt x="1084949" y="368971"/>
                    </a:cubicBezTo>
                    <a:cubicBezTo>
                      <a:pt x="1087112" y="374380"/>
                      <a:pt x="1089276" y="379788"/>
                      <a:pt x="1090898" y="385738"/>
                    </a:cubicBezTo>
                    <a:cubicBezTo>
                      <a:pt x="1092521" y="391146"/>
                      <a:pt x="1094684" y="397096"/>
                      <a:pt x="1096307" y="402504"/>
                    </a:cubicBezTo>
                    <a:cubicBezTo>
                      <a:pt x="1097929" y="407913"/>
                      <a:pt x="1100093" y="413862"/>
                      <a:pt x="1101174" y="419270"/>
                    </a:cubicBezTo>
                    <a:cubicBezTo>
                      <a:pt x="1102797" y="424679"/>
                      <a:pt x="1102797" y="430628"/>
                      <a:pt x="1104420" y="436578"/>
                    </a:cubicBezTo>
                    <a:cubicBezTo>
                      <a:pt x="1105501" y="442527"/>
                      <a:pt x="1107124" y="447936"/>
                      <a:pt x="1108205" y="453885"/>
                    </a:cubicBezTo>
                    <a:cubicBezTo>
                      <a:pt x="1109287" y="459834"/>
                      <a:pt x="1112533" y="465243"/>
                      <a:pt x="1113614" y="47065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DDE0E98-F65D-BBBE-0DC3-7D0F1540A538}"/>
                  </a:ext>
                </a:extLst>
              </p:cNvPr>
              <p:cNvSpPr/>
              <p:nvPr/>
            </p:nvSpPr>
            <p:spPr>
              <a:xfrm flipH="1">
                <a:off x="11384925" y="1778089"/>
                <a:ext cx="77498" cy="32698"/>
              </a:xfrm>
              <a:custGeom>
                <a:avLst/>
                <a:gdLst>
                  <a:gd name="connsiteX0" fmla="*/ 93567 w 93566"/>
                  <a:gd name="connsiteY0" fmla="*/ 0 h 37318"/>
                  <a:gd name="connsiteX1" fmla="*/ 78424 w 93566"/>
                  <a:gd name="connsiteY1" fmla="*/ 7031 h 37318"/>
                  <a:gd name="connsiteX2" fmla="*/ 62739 w 93566"/>
                  <a:gd name="connsiteY2" fmla="*/ 12440 h 37318"/>
                  <a:gd name="connsiteX3" fmla="*/ 47054 w 93566"/>
                  <a:gd name="connsiteY3" fmla="*/ 18930 h 37318"/>
                  <a:gd name="connsiteX4" fmla="*/ 30828 w 93566"/>
                  <a:gd name="connsiteY4" fmla="*/ 23797 h 37318"/>
                  <a:gd name="connsiteX5" fmla="*/ 15143 w 93566"/>
                  <a:gd name="connsiteY5" fmla="*/ 29747 h 37318"/>
                  <a:gd name="connsiteX6" fmla="*/ 0 w 93566"/>
                  <a:gd name="connsiteY6" fmla="*/ 37319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566" h="37318">
                    <a:moveTo>
                      <a:pt x="93567" y="0"/>
                    </a:moveTo>
                    <a:cubicBezTo>
                      <a:pt x="85995" y="3245"/>
                      <a:pt x="85995" y="3786"/>
                      <a:pt x="78424" y="7031"/>
                    </a:cubicBezTo>
                    <a:cubicBezTo>
                      <a:pt x="70851" y="10276"/>
                      <a:pt x="70311" y="9735"/>
                      <a:pt x="62739" y="12440"/>
                    </a:cubicBezTo>
                    <a:cubicBezTo>
                      <a:pt x="55167" y="15685"/>
                      <a:pt x="55167" y="15685"/>
                      <a:pt x="47054" y="18930"/>
                    </a:cubicBezTo>
                    <a:cubicBezTo>
                      <a:pt x="39482" y="22175"/>
                      <a:pt x="38941" y="21093"/>
                      <a:pt x="30828" y="23797"/>
                    </a:cubicBezTo>
                    <a:cubicBezTo>
                      <a:pt x="23256" y="27043"/>
                      <a:pt x="23256" y="27043"/>
                      <a:pt x="15143" y="29747"/>
                    </a:cubicBezTo>
                    <a:cubicBezTo>
                      <a:pt x="7571" y="32992"/>
                      <a:pt x="8113" y="34074"/>
                      <a:pt x="0" y="37319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0117131-4E77-E40A-62BA-C93A137FCC9E}"/>
                  </a:ext>
                </a:extLst>
              </p:cNvPr>
              <p:cNvSpPr/>
              <p:nvPr/>
            </p:nvSpPr>
            <p:spPr>
              <a:xfrm flipH="1">
                <a:off x="11414938" y="1638216"/>
                <a:ext cx="325229" cy="10598"/>
              </a:xfrm>
              <a:custGeom>
                <a:avLst/>
                <a:gdLst>
                  <a:gd name="connsiteX0" fmla="*/ 392658 w 392658"/>
                  <a:gd name="connsiteY0" fmla="*/ 88 h 12096"/>
                  <a:gd name="connsiteX1" fmla="*/ 374810 w 392658"/>
                  <a:gd name="connsiteY1" fmla="*/ 1169 h 12096"/>
                  <a:gd name="connsiteX2" fmla="*/ 356962 w 392658"/>
                  <a:gd name="connsiteY2" fmla="*/ 88 h 12096"/>
                  <a:gd name="connsiteX3" fmla="*/ 339114 w 392658"/>
                  <a:gd name="connsiteY3" fmla="*/ 2792 h 12096"/>
                  <a:gd name="connsiteX4" fmla="*/ 321265 w 392658"/>
                  <a:gd name="connsiteY4" fmla="*/ 2792 h 12096"/>
                  <a:gd name="connsiteX5" fmla="*/ 303418 w 392658"/>
                  <a:gd name="connsiteY5" fmla="*/ 2792 h 12096"/>
                  <a:gd name="connsiteX6" fmla="*/ 285569 w 392658"/>
                  <a:gd name="connsiteY6" fmla="*/ 1710 h 12096"/>
                  <a:gd name="connsiteX7" fmla="*/ 267722 w 392658"/>
                  <a:gd name="connsiteY7" fmla="*/ 2251 h 12096"/>
                  <a:gd name="connsiteX8" fmla="*/ 249873 w 392658"/>
                  <a:gd name="connsiteY8" fmla="*/ 4955 h 12096"/>
                  <a:gd name="connsiteX9" fmla="*/ 232025 w 392658"/>
                  <a:gd name="connsiteY9" fmla="*/ 3873 h 12096"/>
                  <a:gd name="connsiteX10" fmla="*/ 214177 w 392658"/>
                  <a:gd name="connsiteY10" fmla="*/ 4414 h 12096"/>
                  <a:gd name="connsiteX11" fmla="*/ 196329 w 392658"/>
                  <a:gd name="connsiteY11" fmla="*/ 6037 h 12096"/>
                  <a:gd name="connsiteX12" fmla="*/ 178481 w 392658"/>
                  <a:gd name="connsiteY12" fmla="*/ 7659 h 12096"/>
                  <a:gd name="connsiteX13" fmla="*/ 160633 w 392658"/>
                  <a:gd name="connsiteY13" fmla="*/ 7659 h 12096"/>
                  <a:gd name="connsiteX14" fmla="*/ 142784 w 392658"/>
                  <a:gd name="connsiteY14" fmla="*/ 6037 h 12096"/>
                  <a:gd name="connsiteX15" fmla="*/ 124937 w 392658"/>
                  <a:gd name="connsiteY15" fmla="*/ 8200 h 12096"/>
                  <a:gd name="connsiteX16" fmla="*/ 107088 w 392658"/>
                  <a:gd name="connsiteY16" fmla="*/ 9282 h 12096"/>
                  <a:gd name="connsiteX17" fmla="*/ 89241 w 392658"/>
                  <a:gd name="connsiteY17" fmla="*/ 8200 h 12096"/>
                  <a:gd name="connsiteX18" fmla="*/ 71392 w 392658"/>
                  <a:gd name="connsiteY18" fmla="*/ 9823 h 12096"/>
                  <a:gd name="connsiteX19" fmla="*/ 53544 w 392658"/>
                  <a:gd name="connsiteY19" fmla="*/ 10364 h 12096"/>
                  <a:gd name="connsiteX20" fmla="*/ 35696 w 392658"/>
                  <a:gd name="connsiteY20" fmla="*/ 9282 h 12096"/>
                  <a:gd name="connsiteX21" fmla="*/ 17848 w 392658"/>
                  <a:gd name="connsiteY21" fmla="*/ 11986 h 12096"/>
                  <a:gd name="connsiteX22" fmla="*/ 0 w 392658"/>
                  <a:gd name="connsiteY22" fmla="*/ 10905 h 1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92658" h="12096">
                    <a:moveTo>
                      <a:pt x="392658" y="88"/>
                    </a:moveTo>
                    <a:cubicBezTo>
                      <a:pt x="383463" y="628"/>
                      <a:pt x="384005" y="628"/>
                      <a:pt x="374810" y="1169"/>
                    </a:cubicBezTo>
                    <a:cubicBezTo>
                      <a:pt x="365616" y="1710"/>
                      <a:pt x="365616" y="-453"/>
                      <a:pt x="356962" y="88"/>
                    </a:cubicBezTo>
                    <a:cubicBezTo>
                      <a:pt x="347767" y="628"/>
                      <a:pt x="348308" y="2251"/>
                      <a:pt x="339114" y="2792"/>
                    </a:cubicBezTo>
                    <a:cubicBezTo>
                      <a:pt x="329920" y="3333"/>
                      <a:pt x="329920" y="2792"/>
                      <a:pt x="321265" y="2792"/>
                    </a:cubicBezTo>
                    <a:cubicBezTo>
                      <a:pt x="312071" y="3333"/>
                      <a:pt x="312071" y="2792"/>
                      <a:pt x="303418" y="2792"/>
                    </a:cubicBezTo>
                    <a:cubicBezTo>
                      <a:pt x="294223" y="3333"/>
                      <a:pt x="294223" y="1169"/>
                      <a:pt x="285569" y="1710"/>
                    </a:cubicBezTo>
                    <a:cubicBezTo>
                      <a:pt x="276375" y="2251"/>
                      <a:pt x="276375" y="2251"/>
                      <a:pt x="267722" y="2251"/>
                    </a:cubicBezTo>
                    <a:cubicBezTo>
                      <a:pt x="258527" y="2792"/>
                      <a:pt x="259067" y="4414"/>
                      <a:pt x="249873" y="4955"/>
                    </a:cubicBezTo>
                    <a:cubicBezTo>
                      <a:pt x="240679" y="5496"/>
                      <a:pt x="240679" y="3333"/>
                      <a:pt x="232025" y="3873"/>
                    </a:cubicBezTo>
                    <a:cubicBezTo>
                      <a:pt x="222831" y="4414"/>
                      <a:pt x="222831" y="4414"/>
                      <a:pt x="214177" y="4414"/>
                    </a:cubicBezTo>
                    <a:cubicBezTo>
                      <a:pt x="204982" y="4955"/>
                      <a:pt x="205524" y="5496"/>
                      <a:pt x="196329" y="6037"/>
                    </a:cubicBezTo>
                    <a:cubicBezTo>
                      <a:pt x="187135" y="6578"/>
                      <a:pt x="187675" y="7119"/>
                      <a:pt x="178481" y="7659"/>
                    </a:cubicBezTo>
                    <a:cubicBezTo>
                      <a:pt x="169286" y="8200"/>
                      <a:pt x="169286" y="7659"/>
                      <a:pt x="160633" y="7659"/>
                    </a:cubicBezTo>
                    <a:cubicBezTo>
                      <a:pt x="151438" y="8200"/>
                      <a:pt x="151438" y="6037"/>
                      <a:pt x="142784" y="6037"/>
                    </a:cubicBezTo>
                    <a:cubicBezTo>
                      <a:pt x="133590" y="6578"/>
                      <a:pt x="134131" y="8200"/>
                      <a:pt x="124937" y="8200"/>
                    </a:cubicBezTo>
                    <a:cubicBezTo>
                      <a:pt x="115742" y="8200"/>
                      <a:pt x="115742" y="9282"/>
                      <a:pt x="107088" y="9282"/>
                    </a:cubicBezTo>
                    <a:cubicBezTo>
                      <a:pt x="97894" y="9823"/>
                      <a:pt x="97894" y="7659"/>
                      <a:pt x="89241" y="8200"/>
                    </a:cubicBezTo>
                    <a:cubicBezTo>
                      <a:pt x="80046" y="8741"/>
                      <a:pt x="80586" y="9823"/>
                      <a:pt x="71392" y="9823"/>
                    </a:cubicBezTo>
                    <a:cubicBezTo>
                      <a:pt x="62198" y="10364"/>
                      <a:pt x="62198" y="9823"/>
                      <a:pt x="53544" y="10364"/>
                    </a:cubicBezTo>
                    <a:cubicBezTo>
                      <a:pt x="44350" y="10905"/>
                      <a:pt x="44350" y="8741"/>
                      <a:pt x="35696" y="9282"/>
                    </a:cubicBezTo>
                    <a:cubicBezTo>
                      <a:pt x="26501" y="9823"/>
                      <a:pt x="27043" y="11445"/>
                      <a:pt x="17848" y="11986"/>
                    </a:cubicBezTo>
                    <a:cubicBezTo>
                      <a:pt x="8653" y="12527"/>
                      <a:pt x="8653" y="10905"/>
                      <a:pt x="0" y="10905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5BDB1AC-A5FD-2AB1-7D2D-3A6809E2C988}"/>
                  </a:ext>
                </a:extLst>
              </p:cNvPr>
              <p:cNvSpPr/>
              <p:nvPr/>
            </p:nvSpPr>
            <p:spPr>
              <a:xfrm flipH="1">
                <a:off x="11409115" y="1435468"/>
                <a:ext cx="633435" cy="32698"/>
              </a:xfrm>
              <a:custGeom>
                <a:avLst/>
                <a:gdLst>
                  <a:gd name="connsiteX0" fmla="*/ 764764 w 764764"/>
                  <a:gd name="connsiteY0" fmla="*/ 36778 h 37318"/>
                  <a:gd name="connsiteX1" fmla="*/ 747457 w 764764"/>
                  <a:gd name="connsiteY1" fmla="*/ 37319 h 37318"/>
                  <a:gd name="connsiteX2" fmla="*/ 730150 w 764764"/>
                  <a:gd name="connsiteY2" fmla="*/ 36778 h 37318"/>
                  <a:gd name="connsiteX3" fmla="*/ 712843 w 764764"/>
                  <a:gd name="connsiteY3" fmla="*/ 35696 h 37318"/>
                  <a:gd name="connsiteX4" fmla="*/ 695536 w 764764"/>
                  <a:gd name="connsiteY4" fmla="*/ 34074 h 37318"/>
                  <a:gd name="connsiteX5" fmla="*/ 678228 w 764764"/>
                  <a:gd name="connsiteY5" fmla="*/ 33533 h 37318"/>
                  <a:gd name="connsiteX6" fmla="*/ 660921 w 764764"/>
                  <a:gd name="connsiteY6" fmla="*/ 31910 h 37318"/>
                  <a:gd name="connsiteX7" fmla="*/ 643614 w 764764"/>
                  <a:gd name="connsiteY7" fmla="*/ 31910 h 37318"/>
                  <a:gd name="connsiteX8" fmla="*/ 626306 w 764764"/>
                  <a:gd name="connsiteY8" fmla="*/ 30288 h 37318"/>
                  <a:gd name="connsiteX9" fmla="*/ 608999 w 764764"/>
                  <a:gd name="connsiteY9" fmla="*/ 28665 h 37318"/>
                  <a:gd name="connsiteX10" fmla="*/ 591151 w 764764"/>
                  <a:gd name="connsiteY10" fmla="*/ 29747 h 37318"/>
                  <a:gd name="connsiteX11" fmla="*/ 573844 w 764764"/>
                  <a:gd name="connsiteY11" fmla="*/ 28665 h 37318"/>
                  <a:gd name="connsiteX12" fmla="*/ 556536 w 764764"/>
                  <a:gd name="connsiteY12" fmla="*/ 27583 h 37318"/>
                  <a:gd name="connsiteX13" fmla="*/ 539229 w 764764"/>
                  <a:gd name="connsiteY13" fmla="*/ 26502 h 37318"/>
                  <a:gd name="connsiteX14" fmla="*/ 521922 w 764764"/>
                  <a:gd name="connsiteY14" fmla="*/ 24879 h 37318"/>
                  <a:gd name="connsiteX15" fmla="*/ 504615 w 764764"/>
                  <a:gd name="connsiteY15" fmla="*/ 23257 h 37318"/>
                  <a:gd name="connsiteX16" fmla="*/ 487308 w 764764"/>
                  <a:gd name="connsiteY16" fmla="*/ 23797 h 37318"/>
                  <a:gd name="connsiteX17" fmla="*/ 470000 w 764764"/>
                  <a:gd name="connsiteY17" fmla="*/ 22175 h 37318"/>
                  <a:gd name="connsiteX18" fmla="*/ 452152 w 764764"/>
                  <a:gd name="connsiteY18" fmla="*/ 23257 h 37318"/>
                  <a:gd name="connsiteX19" fmla="*/ 434845 w 764764"/>
                  <a:gd name="connsiteY19" fmla="*/ 21093 h 37318"/>
                  <a:gd name="connsiteX20" fmla="*/ 417538 w 764764"/>
                  <a:gd name="connsiteY20" fmla="*/ 20552 h 37318"/>
                  <a:gd name="connsiteX21" fmla="*/ 400231 w 764764"/>
                  <a:gd name="connsiteY21" fmla="*/ 20012 h 37318"/>
                  <a:gd name="connsiteX22" fmla="*/ 382923 w 764764"/>
                  <a:gd name="connsiteY22" fmla="*/ 18930 h 37318"/>
                  <a:gd name="connsiteX23" fmla="*/ 365616 w 764764"/>
                  <a:gd name="connsiteY23" fmla="*/ 17307 h 37318"/>
                  <a:gd name="connsiteX24" fmla="*/ 348308 w 764764"/>
                  <a:gd name="connsiteY24" fmla="*/ 17307 h 37318"/>
                  <a:gd name="connsiteX25" fmla="*/ 331001 w 764764"/>
                  <a:gd name="connsiteY25" fmla="*/ 15144 h 37318"/>
                  <a:gd name="connsiteX26" fmla="*/ 313694 w 764764"/>
                  <a:gd name="connsiteY26" fmla="*/ 15144 h 37318"/>
                  <a:gd name="connsiteX27" fmla="*/ 296387 w 764764"/>
                  <a:gd name="connsiteY27" fmla="*/ 12440 h 37318"/>
                  <a:gd name="connsiteX28" fmla="*/ 279080 w 764764"/>
                  <a:gd name="connsiteY28" fmla="*/ 12440 h 37318"/>
                  <a:gd name="connsiteX29" fmla="*/ 261772 w 764764"/>
                  <a:gd name="connsiteY29" fmla="*/ 12440 h 37318"/>
                  <a:gd name="connsiteX30" fmla="*/ 244465 w 764764"/>
                  <a:gd name="connsiteY30" fmla="*/ 12440 h 37318"/>
                  <a:gd name="connsiteX31" fmla="*/ 227158 w 764764"/>
                  <a:gd name="connsiteY31" fmla="*/ 10817 h 37318"/>
                  <a:gd name="connsiteX32" fmla="*/ 209850 w 764764"/>
                  <a:gd name="connsiteY32" fmla="*/ 8654 h 37318"/>
                  <a:gd name="connsiteX33" fmla="*/ 192543 w 764764"/>
                  <a:gd name="connsiteY33" fmla="*/ 7572 h 37318"/>
                  <a:gd name="connsiteX34" fmla="*/ 174695 w 764764"/>
                  <a:gd name="connsiteY34" fmla="*/ 8654 h 37318"/>
                  <a:gd name="connsiteX35" fmla="*/ 157388 w 764764"/>
                  <a:gd name="connsiteY35" fmla="*/ 8654 h 37318"/>
                  <a:gd name="connsiteX36" fmla="*/ 140080 w 764764"/>
                  <a:gd name="connsiteY36" fmla="*/ 5409 h 37318"/>
                  <a:gd name="connsiteX37" fmla="*/ 122773 w 764764"/>
                  <a:gd name="connsiteY37" fmla="*/ 4868 h 37318"/>
                  <a:gd name="connsiteX38" fmla="*/ 104925 w 764764"/>
                  <a:gd name="connsiteY38" fmla="*/ 5409 h 37318"/>
                  <a:gd name="connsiteX39" fmla="*/ 87618 w 764764"/>
                  <a:gd name="connsiteY39" fmla="*/ 3786 h 37318"/>
                  <a:gd name="connsiteX40" fmla="*/ 69770 w 764764"/>
                  <a:gd name="connsiteY40" fmla="*/ 4868 h 37318"/>
                  <a:gd name="connsiteX41" fmla="*/ 52463 w 764764"/>
                  <a:gd name="connsiteY41" fmla="*/ 3786 h 37318"/>
                  <a:gd name="connsiteX42" fmla="*/ 35155 w 764764"/>
                  <a:gd name="connsiteY42" fmla="*/ 1082 h 37318"/>
                  <a:gd name="connsiteX43" fmla="*/ 17307 w 764764"/>
                  <a:gd name="connsiteY43" fmla="*/ 1623 h 37318"/>
                  <a:gd name="connsiteX44" fmla="*/ 0 w 764764"/>
                  <a:gd name="connsiteY44" fmla="*/ 0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64764" h="37318">
                    <a:moveTo>
                      <a:pt x="764764" y="36778"/>
                    </a:moveTo>
                    <a:cubicBezTo>
                      <a:pt x="756111" y="36237"/>
                      <a:pt x="756111" y="37319"/>
                      <a:pt x="747457" y="37319"/>
                    </a:cubicBezTo>
                    <a:cubicBezTo>
                      <a:pt x="738804" y="36778"/>
                      <a:pt x="738804" y="37319"/>
                      <a:pt x="730150" y="36778"/>
                    </a:cubicBezTo>
                    <a:cubicBezTo>
                      <a:pt x="721496" y="36237"/>
                      <a:pt x="721496" y="35696"/>
                      <a:pt x="712843" y="35696"/>
                    </a:cubicBezTo>
                    <a:cubicBezTo>
                      <a:pt x="704189" y="35155"/>
                      <a:pt x="704189" y="34614"/>
                      <a:pt x="695536" y="34074"/>
                    </a:cubicBezTo>
                    <a:cubicBezTo>
                      <a:pt x="686882" y="33533"/>
                      <a:pt x="686882" y="33533"/>
                      <a:pt x="678228" y="33533"/>
                    </a:cubicBezTo>
                    <a:cubicBezTo>
                      <a:pt x="669574" y="32992"/>
                      <a:pt x="669574" y="32451"/>
                      <a:pt x="660921" y="31910"/>
                    </a:cubicBezTo>
                    <a:cubicBezTo>
                      <a:pt x="652267" y="31370"/>
                      <a:pt x="652267" y="32451"/>
                      <a:pt x="643614" y="31910"/>
                    </a:cubicBezTo>
                    <a:cubicBezTo>
                      <a:pt x="634960" y="31370"/>
                      <a:pt x="634960" y="30829"/>
                      <a:pt x="626306" y="30288"/>
                    </a:cubicBezTo>
                    <a:cubicBezTo>
                      <a:pt x="617653" y="29747"/>
                      <a:pt x="617653" y="29206"/>
                      <a:pt x="608999" y="28665"/>
                    </a:cubicBezTo>
                    <a:cubicBezTo>
                      <a:pt x="600346" y="28124"/>
                      <a:pt x="600346" y="30288"/>
                      <a:pt x="591151" y="29747"/>
                    </a:cubicBezTo>
                    <a:cubicBezTo>
                      <a:pt x="582497" y="29206"/>
                      <a:pt x="582497" y="29206"/>
                      <a:pt x="573844" y="28665"/>
                    </a:cubicBezTo>
                    <a:cubicBezTo>
                      <a:pt x="565190" y="28124"/>
                      <a:pt x="565190" y="28124"/>
                      <a:pt x="556536" y="27583"/>
                    </a:cubicBezTo>
                    <a:cubicBezTo>
                      <a:pt x="547883" y="27043"/>
                      <a:pt x="547883" y="27043"/>
                      <a:pt x="539229" y="26502"/>
                    </a:cubicBezTo>
                    <a:cubicBezTo>
                      <a:pt x="530576" y="25961"/>
                      <a:pt x="530576" y="25420"/>
                      <a:pt x="521922" y="24879"/>
                    </a:cubicBezTo>
                    <a:cubicBezTo>
                      <a:pt x="513268" y="24338"/>
                      <a:pt x="513268" y="23797"/>
                      <a:pt x="504615" y="23257"/>
                    </a:cubicBezTo>
                    <a:cubicBezTo>
                      <a:pt x="495961" y="22716"/>
                      <a:pt x="495961" y="23797"/>
                      <a:pt x="487308" y="23797"/>
                    </a:cubicBezTo>
                    <a:cubicBezTo>
                      <a:pt x="478654" y="23257"/>
                      <a:pt x="478654" y="22716"/>
                      <a:pt x="470000" y="22175"/>
                    </a:cubicBezTo>
                    <a:cubicBezTo>
                      <a:pt x="461346" y="21634"/>
                      <a:pt x="461346" y="23797"/>
                      <a:pt x="452152" y="23257"/>
                    </a:cubicBezTo>
                    <a:cubicBezTo>
                      <a:pt x="443499" y="22716"/>
                      <a:pt x="443499" y="21634"/>
                      <a:pt x="434845" y="21093"/>
                    </a:cubicBezTo>
                    <a:cubicBezTo>
                      <a:pt x="426191" y="20552"/>
                      <a:pt x="426191" y="21093"/>
                      <a:pt x="417538" y="20552"/>
                    </a:cubicBezTo>
                    <a:cubicBezTo>
                      <a:pt x="408884" y="20012"/>
                      <a:pt x="408884" y="20552"/>
                      <a:pt x="400231" y="20012"/>
                    </a:cubicBezTo>
                    <a:cubicBezTo>
                      <a:pt x="391576" y="19471"/>
                      <a:pt x="391576" y="18930"/>
                      <a:pt x="382923" y="18930"/>
                    </a:cubicBezTo>
                    <a:cubicBezTo>
                      <a:pt x="374269" y="18389"/>
                      <a:pt x="374269" y="17848"/>
                      <a:pt x="365616" y="17307"/>
                    </a:cubicBezTo>
                    <a:cubicBezTo>
                      <a:pt x="356963" y="16766"/>
                      <a:pt x="356963" y="17848"/>
                      <a:pt x="348308" y="17307"/>
                    </a:cubicBezTo>
                    <a:cubicBezTo>
                      <a:pt x="339655" y="16766"/>
                      <a:pt x="339655" y="15685"/>
                      <a:pt x="331001" y="15144"/>
                    </a:cubicBezTo>
                    <a:cubicBezTo>
                      <a:pt x="322348" y="14603"/>
                      <a:pt x="322348" y="15685"/>
                      <a:pt x="313694" y="15144"/>
                    </a:cubicBezTo>
                    <a:cubicBezTo>
                      <a:pt x="305040" y="14603"/>
                      <a:pt x="305040" y="12980"/>
                      <a:pt x="296387" y="12440"/>
                    </a:cubicBezTo>
                    <a:cubicBezTo>
                      <a:pt x="287733" y="11899"/>
                      <a:pt x="287733" y="12980"/>
                      <a:pt x="279080" y="12440"/>
                    </a:cubicBezTo>
                    <a:cubicBezTo>
                      <a:pt x="270426" y="11899"/>
                      <a:pt x="270426" y="12980"/>
                      <a:pt x="261772" y="12440"/>
                    </a:cubicBezTo>
                    <a:cubicBezTo>
                      <a:pt x="253119" y="11899"/>
                      <a:pt x="253119" y="12980"/>
                      <a:pt x="244465" y="12440"/>
                    </a:cubicBezTo>
                    <a:cubicBezTo>
                      <a:pt x="235812" y="11899"/>
                      <a:pt x="235812" y="11358"/>
                      <a:pt x="227158" y="10817"/>
                    </a:cubicBezTo>
                    <a:cubicBezTo>
                      <a:pt x="218504" y="10276"/>
                      <a:pt x="218504" y="9195"/>
                      <a:pt x="209850" y="8654"/>
                    </a:cubicBezTo>
                    <a:cubicBezTo>
                      <a:pt x="201197" y="8113"/>
                      <a:pt x="201197" y="7572"/>
                      <a:pt x="192543" y="7572"/>
                    </a:cubicBezTo>
                    <a:cubicBezTo>
                      <a:pt x="183890" y="7031"/>
                      <a:pt x="183890" y="9195"/>
                      <a:pt x="174695" y="8654"/>
                    </a:cubicBezTo>
                    <a:cubicBezTo>
                      <a:pt x="166042" y="8113"/>
                      <a:pt x="166042" y="8654"/>
                      <a:pt x="157388" y="8654"/>
                    </a:cubicBezTo>
                    <a:cubicBezTo>
                      <a:pt x="148735" y="8113"/>
                      <a:pt x="148735" y="5949"/>
                      <a:pt x="140080" y="5409"/>
                    </a:cubicBezTo>
                    <a:cubicBezTo>
                      <a:pt x="131427" y="4868"/>
                      <a:pt x="131427" y="5409"/>
                      <a:pt x="122773" y="4868"/>
                    </a:cubicBezTo>
                    <a:cubicBezTo>
                      <a:pt x="114120" y="4327"/>
                      <a:pt x="114120" y="5949"/>
                      <a:pt x="104925" y="5409"/>
                    </a:cubicBezTo>
                    <a:cubicBezTo>
                      <a:pt x="96272" y="4868"/>
                      <a:pt x="96272" y="3786"/>
                      <a:pt x="87618" y="3786"/>
                    </a:cubicBezTo>
                    <a:cubicBezTo>
                      <a:pt x="78965" y="3245"/>
                      <a:pt x="78965" y="5409"/>
                      <a:pt x="69770" y="4868"/>
                    </a:cubicBezTo>
                    <a:cubicBezTo>
                      <a:pt x="61116" y="4327"/>
                      <a:pt x="61116" y="4327"/>
                      <a:pt x="52463" y="3786"/>
                    </a:cubicBezTo>
                    <a:cubicBezTo>
                      <a:pt x="43809" y="3245"/>
                      <a:pt x="43809" y="1623"/>
                      <a:pt x="35155" y="1082"/>
                    </a:cubicBezTo>
                    <a:cubicBezTo>
                      <a:pt x="26502" y="541"/>
                      <a:pt x="26502" y="1623"/>
                      <a:pt x="17307" y="1623"/>
                    </a:cubicBezTo>
                    <a:cubicBezTo>
                      <a:pt x="8654" y="1082"/>
                      <a:pt x="8654" y="54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099791C-EEA8-29B4-BA4C-40E33D672332}"/>
                  </a:ext>
                </a:extLst>
              </p:cNvPr>
              <p:cNvSpPr/>
              <p:nvPr/>
            </p:nvSpPr>
            <p:spPr>
              <a:xfrm flipH="1">
                <a:off x="11365662" y="1164403"/>
                <a:ext cx="749908" cy="161596"/>
              </a:xfrm>
              <a:custGeom>
                <a:avLst/>
                <a:gdLst>
                  <a:gd name="connsiteX0" fmla="*/ 905386 w 905385"/>
                  <a:gd name="connsiteY0" fmla="*/ 184430 h 184430"/>
                  <a:gd name="connsiteX1" fmla="*/ 888078 w 905385"/>
                  <a:gd name="connsiteY1" fmla="*/ 180104 h 184430"/>
                  <a:gd name="connsiteX2" fmla="*/ 870771 w 905385"/>
                  <a:gd name="connsiteY2" fmla="*/ 175777 h 184430"/>
                  <a:gd name="connsiteX3" fmla="*/ 853464 w 905385"/>
                  <a:gd name="connsiteY3" fmla="*/ 172532 h 184430"/>
                  <a:gd name="connsiteX4" fmla="*/ 835616 w 905385"/>
                  <a:gd name="connsiteY4" fmla="*/ 169828 h 184430"/>
                  <a:gd name="connsiteX5" fmla="*/ 818309 w 905385"/>
                  <a:gd name="connsiteY5" fmla="*/ 164960 h 184430"/>
                  <a:gd name="connsiteX6" fmla="*/ 801001 w 905385"/>
                  <a:gd name="connsiteY6" fmla="*/ 161715 h 184430"/>
                  <a:gd name="connsiteX7" fmla="*/ 783694 w 905385"/>
                  <a:gd name="connsiteY7" fmla="*/ 158470 h 184430"/>
                  <a:gd name="connsiteX8" fmla="*/ 766387 w 905385"/>
                  <a:gd name="connsiteY8" fmla="*/ 154684 h 184430"/>
                  <a:gd name="connsiteX9" fmla="*/ 748539 w 905385"/>
                  <a:gd name="connsiteY9" fmla="*/ 151979 h 184430"/>
                  <a:gd name="connsiteX10" fmla="*/ 731231 w 905385"/>
                  <a:gd name="connsiteY10" fmla="*/ 148734 h 184430"/>
                  <a:gd name="connsiteX11" fmla="*/ 713924 w 905385"/>
                  <a:gd name="connsiteY11" fmla="*/ 143867 h 184430"/>
                  <a:gd name="connsiteX12" fmla="*/ 696076 w 905385"/>
                  <a:gd name="connsiteY12" fmla="*/ 141703 h 184430"/>
                  <a:gd name="connsiteX13" fmla="*/ 678769 w 905385"/>
                  <a:gd name="connsiteY13" fmla="*/ 136836 h 184430"/>
                  <a:gd name="connsiteX14" fmla="*/ 660921 w 905385"/>
                  <a:gd name="connsiteY14" fmla="*/ 134131 h 184430"/>
                  <a:gd name="connsiteX15" fmla="*/ 643614 w 905385"/>
                  <a:gd name="connsiteY15" fmla="*/ 131427 h 184430"/>
                  <a:gd name="connsiteX16" fmla="*/ 626307 w 905385"/>
                  <a:gd name="connsiteY16" fmla="*/ 128182 h 184430"/>
                  <a:gd name="connsiteX17" fmla="*/ 608999 w 905385"/>
                  <a:gd name="connsiteY17" fmla="*/ 124396 h 184430"/>
                  <a:gd name="connsiteX18" fmla="*/ 592233 w 905385"/>
                  <a:gd name="connsiteY18" fmla="*/ 118987 h 184430"/>
                  <a:gd name="connsiteX19" fmla="*/ 574384 w 905385"/>
                  <a:gd name="connsiteY19" fmla="*/ 116824 h 184430"/>
                  <a:gd name="connsiteX20" fmla="*/ 557077 w 905385"/>
                  <a:gd name="connsiteY20" fmla="*/ 112497 h 184430"/>
                  <a:gd name="connsiteX21" fmla="*/ 539770 w 905385"/>
                  <a:gd name="connsiteY21" fmla="*/ 108711 h 184430"/>
                  <a:gd name="connsiteX22" fmla="*/ 522463 w 905385"/>
                  <a:gd name="connsiteY22" fmla="*/ 106007 h 184430"/>
                  <a:gd name="connsiteX23" fmla="*/ 505156 w 905385"/>
                  <a:gd name="connsiteY23" fmla="*/ 101139 h 184430"/>
                  <a:gd name="connsiteX24" fmla="*/ 487848 w 905385"/>
                  <a:gd name="connsiteY24" fmla="*/ 97353 h 184430"/>
                  <a:gd name="connsiteX25" fmla="*/ 470541 w 905385"/>
                  <a:gd name="connsiteY25" fmla="*/ 94649 h 184430"/>
                  <a:gd name="connsiteX26" fmla="*/ 453234 w 905385"/>
                  <a:gd name="connsiteY26" fmla="*/ 90863 h 184430"/>
                  <a:gd name="connsiteX27" fmla="*/ 435386 w 905385"/>
                  <a:gd name="connsiteY27" fmla="*/ 88700 h 184430"/>
                  <a:gd name="connsiteX28" fmla="*/ 418079 w 905385"/>
                  <a:gd name="connsiteY28" fmla="*/ 85455 h 184430"/>
                  <a:gd name="connsiteX29" fmla="*/ 400771 w 905385"/>
                  <a:gd name="connsiteY29" fmla="*/ 81669 h 184430"/>
                  <a:gd name="connsiteX30" fmla="*/ 383464 w 905385"/>
                  <a:gd name="connsiteY30" fmla="*/ 77342 h 184430"/>
                  <a:gd name="connsiteX31" fmla="*/ 366156 w 905385"/>
                  <a:gd name="connsiteY31" fmla="*/ 73556 h 184430"/>
                  <a:gd name="connsiteX32" fmla="*/ 348309 w 905385"/>
                  <a:gd name="connsiteY32" fmla="*/ 70852 h 184430"/>
                  <a:gd name="connsiteX33" fmla="*/ 331001 w 905385"/>
                  <a:gd name="connsiteY33" fmla="*/ 67606 h 184430"/>
                  <a:gd name="connsiteX34" fmla="*/ 314235 w 905385"/>
                  <a:gd name="connsiteY34" fmla="*/ 61657 h 184430"/>
                  <a:gd name="connsiteX35" fmla="*/ 296387 w 905385"/>
                  <a:gd name="connsiteY35" fmla="*/ 59494 h 184430"/>
                  <a:gd name="connsiteX36" fmla="*/ 279079 w 905385"/>
                  <a:gd name="connsiteY36" fmla="*/ 56789 h 184430"/>
                  <a:gd name="connsiteX37" fmla="*/ 261772 w 905385"/>
                  <a:gd name="connsiteY37" fmla="*/ 51922 h 184430"/>
                  <a:gd name="connsiteX38" fmla="*/ 243924 w 905385"/>
                  <a:gd name="connsiteY38" fmla="*/ 50299 h 184430"/>
                  <a:gd name="connsiteX39" fmla="*/ 227158 w 905385"/>
                  <a:gd name="connsiteY39" fmla="*/ 44891 h 184430"/>
                  <a:gd name="connsiteX40" fmla="*/ 209851 w 905385"/>
                  <a:gd name="connsiteY40" fmla="*/ 41105 h 184430"/>
                  <a:gd name="connsiteX41" fmla="*/ 192002 w 905385"/>
                  <a:gd name="connsiteY41" fmla="*/ 39482 h 184430"/>
                  <a:gd name="connsiteX42" fmla="*/ 174695 w 905385"/>
                  <a:gd name="connsiteY42" fmla="*/ 34074 h 184430"/>
                  <a:gd name="connsiteX43" fmla="*/ 156847 w 905385"/>
                  <a:gd name="connsiteY43" fmla="*/ 32451 h 184430"/>
                  <a:gd name="connsiteX44" fmla="*/ 139540 w 905385"/>
                  <a:gd name="connsiteY44" fmla="*/ 27583 h 184430"/>
                  <a:gd name="connsiteX45" fmla="*/ 121692 w 905385"/>
                  <a:gd name="connsiteY45" fmla="*/ 24879 h 184430"/>
                  <a:gd name="connsiteX46" fmla="*/ 104384 w 905385"/>
                  <a:gd name="connsiteY46" fmla="*/ 20552 h 184430"/>
                  <a:gd name="connsiteX47" fmla="*/ 87077 w 905385"/>
                  <a:gd name="connsiteY47" fmla="*/ 17307 h 184430"/>
                  <a:gd name="connsiteX48" fmla="*/ 69229 w 905385"/>
                  <a:gd name="connsiteY48" fmla="*/ 14603 h 184430"/>
                  <a:gd name="connsiteX49" fmla="*/ 51922 w 905385"/>
                  <a:gd name="connsiteY49" fmla="*/ 11899 h 184430"/>
                  <a:gd name="connsiteX50" fmla="*/ 34615 w 905385"/>
                  <a:gd name="connsiteY50" fmla="*/ 8113 h 184430"/>
                  <a:gd name="connsiteX51" fmla="*/ 17307 w 905385"/>
                  <a:gd name="connsiteY51" fmla="*/ 3786 h 184430"/>
                  <a:gd name="connsiteX52" fmla="*/ 0 w 905385"/>
                  <a:gd name="connsiteY52" fmla="*/ 0 h 18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05385" h="184430">
                    <a:moveTo>
                      <a:pt x="905386" y="184430"/>
                    </a:moveTo>
                    <a:cubicBezTo>
                      <a:pt x="896732" y="182808"/>
                      <a:pt x="896732" y="181726"/>
                      <a:pt x="888078" y="180104"/>
                    </a:cubicBezTo>
                    <a:cubicBezTo>
                      <a:pt x="879425" y="178481"/>
                      <a:pt x="879425" y="177399"/>
                      <a:pt x="870771" y="175777"/>
                    </a:cubicBezTo>
                    <a:cubicBezTo>
                      <a:pt x="862118" y="174154"/>
                      <a:pt x="862118" y="174154"/>
                      <a:pt x="853464" y="172532"/>
                    </a:cubicBezTo>
                    <a:cubicBezTo>
                      <a:pt x="844810" y="170909"/>
                      <a:pt x="844810" y="171991"/>
                      <a:pt x="835616" y="169828"/>
                    </a:cubicBezTo>
                    <a:cubicBezTo>
                      <a:pt x="826962" y="168205"/>
                      <a:pt x="826962" y="167123"/>
                      <a:pt x="818309" y="164960"/>
                    </a:cubicBezTo>
                    <a:cubicBezTo>
                      <a:pt x="809655" y="163337"/>
                      <a:pt x="809655" y="163337"/>
                      <a:pt x="801001" y="161715"/>
                    </a:cubicBezTo>
                    <a:cubicBezTo>
                      <a:pt x="792348" y="160092"/>
                      <a:pt x="792348" y="160092"/>
                      <a:pt x="783694" y="158470"/>
                    </a:cubicBezTo>
                    <a:cubicBezTo>
                      <a:pt x="775041" y="156847"/>
                      <a:pt x="775041" y="156306"/>
                      <a:pt x="766387" y="154684"/>
                    </a:cubicBezTo>
                    <a:cubicBezTo>
                      <a:pt x="757733" y="153061"/>
                      <a:pt x="757733" y="154143"/>
                      <a:pt x="748539" y="151979"/>
                    </a:cubicBezTo>
                    <a:cubicBezTo>
                      <a:pt x="739885" y="150357"/>
                      <a:pt x="739885" y="150357"/>
                      <a:pt x="731231" y="148734"/>
                    </a:cubicBezTo>
                    <a:cubicBezTo>
                      <a:pt x="722578" y="147112"/>
                      <a:pt x="722578" y="145489"/>
                      <a:pt x="713924" y="143867"/>
                    </a:cubicBezTo>
                    <a:cubicBezTo>
                      <a:pt x="705271" y="142244"/>
                      <a:pt x="704730" y="143867"/>
                      <a:pt x="696076" y="141703"/>
                    </a:cubicBezTo>
                    <a:cubicBezTo>
                      <a:pt x="687422" y="140081"/>
                      <a:pt x="687422" y="138458"/>
                      <a:pt x="678769" y="136836"/>
                    </a:cubicBezTo>
                    <a:cubicBezTo>
                      <a:pt x="670115" y="135213"/>
                      <a:pt x="670115" y="136295"/>
                      <a:pt x="660921" y="134131"/>
                    </a:cubicBezTo>
                    <a:cubicBezTo>
                      <a:pt x="652267" y="132509"/>
                      <a:pt x="652267" y="133050"/>
                      <a:pt x="643614" y="131427"/>
                    </a:cubicBezTo>
                    <a:cubicBezTo>
                      <a:pt x="634960" y="129804"/>
                      <a:pt x="634960" y="129804"/>
                      <a:pt x="626307" y="128182"/>
                    </a:cubicBezTo>
                    <a:cubicBezTo>
                      <a:pt x="617652" y="126559"/>
                      <a:pt x="617652" y="126559"/>
                      <a:pt x="608999" y="124396"/>
                    </a:cubicBezTo>
                    <a:cubicBezTo>
                      <a:pt x="600345" y="122773"/>
                      <a:pt x="600886" y="120610"/>
                      <a:pt x="592233" y="118987"/>
                    </a:cubicBezTo>
                    <a:cubicBezTo>
                      <a:pt x="583579" y="117365"/>
                      <a:pt x="583038" y="118447"/>
                      <a:pt x="574384" y="116824"/>
                    </a:cubicBezTo>
                    <a:cubicBezTo>
                      <a:pt x="565731" y="115201"/>
                      <a:pt x="565731" y="114661"/>
                      <a:pt x="557077" y="112497"/>
                    </a:cubicBezTo>
                    <a:cubicBezTo>
                      <a:pt x="548424" y="110334"/>
                      <a:pt x="548424" y="110875"/>
                      <a:pt x="539770" y="108711"/>
                    </a:cubicBezTo>
                    <a:cubicBezTo>
                      <a:pt x="531116" y="107089"/>
                      <a:pt x="531116" y="107630"/>
                      <a:pt x="522463" y="106007"/>
                    </a:cubicBezTo>
                    <a:cubicBezTo>
                      <a:pt x="513809" y="104384"/>
                      <a:pt x="513809" y="102762"/>
                      <a:pt x="505156" y="101139"/>
                    </a:cubicBezTo>
                    <a:cubicBezTo>
                      <a:pt x="496502" y="99517"/>
                      <a:pt x="496502" y="98976"/>
                      <a:pt x="487848" y="97353"/>
                    </a:cubicBezTo>
                    <a:cubicBezTo>
                      <a:pt x="479195" y="95731"/>
                      <a:pt x="479195" y="96272"/>
                      <a:pt x="470541" y="94649"/>
                    </a:cubicBezTo>
                    <a:cubicBezTo>
                      <a:pt x="461888" y="93026"/>
                      <a:pt x="461888" y="92486"/>
                      <a:pt x="453234" y="90863"/>
                    </a:cubicBezTo>
                    <a:cubicBezTo>
                      <a:pt x="444580" y="89241"/>
                      <a:pt x="444039" y="90322"/>
                      <a:pt x="435386" y="88700"/>
                    </a:cubicBezTo>
                    <a:cubicBezTo>
                      <a:pt x="426732" y="87077"/>
                      <a:pt x="426732" y="87077"/>
                      <a:pt x="418079" y="85455"/>
                    </a:cubicBezTo>
                    <a:cubicBezTo>
                      <a:pt x="409425" y="83832"/>
                      <a:pt x="409425" y="83291"/>
                      <a:pt x="400771" y="81669"/>
                    </a:cubicBezTo>
                    <a:cubicBezTo>
                      <a:pt x="392118" y="80046"/>
                      <a:pt x="392118" y="78964"/>
                      <a:pt x="383464" y="77342"/>
                    </a:cubicBezTo>
                    <a:cubicBezTo>
                      <a:pt x="374811" y="75719"/>
                      <a:pt x="374811" y="75719"/>
                      <a:pt x="366156" y="73556"/>
                    </a:cubicBezTo>
                    <a:cubicBezTo>
                      <a:pt x="357503" y="71933"/>
                      <a:pt x="357503" y="72474"/>
                      <a:pt x="348309" y="70852"/>
                    </a:cubicBezTo>
                    <a:cubicBezTo>
                      <a:pt x="339655" y="69229"/>
                      <a:pt x="339655" y="69770"/>
                      <a:pt x="331001" y="67606"/>
                    </a:cubicBezTo>
                    <a:cubicBezTo>
                      <a:pt x="322348" y="65984"/>
                      <a:pt x="322888" y="63280"/>
                      <a:pt x="314235" y="61657"/>
                    </a:cubicBezTo>
                    <a:cubicBezTo>
                      <a:pt x="305581" y="60035"/>
                      <a:pt x="305041" y="61657"/>
                      <a:pt x="296387" y="59494"/>
                    </a:cubicBezTo>
                    <a:cubicBezTo>
                      <a:pt x="287733" y="57871"/>
                      <a:pt x="287733" y="58412"/>
                      <a:pt x="279079" y="56789"/>
                    </a:cubicBezTo>
                    <a:cubicBezTo>
                      <a:pt x="270426" y="55167"/>
                      <a:pt x="270426" y="53544"/>
                      <a:pt x="261772" y="51922"/>
                    </a:cubicBezTo>
                    <a:cubicBezTo>
                      <a:pt x="253119" y="50299"/>
                      <a:pt x="252578" y="51922"/>
                      <a:pt x="243924" y="50299"/>
                    </a:cubicBezTo>
                    <a:cubicBezTo>
                      <a:pt x="235271" y="48677"/>
                      <a:pt x="235811" y="46513"/>
                      <a:pt x="227158" y="44891"/>
                    </a:cubicBezTo>
                    <a:cubicBezTo>
                      <a:pt x="218504" y="43268"/>
                      <a:pt x="218504" y="42727"/>
                      <a:pt x="209851" y="41105"/>
                    </a:cubicBezTo>
                    <a:cubicBezTo>
                      <a:pt x="201197" y="39482"/>
                      <a:pt x="200656" y="41105"/>
                      <a:pt x="192002" y="39482"/>
                    </a:cubicBezTo>
                    <a:cubicBezTo>
                      <a:pt x="183349" y="37860"/>
                      <a:pt x="183890" y="35696"/>
                      <a:pt x="174695" y="34074"/>
                    </a:cubicBezTo>
                    <a:cubicBezTo>
                      <a:pt x="166042" y="32451"/>
                      <a:pt x="165501" y="34074"/>
                      <a:pt x="156847" y="32451"/>
                    </a:cubicBezTo>
                    <a:cubicBezTo>
                      <a:pt x="148194" y="30829"/>
                      <a:pt x="148194" y="29206"/>
                      <a:pt x="139540" y="27583"/>
                    </a:cubicBezTo>
                    <a:cubicBezTo>
                      <a:pt x="130886" y="25961"/>
                      <a:pt x="130886" y="26502"/>
                      <a:pt x="121692" y="24879"/>
                    </a:cubicBezTo>
                    <a:cubicBezTo>
                      <a:pt x="112497" y="23257"/>
                      <a:pt x="113038" y="22175"/>
                      <a:pt x="104384" y="20552"/>
                    </a:cubicBezTo>
                    <a:cubicBezTo>
                      <a:pt x="95731" y="18930"/>
                      <a:pt x="95731" y="18930"/>
                      <a:pt x="87077" y="17307"/>
                    </a:cubicBezTo>
                    <a:cubicBezTo>
                      <a:pt x="78424" y="15685"/>
                      <a:pt x="78424" y="16226"/>
                      <a:pt x="69229" y="14603"/>
                    </a:cubicBezTo>
                    <a:cubicBezTo>
                      <a:pt x="60575" y="12980"/>
                      <a:pt x="60575" y="13521"/>
                      <a:pt x="51922" y="11899"/>
                    </a:cubicBezTo>
                    <a:cubicBezTo>
                      <a:pt x="43268" y="10276"/>
                      <a:pt x="43268" y="10276"/>
                      <a:pt x="34615" y="8113"/>
                    </a:cubicBezTo>
                    <a:cubicBezTo>
                      <a:pt x="25961" y="6490"/>
                      <a:pt x="25961" y="5409"/>
                      <a:pt x="17307" y="3786"/>
                    </a:cubicBezTo>
                    <a:cubicBezTo>
                      <a:pt x="8653" y="2163"/>
                      <a:pt x="8653" y="162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F5B58C7-19CC-9718-589D-1285F31ADB77}"/>
                  </a:ext>
                </a:extLst>
              </p:cNvPr>
              <p:cNvSpPr/>
              <p:nvPr/>
            </p:nvSpPr>
            <p:spPr>
              <a:xfrm flipH="1">
                <a:off x="11274724" y="652129"/>
                <a:ext cx="752148" cy="529808"/>
              </a:xfrm>
              <a:custGeom>
                <a:avLst/>
                <a:gdLst>
                  <a:gd name="connsiteX0" fmla="*/ 908090 w 908089"/>
                  <a:gd name="connsiteY0" fmla="*/ 604672 h 604672"/>
                  <a:gd name="connsiteX1" fmla="*/ 892406 w 908089"/>
                  <a:gd name="connsiteY1" fmla="*/ 596559 h 604672"/>
                  <a:gd name="connsiteX2" fmla="*/ 877802 w 908089"/>
                  <a:gd name="connsiteY2" fmla="*/ 586824 h 604672"/>
                  <a:gd name="connsiteX3" fmla="*/ 864281 w 908089"/>
                  <a:gd name="connsiteY3" fmla="*/ 575466 h 604672"/>
                  <a:gd name="connsiteX4" fmla="*/ 849678 w 908089"/>
                  <a:gd name="connsiteY4" fmla="*/ 566272 h 604672"/>
                  <a:gd name="connsiteX5" fmla="*/ 835075 w 908089"/>
                  <a:gd name="connsiteY5" fmla="*/ 557077 h 604672"/>
                  <a:gd name="connsiteX6" fmla="*/ 821013 w 908089"/>
                  <a:gd name="connsiteY6" fmla="*/ 546260 h 604672"/>
                  <a:gd name="connsiteX7" fmla="*/ 805328 w 908089"/>
                  <a:gd name="connsiteY7" fmla="*/ 538148 h 604672"/>
                  <a:gd name="connsiteX8" fmla="*/ 791266 w 908089"/>
                  <a:gd name="connsiteY8" fmla="*/ 527871 h 604672"/>
                  <a:gd name="connsiteX9" fmla="*/ 776123 w 908089"/>
                  <a:gd name="connsiteY9" fmla="*/ 518677 h 604672"/>
                  <a:gd name="connsiteX10" fmla="*/ 760979 w 908089"/>
                  <a:gd name="connsiteY10" fmla="*/ 509482 h 604672"/>
                  <a:gd name="connsiteX11" fmla="*/ 746376 w 908089"/>
                  <a:gd name="connsiteY11" fmla="*/ 499747 h 604672"/>
                  <a:gd name="connsiteX12" fmla="*/ 732313 w 908089"/>
                  <a:gd name="connsiteY12" fmla="*/ 488930 h 604672"/>
                  <a:gd name="connsiteX13" fmla="*/ 717710 w 908089"/>
                  <a:gd name="connsiteY13" fmla="*/ 479195 h 604672"/>
                  <a:gd name="connsiteX14" fmla="*/ 703108 w 908089"/>
                  <a:gd name="connsiteY14" fmla="*/ 469459 h 604672"/>
                  <a:gd name="connsiteX15" fmla="*/ 689045 w 908089"/>
                  <a:gd name="connsiteY15" fmla="*/ 458642 h 604672"/>
                  <a:gd name="connsiteX16" fmla="*/ 673902 w 908089"/>
                  <a:gd name="connsiteY16" fmla="*/ 449448 h 604672"/>
                  <a:gd name="connsiteX17" fmla="*/ 659298 w 908089"/>
                  <a:gd name="connsiteY17" fmla="*/ 439712 h 604672"/>
                  <a:gd name="connsiteX18" fmla="*/ 644695 w 908089"/>
                  <a:gd name="connsiteY18" fmla="*/ 429977 h 604672"/>
                  <a:gd name="connsiteX19" fmla="*/ 629551 w 908089"/>
                  <a:gd name="connsiteY19" fmla="*/ 421324 h 604672"/>
                  <a:gd name="connsiteX20" fmla="*/ 616030 w 908089"/>
                  <a:gd name="connsiteY20" fmla="*/ 409966 h 604672"/>
                  <a:gd name="connsiteX21" fmla="*/ 600887 w 908089"/>
                  <a:gd name="connsiteY21" fmla="*/ 400771 h 604672"/>
                  <a:gd name="connsiteX22" fmla="*/ 585742 w 908089"/>
                  <a:gd name="connsiteY22" fmla="*/ 391577 h 604672"/>
                  <a:gd name="connsiteX23" fmla="*/ 570599 w 908089"/>
                  <a:gd name="connsiteY23" fmla="*/ 382382 h 604672"/>
                  <a:gd name="connsiteX24" fmla="*/ 555996 w 908089"/>
                  <a:gd name="connsiteY24" fmla="*/ 372647 h 604672"/>
                  <a:gd name="connsiteX25" fmla="*/ 541934 w 908089"/>
                  <a:gd name="connsiteY25" fmla="*/ 361830 h 604672"/>
                  <a:gd name="connsiteX26" fmla="*/ 527331 w 908089"/>
                  <a:gd name="connsiteY26" fmla="*/ 352094 h 604672"/>
                  <a:gd name="connsiteX27" fmla="*/ 512187 w 908089"/>
                  <a:gd name="connsiteY27" fmla="*/ 342900 h 604672"/>
                  <a:gd name="connsiteX28" fmla="*/ 497584 w 908089"/>
                  <a:gd name="connsiteY28" fmla="*/ 333165 h 604672"/>
                  <a:gd name="connsiteX29" fmla="*/ 483521 w 908089"/>
                  <a:gd name="connsiteY29" fmla="*/ 322348 h 604672"/>
                  <a:gd name="connsiteX30" fmla="*/ 469459 w 908089"/>
                  <a:gd name="connsiteY30" fmla="*/ 312071 h 604672"/>
                  <a:gd name="connsiteX31" fmla="*/ 454316 w 908089"/>
                  <a:gd name="connsiteY31" fmla="*/ 302877 h 604672"/>
                  <a:gd name="connsiteX32" fmla="*/ 440253 w 908089"/>
                  <a:gd name="connsiteY32" fmla="*/ 292601 h 604672"/>
                  <a:gd name="connsiteX33" fmla="*/ 425650 w 908089"/>
                  <a:gd name="connsiteY33" fmla="*/ 282865 h 604672"/>
                  <a:gd name="connsiteX34" fmla="*/ 410506 w 908089"/>
                  <a:gd name="connsiteY34" fmla="*/ 273671 h 604672"/>
                  <a:gd name="connsiteX35" fmla="*/ 394822 w 908089"/>
                  <a:gd name="connsiteY35" fmla="*/ 265558 h 604672"/>
                  <a:gd name="connsiteX36" fmla="*/ 380219 w 908089"/>
                  <a:gd name="connsiteY36" fmla="*/ 255823 h 604672"/>
                  <a:gd name="connsiteX37" fmla="*/ 366157 w 908089"/>
                  <a:gd name="connsiteY37" fmla="*/ 245006 h 604672"/>
                  <a:gd name="connsiteX38" fmla="*/ 352095 w 908089"/>
                  <a:gd name="connsiteY38" fmla="*/ 234730 h 604672"/>
                  <a:gd name="connsiteX39" fmla="*/ 336410 w 908089"/>
                  <a:gd name="connsiteY39" fmla="*/ 226617 h 604672"/>
                  <a:gd name="connsiteX40" fmla="*/ 322348 w 908089"/>
                  <a:gd name="connsiteY40" fmla="*/ 215800 h 604672"/>
                  <a:gd name="connsiteX41" fmla="*/ 306663 w 908089"/>
                  <a:gd name="connsiteY41" fmla="*/ 207146 h 604672"/>
                  <a:gd name="connsiteX42" fmla="*/ 293142 w 908089"/>
                  <a:gd name="connsiteY42" fmla="*/ 195788 h 604672"/>
                  <a:gd name="connsiteX43" fmla="*/ 277457 w 908089"/>
                  <a:gd name="connsiteY43" fmla="*/ 187676 h 604672"/>
                  <a:gd name="connsiteX44" fmla="*/ 262313 w 908089"/>
                  <a:gd name="connsiteY44" fmla="*/ 178481 h 604672"/>
                  <a:gd name="connsiteX45" fmla="*/ 248792 w 908089"/>
                  <a:gd name="connsiteY45" fmla="*/ 167123 h 604672"/>
                  <a:gd name="connsiteX46" fmla="*/ 233648 w 908089"/>
                  <a:gd name="connsiteY46" fmla="*/ 157929 h 604672"/>
                  <a:gd name="connsiteX47" fmla="*/ 219586 w 908089"/>
                  <a:gd name="connsiteY47" fmla="*/ 147112 h 604672"/>
                  <a:gd name="connsiteX48" fmla="*/ 204983 w 908089"/>
                  <a:gd name="connsiteY48" fmla="*/ 136836 h 604672"/>
                  <a:gd name="connsiteX49" fmla="*/ 189298 w 908089"/>
                  <a:gd name="connsiteY49" fmla="*/ 128723 h 604672"/>
                  <a:gd name="connsiteX50" fmla="*/ 175236 w 908089"/>
                  <a:gd name="connsiteY50" fmla="*/ 118447 h 604672"/>
                  <a:gd name="connsiteX51" fmla="*/ 160633 w 908089"/>
                  <a:gd name="connsiteY51" fmla="*/ 108170 h 604672"/>
                  <a:gd name="connsiteX52" fmla="*/ 145489 w 908089"/>
                  <a:gd name="connsiteY52" fmla="*/ 99517 h 604672"/>
                  <a:gd name="connsiteX53" fmla="*/ 131968 w 908089"/>
                  <a:gd name="connsiteY53" fmla="*/ 88159 h 604672"/>
                  <a:gd name="connsiteX54" fmla="*/ 117365 w 908089"/>
                  <a:gd name="connsiteY54" fmla="*/ 78424 h 604672"/>
                  <a:gd name="connsiteX55" fmla="*/ 101680 w 908089"/>
                  <a:gd name="connsiteY55" fmla="*/ 69770 h 604672"/>
                  <a:gd name="connsiteX56" fmla="*/ 87077 w 908089"/>
                  <a:gd name="connsiteY56" fmla="*/ 60035 h 604672"/>
                  <a:gd name="connsiteX57" fmla="*/ 72474 w 908089"/>
                  <a:gd name="connsiteY57" fmla="*/ 50299 h 604672"/>
                  <a:gd name="connsiteX58" fmla="*/ 57871 w 908089"/>
                  <a:gd name="connsiteY58" fmla="*/ 40564 h 604672"/>
                  <a:gd name="connsiteX59" fmla="*/ 42727 w 908089"/>
                  <a:gd name="connsiteY59" fmla="*/ 31369 h 604672"/>
                  <a:gd name="connsiteX60" fmla="*/ 29206 w 908089"/>
                  <a:gd name="connsiteY60" fmla="*/ 20012 h 604672"/>
                  <a:gd name="connsiteX61" fmla="*/ 14603 w 908089"/>
                  <a:gd name="connsiteY61" fmla="*/ 9735 h 604672"/>
                  <a:gd name="connsiteX62" fmla="*/ 0 w 908089"/>
                  <a:gd name="connsiteY62" fmla="*/ 0 h 6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908089" h="604672">
                    <a:moveTo>
                      <a:pt x="908090" y="604672"/>
                    </a:moveTo>
                    <a:cubicBezTo>
                      <a:pt x="900519" y="599805"/>
                      <a:pt x="899436" y="601427"/>
                      <a:pt x="892406" y="596559"/>
                    </a:cubicBezTo>
                    <a:cubicBezTo>
                      <a:pt x="884834" y="591692"/>
                      <a:pt x="885374" y="591692"/>
                      <a:pt x="877802" y="586824"/>
                    </a:cubicBezTo>
                    <a:cubicBezTo>
                      <a:pt x="870230" y="581956"/>
                      <a:pt x="871312" y="580334"/>
                      <a:pt x="864281" y="575466"/>
                    </a:cubicBezTo>
                    <a:cubicBezTo>
                      <a:pt x="856709" y="570599"/>
                      <a:pt x="856709" y="571139"/>
                      <a:pt x="849678" y="566272"/>
                    </a:cubicBezTo>
                    <a:cubicBezTo>
                      <a:pt x="842106" y="561404"/>
                      <a:pt x="842106" y="561945"/>
                      <a:pt x="835075" y="557077"/>
                    </a:cubicBezTo>
                    <a:cubicBezTo>
                      <a:pt x="827504" y="552210"/>
                      <a:pt x="828585" y="551128"/>
                      <a:pt x="821013" y="546260"/>
                    </a:cubicBezTo>
                    <a:cubicBezTo>
                      <a:pt x="813441" y="541393"/>
                      <a:pt x="812900" y="543015"/>
                      <a:pt x="805328" y="538148"/>
                    </a:cubicBezTo>
                    <a:cubicBezTo>
                      <a:pt x="797757" y="533280"/>
                      <a:pt x="798297" y="532739"/>
                      <a:pt x="791266" y="527871"/>
                    </a:cubicBezTo>
                    <a:cubicBezTo>
                      <a:pt x="783694" y="523004"/>
                      <a:pt x="783694" y="523544"/>
                      <a:pt x="776123" y="518677"/>
                    </a:cubicBezTo>
                    <a:cubicBezTo>
                      <a:pt x="768551" y="513809"/>
                      <a:pt x="768551" y="514350"/>
                      <a:pt x="760979" y="509482"/>
                    </a:cubicBezTo>
                    <a:cubicBezTo>
                      <a:pt x="753406" y="504615"/>
                      <a:pt x="753406" y="504615"/>
                      <a:pt x="746376" y="499747"/>
                    </a:cubicBezTo>
                    <a:cubicBezTo>
                      <a:pt x="738804" y="494879"/>
                      <a:pt x="739885" y="493798"/>
                      <a:pt x="732313" y="488930"/>
                    </a:cubicBezTo>
                    <a:cubicBezTo>
                      <a:pt x="724742" y="484062"/>
                      <a:pt x="724742" y="484062"/>
                      <a:pt x="717710" y="479195"/>
                    </a:cubicBezTo>
                    <a:cubicBezTo>
                      <a:pt x="710138" y="474327"/>
                      <a:pt x="710138" y="474327"/>
                      <a:pt x="703108" y="469459"/>
                    </a:cubicBezTo>
                    <a:cubicBezTo>
                      <a:pt x="695536" y="464592"/>
                      <a:pt x="696617" y="463510"/>
                      <a:pt x="689045" y="458642"/>
                    </a:cubicBezTo>
                    <a:cubicBezTo>
                      <a:pt x="681474" y="453775"/>
                      <a:pt x="681474" y="454316"/>
                      <a:pt x="673902" y="449448"/>
                    </a:cubicBezTo>
                    <a:cubicBezTo>
                      <a:pt x="666329" y="444580"/>
                      <a:pt x="666329" y="444580"/>
                      <a:pt x="659298" y="439712"/>
                    </a:cubicBezTo>
                    <a:cubicBezTo>
                      <a:pt x="651727" y="434845"/>
                      <a:pt x="652267" y="434845"/>
                      <a:pt x="644695" y="429977"/>
                    </a:cubicBezTo>
                    <a:cubicBezTo>
                      <a:pt x="637123" y="425109"/>
                      <a:pt x="636583" y="426191"/>
                      <a:pt x="629551" y="421324"/>
                    </a:cubicBezTo>
                    <a:cubicBezTo>
                      <a:pt x="621980" y="416456"/>
                      <a:pt x="623061" y="414833"/>
                      <a:pt x="616030" y="409966"/>
                    </a:cubicBezTo>
                    <a:cubicBezTo>
                      <a:pt x="608459" y="405098"/>
                      <a:pt x="608459" y="405639"/>
                      <a:pt x="600887" y="400771"/>
                    </a:cubicBezTo>
                    <a:cubicBezTo>
                      <a:pt x="593314" y="395904"/>
                      <a:pt x="593314" y="396444"/>
                      <a:pt x="585742" y="391577"/>
                    </a:cubicBezTo>
                    <a:cubicBezTo>
                      <a:pt x="578170" y="386709"/>
                      <a:pt x="578170" y="387250"/>
                      <a:pt x="570599" y="382382"/>
                    </a:cubicBezTo>
                    <a:cubicBezTo>
                      <a:pt x="563027" y="377515"/>
                      <a:pt x="563027" y="377515"/>
                      <a:pt x="555996" y="372647"/>
                    </a:cubicBezTo>
                    <a:cubicBezTo>
                      <a:pt x="548424" y="367779"/>
                      <a:pt x="549506" y="366697"/>
                      <a:pt x="541934" y="361830"/>
                    </a:cubicBezTo>
                    <a:cubicBezTo>
                      <a:pt x="534361" y="356962"/>
                      <a:pt x="534361" y="356962"/>
                      <a:pt x="527331" y="352094"/>
                    </a:cubicBezTo>
                    <a:cubicBezTo>
                      <a:pt x="519759" y="347227"/>
                      <a:pt x="519759" y="347768"/>
                      <a:pt x="512187" y="342900"/>
                    </a:cubicBezTo>
                    <a:cubicBezTo>
                      <a:pt x="504615" y="338032"/>
                      <a:pt x="505155" y="338032"/>
                      <a:pt x="497584" y="333165"/>
                    </a:cubicBezTo>
                    <a:cubicBezTo>
                      <a:pt x="490012" y="328297"/>
                      <a:pt x="491093" y="327215"/>
                      <a:pt x="483521" y="322348"/>
                    </a:cubicBezTo>
                    <a:cubicBezTo>
                      <a:pt x="475950" y="317480"/>
                      <a:pt x="476491" y="316939"/>
                      <a:pt x="469459" y="312071"/>
                    </a:cubicBezTo>
                    <a:cubicBezTo>
                      <a:pt x="461887" y="307204"/>
                      <a:pt x="461887" y="307745"/>
                      <a:pt x="454316" y="302877"/>
                    </a:cubicBezTo>
                    <a:cubicBezTo>
                      <a:pt x="446744" y="298009"/>
                      <a:pt x="447284" y="297469"/>
                      <a:pt x="440253" y="292601"/>
                    </a:cubicBezTo>
                    <a:cubicBezTo>
                      <a:pt x="432682" y="287733"/>
                      <a:pt x="432682" y="287733"/>
                      <a:pt x="425650" y="282865"/>
                    </a:cubicBezTo>
                    <a:cubicBezTo>
                      <a:pt x="418078" y="277998"/>
                      <a:pt x="418078" y="278539"/>
                      <a:pt x="410506" y="273671"/>
                    </a:cubicBezTo>
                    <a:cubicBezTo>
                      <a:pt x="402935" y="268803"/>
                      <a:pt x="402394" y="270426"/>
                      <a:pt x="394822" y="265558"/>
                    </a:cubicBezTo>
                    <a:cubicBezTo>
                      <a:pt x="387250" y="260691"/>
                      <a:pt x="387791" y="260691"/>
                      <a:pt x="380219" y="255823"/>
                    </a:cubicBezTo>
                    <a:cubicBezTo>
                      <a:pt x="372647" y="250955"/>
                      <a:pt x="373729" y="249874"/>
                      <a:pt x="366157" y="245006"/>
                    </a:cubicBezTo>
                    <a:cubicBezTo>
                      <a:pt x="358585" y="240138"/>
                      <a:pt x="359125" y="239597"/>
                      <a:pt x="352095" y="234730"/>
                    </a:cubicBezTo>
                    <a:cubicBezTo>
                      <a:pt x="344523" y="229862"/>
                      <a:pt x="343982" y="231485"/>
                      <a:pt x="336410" y="226617"/>
                    </a:cubicBezTo>
                    <a:cubicBezTo>
                      <a:pt x="328838" y="221749"/>
                      <a:pt x="329920" y="220667"/>
                      <a:pt x="322348" y="215800"/>
                    </a:cubicBezTo>
                    <a:cubicBezTo>
                      <a:pt x="314776" y="210932"/>
                      <a:pt x="314235" y="212014"/>
                      <a:pt x="306663" y="207146"/>
                    </a:cubicBezTo>
                    <a:cubicBezTo>
                      <a:pt x="299091" y="202279"/>
                      <a:pt x="300714" y="200656"/>
                      <a:pt x="293142" y="195788"/>
                    </a:cubicBezTo>
                    <a:cubicBezTo>
                      <a:pt x="285570" y="190921"/>
                      <a:pt x="285029" y="192543"/>
                      <a:pt x="277457" y="187676"/>
                    </a:cubicBezTo>
                    <a:cubicBezTo>
                      <a:pt x="269885" y="182808"/>
                      <a:pt x="269885" y="183349"/>
                      <a:pt x="262313" y="178481"/>
                    </a:cubicBezTo>
                    <a:cubicBezTo>
                      <a:pt x="254741" y="173613"/>
                      <a:pt x="255823" y="171991"/>
                      <a:pt x="248792" y="167123"/>
                    </a:cubicBezTo>
                    <a:cubicBezTo>
                      <a:pt x="241220" y="162256"/>
                      <a:pt x="241220" y="162796"/>
                      <a:pt x="233648" y="157929"/>
                    </a:cubicBezTo>
                    <a:cubicBezTo>
                      <a:pt x="226076" y="153061"/>
                      <a:pt x="227158" y="151979"/>
                      <a:pt x="219586" y="147112"/>
                    </a:cubicBezTo>
                    <a:cubicBezTo>
                      <a:pt x="212014" y="142244"/>
                      <a:pt x="212555" y="141703"/>
                      <a:pt x="204983" y="136836"/>
                    </a:cubicBezTo>
                    <a:cubicBezTo>
                      <a:pt x="197411" y="131968"/>
                      <a:pt x="196329" y="133590"/>
                      <a:pt x="189298" y="128723"/>
                    </a:cubicBezTo>
                    <a:cubicBezTo>
                      <a:pt x="181726" y="123855"/>
                      <a:pt x="182267" y="123314"/>
                      <a:pt x="175236" y="118447"/>
                    </a:cubicBezTo>
                    <a:cubicBezTo>
                      <a:pt x="167664" y="113579"/>
                      <a:pt x="168205" y="113038"/>
                      <a:pt x="160633" y="108170"/>
                    </a:cubicBezTo>
                    <a:cubicBezTo>
                      <a:pt x="153061" y="103303"/>
                      <a:pt x="152520" y="104384"/>
                      <a:pt x="145489" y="99517"/>
                    </a:cubicBezTo>
                    <a:cubicBezTo>
                      <a:pt x="137918" y="94649"/>
                      <a:pt x="138999" y="93027"/>
                      <a:pt x="131968" y="88159"/>
                    </a:cubicBezTo>
                    <a:cubicBezTo>
                      <a:pt x="124396" y="83291"/>
                      <a:pt x="124396" y="83291"/>
                      <a:pt x="117365" y="78424"/>
                    </a:cubicBezTo>
                    <a:cubicBezTo>
                      <a:pt x="109793" y="73556"/>
                      <a:pt x="109252" y="74638"/>
                      <a:pt x="101680" y="69770"/>
                    </a:cubicBezTo>
                    <a:cubicBezTo>
                      <a:pt x="94108" y="64902"/>
                      <a:pt x="94649" y="64902"/>
                      <a:pt x="87077" y="60035"/>
                    </a:cubicBezTo>
                    <a:cubicBezTo>
                      <a:pt x="79505" y="55167"/>
                      <a:pt x="80046" y="55167"/>
                      <a:pt x="72474" y="50299"/>
                    </a:cubicBezTo>
                    <a:cubicBezTo>
                      <a:pt x="64902" y="45432"/>
                      <a:pt x="64902" y="45432"/>
                      <a:pt x="57871" y="40564"/>
                    </a:cubicBezTo>
                    <a:cubicBezTo>
                      <a:pt x="50299" y="35696"/>
                      <a:pt x="50299" y="36237"/>
                      <a:pt x="42727" y="31369"/>
                    </a:cubicBezTo>
                    <a:cubicBezTo>
                      <a:pt x="35155" y="26502"/>
                      <a:pt x="36237" y="24879"/>
                      <a:pt x="29206" y="20012"/>
                    </a:cubicBezTo>
                    <a:cubicBezTo>
                      <a:pt x="21634" y="15144"/>
                      <a:pt x="22175" y="14603"/>
                      <a:pt x="14603" y="9735"/>
                    </a:cubicBezTo>
                    <a:cubicBezTo>
                      <a:pt x="7031" y="4868"/>
                      <a:pt x="7572" y="4868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2A74EB6-1424-14C2-D3A0-A3A8E6C176AD}"/>
                  </a:ext>
                </a:extLst>
              </p:cNvPr>
              <p:cNvSpPr/>
              <p:nvPr/>
            </p:nvSpPr>
            <p:spPr>
              <a:xfrm flipH="1">
                <a:off x="11170345" y="661133"/>
                <a:ext cx="283119" cy="426026"/>
              </a:xfrm>
              <a:custGeom>
                <a:avLst/>
                <a:gdLst>
                  <a:gd name="connsiteX0" fmla="*/ 341818 w 341818"/>
                  <a:gd name="connsiteY0" fmla="*/ 486226 h 486225"/>
                  <a:gd name="connsiteX1" fmla="*/ 331542 w 341818"/>
                  <a:gd name="connsiteY1" fmla="*/ 472164 h 486225"/>
                  <a:gd name="connsiteX2" fmla="*/ 321265 w 341818"/>
                  <a:gd name="connsiteY2" fmla="*/ 458101 h 486225"/>
                  <a:gd name="connsiteX3" fmla="*/ 312071 w 341818"/>
                  <a:gd name="connsiteY3" fmla="*/ 442958 h 486225"/>
                  <a:gd name="connsiteX4" fmla="*/ 301795 w 341818"/>
                  <a:gd name="connsiteY4" fmla="*/ 428895 h 486225"/>
                  <a:gd name="connsiteX5" fmla="*/ 291519 w 341818"/>
                  <a:gd name="connsiteY5" fmla="*/ 414833 h 486225"/>
                  <a:gd name="connsiteX6" fmla="*/ 280161 w 341818"/>
                  <a:gd name="connsiteY6" fmla="*/ 401312 h 486225"/>
                  <a:gd name="connsiteX7" fmla="*/ 269885 w 341818"/>
                  <a:gd name="connsiteY7" fmla="*/ 386709 h 486225"/>
                  <a:gd name="connsiteX8" fmla="*/ 259609 w 341818"/>
                  <a:gd name="connsiteY8" fmla="*/ 372647 h 486225"/>
                  <a:gd name="connsiteX9" fmla="*/ 249333 w 341818"/>
                  <a:gd name="connsiteY9" fmla="*/ 358585 h 486225"/>
                  <a:gd name="connsiteX10" fmla="*/ 239597 w 341818"/>
                  <a:gd name="connsiteY10" fmla="*/ 343982 h 486225"/>
                  <a:gd name="connsiteX11" fmla="*/ 229321 w 341818"/>
                  <a:gd name="connsiteY11" fmla="*/ 329920 h 486225"/>
                  <a:gd name="connsiteX12" fmla="*/ 219586 w 341818"/>
                  <a:gd name="connsiteY12" fmla="*/ 315317 h 486225"/>
                  <a:gd name="connsiteX13" fmla="*/ 210932 w 341818"/>
                  <a:gd name="connsiteY13" fmla="*/ 300173 h 486225"/>
                  <a:gd name="connsiteX14" fmla="*/ 199033 w 341818"/>
                  <a:gd name="connsiteY14" fmla="*/ 287192 h 486225"/>
                  <a:gd name="connsiteX15" fmla="*/ 189298 w 341818"/>
                  <a:gd name="connsiteY15" fmla="*/ 272589 h 486225"/>
                  <a:gd name="connsiteX16" fmla="*/ 179022 w 341818"/>
                  <a:gd name="connsiteY16" fmla="*/ 258527 h 486225"/>
                  <a:gd name="connsiteX17" fmla="*/ 170368 w 341818"/>
                  <a:gd name="connsiteY17" fmla="*/ 243383 h 486225"/>
                  <a:gd name="connsiteX18" fmla="*/ 159010 w 341818"/>
                  <a:gd name="connsiteY18" fmla="*/ 229862 h 486225"/>
                  <a:gd name="connsiteX19" fmla="*/ 148734 w 341818"/>
                  <a:gd name="connsiteY19" fmla="*/ 215800 h 486225"/>
                  <a:gd name="connsiteX20" fmla="*/ 140080 w 341818"/>
                  <a:gd name="connsiteY20" fmla="*/ 200656 h 486225"/>
                  <a:gd name="connsiteX21" fmla="*/ 130345 w 341818"/>
                  <a:gd name="connsiteY21" fmla="*/ 186053 h 486225"/>
                  <a:gd name="connsiteX22" fmla="*/ 120610 w 341818"/>
                  <a:gd name="connsiteY22" fmla="*/ 171450 h 486225"/>
                  <a:gd name="connsiteX23" fmla="*/ 109252 w 341818"/>
                  <a:gd name="connsiteY23" fmla="*/ 157929 h 486225"/>
                  <a:gd name="connsiteX24" fmla="*/ 100058 w 341818"/>
                  <a:gd name="connsiteY24" fmla="*/ 143326 h 486225"/>
                  <a:gd name="connsiteX25" fmla="*/ 90322 w 341818"/>
                  <a:gd name="connsiteY25" fmla="*/ 128723 h 486225"/>
                  <a:gd name="connsiteX26" fmla="*/ 80046 w 341818"/>
                  <a:gd name="connsiteY26" fmla="*/ 114661 h 486225"/>
                  <a:gd name="connsiteX27" fmla="*/ 69229 w 341818"/>
                  <a:gd name="connsiteY27" fmla="*/ 101139 h 486225"/>
                  <a:gd name="connsiteX28" fmla="*/ 58952 w 341818"/>
                  <a:gd name="connsiteY28" fmla="*/ 87077 h 486225"/>
                  <a:gd name="connsiteX29" fmla="*/ 49758 w 341818"/>
                  <a:gd name="connsiteY29" fmla="*/ 71933 h 486225"/>
                  <a:gd name="connsiteX30" fmla="*/ 38400 w 341818"/>
                  <a:gd name="connsiteY30" fmla="*/ 58412 h 486225"/>
                  <a:gd name="connsiteX31" fmla="*/ 28665 w 341818"/>
                  <a:gd name="connsiteY31" fmla="*/ 43809 h 486225"/>
                  <a:gd name="connsiteX32" fmla="*/ 20011 w 341818"/>
                  <a:gd name="connsiteY32" fmla="*/ 28665 h 486225"/>
                  <a:gd name="connsiteX33" fmla="*/ 8113 w 341818"/>
                  <a:gd name="connsiteY33" fmla="*/ 15685 h 486225"/>
                  <a:gd name="connsiteX34" fmla="*/ 0 w 341818"/>
                  <a:gd name="connsiteY34" fmla="*/ 0 h 48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41818" h="486225">
                    <a:moveTo>
                      <a:pt x="341818" y="486226"/>
                    </a:moveTo>
                    <a:cubicBezTo>
                      <a:pt x="336950" y="479195"/>
                      <a:pt x="336410" y="479195"/>
                      <a:pt x="331542" y="472164"/>
                    </a:cubicBezTo>
                    <a:cubicBezTo>
                      <a:pt x="326674" y="465133"/>
                      <a:pt x="326133" y="465133"/>
                      <a:pt x="321265" y="458101"/>
                    </a:cubicBezTo>
                    <a:cubicBezTo>
                      <a:pt x="316398" y="451070"/>
                      <a:pt x="317480" y="449989"/>
                      <a:pt x="312071" y="442958"/>
                    </a:cubicBezTo>
                    <a:cubicBezTo>
                      <a:pt x="307203" y="435927"/>
                      <a:pt x="306663" y="435927"/>
                      <a:pt x="301795" y="428895"/>
                    </a:cubicBezTo>
                    <a:cubicBezTo>
                      <a:pt x="296927" y="421864"/>
                      <a:pt x="296386" y="421864"/>
                      <a:pt x="291519" y="414833"/>
                    </a:cubicBezTo>
                    <a:cubicBezTo>
                      <a:pt x="286651" y="407802"/>
                      <a:pt x="285029" y="408884"/>
                      <a:pt x="280161" y="401312"/>
                    </a:cubicBezTo>
                    <a:cubicBezTo>
                      <a:pt x="275293" y="394281"/>
                      <a:pt x="275293" y="394281"/>
                      <a:pt x="269885" y="386709"/>
                    </a:cubicBezTo>
                    <a:cubicBezTo>
                      <a:pt x="265017" y="379678"/>
                      <a:pt x="265017" y="379678"/>
                      <a:pt x="259609" y="372647"/>
                    </a:cubicBezTo>
                    <a:cubicBezTo>
                      <a:pt x="254741" y="365616"/>
                      <a:pt x="254741" y="365616"/>
                      <a:pt x="249333" y="358585"/>
                    </a:cubicBezTo>
                    <a:cubicBezTo>
                      <a:pt x="244465" y="351554"/>
                      <a:pt x="245005" y="351013"/>
                      <a:pt x="239597" y="343982"/>
                    </a:cubicBezTo>
                    <a:cubicBezTo>
                      <a:pt x="234729" y="336951"/>
                      <a:pt x="234729" y="336951"/>
                      <a:pt x="229321" y="329920"/>
                    </a:cubicBezTo>
                    <a:cubicBezTo>
                      <a:pt x="224453" y="322888"/>
                      <a:pt x="224453" y="322888"/>
                      <a:pt x="219586" y="315317"/>
                    </a:cubicBezTo>
                    <a:cubicBezTo>
                      <a:pt x="214718" y="308286"/>
                      <a:pt x="216341" y="307204"/>
                      <a:pt x="210932" y="300173"/>
                    </a:cubicBezTo>
                    <a:cubicBezTo>
                      <a:pt x="206064" y="293142"/>
                      <a:pt x="203901" y="294223"/>
                      <a:pt x="199033" y="287192"/>
                    </a:cubicBezTo>
                    <a:cubicBezTo>
                      <a:pt x="194165" y="280161"/>
                      <a:pt x="194165" y="280161"/>
                      <a:pt x="189298" y="272589"/>
                    </a:cubicBezTo>
                    <a:cubicBezTo>
                      <a:pt x="184430" y="265558"/>
                      <a:pt x="184430" y="265558"/>
                      <a:pt x="179022" y="258527"/>
                    </a:cubicBezTo>
                    <a:cubicBezTo>
                      <a:pt x="174154" y="251496"/>
                      <a:pt x="175235" y="250414"/>
                      <a:pt x="170368" y="243383"/>
                    </a:cubicBezTo>
                    <a:cubicBezTo>
                      <a:pt x="165501" y="236352"/>
                      <a:pt x="164418" y="236893"/>
                      <a:pt x="159010" y="229862"/>
                    </a:cubicBezTo>
                    <a:cubicBezTo>
                      <a:pt x="154143" y="222831"/>
                      <a:pt x="153601" y="222831"/>
                      <a:pt x="148734" y="215800"/>
                    </a:cubicBezTo>
                    <a:cubicBezTo>
                      <a:pt x="143866" y="208769"/>
                      <a:pt x="144948" y="207687"/>
                      <a:pt x="140080" y="200656"/>
                    </a:cubicBezTo>
                    <a:cubicBezTo>
                      <a:pt x="135213" y="193625"/>
                      <a:pt x="135213" y="193625"/>
                      <a:pt x="130345" y="186053"/>
                    </a:cubicBezTo>
                    <a:cubicBezTo>
                      <a:pt x="125477" y="179022"/>
                      <a:pt x="126018" y="178481"/>
                      <a:pt x="120610" y="171450"/>
                    </a:cubicBezTo>
                    <a:cubicBezTo>
                      <a:pt x="115742" y="164419"/>
                      <a:pt x="114660" y="164960"/>
                      <a:pt x="109252" y="157929"/>
                    </a:cubicBezTo>
                    <a:cubicBezTo>
                      <a:pt x="104384" y="150898"/>
                      <a:pt x="104925" y="150357"/>
                      <a:pt x="100058" y="143326"/>
                    </a:cubicBezTo>
                    <a:cubicBezTo>
                      <a:pt x="95190" y="136295"/>
                      <a:pt x="95190" y="135754"/>
                      <a:pt x="90322" y="128723"/>
                    </a:cubicBezTo>
                    <a:cubicBezTo>
                      <a:pt x="85454" y="121692"/>
                      <a:pt x="84913" y="121692"/>
                      <a:pt x="80046" y="114661"/>
                    </a:cubicBezTo>
                    <a:cubicBezTo>
                      <a:pt x="75178" y="107630"/>
                      <a:pt x="74096" y="108170"/>
                      <a:pt x="69229" y="101139"/>
                    </a:cubicBezTo>
                    <a:cubicBezTo>
                      <a:pt x="64361" y="94108"/>
                      <a:pt x="64361" y="94108"/>
                      <a:pt x="58952" y="87077"/>
                    </a:cubicBezTo>
                    <a:cubicBezTo>
                      <a:pt x="54085" y="80046"/>
                      <a:pt x="54626" y="79505"/>
                      <a:pt x="49758" y="71933"/>
                    </a:cubicBezTo>
                    <a:cubicBezTo>
                      <a:pt x="44890" y="64902"/>
                      <a:pt x="43809" y="65443"/>
                      <a:pt x="38400" y="58412"/>
                    </a:cubicBezTo>
                    <a:cubicBezTo>
                      <a:pt x="33533" y="51381"/>
                      <a:pt x="34073" y="50840"/>
                      <a:pt x="28665" y="43809"/>
                    </a:cubicBezTo>
                    <a:cubicBezTo>
                      <a:pt x="23797" y="36778"/>
                      <a:pt x="24879" y="35696"/>
                      <a:pt x="20011" y="28665"/>
                    </a:cubicBezTo>
                    <a:cubicBezTo>
                      <a:pt x="15143" y="21634"/>
                      <a:pt x="12980" y="22716"/>
                      <a:pt x="8113" y="15685"/>
                    </a:cubicBezTo>
                    <a:cubicBezTo>
                      <a:pt x="3245" y="8654"/>
                      <a:pt x="4867" y="703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B27E2A0-282C-B9F6-F229-672AC812BE3A}"/>
                  </a:ext>
                </a:extLst>
              </p:cNvPr>
              <p:cNvSpPr/>
              <p:nvPr/>
            </p:nvSpPr>
            <p:spPr>
              <a:xfrm flipH="1">
                <a:off x="11058351" y="687670"/>
                <a:ext cx="114233" cy="335987"/>
              </a:xfrm>
              <a:custGeom>
                <a:avLst/>
                <a:gdLst>
                  <a:gd name="connsiteX0" fmla="*/ 137917 w 137917"/>
                  <a:gd name="connsiteY0" fmla="*/ 383464 h 383463"/>
                  <a:gd name="connsiteX1" fmla="*/ 131968 w 137917"/>
                  <a:gd name="connsiteY1" fmla="*/ 366697 h 383463"/>
                  <a:gd name="connsiteX2" fmla="*/ 126019 w 137917"/>
                  <a:gd name="connsiteY2" fmla="*/ 349931 h 383463"/>
                  <a:gd name="connsiteX3" fmla="*/ 118447 w 137917"/>
                  <a:gd name="connsiteY3" fmla="*/ 333706 h 383463"/>
                  <a:gd name="connsiteX4" fmla="*/ 112497 w 137917"/>
                  <a:gd name="connsiteY4" fmla="*/ 316939 h 383463"/>
                  <a:gd name="connsiteX5" fmla="*/ 107630 w 137917"/>
                  <a:gd name="connsiteY5" fmla="*/ 299632 h 383463"/>
                  <a:gd name="connsiteX6" fmla="*/ 100598 w 137917"/>
                  <a:gd name="connsiteY6" fmla="*/ 283406 h 383463"/>
                  <a:gd name="connsiteX7" fmla="*/ 95190 w 137917"/>
                  <a:gd name="connsiteY7" fmla="*/ 266640 h 383463"/>
                  <a:gd name="connsiteX8" fmla="*/ 90863 w 137917"/>
                  <a:gd name="connsiteY8" fmla="*/ 249333 h 383463"/>
                  <a:gd name="connsiteX9" fmla="*/ 84373 w 137917"/>
                  <a:gd name="connsiteY9" fmla="*/ 233107 h 383463"/>
                  <a:gd name="connsiteX10" fmla="*/ 78424 w 137917"/>
                  <a:gd name="connsiteY10" fmla="*/ 216341 h 383463"/>
                  <a:gd name="connsiteX11" fmla="*/ 73556 w 137917"/>
                  <a:gd name="connsiteY11" fmla="*/ 199574 h 383463"/>
                  <a:gd name="connsiteX12" fmla="*/ 67066 w 137917"/>
                  <a:gd name="connsiteY12" fmla="*/ 183349 h 383463"/>
                  <a:gd name="connsiteX13" fmla="*/ 61117 w 137917"/>
                  <a:gd name="connsiteY13" fmla="*/ 166582 h 383463"/>
                  <a:gd name="connsiteX14" fmla="*/ 55167 w 137917"/>
                  <a:gd name="connsiteY14" fmla="*/ 149816 h 383463"/>
                  <a:gd name="connsiteX15" fmla="*/ 49758 w 137917"/>
                  <a:gd name="connsiteY15" fmla="*/ 133050 h 383463"/>
                  <a:gd name="connsiteX16" fmla="*/ 42727 w 137917"/>
                  <a:gd name="connsiteY16" fmla="*/ 116824 h 383463"/>
                  <a:gd name="connsiteX17" fmla="*/ 36237 w 137917"/>
                  <a:gd name="connsiteY17" fmla="*/ 100058 h 383463"/>
                  <a:gd name="connsiteX18" fmla="*/ 31910 w 137917"/>
                  <a:gd name="connsiteY18" fmla="*/ 82750 h 383463"/>
                  <a:gd name="connsiteX19" fmla="*/ 25420 w 137917"/>
                  <a:gd name="connsiteY19" fmla="*/ 65984 h 383463"/>
                  <a:gd name="connsiteX20" fmla="*/ 18930 w 137917"/>
                  <a:gd name="connsiteY20" fmla="*/ 49758 h 383463"/>
                  <a:gd name="connsiteX21" fmla="*/ 12981 w 137917"/>
                  <a:gd name="connsiteY21" fmla="*/ 32992 h 383463"/>
                  <a:gd name="connsiteX22" fmla="*/ 6490 w 137917"/>
                  <a:gd name="connsiteY22" fmla="*/ 16226 h 383463"/>
                  <a:gd name="connsiteX23" fmla="*/ 0 w 137917"/>
                  <a:gd name="connsiteY23" fmla="*/ 0 h 383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917" h="383463">
                    <a:moveTo>
                      <a:pt x="137917" y="383464"/>
                    </a:moveTo>
                    <a:cubicBezTo>
                      <a:pt x="135213" y="375351"/>
                      <a:pt x="134672" y="375351"/>
                      <a:pt x="131968" y="366697"/>
                    </a:cubicBezTo>
                    <a:cubicBezTo>
                      <a:pt x="129264" y="358585"/>
                      <a:pt x="128723" y="358585"/>
                      <a:pt x="126019" y="349931"/>
                    </a:cubicBezTo>
                    <a:cubicBezTo>
                      <a:pt x="123314" y="341818"/>
                      <a:pt x="121151" y="342359"/>
                      <a:pt x="118447" y="333706"/>
                    </a:cubicBezTo>
                    <a:cubicBezTo>
                      <a:pt x="115742" y="325593"/>
                      <a:pt x="115202" y="325593"/>
                      <a:pt x="112497" y="316939"/>
                    </a:cubicBezTo>
                    <a:cubicBezTo>
                      <a:pt x="109793" y="308826"/>
                      <a:pt x="110875" y="308286"/>
                      <a:pt x="107630" y="299632"/>
                    </a:cubicBezTo>
                    <a:cubicBezTo>
                      <a:pt x="104925" y="291519"/>
                      <a:pt x="103303" y="291519"/>
                      <a:pt x="100598" y="283406"/>
                    </a:cubicBezTo>
                    <a:cubicBezTo>
                      <a:pt x="97894" y="275294"/>
                      <a:pt x="97894" y="274753"/>
                      <a:pt x="95190" y="266640"/>
                    </a:cubicBezTo>
                    <a:cubicBezTo>
                      <a:pt x="92486" y="258527"/>
                      <a:pt x="93568" y="257986"/>
                      <a:pt x="90863" y="249333"/>
                    </a:cubicBezTo>
                    <a:cubicBezTo>
                      <a:pt x="88159" y="241220"/>
                      <a:pt x="87077" y="241220"/>
                      <a:pt x="84373" y="233107"/>
                    </a:cubicBezTo>
                    <a:cubicBezTo>
                      <a:pt x="81668" y="224994"/>
                      <a:pt x="81128" y="224994"/>
                      <a:pt x="78424" y="216341"/>
                    </a:cubicBezTo>
                    <a:cubicBezTo>
                      <a:pt x="75719" y="208228"/>
                      <a:pt x="76260" y="207687"/>
                      <a:pt x="73556" y="199574"/>
                    </a:cubicBezTo>
                    <a:cubicBezTo>
                      <a:pt x="70851" y="191462"/>
                      <a:pt x="69770" y="191462"/>
                      <a:pt x="67066" y="183349"/>
                    </a:cubicBezTo>
                    <a:cubicBezTo>
                      <a:pt x="64361" y="175236"/>
                      <a:pt x="63821" y="175236"/>
                      <a:pt x="61117" y="166582"/>
                    </a:cubicBezTo>
                    <a:cubicBezTo>
                      <a:pt x="58412" y="158470"/>
                      <a:pt x="57871" y="158470"/>
                      <a:pt x="55167" y="149816"/>
                    </a:cubicBezTo>
                    <a:cubicBezTo>
                      <a:pt x="52462" y="141703"/>
                      <a:pt x="52462" y="141162"/>
                      <a:pt x="49758" y="133050"/>
                    </a:cubicBezTo>
                    <a:cubicBezTo>
                      <a:pt x="47054" y="124937"/>
                      <a:pt x="45972" y="124937"/>
                      <a:pt x="42727" y="116824"/>
                    </a:cubicBezTo>
                    <a:cubicBezTo>
                      <a:pt x="39482" y="108711"/>
                      <a:pt x="39482" y="108711"/>
                      <a:pt x="36237" y="100058"/>
                    </a:cubicBezTo>
                    <a:cubicBezTo>
                      <a:pt x="33533" y="91945"/>
                      <a:pt x="35155" y="90863"/>
                      <a:pt x="31910" y="82750"/>
                    </a:cubicBezTo>
                    <a:cubicBezTo>
                      <a:pt x="29206" y="74638"/>
                      <a:pt x="28665" y="74638"/>
                      <a:pt x="25420" y="65984"/>
                    </a:cubicBezTo>
                    <a:cubicBezTo>
                      <a:pt x="22716" y="57871"/>
                      <a:pt x="21634" y="57871"/>
                      <a:pt x="18930" y="49758"/>
                    </a:cubicBezTo>
                    <a:cubicBezTo>
                      <a:pt x="16226" y="41646"/>
                      <a:pt x="15685" y="41646"/>
                      <a:pt x="12981" y="32992"/>
                    </a:cubicBezTo>
                    <a:cubicBezTo>
                      <a:pt x="10276" y="24879"/>
                      <a:pt x="9736" y="24879"/>
                      <a:pt x="6490" y="16226"/>
                    </a:cubicBezTo>
                    <a:cubicBezTo>
                      <a:pt x="3786" y="8113"/>
                      <a:pt x="2704" y="811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A5491C4-D7DF-82D8-E121-F3BA969850B0}"/>
                  </a:ext>
                </a:extLst>
              </p:cNvPr>
              <p:cNvSpPr/>
              <p:nvPr/>
            </p:nvSpPr>
            <p:spPr>
              <a:xfrm flipH="1">
                <a:off x="10891256" y="752119"/>
                <a:ext cx="35838" cy="239314"/>
              </a:xfrm>
              <a:custGeom>
                <a:avLst/>
                <a:gdLst>
                  <a:gd name="connsiteX0" fmla="*/ 43268 w 43268"/>
                  <a:gd name="connsiteY0" fmla="*/ 273130 h 273130"/>
                  <a:gd name="connsiteX1" fmla="*/ 41645 w 43268"/>
                  <a:gd name="connsiteY1" fmla="*/ 255823 h 273130"/>
                  <a:gd name="connsiteX2" fmla="*/ 40023 w 43268"/>
                  <a:gd name="connsiteY2" fmla="*/ 238516 h 273130"/>
                  <a:gd name="connsiteX3" fmla="*/ 36237 w 43268"/>
                  <a:gd name="connsiteY3" fmla="*/ 221749 h 273130"/>
                  <a:gd name="connsiteX4" fmla="*/ 34073 w 43268"/>
                  <a:gd name="connsiteY4" fmla="*/ 204442 h 273130"/>
                  <a:gd name="connsiteX5" fmla="*/ 30288 w 43268"/>
                  <a:gd name="connsiteY5" fmla="*/ 187676 h 273130"/>
                  <a:gd name="connsiteX6" fmla="*/ 27043 w 43268"/>
                  <a:gd name="connsiteY6" fmla="*/ 170368 h 273130"/>
                  <a:gd name="connsiteX7" fmla="*/ 27043 w 43268"/>
                  <a:gd name="connsiteY7" fmla="*/ 153061 h 273130"/>
                  <a:gd name="connsiteX8" fmla="*/ 23256 w 43268"/>
                  <a:gd name="connsiteY8" fmla="*/ 136295 h 273130"/>
                  <a:gd name="connsiteX9" fmla="*/ 21634 w 43268"/>
                  <a:gd name="connsiteY9" fmla="*/ 118987 h 273130"/>
                  <a:gd name="connsiteX10" fmla="*/ 16766 w 43268"/>
                  <a:gd name="connsiteY10" fmla="*/ 102221 h 273130"/>
                  <a:gd name="connsiteX11" fmla="*/ 13521 w 43268"/>
                  <a:gd name="connsiteY11" fmla="*/ 85455 h 273130"/>
                  <a:gd name="connsiteX12" fmla="*/ 11898 w 43268"/>
                  <a:gd name="connsiteY12" fmla="*/ 68147 h 273130"/>
                  <a:gd name="connsiteX13" fmla="*/ 10276 w 43268"/>
                  <a:gd name="connsiteY13" fmla="*/ 50840 h 273130"/>
                  <a:gd name="connsiteX14" fmla="*/ 6490 w 43268"/>
                  <a:gd name="connsiteY14" fmla="*/ 34074 h 273130"/>
                  <a:gd name="connsiteX15" fmla="*/ 4867 w 43268"/>
                  <a:gd name="connsiteY15" fmla="*/ 16766 h 273130"/>
                  <a:gd name="connsiteX16" fmla="*/ 0 w 43268"/>
                  <a:gd name="connsiteY16" fmla="*/ 0 h 273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3268" h="273130">
                    <a:moveTo>
                      <a:pt x="43268" y="273130"/>
                    </a:moveTo>
                    <a:cubicBezTo>
                      <a:pt x="42186" y="264477"/>
                      <a:pt x="42727" y="264477"/>
                      <a:pt x="41645" y="255823"/>
                    </a:cubicBezTo>
                    <a:cubicBezTo>
                      <a:pt x="40564" y="247169"/>
                      <a:pt x="41105" y="247169"/>
                      <a:pt x="40023" y="238516"/>
                    </a:cubicBezTo>
                    <a:cubicBezTo>
                      <a:pt x="38941" y="229862"/>
                      <a:pt x="37318" y="230403"/>
                      <a:pt x="36237" y="221749"/>
                    </a:cubicBezTo>
                    <a:cubicBezTo>
                      <a:pt x="35155" y="213096"/>
                      <a:pt x="35155" y="213096"/>
                      <a:pt x="34073" y="204442"/>
                    </a:cubicBezTo>
                    <a:cubicBezTo>
                      <a:pt x="32992" y="195788"/>
                      <a:pt x="31910" y="195788"/>
                      <a:pt x="30288" y="187676"/>
                    </a:cubicBezTo>
                    <a:cubicBezTo>
                      <a:pt x="29205" y="179022"/>
                      <a:pt x="28665" y="179022"/>
                      <a:pt x="27043" y="170368"/>
                    </a:cubicBezTo>
                    <a:cubicBezTo>
                      <a:pt x="25960" y="161715"/>
                      <a:pt x="28124" y="161174"/>
                      <a:pt x="27043" y="153061"/>
                    </a:cubicBezTo>
                    <a:cubicBezTo>
                      <a:pt x="25960" y="144407"/>
                      <a:pt x="24879" y="144407"/>
                      <a:pt x="23256" y="136295"/>
                    </a:cubicBezTo>
                    <a:cubicBezTo>
                      <a:pt x="22175" y="127641"/>
                      <a:pt x="22716" y="127641"/>
                      <a:pt x="21634" y="118987"/>
                    </a:cubicBezTo>
                    <a:cubicBezTo>
                      <a:pt x="20552" y="110334"/>
                      <a:pt x="18388" y="110875"/>
                      <a:pt x="16766" y="102221"/>
                    </a:cubicBezTo>
                    <a:cubicBezTo>
                      <a:pt x="15684" y="93567"/>
                      <a:pt x="15143" y="93567"/>
                      <a:pt x="13521" y="85455"/>
                    </a:cubicBezTo>
                    <a:cubicBezTo>
                      <a:pt x="12439" y="76801"/>
                      <a:pt x="12980" y="76801"/>
                      <a:pt x="11898" y="68147"/>
                    </a:cubicBezTo>
                    <a:cubicBezTo>
                      <a:pt x="10817" y="59494"/>
                      <a:pt x="11898" y="59494"/>
                      <a:pt x="10276" y="50840"/>
                    </a:cubicBezTo>
                    <a:cubicBezTo>
                      <a:pt x="9194" y="42186"/>
                      <a:pt x="8113" y="42186"/>
                      <a:pt x="6490" y="34074"/>
                    </a:cubicBezTo>
                    <a:cubicBezTo>
                      <a:pt x="5409" y="25420"/>
                      <a:pt x="5949" y="25420"/>
                      <a:pt x="4867" y="16766"/>
                    </a:cubicBezTo>
                    <a:cubicBezTo>
                      <a:pt x="3786" y="8113"/>
                      <a:pt x="1622" y="8654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044C7CB-5DC4-FE8F-892F-CC859E64EFF6}"/>
                  </a:ext>
                </a:extLst>
              </p:cNvPr>
              <p:cNvSpPr/>
              <p:nvPr/>
            </p:nvSpPr>
            <p:spPr>
              <a:xfrm flipH="1">
                <a:off x="10722819" y="854479"/>
                <a:ext cx="17023" cy="150222"/>
              </a:xfrm>
              <a:custGeom>
                <a:avLst/>
                <a:gdLst>
                  <a:gd name="connsiteX0" fmla="*/ 0 w 20552"/>
                  <a:gd name="connsiteY0" fmla="*/ 171450 h 171449"/>
                  <a:gd name="connsiteX1" fmla="*/ 3786 w 20552"/>
                  <a:gd name="connsiteY1" fmla="*/ 154684 h 171449"/>
                  <a:gd name="connsiteX2" fmla="*/ 4327 w 20552"/>
                  <a:gd name="connsiteY2" fmla="*/ 137376 h 171449"/>
                  <a:gd name="connsiteX3" fmla="*/ 8113 w 20552"/>
                  <a:gd name="connsiteY3" fmla="*/ 120610 h 171449"/>
                  <a:gd name="connsiteX4" fmla="*/ 9195 w 20552"/>
                  <a:gd name="connsiteY4" fmla="*/ 103303 h 171449"/>
                  <a:gd name="connsiteX5" fmla="*/ 9736 w 20552"/>
                  <a:gd name="connsiteY5" fmla="*/ 85995 h 171449"/>
                  <a:gd name="connsiteX6" fmla="*/ 12981 w 20552"/>
                  <a:gd name="connsiteY6" fmla="*/ 69229 h 171449"/>
                  <a:gd name="connsiteX7" fmla="*/ 14062 w 20552"/>
                  <a:gd name="connsiteY7" fmla="*/ 51922 h 171449"/>
                  <a:gd name="connsiteX8" fmla="*/ 16766 w 20552"/>
                  <a:gd name="connsiteY8" fmla="*/ 34614 h 171449"/>
                  <a:gd name="connsiteX9" fmla="*/ 18930 w 20552"/>
                  <a:gd name="connsiteY9" fmla="*/ 17307 h 171449"/>
                  <a:gd name="connsiteX10" fmla="*/ 20553 w 20552"/>
                  <a:gd name="connsiteY10" fmla="*/ 0 h 17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52" h="171449">
                    <a:moveTo>
                      <a:pt x="0" y="171450"/>
                    </a:moveTo>
                    <a:cubicBezTo>
                      <a:pt x="1082" y="162796"/>
                      <a:pt x="2704" y="163337"/>
                      <a:pt x="3786" y="154684"/>
                    </a:cubicBezTo>
                    <a:cubicBezTo>
                      <a:pt x="4868" y="146030"/>
                      <a:pt x="3245" y="146030"/>
                      <a:pt x="4327" y="137376"/>
                    </a:cubicBezTo>
                    <a:cubicBezTo>
                      <a:pt x="5409" y="128723"/>
                      <a:pt x="7031" y="128723"/>
                      <a:pt x="8113" y="120610"/>
                    </a:cubicBezTo>
                    <a:cubicBezTo>
                      <a:pt x="9195" y="112497"/>
                      <a:pt x="8113" y="111956"/>
                      <a:pt x="9195" y="103303"/>
                    </a:cubicBezTo>
                    <a:cubicBezTo>
                      <a:pt x="10276" y="94649"/>
                      <a:pt x="9195" y="94649"/>
                      <a:pt x="9736" y="85995"/>
                    </a:cubicBezTo>
                    <a:cubicBezTo>
                      <a:pt x="10817" y="77342"/>
                      <a:pt x="11899" y="77342"/>
                      <a:pt x="12981" y="69229"/>
                    </a:cubicBezTo>
                    <a:cubicBezTo>
                      <a:pt x="14062" y="60575"/>
                      <a:pt x="12981" y="60575"/>
                      <a:pt x="14062" y="51922"/>
                    </a:cubicBezTo>
                    <a:cubicBezTo>
                      <a:pt x="15144" y="43268"/>
                      <a:pt x="15685" y="43268"/>
                      <a:pt x="16766" y="34614"/>
                    </a:cubicBezTo>
                    <a:cubicBezTo>
                      <a:pt x="17848" y="25961"/>
                      <a:pt x="17848" y="25961"/>
                      <a:pt x="18930" y="17307"/>
                    </a:cubicBezTo>
                    <a:cubicBezTo>
                      <a:pt x="20012" y="8654"/>
                      <a:pt x="19471" y="8654"/>
                      <a:pt x="20553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AB1D1F3-22C6-FA8E-7395-884EF99CC736}"/>
                  </a:ext>
                </a:extLst>
              </p:cNvPr>
              <p:cNvSpPr/>
              <p:nvPr/>
            </p:nvSpPr>
            <p:spPr>
              <a:xfrm flipH="1">
                <a:off x="10548557" y="996646"/>
                <a:ext cx="50173" cy="65870"/>
              </a:xfrm>
              <a:custGeom>
                <a:avLst/>
                <a:gdLst>
                  <a:gd name="connsiteX0" fmla="*/ 0 w 60575"/>
                  <a:gd name="connsiteY0" fmla="*/ 75178 h 75178"/>
                  <a:gd name="connsiteX1" fmla="*/ 11899 w 60575"/>
                  <a:gd name="connsiteY1" fmla="*/ 60034 h 75178"/>
                  <a:gd name="connsiteX2" fmla="*/ 25420 w 60575"/>
                  <a:gd name="connsiteY2" fmla="*/ 45972 h 75178"/>
                  <a:gd name="connsiteX3" fmla="*/ 37860 w 60575"/>
                  <a:gd name="connsiteY3" fmla="*/ 31369 h 75178"/>
                  <a:gd name="connsiteX4" fmla="*/ 49217 w 60575"/>
                  <a:gd name="connsiteY4" fmla="*/ 15685 h 75178"/>
                  <a:gd name="connsiteX5" fmla="*/ 60576 w 60575"/>
                  <a:gd name="connsiteY5" fmla="*/ 0 h 75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75" h="75178">
                    <a:moveTo>
                      <a:pt x="0" y="75178"/>
                    </a:moveTo>
                    <a:cubicBezTo>
                      <a:pt x="5949" y="67606"/>
                      <a:pt x="5949" y="67606"/>
                      <a:pt x="11899" y="60034"/>
                    </a:cubicBezTo>
                    <a:cubicBezTo>
                      <a:pt x="17848" y="52463"/>
                      <a:pt x="19471" y="53544"/>
                      <a:pt x="25420" y="45972"/>
                    </a:cubicBezTo>
                    <a:cubicBezTo>
                      <a:pt x="31370" y="38400"/>
                      <a:pt x="31910" y="38941"/>
                      <a:pt x="37860" y="31369"/>
                    </a:cubicBezTo>
                    <a:cubicBezTo>
                      <a:pt x="43809" y="23797"/>
                      <a:pt x="43268" y="23257"/>
                      <a:pt x="49217" y="15685"/>
                    </a:cubicBezTo>
                    <a:cubicBezTo>
                      <a:pt x="55167" y="8113"/>
                      <a:pt x="54626" y="7572"/>
                      <a:pt x="60576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22690447-DE6E-0007-5A23-6423639E2986}"/>
                  </a:ext>
                </a:extLst>
              </p:cNvPr>
              <p:cNvSpPr/>
              <p:nvPr/>
            </p:nvSpPr>
            <p:spPr>
              <a:xfrm flipH="1">
                <a:off x="10467473" y="1105641"/>
                <a:ext cx="32702" cy="30802"/>
              </a:xfrm>
              <a:custGeom>
                <a:avLst/>
                <a:gdLst>
                  <a:gd name="connsiteX0" fmla="*/ 0 w 39482"/>
                  <a:gd name="connsiteY0" fmla="*/ 35155 h 35155"/>
                  <a:gd name="connsiteX1" fmla="*/ 12440 w 39482"/>
                  <a:gd name="connsiteY1" fmla="*/ 22716 h 35155"/>
                  <a:gd name="connsiteX2" fmla="*/ 26502 w 39482"/>
                  <a:gd name="connsiteY2" fmla="*/ 11899 h 35155"/>
                  <a:gd name="connsiteX3" fmla="*/ 39482 w 39482"/>
                  <a:gd name="connsiteY3" fmla="*/ 0 h 3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482" h="35155">
                    <a:moveTo>
                      <a:pt x="0" y="35155"/>
                    </a:moveTo>
                    <a:cubicBezTo>
                      <a:pt x="6491" y="29747"/>
                      <a:pt x="5949" y="28665"/>
                      <a:pt x="12440" y="22716"/>
                    </a:cubicBezTo>
                    <a:cubicBezTo>
                      <a:pt x="18930" y="17307"/>
                      <a:pt x="19471" y="17848"/>
                      <a:pt x="26502" y="11899"/>
                    </a:cubicBezTo>
                    <a:cubicBezTo>
                      <a:pt x="32992" y="6490"/>
                      <a:pt x="32451" y="5409"/>
                      <a:pt x="39482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A4CB00A-8C62-092D-8DA7-B2C85AB382B6}"/>
                  </a:ext>
                </a:extLst>
              </p:cNvPr>
              <p:cNvSpPr/>
              <p:nvPr/>
            </p:nvSpPr>
            <p:spPr>
              <a:xfrm flipH="1">
                <a:off x="10419988" y="1216531"/>
                <a:ext cx="10751" cy="4738"/>
              </a:xfrm>
              <a:custGeom>
                <a:avLst/>
                <a:gdLst>
                  <a:gd name="connsiteX0" fmla="*/ 0 w 12980"/>
                  <a:gd name="connsiteY0" fmla="*/ 5409 h 5408"/>
                  <a:gd name="connsiteX1" fmla="*/ 12981 w 12980"/>
                  <a:gd name="connsiteY1" fmla="*/ 0 h 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80" h="5408">
                    <a:moveTo>
                      <a:pt x="0" y="5409"/>
                    </a:moveTo>
                    <a:cubicBezTo>
                      <a:pt x="6491" y="2163"/>
                      <a:pt x="7031" y="3245"/>
                      <a:pt x="12981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F27AF4A-DD6A-B552-4FA9-15A3CC059D6D}"/>
                </a:ext>
              </a:extLst>
            </p:cNvPr>
            <p:cNvGrpSpPr/>
            <p:nvPr userDrawn="1"/>
          </p:nvGrpSpPr>
          <p:grpSpPr>
            <a:xfrm>
              <a:off x="4706909" y="1648624"/>
              <a:ext cx="1033829" cy="2106576"/>
              <a:chOff x="4887873" y="1765520"/>
              <a:chExt cx="1008816" cy="2055609"/>
            </a:xfrm>
          </p:grpSpPr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AEA94ECC-5504-8CB0-8522-F33D5D5A6302}"/>
                  </a:ext>
                </a:extLst>
              </p:cNvPr>
              <p:cNvSpPr/>
              <p:nvPr/>
            </p:nvSpPr>
            <p:spPr>
              <a:xfrm flipH="1">
                <a:off x="5103155" y="2873541"/>
                <a:ext cx="397246" cy="39623"/>
              </a:xfrm>
              <a:custGeom>
                <a:avLst/>
                <a:gdLst>
                  <a:gd name="connsiteX0" fmla="*/ 0 w 369367"/>
                  <a:gd name="connsiteY0" fmla="*/ 36842 h 36842"/>
                  <a:gd name="connsiteX1" fmla="*/ 369367 w 369367"/>
                  <a:gd name="connsiteY1" fmla="*/ 0 h 36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367" h="36842">
                    <a:moveTo>
                      <a:pt x="0" y="36842"/>
                    </a:moveTo>
                    <a:lnTo>
                      <a:pt x="369367" y="0"/>
                    </a:lnTo>
                  </a:path>
                </a:pathLst>
              </a:custGeom>
              <a:ln w="188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/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C017ED82-26DE-118C-2C91-F69611D35864}"/>
                  </a:ext>
                </a:extLst>
              </p:cNvPr>
              <p:cNvSpPr/>
              <p:nvPr/>
            </p:nvSpPr>
            <p:spPr>
              <a:xfrm flipH="1">
                <a:off x="4887873" y="2865885"/>
                <a:ext cx="963286" cy="955210"/>
              </a:xfrm>
              <a:custGeom>
                <a:avLst/>
                <a:gdLst>
                  <a:gd name="connsiteX0" fmla="*/ 695511 w 895684"/>
                  <a:gd name="connsiteY0" fmla="*/ 7118 h 888174"/>
                  <a:gd name="connsiteX1" fmla="*/ 763716 w 895684"/>
                  <a:gd name="connsiteY1" fmla="*/ 317 h 888174"/>
                  <a:gd name="connsiteX2" fmla="*/ 830032 w 895684"/>
                  <a:gd name="connsiteY2" fmla="*/ 54541 h 888174"/>
                  <a:gd name="connsiteX3" fmla="*/ 895026 w 895684"/>
                  <a:gd name="connsiteY3" fmla="*/ 707688 h 888174"/>
                  <a:gd name="connsiteX4" fmla="*/ 778264 w 895684"/>
                  <a:gd name="connsiteY4" fmla="*/ 850523 h 888174"/>
                  <a:gd name="connsiteX5" fmla="*/ 405874 w 895684"/>
                  <a:gd name="connsiteY5" fmla="*/ 887743 h 888174"/>
                  <a:gd name="connsiteX6" fmla="*/ 260583 w 895684"/>
                  <a:gd name="connsiteY6" fmla="*/ 767392 h 888174"/>
                  <a:gd name="connsiteX7" fmla="*/ 228464 w 895684"/>
                  <a:gd name="connsiteY7" fmla="*/ 748309 h 888174"/>
                  <a:gd name="connsiteX8" fmla="*/ 171217 w 895684"/>
                  <a:gd name="connsiteY8" fmla="*/ 758512 h 888174"/>
                  <a:gd name="connsiteX9" fmla="*/ 164415 w 895684"/>
                  <a:gd name="connsiteY9" fmla="*/ 759079 h 888174"/>
                  <a:gd name="connsiteX10" fmla="*/ 164226 w 895684"/>
                  <a:gd name="connsiteY10" fmla="*/ 759079 h 888174"/>
                  <a:gd name="connsiteX11" fmla="*/ 70703 w 895684"/>
                  <a:gd name="connsiteY11" fmla="*/ 726582 h 888174"/>
                  <a:gd name="connsiteX12" fmla="*/ 170083 w 895684"/>
                  <a:gd name="connsiteY12" fmla="*/ 682182 h 888174"/>
                  <a:gd name="connsiteX13" fmla="*/ 188410 w 895684"/>
                  <a:gd name="connsiteY13" fmla="*/ 682560 h 888174"/>
                  <a:gd name="connsiteX14" fmla="*/ 193889 w 895684"/>
                  <a:gd name="connsiteY14" fmla="*/ 681993 h 888174"/>
                  <a:gd name="connsiteX15" fmla="*/ 218639 w 895684"/>
                  <a:gd name="connsiteY15" fmla="*/ 679537 h 888174"/>
                  <a:gd name="connsiteX16" fmla="*/ 250191 w 895684"/>
                  <a:gd name="connsiteY16" fmla="*/ 640995 h 888174"/>
                  <a:gd name="connsiteX17" fmla="*/ 221663 w 895684"/>
                  <a:gd name="connsiteY17" fmla="*/ 355703 h 888174"/>
                  <a:gd name="connsiteX18" fmla="*/ 179530 w 895684"/>
                  <a:gd name="connsiteY18" fmla="*/ 321128 h 888174"/>
                  <a:gd name="connsiteX19" fmla="*/ 152701 w 895684"/>
                  <a:gd name="connsiteY19" fmla="*/ 323773 h 888174"/>
                  <a:gd name="connsiteX20" fmla="*/ 86763 w 895684"/>
                  <a:gd name="connsiteY20" fmla="*/ 372518 h 888174"/>
                  <a:gd name="connsiteX21" fmla="*/ 609 w 895684"/>
                  <a:gd name="connsiteY21" fmla="*/ 398969 h 888174"/>
                  <a:gd name="connsiteX22" fmla="*/ 120960 w 895684"/>
                  <a:gd name="connsiteY22" fmla="*/ 252734 h 888174"/>
                  <a:gd name="connsiteX23" fmla="*/ 173295 w 895684"/>
                  <a:gd name="connsiteY23" fmla="*/ 247443 h 888174"/>
                  <a:gd name="connsiteX24" fmla="*/ 206926 w 895684"/>
                  <a:gd name="connsiteY24" fmla="*/ 206256 h 888174"/>
                  <a:gd name="connsiteX25" fmla="*/ 198046 w 895684"/>
                  <a:gd name="connsiteY25" fmla="*/ 117456 h 888174"/>
                  <a:gd name="connsiteX26" fmla="*/ 252270 w 895684"/>
                  <a:gd name="connsiteY26" fmla="*/ 51140 h 888174"/>
                  <a:gd name="connsiteX27" fmla="*/ 326332 w 895684"/>
                  <a:gd name="connsiteY27" fmla="*/ 43772 h 88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895684" h="888174">
                    <a:moveTo>
                      <a:pt x="695511" y="7118"/>
                    </a:moveTo>
                    <a:lnTo>
                      <a:pt x="763716" y="317"/>
                    </a:lnTo>
                    <a:cubicBezTo>
                      <a:pt x="796968" y="-3084"/>
                      <a:pt x="826631" y="21289"/>
                      <a:pt x="830032" y="54541"/>
                    </a:cubicBezTo>
                    <a:lnTo>
                      <a:pt x="895026" y="707688"/>
                    </a:lnTo>
                    <a:cubicBezTo>
                      <a:pt x="902205" y="779484"/>
                      <a:pt x="849870" y="843344"/>
                      <a:pt x="778264" y="850523"/>
                    </a:cubicBezTo>
                    <a:lnTo>
                      <a:pt x="405874" y="887743"/>
                    </a:lnTo>
                    <a:cubicBezTo>
                      <a:pt x="342014" y="893978"/>
                      <a:pt x="278910" y="831630"/>
                      <a:pt x="260583" y="767392"/>
                    </a:cubicBezTo>
                    <a:cubicBezTo>
                      <a:pt x="256615" y="753789"/>
                      <a:pt x="242445" y="745853"/>
                      <a:pt x="228464" y="748309"/>
                    </a:cubicBezTo>
                    <a:lnTo>
                      <a:pt x="171217" y="758512"/>
                    </a:lnTo>
                    <a:lnTo>
                      <a:pt x="164415" y="759079"/>
                    </a:lnTo>
                    <a:lnTo>
                      <a:pt x="164226" y="759079"/>
                    </a:lnTo>
                    <a:cubicBezTo>
                      <a:pt x="129084" y="760779"/>
                      <a:pt x="95832" y="748309"/>
                      <a:pt x="70703" y="726582"/>
                    </a:cubicBezTo>
                    <a:cubicBezTo>
                      <a:pt x="103012" y="720158"/>
                      <a:pt x="137209" y="698053"/>
                      <a:pt x="170083" y="682182"/>
                    </a:cubicBezTo>
                    <a:cubicBezTo>
                      <a:pt x="175940" y="683127"/>
                      <a:pt x="182175" y="683127"/>
                      <a:pt x="188410" y="682560"/>
                    </a:cubicBezTo>
                    <a:lnTo>
                      <a:pt x="193889" y="681993"/>
                    </a:lnTo>
                    <a:lnTo>
                      <a:pt x="218639" y="679537"/>
                    </a:lnTo>
                    <a:cubicBezTo>
                      <a:pt x="237911" y="677648"/>
                      <a:pt x="252081" y="660455"/>
                      <a:pt x="250191" y="640995"/>
                    </a:cubicBezTo>
                    <a:lnTo>
                      <a:pt x="221663" y="355703"/>
                    </a:lnTo>
                    <a:cubicBezTo>
                      <a:pt x="219584" y="334542"/>
                      <a:pt x="200690" y="319050"/>
                      <a:pt x="179530" y="321128"/>
                    </a:cubicBezTo>
                    <a:lnTo>
                      <a:pt x="152701" y="323773"/>
                    </a:lnTo>
                    <a:cubicBezTo>
                      <a:pt x="122660" y="326796"/>
                      <a:pt x="97910" y="346256"/>
                      <a:pt x="86763" y="372518"/>
                    </a:cubicBezTo>
                    <a:cubicBezTo>
                      <a:pt x="59368" y="383288"/>
                      <a:pt x="29705" y="396702"/>
                      <a:pt x="609" y="398969"/>
                    </a:cubicBezTo>
                    <a:cubicBezTo>
                      <a:pt x="-6382" y="325851"/>
                      <a:pt x="47653" y="259913"/>
                      <a:pt x="120960" y="252734"/>
                    </a:cubicBezTo>
                    <a:lnTo>
                      <a:pt x="173295" y="247443"/>
                    </a:lnTo>
                    <a:cubicBezTo>
                      <a:pt x="193889" y="245365"/>
                      <a:pt x="209004" y="226850"/>
                      <a:pt x="206926" y="206256"/>
                    </a:cubicBezTo>
                    <a:lnTo>
                      <a:pt x="198046" y="117456"/>
                    </a:lnTo>
                    <a:cubicBezTo>
                      <a:pt x="194644" y="84204"/>
                      <a:pt x="219017" y="54541"/>
                      <a:pt x="252270" y="51140"/>
                    </a:cubicBezTo>
                    <a:lnTo>
                      <a:pt x="326332" y="43772"/>
                    </a:lnTo>
                  </a:path>
                </a:pathLst>
              </a:custGeom>
              <a:solidFill>
                <a:srgbClr val="88BCAD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ACA3E81D-A82B-3B60-4DD0-F1851B9E7C8D}"/>
                  </a:ext>
                </a:extLst>
              </p:cNvPr>
              <p:cNvSpPr/>
              <p:nvPr/>
            </p:nvSpPr>
            <p:spPr>
              <a:xfrm flipH="1">
                <a:off x="5630153" y="3250140"/>
                <a:ext cx="266536" cy="402334"/>
              </a:xfrm>
              <a:custGeom>
                <a:avLst/>
                <a:gdLst>
                  <a:gd name="connsiteX0" fmla="*/ 236225 w 247831"/>
                  <a:gd name="connsiteY0" fmla="*/ 324705 h 374099"/>
                  <a:gd name="connsiteX1" fmla="*/ 230745 w 247831"/>
                  <a:gd name="connsiteY1" fmla="*/ 325272 h 374099"/>
                  <a:gd name="connsiteX2" fmla="*/ 212419 w 247831"/>
                  <a:gd name="connsiteY2" fmla="*/ 324894 h 374099"/>
                  <a:gd name="connsiteX3" fmla="*/ 113039 w 247831"/>
                  <a:gd name="connsiteY3" fmla="*/ 369293 h 374099"/>
                  <a:gd name="connsiteX4" fmla="*/ 74118 w 247831"/>
                  <a:gd name="connsiteY4" fmla="*/ 367593 h 374099"/>
                  <a:gd name="connsiteX5" fmla="*/ 40488 w 247831"/>
                  <a:gd name="connsiteY5" fmla="*/ 42059 h 374099"/>
                  <a:gd name="connsiteX6" fmla="*/ 42755 w 247831"/>
                  <a:gd name="connsiteY6" fmla="*/ 41870 h 374099"/>
                  <a:gd name="connsiteX7" fmla="*/ 128909 w 247831"/>
                  <a:gd name="connsiteY7" fmla="*/ 15419 h 374099"/>
                  <a:gd name="connsiteX8" fmla="*/ 245482 w 247831"/>
                  <a:gd name="connsiteY8" fmla="*/ 101573 h 374099"/>
                  <a:gd name="connsiteX9" fmla="*/ 236225 w 247831"/>
                  <a:gd name="connsiteY9" fmla="*/ 324705 h 37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831" h="374099">
                    <a:moveTo>
                      <a:pt x="236225" y="324705"/>
                    </a:moveTo>
                    <a:lnTo>
                      <a:pt x="230745" y="325272"/>
                    </a:lnTo>
                    <a:cubicBezTo>
                      <a:pt x="224511" y="325839"/>
                      <a:pt x="218276" y="325839"/>
                      <a:pt x="212419" y="324894"/>
                    </a:cubicBezTo>
                    <a:cubicBezTo>
                      <a:pt x="179544" y="340764"/>
                      <a:pt x="145347" y="362870"/>
                      <a:pt x="113039" y="369293"/>
                    </a:cubicBezTo>
                    <a:cubicBezTo>
                      <a:pt x="99625" y="371939"/>
                      <a:pt x="79975" y="379496"/>
                      <a:pt x="74118" y="367593"/>
                    </a:cubicBezTo>
                    <a:cubicBezTo>
                      <a:pt x="36520" y="291075"/>
                      <a:pt x="-51334" y="84569"/>
                      <a:pt x="40488" y="42059"/>
                    </a:cubicBezTo>
                    <a:cubicBezTo>
                      <a:pt x="41244" y="42059"/>
                      <a:pt x="42000" y="41870"/>
                      <a:pt x="42755" y="41870"/>
                    </a:cubicBezTo>
                    <a:cubicBezTo>
                      <a:pt x="71851" y="39602"/>
                      <a:pt x="101514" y="26188"/>
                      <a:pt x="128909" y="15419"/>
                    </a:cubicBezTo>
                    <a:cubicBezTo>
                      <a:pt x="186724" y="-8009"/>
                      <a:pt x="234524" y="-21046"/>
                      <a:pt x="245482" y="101573"/>
                    </a:cubicBezTo>
                    <a:cubicBezTo>
                      <a:pt x="253229" y="187916"/>
                      <a:pt x="239625" y="245919"/>
                      <a:pt x="236225" y="324705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0017F50-E9DB-25BC-E0DB-B8043D3967EB}"/>
                  </a:ext>
                </a:extLst>
              </p:cNvPr>
              <p:cNvSpPr/>
              <p:nvPr/>
            </p:nvSpPr>
            <p:spPr>
              <a:xfrm rot="388799" flipH="1">
                <a:off x="4958635" y="2933159"/>
                <a:ext cx="541310" cy="814607"/>
              </a:xfrm>
              <a:custGeom>
                <a:avLst/>
                <a:gdLst>
                  <a:gd name="connsiteX0" fmla="*/ 0 w 503322"/>
                  <a:gd name="connsiteY0" fmla="*/ 0 h 757439"/>
                  <a:gd name="connsiteX1" fmla="*/ 503322 w 503322"/>
                  <a:gd name="connsiteY1" fmla="*/ 0 h 757439"/>
                  <a:gd name="connsiteX2" fmla="*/ 503322 w 503322"/>
                  <a:gd name="connsiteY2" fmla="*/ 639355 h 757439"/>
                  <a:gd name="connsiteX3" fmla="*/ 385238 w 503322"/>
                  <a:gd name="connsiteY3" fmla="*/ 757439 h 757439"/>
                  <a:gd name="connsiteX4" fmla="*/ 118273 w 503322"/>
                  <a:gd name="connsiteY4" fmla="*/ 757439 h 757439"/>
                  <a:gd name="connsiteX5" fmla="*/ 189 w 503322"/>
                  <a:gd name="connsiteY5" fmla="*/ 639355 h 757439"/>
                  <a:gd name="connsiteX6" fmla="*/ 189 w 503322"/>
                  <a:gd name="connsiteY6" fmla="*/ 0 h 757439"/>
                  <a:gd name="connsiteX7" fmla="*/ 189 w 503322"/>
                  <a:gd name="connsiteY7" fmla="*/ 0 h 75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322" h="757439">
                    <a:moveTo>
                      <a:pt x="0" y="0"/>
                    </a:moveTo>
                    <a:lnTo>
                      <a:pt x="503322" y="0"/>
                    </a:lnTo>
                    <a:lnTo>
                      <a:pt x="503322" y="639355"/>
                    </a:lnTo>
                    <a:cubicBezTo>
                      <a:pt x="503322" y="704537"/>
                      <a:pt x="450420" y="757439"/>
                      <a:pt x="385238" y="757439"/>
                    </a:cubicBezTo>
                    <a:lnTo>
                      <a:pt x="118273" y="757439"/>
                    </a:lnTo>
                    <a:cubicBezTo>
                      <a:pt x="53091" y="757439"/>
                      <a:pt x="189" y="704537"/>
                      <a:pt x="189" y="639355"/>
                    </a:cubicBez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E1EBE5">
                  <a:alpha val="30000"/>
                </a:srgbClr>
              </a:solidFill>
              <a:ln w="49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da-DK"/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354DA86F-4612-B0DB-554F-07890E454667}"/>
                  </a:ext>
                </a:extLst>
              </p:cNvPr>
              <p:cNvSpPr/>
              <p:nvPr/>
            </p:nvSpPr>
            <p:spPr>
              <a:xfrm flipH="1">
                <a:off x="5254738" y="2892437"/>
                <a:ext cx="596421" cy="928692"/>
              </a:xfrm>
              <a:custGeom>
                <a:avLst/>
                <a:gdLst>
                  <a:gd name="connsiteX0" fmla="*/ 554565 w 554565"/>
                  <a:gd name="connsiteY0" fmla="*/ 848128 h 863518"/>
                  <a:gd name="connsiteX1" fmla="*/ 405874 w 554565"/>
                  <a:gd name="connsiteY1" fmla="*/ 863054 h 863518"/>
                  <a:gd name="connsiteX2" fmla="*/ 265495 w 554565"/>
                  <a:gd name="connsiteY2" fmla="*/ 748748 h 863518"/>
                  <a:gd name="connsiteX3" fmla="*/ 233376 w 554565"/>
                  <a:gd name="connsiteY3" fmla="*/ 727588 h 863518"/>
                  <a:gd name="connsiteX4" fmla="*/ 171217 w 554565"/>
                  <a:gd name="connsiteY4" fmla="*/ 733823 h 863518"/>
                  <a:gd name="connsiteX5" fmla="*/ 164415 w 554565"/>
                  <a:gd name="connsiteY5" fmla="*/ 734389 h 863518"/>
                  <a:gd name="connsiteX6" fmla="*/ 164226 w 554565"/>
                  <a:gd name="connsiteY6" fmla="*/ 734389 h 863518"/>
                  <a:gd name="connsiteX7" fmla="*/ 70703 w 554565"/>
                  <a:gd name="connsiteY7" fmla="*/ 701893 h 863518"/>
                  <a:gd name="connsiteX8" fmla="*/ 170083 w 554565"/>
                  <a:gd name="connsiteY8" fmla="*/ 657493 h 863518"/>
                  <a:gd name="connsiteX9" fmla="*/ 188410 w 554565"/>
                  <a:gd name="connsiteY9" fmla="*/ 657871 h 863518"/>
                  <a:gd name="connsiteX10" fmla="*/ 193889 w 554565"/>
                  <a:gd name="connsiteY10" fmla="*/ 657304 h 863518"/>
                  <a:gd name="connsiteX11" fmla="*/ 218639 w 554565"/>
                  <a:gd name="connsiteY11" fmla="*/ 654848 h 863518"/>
                  <a:gd name="connsiteX12" fmla="*/ 250191 w 554565"/>
                  <a:gd name="connsiteY12" fmla="*/ 616305 h 863518"/>
                  <a:gd name="connsiteX13" fmla="*/ 221663 w 554565"/>
                  <a:gd name="connsiteY13" fmla="*/ 331014 h 863518"/>
                  <a:gd name="connsiteX14" fmla="*/ 179530 w 554565"/>
                  <a:gd name="connsiteY14" fmla="*/ 296439 h 863518"/>
                  <a:gd name="connsiteX15" fmla="*/ 152701 w 554565"/>
                  <a:gd name="connsiteY15" fmla="*/ 299084 h 863518"/>
                  <a:gd name="connsiteX16" fmla="*/ 86763 w 554565"/>
                  <a:gd name="connsiteY16" fmla="*/ 347829 h 863518"/>
                  <a:gd name="connsiteX17" fmla="*/ 609 w 554565"/>
                  <a:gd name="connsiteY17" fmla="*/ 374280 h 863518"/>
                  <a:gd name="connsiteX18" fmla="*/ 120960 w 554565"/>
                  <a:gd name="connsiteY18" fmla="*/ 228044 h 863518"/>
                  <a:gd name="connsiteX19" fmla="*/ 173295 w 554565"/>
                  <a:gd name="connsiteY19" fmla="*/ 222754 h 863518"/>
                  <a:gd name="connsiteX20" fmla="*/ 206926 w 554565"/>
                  <a:gd name="connsiteY20" fmla="*/ 181566 h 863518"/>
                  <a:gd name="connsiteX21" fmla="*/ 198234 w 554565"/>
                  <a:gd name="connsiteY21" fmla="*/ 94656 h 863518"/>
                  <a:gd name="connsiteX22" fmla="*/ 254159 w 554565"/>
                  <a:gd name="connsiteY22" fmla="*/ 26262 h 863518"/>
                  <a:gd name="connsiteX23" fmla="*/ 518101 w 554565"/>
                  <a:gd name="connsiteY23" fmla="*/ 0 h 86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4565" h="863518">
                    <a:moveTo>
                      <a:pt x="554565" y="848128"/>
                    </a:moveTo>
                    <a:lnTo>
                      <a:pt x="405874" y="863054"/>
                    </a:lnTo>
                    <a:cubicBezTo>
                      <a:pt x="342014" y="869289"/>
                      <a:pt x="282877" y="811853"/>
                      <a:pt x="265495" y="748748"/>
                    </a:cubicBezTo>
                    <a:cubicBezTo>
                      <a:pt x="261717" y="734767"/>
                      <a:pt x="247736" y="726265"/>
                      <a:pt x="233376" y="727588"/>
                    </a:cubicBezTo>
                    <a:lnTo>
                      <a:pt x="171217" y="733823"/>
                    </a:lnTo>
                    <a:lnTo>
                      <a:pt x="164415" y="734389"/>
                    </a:lnTo>
                    <a:lnTo>
                      <a:pt x="164226" y="734389"/>
                    </a:lnTo>
                    <a:cubicBezTo>
                      <a:pt x="129084" y="736090"/>
                      <a:pt x="95832" y="723620"/>
                      <a:pt x="70703" y="701893"/>
                    </a:cubicBezTo>
                    <a:cubicBezTo>
                      <a:pt x="103012" y="695469"/>
                      <a:pt x="137209" y="673363"/>
                      <a:pt x="170083" y="657493"/>
                    </a:cubicBezTo>
                    <a:cubicBezTo>
                      <a:pt x="175940" y="658438"/>
                      <a:pt x="182175" y="658438"/>
                      <a:pt x="188410" y="657871"/>
                    </a:cubicBezTo>
                    <a:lnTo>
                      <a:pt x="193889" y="657304"/>
                    </a:lnTo>
                    <a:lnTo>
                      <a:pt x="218639" y="654848"/>
                    </a:lnTo>
                    <a:cubicBezTo>
                      <a:pt x="237911" y="652959"/>
                      <a:pt x="252081" y="635765"/>
                      <a:pt x="250191" y="616305"/>
                    </a:cubicBezTo>
                    <a:lnTo>
                      <a:pt x="221663" y="331014"/>
                    </a:lnTo>
                    <a:cubicBezTo>
                      <a:pt x="219584" y="309853"/>
                      <a:pt x="200690" y="294360"/>
                      <a:pt x="179530" y="296439"/>
                    </a:cubicBezTo>
                    <a:lnTo>
                      <a:pt x="152701" y="299084"/>
                    </a:lnTo>
                    <a:cubicBezTo>
                      <a:pt x="122660" y="302107"/>
                      <a:pt x="97910" y="321567"/>
                      <a:pt x="86763" y="347829"/>
                    </a:cubicBezTo>
                    <a:cubicBezTo>
                      <a:pt x="59368" y="358598"/>
                      <a:pt x="29705" y="372013"/>
                      <a:pt x="609" y="374280"/>
                    </a:cubicBezTo>
                    <a:cubicBezTo>
                      <a:pt x="-6382" y="301162"/>
                      <a:pt x="47653" y="235224"/>
                      <a:pt x="120960" y="228044"/>
                    </a:cubicBezTo>
                    <a:lnTo>
                      <a:pt x="173295" y="222754"/>
                    </a:lnTo>
                    <a:cubicBezTo>
                      <a:pt x="193889" y="220676"/>
                      <a:pt x="209004" y="202160"/>
                      <a:pt x="206926" y="181566"/>
                    </a:cubicBezTo>
                    <a:lnTo>
                      <a:pt x="198234" y="94656"/>
                    </a:lnTo>
                    <a:cubicBezTo>
                      <a:pt x="194834" y="60270"/>
                      <a:pt x="219773" y="29663"/>
                      <a:pt x="254159" y="26262"/>
                    </a:cubicBezTo>
                    <a:lnTo>
                      <a:pt x="518101" y="0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661843D-F8AD-0B2F-533B-B08EEF40E4C4}"/>
                  </a:ext>
                </a:extLst>
              </p:cNvPr>
              <p:cNvSpPr/>
              <p:nvPr/>
            </p:nvSpPr>
            <p:spPr>
              <a:xfrm flipH="1">
                <a:off x="4887873" y="3189508"/>
                <a:ext cx="237836" cy="602269"/>
              </a:xfrm>
              <a:custGeom>
                <a:avLst/>
                <a:gdLst>
                  <a:gd name="connsiteX0" fmla="*/ 180055 w 221145"/>
                  <a:gd name="connsiteY0" fmla="*/ 0 h 560002"/>
                  <a:gd name="connsiteX1" fmla="*/ 220487 w 221145"/>
                  <a:gd name="connsiteY1" fmla="*/ 406776 h 560002"/>
                  <a:gd name="connsiteX2" fmla="*/ 103725 w 221145"/>
                  <a:gd name="connsiteY2" fmla="*/ 549611 h 560002"/>
                  <a:gd name="connsiteX3" fmla="*/ 0 w 221145"/>
                  <a:gd name="connsiteY3" fmla="*/ 560003 h 56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145" h="560002">
                    <a:moveTo>
                      <a:pt x="180055" y="0"/>
                    </a:moveTo>
                    <a:lnTo>
                      <a:pt x="220487" y="406776"/>
                    </a:lnTo>
                    <a:cubicBezTo>
                      <a:pt x="227666" y="478572"/>
                      <a:pt x="175331" y="542432"/>
                      <a:pt x="103725" y="549611"/>
                    </a:cubicBezTo>
                    <a:lnTo>
                      <a:pt x="0" y="56000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E78E68DA-2326-27DF-8BA2-E640C5FA11CC}"/>
                  </a:ext>
                </a:extLst>
              </p:cNvPr>
              <p:cNvSpPr/>
              <p:nvPr/>
            </p:nvSpPr>
            <p:spPr>
              <a:xfrm flipH="1">
                <a:off x="5131850" y="1765520"/>
                <a:ext cx="336070" cy="1038120"/>
              </a:xfrm>
              <a:custGeom>
                <a:avLst/>
                <a:gdLst>
                  <a:gd name="connsiteX0" fmla="*/ 154389 w 312485"/>
                  <a:gd name="connsiteY0" fmla="*/ 189124 h 965267"/>
                  <a:gd name="connsiteX1" fmla="*/ 236387 w 312485"/>
                  <a:gd name="connsiteY1" fmla="*/ 146235 h 965267"/>
                  <a:gd name="connsiteX2" fmla="*/ 264349 w 312485"/>
                  <a:gd name="connsiteY2" fmla="*/ 427748 h 965267"/>
                  <a:gd name="connsiteX3" fmla="*/ 129072 w 312485"/>
                  <a:gd name="connsiteY3" fmla="*/ 588532 h 965267"/>
                  <a:gd name="connsiteX4" fmla="*/ 305914 w 312485"/>
                  <a:gd name="connsiteY4" fmla="*/ 773688 h 965267"/>
                  <a:gd name="connsiteX5" fmla="*/ 131150 w 312485"/>
                  <a:gd name="connsiteY5" fmla="*/ 965268 h 965267"/>
                  <a:gd name="connsiteX6" fmla="*/ 126049 w 312485"/>
                  <a:gd name="connsiteY6" fmla="*/ 871745 h 965267"/>
                  <a:gd name="connsiteX7" fmla="*/ 221461 w 312485"/>
                  <a:gd name="connsiteY7" fmla="*/ 767075 h 965267"/>
                  <a:gd name="connsiteX8" fmla="*/ 178573 w 312485"/>
                  <a:gd name="connsiteY8" fmla="*/ 726265 h 965267"/>
                  <a:gd name="connsiteX9" fmla="*/ 32904 w 312485"/>
                  <a:gd name="connsiteY9" fmla="*/ 659760 h 965267"/>
                  <a:gd name="connsiteX10" fmla="*/ 109045 w 312485"/>
                  <a:gd name="connsiteY10" fmla="*/ 479138 h 965267"/>
                  <a:gd name="connsiteX11" fmla="*/ 229396 w 312485"/>
                  <a:gd name="connsiteY11" fmla="*/ 194036 h 965267"/>
                  <a:gd name="connsiteX12" fmla="*/ 192932 w 312485"/>
                  <a:gd name="connsiteY12" fmla="*/ 235413 h 965267"/>
                  <a:gd name="connsiteX13" fmla="*/ 24780 w 312485"/>
                  <a:gd name="connsiteY13" fmla="*/ 0 h 965267"/>
                  <a:gd name="connsiteX14" fmla="*/ 154200 w 312485"/>
                  <a:gd name="connsiteY14" fmla="*/ 188746 h 96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2485" h="965267">
                    <a:moveTo>
                      <a:pt x="154389" y="189124"/>
                    </a:moveTo>
                    <a:cubicBezTo>
                      <a:pt x="190098" y="191769"/>
                      <a:pt x="192932" y="138867"/>
                      <a:pt x="236387" y="146235"/>
                    </a:cubicBezTo>
                    <a:cubicBezTo>
                      <a:pt x="340679" y="155871"/>
                      <a:pt x="282298" y="370501"/>
                      <a:pt x="264349" y="427748"/>
                    </a:cubicBezTo>
                    <a:cubicBezTo>
                      <a:pt x="242622" y="493875"/>
                      <a:pt x="143620" y="515414"/>
                      <a:pt x="129072" y="588532"/>
                    </a:cubicBezTo>
                    <a:cubicBezTo>
                      <a:pt x="112068" y="673741"/>
                      <a:pt x="355038" y="716063"/>
                      <a:pt x="305914" y="773688"/>
                    </a:cubicBezTo>
                    <a:cubicBezTo>
                      <a:pt x="292689" y="789180"/>
                      <a:pt x="135873" y="848506"/>
                      <a:pt x="131150" y="965268"/>
                    </a:cubicBezTo>
                    <a:cubicBezTo>
                      <a:pt x="132284" y="935794"/>
                      <a:pt x="114524" y="904053"/>
                      <a:pt x="126049" y="871745"/>
                    </a:cubicBezTo>
                    <a:cubicBezTo>
                      <a:pt x="141353" y="825456"/>
                      <a:pt x="226373" y="793337"/>
                      <a:pt x="221461" y="767075"/>
                    </a:cubicBezTo>
                    <a:cubicBezTo>
                      <a:pt x="218060" y="748370"/>
                      <a:pt x="197088" y="733067"/>
                      <a:pt x="178573" y="726265"/>
                    </a:cubicBezTo>
                    <a:cubicBezTo>
                      <a:pt x="146832" y="713418"/>
                      <a:pt x="54442" y="691501"/>
                      <a:pt x="32904" y="659760"/>
                    </a:cubicBezTo>
                    <a:cubicBezTo>
                      <a:pt x="-30389" y="566237"/>
                      <a:pt x="69935" y="495009"/>
                      <a:pt x="109045" y="479138"/>
                    </a:cubicBezTo>
                    <a:cubicBezTo>
                      <a:pt x="221839" y="433605"/>
                      <a:pt x="318384" y="199326"/>
                      <a:pt x="229396" y="194036"/>
                    </a:cubicBezTo>
                    <a:cubicBezTo>
                      <a:pt x="203890" y="192524"/>
                      <a:pt x="222217" y="230311"/>
                      <a:pt x="192932" y="235413"/>
                    </a:cubicBezTo>
                    <a:cubicBezTo>
                      <a:pt x="63511" y="259596"/>
                      <a:pt x="-52306" y="131687"/>
                      <a:pt x="24780" y="0"/>
                    </a:cubicBezTo>
                    <a:cubicBezTo>
                      <a:pt x="2674" y="50257"/>
                      <a:pt x="78248" y="178921"/>
                      <a:pt x="154200" y="188746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68647DF5-57B7-D162-1541-C0F1752C6AC9}"/>
                  </a:ext>
                </a:extLst>
              </p:cNvPr>
              <p:cNvSpPr/>
              <p:nvPr/>
            </p:nvSpPr>
            <p:spPr>
              <a:xfrm flipH="1">
                <a:off x="4941006" y="2865892"/>
                <a:ext cx="272687" cy="234414"/>
              </a:xfrm>
              <a:custGeom>
                <a:avLst/>
                <a:gdLst>
                  <a:gd name="connsiteX0" fmla="*/ 0 w 253550"/>
                  <a:gd name="connsiteY0" fmla="*/ 17315 h 217963"/>
                  <a:gd name="connsiteX1" fmla="*/ 169474 w 253550"/>
                  <a:gd name="connsiteY1" fmla="*/ 310 h 217963"/>
                  <a:gd name="connsiteX2" fmla="*/ 237491 w 253550"/>
                  <a:gd name="connsiteY2" fmla="*/ 55857 h 217963"/>
                  <a:gd name="connsiteX3" fmla="*/ 253551 w 253550"/>
                  <a:gd name="connsiteY3" fmla="*/ 217963 h 2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50" h="217963">
                    <a:moveTo>
                      <a:pt x="0" y="17315"/>
                    </a:moveTo>
                    <a:lnTo>
                      <a:pt x="169474" y="310"/>
                    </a:lnTo>
                    <a:cubicBezTo>
                      <a:pt x="203672" y="-3090"/>
                      <a:pt x="234090" y="21849"/>
                      <a:pt x="237491" y="55857"/>
                    </a:cubicBezTo>
                    <a:lnTo>
                      <a:pt x="253551" y="21796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/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9958A61D-8B15-9302-B862-B675BE940CFE}"/>
                  </a:ext>
                </a:extLst>
              </p:cNvPr>
              <p:cNvGrpSpPr/>
              <p:nvPr userDrawn="1"/>
            </p:nvGrpSpPr>
            <p:grpSpPr>
              <a:xfrm>
                <a:off x="5079983" y="3165639"/>
                <a:ext cx="180522" cy="248934"/>
                <a:chOff x="5079983" y="3165639"/>
                <a:chExt cx="180522" cy="248934"/>
              </a:xfrm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B695D01F-D162-203B-AA17-47A7291F08E2}"/>
                    </a:ext>
                  </a:extLst>
                </p:cNvPr>
                <p:cNvSpPr/>
                <p:nvPr/>
              </p:nvSpPr>
              <p:spPr>
                <a:xfrm flipV="1">
                  <a:off x="5079983" y="3165639"/>
                  <a:ext cx="180522" cy="248934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BF019CE-D7EE-39A2-4314-4B08645A7023}"/>
                    </a:ext>
                  </a:extLst>
                </p:cNvPr>
                <p:cNvSpPr/>
                <p:nvPr/>
              </p:nvSpPr>
              <p:spPr>
                <a:xfrm rot="20676814" flipV="1">
                  <a:off x="5154147" y="3238652"/>
                  <a:ext cx="29895" cy="119580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776DEF43-65FC-9BE7-4A19-DD0CD35D0A36}"/>
                  </a:ext>
                </a:extLst>
              </p:cNvPr>
              <p:cNvGrpSpPr/>
              <p:nvPr userDrawn="1"/>
            </p:nvGrpSpPr>
            <p:grpSpPr>
              <a:xfrm>
                <a:off x="5194579" y="3422100"/>
                <a:ext cx="184018" cy="133446"/>
                <a:chOff x="5194579" y="3422100"/>
                <a:chExt cx="184018" cy="133446"/>
              </a:xfrm>
            </p:grpSpPr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C81899F8-EE00-A673-F181-8C4766B2A356}"/>
                    </a:ext>
                  </a:extLst>
                </p:cNvPr>
                <p:cNvSpPr/>
                <p:nvPr/>
              </p:nvSpPr>
              <p:spPr>
                <a:xfrm rot="13624121" flipV="1">
                  <a:off x="5219865" y="3396814"/>
                  <a:ext cx="133446" cy="184018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C25019B5-AB83-4CE6-3195-6E3655AB7B19}"/>
                    </a:ext>
                  </a:extLst>
                </p:cNvPr>
                <p:cNvSpPr/>
                <p:nvPr/>
              </p:nvSpPr>
              <p:spPr>
                <a:xfrm rot="12700935" flipV="1">
                  <a:off x="5280629" y="3441050"/>
                  <a:ext cx="22099" cy="88397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/>
                </a:p>
              </p:txBody>
            </p:sp>
          </p:grpSp>
        </p:grpSp>
      </p:grp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BD68BE-97FC-828D-97F6-93182C6EA588}"/>
              </a:ext>
            </a:extLst>
          </p:cNvPr>
          <p:cNvSpPr/>
          <p:nvPr userDrawn="1"/>
        </p:nvSpPr>
        <p:spPr>
          <a:xfrm>
            <a:off x="643647" y="440448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1">
              <a:alpha val="82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lvl="0" algn="ctr" rtl="0"/>
            <a:endParaRPr lang="da-DK" sz="4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25E6C4E6-41B1-330A-CDDC-8095A00DBD9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0947" y="2365827"/>
            <a:ext cx="4986812" cy="1317205"/>
          </a:xfrm>
          <a:noFill/>
        </p:spPr>
        <p:txBody>
          <a:bodyPr lIns="0" tIns="0" rIns="0" bIns="0" anchor="t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ACAFC9B-F907-F19C-5BFF-A4FDB8A1DE58}"/>
              </a:ext>
            </a:extLst>
          </p:cNvPr>
          <p:cNvGrpSpPr/>
          <p:nvPr userDrawn="1"/>
        </p:nvGrpSpPr>
        <p:grpSpPr>
          <a:xfrm>
            <a:off x="340635" y="775153"/>
            <a:ext cx="1246104" cy="1246653"/>
            <a:chOff x="340635" y="775153"/>
            <a:chExt cx="1246104" cy="1246653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2309A6A-8140-51EB-C44A-53BF20B016A8}"/>
                </a:ext>
              </a:extLst>
            </p:cNvPr>
            <p:cNvSpPr/>
            <p:nvPr/>
          </p:nvSpPr>
          <p:spPr>
            <a:xfrm>
              <a:off x="363284" y="77515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1">
                <a:alpha val="82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1A0D1E8B-DFF6-B548-43E4-87089449CD83}"/>
                </a:ext>
              </a:extLst>
            </p:cNvPr>
            <p:cNvGrpSpPr/>
            <p:nvPr userDrawn="1"/>
          </p:nvGrpSpPr>
          <p:grpSpPr>
            <a:xfrm rot="21350568">
              <a:off x="733167" y="1084709"/>
              <a:ext cx="483688" cy="595700"/>
              <a:chOff x="8865640" y="4805864"/>
              <a:chExt cx="300432" cy="370007"/>
            </a:xfrm>
            <a:solidFill>
              <a:schemeClr val="bg1"/>
            </a:solidFill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75171A68-5767-36CA-26F0-4BB3B577A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5640" y="4805864"/>
                <a:ext cx="139752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0DCD0F10-3BF2-2A18-29B1-000BE14BE6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29731" y="4835136"/>
                <a:ext cx="136341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/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26A2B8-D79D-8C87-58C0-CEA4D6336D93}"/>
                </a:ext>
              </a:extLst>
            </p:cNvPr>
            <p:cNvSpPr/>
            <p:nvPr/>
          </p:nvSpPr>
          <p:spPr>
            <a:xfrm>
              <a:off x="340635" y="80699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12713822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15462419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42182467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+mn-lt"/>
              </a:defRPr>
            </a:lvl1pPr>
            <a:lvl2pPr rtl="0">
              <a:defRPr sz="1400">
                <a:latin typeface="+mn-lt"/>
              </a:defRPr>
            </a:lvl2pPr>
            <a:lvl3pPr rtl="0">
              <a:defRPr sz="1400">
                <a:latin typeface="+mn-lt"/>
              </a:defRPr>
            </a:lvl3pPr>
            <a:lvl4pPr rtl="0">
              <a:defRPr sz="1400">
                <a:latin typeface="+mn-lt"/>
              </a:defRPr>
            </a:lvl4pPr>
            <a:lvl5pPr rtl="0">
              <a:defRPr sz="1400">
                <a:latin typeface="+mn-lt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pts</a:t>
            </a:r>
          </a:p>
        </p:txBody>
      </p:sp>
    </p:spTree>
    <p:extLst>
      <p:ext uri="{BB962C8B-B14F-4D97-AF65-F5344CB8AC3E}">
        <p14:creationId xmlns:p14="http://schemas.microsoft.com/office/powerpoint/2010/main" val="33239194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402717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274531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7" r:id="rId2"/>
    <p:sldLayoutId id="2147483668" r:id="rId3"/>
    <p:sldLayoutId id="2147483673" r:id="rId4"/>
    <p:sldLayoutId id="2147483674" r:id="rId5"/>
    <p:sldLayoutId id="2147483699" r:id="rId6"/>
    <p:sldLayoutId id="2147483701" r:id="rId7"/>
    <p:sldLayoutId id="214748370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59792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almenkompas.dk/teamet" TargetMode="Externa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18" Type="http://schemas.openxmlformats.org/officeDocument/2006/relationships/image" Target="../media/image94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97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17" Type="http://schemas.openxmlformats.org/officeDocument/2006/relationships/hyperlink" Target="https://www.linkedin.com/company/almenkompas/" TargetMode="External"/><Relationship Id="rId2" Type="http://schemas.openxmlformats.org/officeDocument/2006/relationships/tags" Target="../tags/tag42.xml"/><Relationship Id="rId16" Type="http://schemas.openxmlformats.org/officeDocument/2006/relationships/hyperlink" Target="https://almenkompas.dk/" TargetMode="External"/><Relationship Id="rId20" Type="http://schemas.openxmlformats.org/officeDocument/2006/relationships/image" Target="../media/image96.png"/><Relationship Id="rId1" Type="http://schemas.openxmlformats.org/officeDocument/2006/relationships/tags" Target="../tags/tag41.xml"/><Relationship Id="rId6" Type="http://schemas.openxmlformats.org/officeDocument/2006/relationships/image" Target="../media/image5.emf"/><Relationship Id="rId11" Type="http://schemas.openxmlformats.org/officeDocument/2006/relationships/image" Target="../media/image90.png"/><Relationship Id="rId5" Type="http://schemas.openxmlformats.org/officeDocument/2006/relationships/oleObject" Target="../embeddings/oleObject22.bin"/><Relationship Id="rId15" Type="http://schemas.openxmlformats.org/officeDocument/2006/relationships/hyperlink" Target="mailto:almenkompas@domea.dk" TargetMode="External"/><Relationship Id="rId10" Type="http://schemas.openxmlformats.org/officeDocument/2006/relationships/image" Target="../media/image89.svg"/><Relationship Id="rId19" Type="http://schemas.openxmlformats.org/officeDocument/2006/relationships/image" Target="../media/image9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8.png"/><Relationship Id="rId14" Type="http://schemas.openxmlformats.org/officeDocument/2006/relationships/image" Target="../media/image93.svg"/><Relationship Id="rId22" Type="http://schemas.openxmlformats.org/officeDocument/2006/relationships/image" Target="../media/image9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9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1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sv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svg"/><Relationship Id="rId12" Type="http://schemas.openxmlformats.org/officeDocument/2006/relationships/image" Target="../media/image108.png"/><Relationship Id="rId17" Type="http://schemas.openxmlformats.org/officeDocument/2006/relationships/image" Target="../media/image113.svg"/><Relationship Id="rId2" Type="http://schemas.openxmlformats.org/officeDocument/2006/relationships/tags" Target="../tags/tag66.xml"/><Relationship Id="rId16" Type="http://schemas.openxmlformats.org/officeDocument/2006/relationships/image" Target="../media/image112.png"/><Relationship Id="rId1" Type="http://schemas.openxmlformats.org/officeDocument/2006/relationships/tags" Target="../tags/tag65.xml"/><Relationship Id="rId6" Type="http://schemas.openxmlformats.org/officeDocument/2006/relationships/image" Target="../media/image102.png"/><Relationship Id="rId11" Type="http://schemas.openxmlformats.org/officeDocument/2006/relationships/image" Target="../media/image107.svg"/><Relationship Id="rId5" Type="http://schemas.openxmlformats.org/officeDocument/2006/relationships/image" Target="../media/image5.emf"/><Relationship Id="rId15" Type="http://schemas.openxmlformats.org/officeDocument/2006/relationships/image" Target="../media/image111.svg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05.svg"/><Relationship Id="rId14" Type="http://schemas.openxmlformats.org/officeDocument/2006/relationships/image" Target="../media/image110.png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10.png"/><Relationship Id="rId21" Type="http://schemas.openxmlformats.org/officeDocument/2006/relationships/image" Target="../media/image103.svg"/><Relationship Id="rId42" Type="http://schemas.openxmlformats.org/officeDocument/2006/relationships/image" Target="../media/image104.png"/><Relationship Id="rId47" Type="http://schemas.openxmlformats.org/officeDocument/2006/relationships/image" Target="../media/image145.svg"/><Relationship Id="rId63" Type="http://schemas.openxmlformats.org/officeDocument/2006/relationships/image" Target="../media/image159.svg"/><Relationship Id="rId68" Type="http://schemas.openxmlformats.org/officeDocument/2006/relationships/image" Target="../media/image164.png"/><Relationship Id="rId16" Type="http://schemas.openxmlformats.org/officeDocument/2006/relationships/image" Target="../media/image124.png"/><Relationship Id="rId11" Type="http://schemas.openxmlformats.org/officeDocument/2006/relationships/image" Target="../media/image119.svg"/><Relationship Id="rId32" Type="http://schemas.openxmlformats.org/officeDocument/2006/relationships/image" Target="../media/image112.png"/><Relationship Id="rId37" Type="http://schemas.openxmlformats.org/officeDocument/2006/relationships/image" Target="../media/image137.svg"/><Relationship Id="rId53" Type="http://schemas.openxmlformats.org/officeDocument/2006/relationships/image" Target="../media/image151.svg"/><Relationship Id="rId58" Type="http://schemas.openxmlformats.org/officeDocument/2006/relationships/image" Target="../media/image154.png"/><Relationship Id="rId74" Type="http://schemas.openxmlformats.org/officeDocument/2006/relationships/image" Target="../media/image170.png"/><Relationship Id="rId79" Type="http://schemas.openxmlformats.org/officeDocument/2006/relationships/image" Target="../media/image175.svg"/><Relationship Id="rId5" Type="http://schemas.openxmlformats.org/officeDocument/2006/relationships/image" Target="../media/image5.emf"/><Relationship Id="rId61" Type="http://schemas.openxmlformats.org/officeDocument/2006/relationships/image" Target="../media/image157.svg"/><Relationship Id="rId82" Type="http://schemas.openxmlformats.org/officeDocument/2006/relationships/image" Target="../media/image178.png"/><Relationship Id="rId19" Type="http://schemas.openxmlformats.org/officeDocument/2006/relationships/image" Target="../media/image127.svg"/><Relationship Id="rId14" Type="http://schemas.openxmlformats.org/officeDocument/2006/relationships/image" Target="../media/image122.png"/><Relationship Id="rId22" Type="http://schemas.openxmlformats.org/officeDocument/2006/relationships/image" Target="../media/image106.png"/><Relationship Id="rId27" Type="http://schemas.openxmlformats.org/officeDocument/2006/relationships/image" Target="../media/image111.svg"/><Relationship Id="rId30" Type="http://schemas.openxmlformats.org/officeDocument/2006/relationships/image" Target="../media/image132.png"/><Relationship Id="rId35" Type="http://schemas.openxmlformats.org/officeDocument/2006/relationships/image" Target="../media/image135.svg"/><Relationship Id="rId43" Type="http://schemas.openxmlformats.org/officeDocument/2006/relationships/image" Target="../media/image105.svg"/><Relationship Id="rId48" Type="http://schemas.openxmlformats.org/officeDocument/2006/relationships/image" Target="../media/image146.png"/><Relationship Id="rId56" Type="http://schemas.openxmlformats.org/officeDocument/2006/relationships/image" Target="../media/image108.png"/><Relationship Id="rId64" Type="http://schemas.openxmlformats.org/officeDocument/2006/relationships/image" Target="../media/image160.png"/><Relationship Id="rId69" Type="http://schemas.openxmlformats.org/officeDocument/2006/relationships/image" Target="../media/image165.svg"/><Relationship Id="rId77" Type="http://schemas.openxmlformats.org/officeDocument/2006/relationships/image" Target="../media/image173.svg"/><Relationship Id="rId8" Type="http://schemas.openxmlformats.org/officeDocument/2006/relationships/image" Target="../media/image116.png"/><Relationship Id="rId51" Type="http://schemas.openxmlformats.org/officeDocument/2006/relationships/image" Target="../media/image149.svg"/><Relationship Id="rId72" Type="http://schemas.openxmlformats.org/officeDocument/2006/relationships/image" Target="../media/image168.png"/><Relationship Id="rId80" Type="http://schemas.openxmlformats.org/officeDocument/2006/relationships/image" Target="../media/image176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120.png"/><Relationship Id="rId17" Type="http://schemas.openxmlformats.org/officeDocument/2006/relationships/image" Target="../media/image125.svg"/><Relationship Id="rId25" Type="http://schemas.openxmlformats.org/officeDocument/2006/relationships/image" Target="../media/image129.svg"/><Relationship Id="rId33" Type="http://schemas.openxmlformats.org/officeDocument/2006/relationships/image" Target="../media/image113.svg"/><Relationship Id="rId38" Type="http://schemas.openxmlformats.org/officeDocument/2006/relationships/image" Target="../media/image138.png"/><Relationship Id="rId46" Type="http://schemas.openxmlformats.org/officeDocument/2006/relationships/image" Target="../media/image144.png"/><Relationship Id="rId59" Type="http://schemas.openxmlformats.org/officeDocument/2006/relationships/image" Target="../media/image155.svg"/><Relationship Id="rId67" Type="http://schemas.openxmlformats.org/officeDocument/2006/relationships/image" Target="../media/image163.svg"/><Relationship Id="rId20" Type="http://schemas.openxmlformats.org/officeDocument/2006/relationships/image" Target="../media/image102.png"/><Relationship Id="rId41" Type="http://schemas.openxmlformats.org/officeDocument/2006/relationships/image" Target="../media/image141.svg"/><Relationship Id="rId54" Type="http://schemas.openxmlformats.org/officeDocument/2006/relationships/image" Target="../media/image152.png"/><Relationship Id="rId62" Type="http://schemas.openxmlformats.org/officeDocument/2006/relationships/image" Target="../media/image158.png"/><Relationship Id="rId70" Type="http://schemas.openxmlformats.org/officeDocument/2006/relationships/image" Target="../media/image166.png"/><Relationship Id="rId75" Type="http://schemas.openxmlformats.org/officeDocument/2006/relationships/image" Target="../media/image171.svg"/><Relationship Id="rId83" Type="http://schemas.openxmlformats.org/officeDocument/2006/relationships/image" Target="../media/image179.svg"/><Relationship Id="rId1" Type="http://schemas.openxmlformats.org/officeDocument/2006/relationships/tags" Target="../tags/tag67.xml"/><Relationship Id="rId6" Type="http://schemas.openxmlformats.org/officeDocument/2006/relationships/image" Target="../media/image114.png"/><Relationship Id="rId15" Type="http://schemas.openxmlformats.org/officeDocument/2006/relationships/image" Target="../media/image123.svg"/><Relationship Id="rId23" Type="http://schemas.openxmlformats.org/officeDocument/2006/relationships/image" Target="../media/image107.svg"/><Relationship Id="rId28" Type="http://schemas.openxmlformats.org/officeDocument/2006/relationships/image" Target="../media/image130.png"/><Relationship Id="rId36" Type="http://schemas.openxmlformats.org/officeDocument/2006/relationships/image" Target="../media/image136.png"/><Relationship Id="rId49" Type="http://schemas.openxmlformats.org/officeDocument/2006/relationships/image" Target="../media/image147.svg"/><Relationship Id="rId57" Type="http://schemas.openxmlformats.org/officeDocument/2006/relationships/image" Target="../media/image109.svg"/><Relationship Id="rId10" Type="http://schemas.openxmlformats.org/officeDocument/2006/relationships/image" Target="../media/image118.png"/><Relationship Id="rId31" Type="http://schemas.openxmlformats.org/officeDocument/2006/relationships/image" Target="../media/image133.svg"/><Relationship Id="rId44" Type="http://schemas.openxmlformats.org/officeDocument/2006/relationships/image" Target="../media/image142.png"/><Relationship Id="rId52" Type="http://schemas.openxmlformats.org/officeDocument/2006/relationships/image" Target="../media/image150.png"/><Relationship Id="rId60" Type="http://schemas.openxmlformats.org/officeDocument/2006/relationships/image" Target="../media/image156.png"/><Relationship Id="rId65" Type="http://schemas.openxmlformats.org/officeDocument/2006/relationships/image" Target="../media/image161.svg"/><Relationship Id="rId73" Type="http://schemas.openxmlformats.org/officeDocument/2006/relationships/image" Target="../media/image169.svg"/><Relationship Id="rId78" Type="http://schemas.openxmlformats.org/officeDocument/2006/relationships/image" Target="../media/image174.png"/><Relationship Id="rId81" Type="http://schemas.openxmlformats.org/officeDocument/2006/relationships/image" Target="../media/image177.sv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17.svg"/><Relationship Id="rId13" Type="http://schemas.openxmlformats.org/officeDocument/2006/relationships/image" Target="../media/image121.svg"/><Relationship Id="rId18" Type="http://schemas.openxmlformats.org/officeDocument/2006/relationships/image" Target="../media/image126.png"/><Relationship Id="rId39" Type="http://schemas.openxmlformats.org/officeDocument/2006/relationships/image" Target="../media/image139.svg"/><Relationship Id="rId34" Type="http://schemas.openxmlformats.org/officeDocument/2006/relationships/image" Target="../media/image134.png"/><Relationship Id="rId50" Type="http://schemas.openxmlformats.org/officeDocument/2006/relationships/image" Target="../media/image148.png"/><Relationship Id="rId55" Type="http://schemas.openxmlformats.org/officeDocument/2006/relationships/image" Target="../media/image153.svg"/><Relationship Id="rId76" Type="http://schemas.openxmlformats.org/officeDocument/2006/relationships/image" Target="../media/image172.png"/><Relationship Id="rId7" Type="http://schemas.openxmlformats.org/officeDocument/2006/relationships/image" Target="../media/image115.svg"/><Relationship Id="rId71" Type="http://schemas.openxmlformats.org/officeDocument/2006/relationships/image" Target="../media/image167.svg"/><Relationship Id="rId2" Type="http://schemas.openxmlformats.org/officeDocument/2006/relationships/tags" Target="../tags/tag68.xml"/><Relationship Id="rId29" Type="http://schemas.openxmlformats.org/officeDocument/2006/relationships/image" Target="../media/image131.svg"/><Relationship Id="rId24" Type="http://schemas.openxmlformats.org/officeDocument/2006/relationships/image" Target="../media/image128.png"/><Relationship Id="rId40" Type="http://schemas.openxmlformats.org/officeDocument/2006/relationships/image" Target="../media/image140.png"/><Relationship Id="rId45" Type="http://schemas.openxmlformats.org/officeDocument/2006/relationships/image" Target="../media/image143.svg"/><Relationship Id="rId66" Type="http://schemas.openxmlformats.org/officeDocument/2006/relationships/image" Target="../media/image162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7.svg"/><Relationship Id="rId18" Type="http://schemas.openxmlformats.org/officeDocument/2006/relationships/image" Target="../media/image192.png"/><Relationship Id="rId26" Type="http://schemas.openxmlformats.org/officeDocument/2006/relationships/image" Target="../media/image63.png"/><Relationship Id="rId39" Type="http://schemas.openxmlformats.org/officeDocument/2006/relationships/image" Target="../media/image203.svg"/><Relationship Id="rId21" Type="http://schemas.openxmlformats.org/officeDocument/2006/relationships/image" Target="../media/image195.svg"/><Relationship Id="rId34" Type="http://schemas.openxmlformats.org/officeDocument/2006/relationships/image" Target="../media/image198.png"/><Relationship Id="rId42" Type="http://schemas.openxmlformats.org/officeDocument/2006/relationships/image" Target="../media/image206.png"/><Relationship Id="rId7" Type="http://schemas.openxmlformats.org/officeDocument/2006/relationships/image" Target="../media/image181.svg"/><Relationship Id="rId2" Type="http://schemas.openxmlformats.org/officeDocument/2006/relationships/tags" Target="../tags/tag70.xml"/><Relationship Id="rId16" Type="http://schemas.openxmlformats.org/officeDocument/2006/relationships/image" Target="../media/image190.png"/><Relationship Id="rId29" Type="http://schemas.openxmlformats.org/officeDocument/2006/relationships/image" Target="../media/image70.svg"/><Relationship Id="rId1" Type="http://schemas.openxmlformats.org/officeDocument/2006/relationships/tags" Target="../tags/tag69.xml"/><Relationship Id="rId6" Type="http://schemas.openxmlformats.org/officeDocument/2006/relationships/image" Target="../media/image180.png"/><Relationship Id="rId11" Type="http://schemas.openxmlformats.org/officeDocument/2006/relationships/image" Target="../media/image185.svg"/><Relationship Id="rId24" Type="http://schemas.openxmlformats.org/officeDocument/2006/relationships/image" Target="../media/image61.png"/><Relationship Id="rId32" Type="http://schemas.openxmlformats.org/officeDocument/2006/relationships/image" Target="../media/image67.png"/><Relationship Id="rId37" Type="http://schemas.openxmlformats.org/officeDocument/2006/relationships/image" Target="../media/image201.svg"/><Relationship Id="rId40" Type="http://schemas.openxmlformats.org/officeDocument/2006/relationships/image" Target="../media/image204.png"/><Relationship Id="rId45" Type="http://schemas.openxmlformats.org/officeDocument/2006/relationships/image" Target="../media/image56.svg"/><Relationship Id="rId5" Type="http://schemas.openxmlformats.org/officeDocument/2006/relationships/image" Target="../media/image5.emf"/><Relationship Id="rId15" Type="http://schemas.openxmlformats.org/officeDocument/2006/relationships/image" Target="../media/image189.svg"/><Relationship Id="rId23" Type="http://schemas.openxmlformats.org/officeDocument/2006/relationships/image" Target="../media/image197.svg"/><Relationship Id="rId28" Type="http://schemas.openxmlformats.org/officeDocument/2006/relationships/image" Target="../media/image69.png"/><Relationship Id="rId36" Type="http://schemas.openxmlformats.org/officeDocument/2006/relationships/image" Target="../media/image200.png"/><Relationship Id="rId10" Type="http://schemas.openxmlformats.org/officeDocument/2006/relationships/image" Target="../media/image184.png"/><Relationship Id="rId19" Type="http://schemas.openxmlformats.org/officeDocument/2006/relationships/image" Target="../media/image193.svg"/><Relationship Id="rId31" Type="http://schemas.openxmlformats.org/officeDocument/2006/relationships/image" Target="../media/image66.svg"/><Relationship Id="rId44" Type="http://schemas.openxmlformats.org/officeDocument/2006/relationships/image" Target="../media/image55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183.svg"/><Relationship Id="rId14" Type="http://schemas.openxmlformats.org/officeDocument/2006/relationships/image" Target="../media/image188.png"/><Relationship Id="rId22" Type="http://schemas.openxmlformats.org/officeDocument/2006/relationships/image" Target="../media/image196.png"/><Relationship Id="rId27" Type="http://schemas.openxmlformats.org/officeDocument/2006/relationships/image" Target="../media/image64.svg"/><Relationship Id="rId30" Type="http://schemas.openxmlformats.org/officeDocument/2006/relationships/image" Target="../media/image65.png"/><Relationship Id="rId35" Type="http://schemas.openxmlformats.org/officeDocument/2006/relationships/image" Target="../media/image199.svg"/><Relationship Id="rId43" Type="http://schemas.openxmlformats.org/officeDocument/2006/relationships/image" Target="../media/image207.svg"/><Relationship Id="rId8" Type="http://schemas.openxmlformats.org/officeDocument/2006/relationships/image" Target="../media/image182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186.png"/><Relationship Id="rId17" Type="http://schemas.openxmlformats.org/officeDocument/2006/relationships/image" Target="../media/image191.svg"/><Relationship Id="rId25" Type="http://schemas.openxmlformats.org/officeDocument/2006/relationships/image" Target="../media/image62.svg"/><Relationship Id="rId33" Type="http://schemas.openxmlformats.org/officeDocument/2006/relationships/image" Target="../media/image68.svg"/><Relationship Id="rId38" Type="http://schemas.openxmlformats.org/officeDocument/2006/relationships/image" Target="../media/image202.png"/><Relationship Id="rId20" Type="http://schemas.openxmlformats.org/officeDocument/2006/relationships/image" Target="../media/image194.png"/><Relationship Id="rId41" Type="http://schemas.openxmlformats.org/officeDocument/2006/relationships/image" Target="../media/image205.svg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28.png"/><Relationship Id="rId21" Type="http://schemas.openxmlformats.org/officeDocument/2006/relationships/image" Target="../media/image223.svg"/><Relationship Id="rId42" Type="http://schemas.openxmlformats.org/officeDocument/2006/relationships/image" Target="../media/image244.png"/><Relationship Id="rId47" Type="http://schemas.openxmlformats.org/officeDocument/2006/relationships/image" Target="../media/image249.svg"/><Relationship Id="rId63" Type="http://schemas.openxmlformats.org/officeDocument/2006/relationships/image" Target="../media/image56.svg"/><Relationship Id="rId68" Type="http://schemas.openxmlformats.org/officeDocument/2006/relationships/image" Target="../media/image266.png"/><Relationship Id="rId16" Type="http://schemas.openxmlformats.org/officeDocument/2006/relationships/image" Target="../media/image218.png"/><Relationship Id="rId11" Type="http://schemas.openxmlformats.org/officeDocument/2006/relationships/image" Target="../media/image213.svg"/><Relationship Id="rId32" Type="http://schemas.openxmlformats.org/officeDocument/2006/relationships/image" Target="../media/image234.png"/><Relationship Id="rId37" Type="http://schemas.openxmlformats.org/officeDocument/2006/relationships/image" Target="../media/image239.svg"/><Relationship Id="rId53" Type="http://schemas.openxmlformats.org/officeDocument/2006/relationships/image" Target="../media/image255.svg"/><Relationship Id="rId58" Type="http://schemas.openxmlformats.org/officeDocument/2006/relationships/image" Target="../media/image260.png"/><Relationship Id="rId74" Type="http://schemas.openxmlformats.org/officeDocument/2006/relationships/image" Target="../media/image63.png"/><Relationship Id="rId79" Type="http://schemas.openxmlformats.org/officeDocument/2006/relationships/image" Target="../media/image68.svg"/><Relationship Id="rId5" Type="http://schemas.openxmlformats.org/officeDocument/2006/relationships/image" Target="../media/image5.emf"/><Relationship Id="rId61" Type="http://schemas.openxmlformats.org/officeDocument/2006/relationships/image" Target="../media/image263.svg"/><Relationship Id="rId82" Type="http://schemas.openxmlformats.org/officeDocument/2006/relationships/image" Target="../media/image272.png"/><Relationship Id="rId19" Type="http://schemas.openxmlformats.org/officeDocument/2006/relationships/image" Target="../media/image221.svg"/><Relationship Id="rId14" Type="http://schemas.openxmlformats.org/officeDocument/2006/relationships/image" Target="../media/image216.png"/><Relationship Id="rId22" Type="http://schemas.openxmlformats.org/officeDocument/2006/relationships/image" Target="../media/image224.png"/><Relationship Id="rId27" Type="http://schemas.openxmlformats.org/officeDocument/2006/relationships/image" Target="../media/image229.svg"/><Relationship Id="rId30" Type="http://schemas.openxmlformats.org/officeDocument/2006/relationships/image" Target="../media/image232.png"/><Relationship Id="rId35" Type="http://schemas.openxmlformats.org/officeDocument/2006/relationships/image" Target="../media/image237.svg"/><Relationship Id="rId43" Type="http://schemas.openxmlformats.org/officeDocument/2006/relationships/image" Target="../media/image245.svg"/><Relationship Id="rId48" Type="http://schemas.openxmlformats.org/officeDocument/2006/relationships/image" Target="../media/image250.png"/><Relationship Id="rId56" Type="http://schemas.openxmlformats.org/officeDocument/2006/relationships/image" Target="../media/image258.png"/><Relationship Id="rId64" Type="http://schemas.openxmlformats.org/officeDocument/2006/relationships/image" Target="../media/image61.png"/><Relationship Id="rId69" Type="http://schemas.openxmlformats.org/officeDocument/2006/relationships/image" Target="../media/image267.svg"/><Relationship Id="rId77" Type="http://schemas.openxmlformats.org/officeDocument/2006/relationships/image" Target="../media/image271.svg"/><Relationship Id="rId8" Type="http://schemas.openxmlformats.org/officeDocument/2006/relationships/image" Target="../media/image210.png"/><Relationship Id="rId51" Type="http://schemas.openxmlformats.org/officeDocument/2006/relationships/image" Target="../media/image253.svg"/><Relationship Id="rId72" Type="http://schemas.openxmlformats.org/officeDocument/2006/relationships/image" Target="../media/image268.png"/><Relationship Id="rId80" Type="http://schemas.openxmlformats.org/officeDocument/2006/relationships/image" Target="../media/image69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214.png"/><Relationship Id="rId17" Type="http://schemas.openxmlformats.org/officeDocument/2006/relationships/image" Target="../media/image219.svg"/><Relationship Id="rId25" Type="http://schemas.openxmlformats.org/officeDocument/2006/relationships/image" Target="../media/image227.svg"/><Relationship Id="rId33" Type="http://schemas.openxmlformats.org/officeDocument/2006/relationships/image" Target="../media/image235.svg"/><Relationship Id="rId38" Type="http://schemas.openxmlformats.org/officeDocument/2006/relationships/image" Target="../media/image240.png"/><Relationship Id="rId46" Type="http://schemas.openxmlformats.org/officeDocument/2006/relationships/image" Target="../media/image248.png"/><Relationship Id="rId59" Type="http://schemas.openxmlformats.org/officeDocument/2006/relationships/image" Target="../media/image261.svg"/><Relationship Id="rId67" Type="http://schemas.openxmlformats.org/officeDocument/2006/relationships/image" Target="../media/image265.svg"/><Relationship Id="rId20" Type="http://schemas.openxmlformats.org/officeDocument/2006/relationships/image" Target="../media/image222.png"/><Relationship Id="rId41" Type="http://schemas.openxmlformats.org/officeDocument/2006/relationships/image" Target="../media/image243.svg"/><Relationship Id="rId54" Type="http://schemas.openxmlformats.org/officeDocument/2006/relationships/image" Target="../media/image256.png"/><Relationship Id="rId62" Type="http://schemas.openxmlformats.org/officeDocument/2006/relationships/image" Target="../media/image55.png"/><Relationship Id="rId70" Type="http://schemas.openxmlformats.org/officeDocument/2006/relationships/image" Target="../media/image65.png"/><Relationship Id="rId75" Type="http://schemas.openxmlformats.org/officeDocument/2006/relationships/image" Target="../media/image64.svg"/><Relationship Id="rId83" Type="http://schemas.openxmlformats.org/officeDocument/2006/relationships/image" Target="../media/image273.svg"/><Relationship Id="rId1" Type="http://schemas.openxmlformats.org/officeDocument/2006/relationships/tags" Target="../tags/tag71.xml"/><Relationship Id="rId6" Type="http://schemas.openxmlformats.org/officeDocument/2006/relationships/image" Target="../media/image208.png"/><Relationship Id="rId15" Type="http://schemas.openxmlformats.org/officeDocument/2006/relationships/image" Target="../media/image217.svg"/><Relationship Id="rId23" Type="http://schemas.openxmlformats.org/officeDocument/2006/relationships/image" Target="../media/image225.svg"/><Relationship Id="rId28" Type="http://schemas.openxmlformats.org/officeDocument/2006/relationships/image" Target="../media/image230.png"/><Relationship Id="rId36" Type="http://schemas.openxmlformats.org/officeDocument/2006/relationships/image" Target="../media/image238.png"/><Relationship Id="rId49" Type="http://schemas.openxmlformats.org/officeDocument/2006/relationships/image" Target="../media/image251.svg"/><Relationship Id="rId57" Type="http://schemas.openxmlformats.org/officeDocument/2006/relationships/image" Target="../media/image259.svg"/><Relationship Id="rId10" Type="http://schemas.openxmlformats.org/officeDocument/2006/relationships/image" Target="../media/image212.png"/><Relationship Id="rId31" Type="http://schemas.openxmlformats.org/officeDocument/2006/relationships/image" Target="../media/image233.svg"/><Relationship Id="rId44" Type="http://schemas.openxmlformats.org/officeDocument/2006/relationships/image" Target="../media/image246.png"/><Relationship Id="rId52" Type="http://schemas.openxmlformats.org/officeDocument/2006/relationships/image" Target="../media/image254.png"/><Relationship Id="rId60" Type="http://schemas.openxmlformats.org/officeDocument/2006/relationships/image" Target="../media/image262.png"/><Relationship Id="rId65" Type="http://schemas.openxmlformats.org/officeDocument/2006/relationships/image" Target="../media/image62.svg"/><Relationship Id="rId73" Type="http://schemas.openxmlformats.org/officeDocument/2006/relationships/image" Target="../media/image269.svg"/><Relationship Id="rId78" Type="http://schemas.openxmlformats.org/officeDocument/2006/relationships/image" Target="../media/image67.png"/><Relationship Id="rId81" Type="http://schemas.openxmlformats.org/officeDocument/2006/relationships/image" Target="../media/image70.sv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11.svg"/><Relationship Id="rId13" Type="http://schemas.openxmlformats.org/officeDocument/2006/relationships/image" Target="../media/image215.svg"/><Relationship Id="rId18" Type="http://schemas.openxmlformats.org/officeDocument/2006/relationships/image" Target="../media/image220.png"/><Relationship Id="rId39" Type="http://schemas.openxmlformats.org/officeDocument/2006/relationships/image" Target="../media/image241.svg"/><Relationship Id="rId34" Type="http://schemas.openxmlformats.org/officeDocument/2006/relationships/image" Target="../media/image236.png"/><Relationship Id="rId50" Type="http://schemas.openxmlformats.org/officeDocument/2006/relationships/image" Target="../media/image252.png"/><Relationship Id="rId55" Type="http://schemas.openxmlformats.org/officeDocument/2006/relationships/image" Target="../media/image257.svg"/><Relationship Id="rId76" Type="http://schemas.openxmlformats.org/officeDocument/2006/relationships/image" Target="../media/image270.png"/><Relationship Id="rId7" Type="http://schemas.openxmlformats.org/officeDocument/2006/relationships/image" Target="../media/image209.svg"/><Relationship Id="rId71" Type="http://schemas.openxmlformats.org/officeDocument/2006/relationships/image" Target="../media/image66.svg"/><Relationship Id="rId2" Type="http://schemas.openxmlformats.org/officeDocument/2006/relationships/tags" Target="../tags/tag72.xml"/><Relationship Id="rId29" Type="http://schemas.openxmlformats.org/officeDocument/2006/relationships/image" Target="../media/image231.svg"/><Relationship Id="rId24" Type="http://schemas.openxmlformats.org/officeDocument/2006/relationships/image" Target="../media/image226.png"/><Relationship Id="rId40" Type="http://schemas.openxmlformats.org/officeDocument/2006/relationships/image" Target="../media/image242.png"/><Relationship Id="rId45" Type="http://schemas.openxmlformats.org/officeDocument/2006/relationships/image" Target="../media/image247.svg"/><Relationship Id="rId66" Type="http://schemas.openxmlformats.org/officeDocument/2006/relationships/image" Target="../media/image2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tags" Target="../tags/tag31.xml"/><Relationship Id="rId16" Type="http://schemas.openxmlformats.org/officeDocument/2006/relationships/image" Target="../media/image29.png"/><Relationship Id="rId20" Type="http://schemas.openxmlformats.org/officeDocument/2006/relationships/image" Target="../media/image10.emf"/><Relationship Id="rId1" Type="http://schemas.openxmlformats.org/officeDocument/2006/relationships/tags" Target="../tags/tag30.xml"/><Relationship Id="rId6" Type="http://schemas.openxmlformats.org/officeDocument/2006/relationships/image" Target="../media/image17.emf"/><Relationship Id="rId11" Type="http://schemas.openxmlformats.org/officeDocument/2006/relationships/image" Target="../media/image24.sv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7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svg"/><Relationship Id="rId26" Type="http://schemas.openxmlformats.org/officeDocument/2006/relationships/image" Target="../media/image52.svg"/><Relationship Id="rId39" Type="http://schemas.openxmlformats.org/officeDocument/2006/relationships/image" Target="../media/image65.png"/><Relationship Id="rId21" Type="http://schemas.openxmlformats.org/officeDocument/2006/relationships/image" Target="../media/image47.png"/><Relationship Id="rId34" Type="http://schemas.openxmlformats.org/officeDocument/2006/relationships/image" Target="../media/image60.svg"/><Relationship Id="rId42" Type="http://schemas.openxmlformats.org/officeDocument/2006/relationships/image" Target="../media/image68.svg"/><Relationship Id="rId7" Type="http://schemas.openxmlformats.org/officeDocument/2006/relationships/image" Target="../media/image33.png"/><Relationship Id="rId2" Type="http://schemas.openxmlformats.org/officeDocument/2006/relationships/tags" Target="../tags/tag37.xml"/><Relationship Id="rId16" Type="http://schemas.openxmlformats.org/officeDocument/2006/relationships/image" Target="../media/image42.svg"/><Relationship Id="rId20" Type="http://schemas.openxmlformats.org/officeDocument/2006/relationships/image" Target="../media/image46.svg"/><Relationship Id="rId29" Type="http://schemas.openxmlformats.org/officeDocument/2006/relationships/image" Target="../media/image55.png"/><Relationship Id="rId41" Type="http://schemas.openxmlformats.org/officeDocument/2006/relationships/image" Target="../media/image67.png"/><Relationship Id="rId1" Type="http://schemas.openxmlformats.org/officeDocument/2006/relationships/tags" Target="../tags/tag36.xml"/><Relationship Id="rId6" Type="http://schemas.openxmlformats.org/officeDocument/2006/relationships/image" Target="../media/image5.emf"/><Relationship Id="rId11" Type="http://schemas.openxmlformats.org/officeDocument/2006/relationships/image" Target="../media/image37.png"/><Relationship Id="rId24" Type="http://schemas.openxmlformats.org/officeDocument/2006/relationships/image" Target="../media/image50.svg"/><Relationship Id="rId32" Type="http://schemas.openxmlformats.org/officeDocument/2006/relationships/image" Target="../media/image58.svg"/><Relationship Id="rId37" Type="http://schemas.openxmlformats.org/officeDocument/2006/relationships/image" Target="../media/image63.png"/><Relationship Id="rId40" Type="http://schemas.openxmlformats.org/officeDocument/2006/relationships/image" Target="../media/image66.sv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svg"/><Relationship Id="rId36" Type="http://schemas.openxmlformats.org/officeDocument/2006/relationships/image" Target="../media/image62.svg"/><Relationship Id="rId10" Type="http://schemas.openxmlformats.org/officeDocument/2006/relationships/image" Target="../media/image36.svg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4" Type="http://schemas.openxmlformats.org/officeDocument/2006/relationships/image" Target="../media/image70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5.png"/><Relationship Id="rId14" Type="http://schemas.openxmlformats.org/officeDocument/2006/relationships/image" Target="../media/image40.svg"/><Relationship Id="rId22" Type="http://schemas.openxmlformats.org/officeDocument/2006/relationships/image" Target="../media/image48.svg"/><Relationship Id="rId27" Type="http://schemas.openxmlformats.org/officeDocument/2006/relationships/image" Target="../media/image53.png"/><Relationship Id="rId30" Type="http://schemas.openxmlformats.org/officeDocument/2006/relationships/image" Target="../media/image56.svg"/><Relationship Id="rId35" Type="http://schemas.openxmlformats.org/officeDocument/2006/relationships/image" Target="../media/image61.png"/><Relationship Id="rId43" Type="http://schemas.openxmlformats.org/officeDocument/2006/relationships/image" Target="../media/image69.png"/><Relationship Id="rId8" Type="http://schemas.openxmlformats.org/officeDocument/2006/relationships/image" Target="../media/image34.sv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38.svg"/><Relationship Id="rId17" Type="http://schemas.openxmlformats.org/officeDocument/2006/relationships/image" Target="../media/image43.pn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png"/><Relationship Id="rId18" Type="http://schemas.openxmlformats.org/officeDocument/2006/relationships/image" Target="../media/image8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3.png"/><Relationship Id="rId12" Type="http://schemas.openxmlformats.org/officeDocument/2006/relationships/image" Target="../media/image78.png"/><Relationship Id="rId17" Type="http://schemas.openxmlformats.org/officeDocument/2006/relationships/image" Target="../media/image83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82.png"/><Relationship Id="rId1" Type="http://schemas.openxmlformats.org/officeDocument/2006/relationships/tags" Target="../tags/tag38.xml"/><Relationship Id="rId6" Type="http://schemas.openxmlformats.org/officeDocument/2006/relationships/image" Target="../media/image72.emf"/><Relationship Id="rId11" Type="http://schemas.openxmlformats.org/officeDocument/2006/relationships/image" Target="../media/image77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81.png"/><Relationship Id="rId10" Type="http://schemas.openxmlformats.org/officeDocument/2006/relationships/image" Target="../media/image76.png"/><Relationship Id="rId4" Type="http://schemas.openxmlformats.org/officeDocument/2006/relationships/image" Target="../media/image71.png"/><Relationship Id="rId9" Type="http://schemas.openxmlformats.org/officeDocument/2006/relationships/image" Target="../media/image75.png"/><Relationship Id="rId14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E1B1F7-9379-4708-CDFC-A4633ABEB3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628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1F7-9379-4708-CDFC-A4633ABE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8D7A77-B8EA-6F48-6AF7-693F416044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FDCC9A-89DB-CE78-A003-7CA8B45CD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529" y="4374776"/>
            <a:ext cx="10060772" cy="413139"/>
          </a:xfrm>
        </p:spPr>
        <p:txBody>
          <a:bodyPr/>
          <a:lstStyle/>
          <a:p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B706B5-EA27-B17C-5869-C48761AA3A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39B19-B184-AD7E-7873-3ADA33C11BB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5600" y="6405563"/>
            <a:ext cx="406400" cy="327025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</a:t>
            </a:fld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72559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6A898-232B-98FE-8F97-CA5A8B25E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F7096D-1A34-2F89-78FF-0B7BEDBF8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>
                <a:latin typeface="DM Sans 18pt 18pt ExtraBold"/>
              </a:rPr>
              <a:t>Bred involvering og imponerende opbakning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B80E3C7-0F06-D542-D152-2C88E1D349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3E52409-E105-B8D0-D8E4-C901EB6B6E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Bare WOW!</a:t>
            </a:r>
          </a:p>
        </p:txBody>
      </p:sp>
      <p:pic>
        <p:nvPicPr>
          <p:cNvPr id="7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7014ABC3-3022-6020-6F58-7F3BFB59B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258" y="1836608"/>
            <a:ext cx="3229938" cy="3277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pe 26">
            <a:extLst>
              <a:ext uri="{FF2B5EF4-FFF2-40B4-BE49-F238E27FC236}">
                <a16:creationId xmlns:a16="http://schemas.microsoft.com/office/drawing/2014/main" id="{690B8150-0EE1-D786-B360-1AF8CF0E51DF}"/>
              </a:ext>
            </a:extLst>
          </p:cNvPr>
          <p:cNvGrpSpPr/>
          <p:nvPr/>
        </p:nvGrpSpPr>
        <p:grpSpPr>
          <a:xfrm>
            <a:off x="3125238" y="1849230"/>
            <a:ext cx="8327831" cy="1005369"/>
            <a:chOff x="3686691" y="1986545"/>
            <a:chExt cx="8327831" cy="1005369"/>
          </a:xfrm>
        </p:grpSpPr>
        <p:sp>
          <p:nvSpPr>
            <p:cNvPr id="11" name="Freeform: Shape 246">
              <a:extLst>
                <a:ext uri="{FF2B5EF4-FFF2-40B4-BE49-F238E27FC236}">
                  <a16:creationId xmlns:a16="http://schemas.microsoft.com/office/drawing/2014/main" id="{4A11E725-E100-624C-AD20-BA17D896CC91}"/>
                </a:ext>
              </a:extLst>
            </p:cNvPr>
            <p:cNvSpPr/>
            <p:nvPr/>
          </p:nvSpPr>
          <p:spPr>
            <a:xfrm>
              <a:off x="3686691" y="1986545"/>
              <a:ext cx="8327831" cy="1005369"/>
            </a:xfrm>
            <a:custGeom>
              <a:avLst/>
              <a:gdLst>
                <a:gd name="connsiteX0" fmla="*/ 45720 w 8732972"/>
                <a:gd name="connsiteY0" fmla="*/ 161007 h 931183"/>
                <a:gd name="connsiteX1" fmla="*/ 45720 w 8732972"/>
                <a:gd name="connsiteY1" fmla="*/ 161007 h 931183"/>
                <a:gd name="connsiteX2" fmla="*/ 83820 w 8732972"/>
                <a:gd name="connsiteY2" fmla="*/ 107667 h 931183"/>
                <a:gd name="connsiteX3" fmla="*/ 99060 w 8732972"/>
                <a:gd name="connsiteY3" fmla="*/ 77187 h 931183"/>
                <a:gd name="connsiteX4" fmla="*/ 175260 w 8732972"/>
                <a:gd name="connsiteY4" fmla="*/ 31467 h 931183"/>
                <a:gd name="connsiteX5" fmla="*/ 213360 w 8732972"/>
                <a:gd name="connsiteY5" fmla="*/ 23847 h 931183"/>
                <a:gd name="connsiteX6" fmla="*/ 243840 w 8732972"/>
                <a:gd name="connsiteY6" fmla="*/ 16227 h 931183"/>
                <a:gd name="connsiteX7" fmla="*/ 1409700 w 8732972"/>
                <a:gd name="connsiteY7" fmla="*/ 16227 h 931183"/>
                <a:gd name="connsiteX8" fmla="*/ 1546860 w 8732972"/>
                <a:gd name="connsiteY8" fmla="*/ 8607 h 931183"/>
                <a:gd name="connsiteX9" fmla="*/ 1882140 w 8732972"/>
                <a:gd name="connsiteY9" fmla="*/ 987 h 931183"/>
                <a:gd name="connsiteX10" fmla="*/ 2209800 w 8732972"/>
                <a:gd name="connsiteY10" fmla="*/ 8607 h 931183"/>
                <a:gd name="connsiteX11" fmla="*/ 2659380 w 8732972"/>
                <a:gd name="connsiteY11" fmla="*/ 23847 h 931183"/>
                <a:gd name="connsiteX12" fmla="*/ 3017520 w 8732972"/>
                <a:gd name="connsiteY12" fmla="*/ 16227 h 931183"/>
                <a:gd name="connsiteX13" fmla="*/ 4472940 w 8732972"/>
                <a:gd name="connsiteY13" fmla="*/ 8607 h 931183"/>
                <a:gd name="connsiteX14" fmla="*/ 4968240 w 8732972"/>
                <a:gd name="connsiteY14" fmla="*/ 31467 h 931183"/>
                <a:gd name="connsiteX15" fmla="*/ 6004560 w 8732972"/>
                <a:gd name="connsiteY15" fmla="*/ 16227 h 931183"/>
                <a:gd name="connsiteX16" fmla="*/ 6438900 w 8732972"/>
                <a:gd name="connsiteY16" fmla="*/ 8607 h 931183"/>
                <a:gd name="connsiteX17" fmla="*/ 6827520 w 8732972"/>
                <a:gd name="connsiteY17" fmla="*/ 8607 h 931183"/>
                <a:gd name="connsiteX18" fmla="*/ 6903720 w 8732972"/>
                <a:gd name="connsiteY18" fmla="*/ 16227 h 931183"/>
                <a:gd name="connsiteX19" fmla="*/ 7246620 w 8732972"/>
                <a:gd name="connsiteY19" fmla="*/ 23847 h 931183"/>
                <a:gd name="connsiteX20" fmla="*/ 8625840 w 8732972"/>
                <a:gd name="connsiteY20" fmla="*/ 31467 h 931183"/>
                <a:gd name="connsiteX21" fmla="*/ 8679180 w 8732972"/>
                <a:gd name="connsiteY21" fmla="*/ 69567 h 931183"/>
                <a:gd name="connsiteX22" fmla="*/ 8694420 w 8732972"/>
                <a:gd name="connsiteY22" fmla="*/ 100047 h 931183"/>
                <a:gd name="connsiteX23" fmla="*/ 8717280 w 8732972"/>
                <a:gd name="connsiteY23" fmla="*/ 176247 h 931183"/>
                <a:gd name="connsiteX24" fmla="*/ 8724900 w 8732972"/>
                <a:gd name="connsiteY24" fmla="*/ 214347 h 931183"/>
                <a:gd name="connsiteX25" fmla="*/ 8717280 w 8732972"/>
                <a:gd name="connsiteY25" fmla="*/ 420087 h 931183"/>
                <a:gd name="connsiteX26" fmla="*/ 8724900 w 8732972"/>
                <a:gd name="connsiteY26" fmla="*/ 572487 h 931183"/>
                <a:gd name="connsiteX27" fmla="*/ 8732520 w 8732972"/>
                <a:gd name="connsiteY27" fmla="*/ 610587 h 931183"/>
                <a:gd name="connsiteX28" fmla="*/ 8717280 w 8732972"/>
                <a:gd name="connsiteY28" fmla="*/ 762987 h 931183"/>
                <a:gd name="connsiteX29" fmla="*/ 8702040 w 8732972"/>
                <a:gd name="connsiteY29" fmla="*/ 785847 h 931183"/>
                <a:gd name="connsiteX30" fmla="*/ 8694420 w 8732972"/>
                <a:gd name="connsiteY30" fmla="*/ 816327 h 931183"/>
                <a:gd name="connsiteX31" fmla="*/ 8663940 w 8732972"/>
                <a:gd name="connsiteY31" fmla="*/ 862047 h 931183"/>
                <a:gd name="connsiteX32" fmla="*/ 8641080 w 8732972"/>
                <a:gd name="connsiteY32" fmla="*/ 877287 h 931183"/>
                <a:gd name="connsiteX33" fmla="*/ 8496300 w 8732972"/>
                <a:gd name="connsiteY33" fmla="*/ 900147 h 931183"/>
                <a:gd name="connsiteX34" fmla="*/ 8435340 w 8732972"/>
                <a:gd name="connsiteY34" fmla="*/ 907767 h 931183"/>
                <a:gd name="connsiteX35" fmla="*/ 7642860 w 8732972"/>
                <a:gd name="connsiteY35" fmla="*/ 915387 h 931183"/>
                <a:gd name="connsiteX36" fmla="*/ 6385560 w 8732972"/>
                <a:gd name="connsiteY36" fmla="*/ 907767 h 931183"/>
                <a:gd name="connsiteX37" fmla="*/ 5730240 w 8732972"/>
                <a:gd name="connsiteY37" fmla="*/ 923007 h 931183"/>
                <a:gd name="connsiteX38" fmla="*/ 5364480 w 8732972"/>
                <a:gd name="connsiteY38" fmla="*/ 915387 h 931183"/>
                <a:gd name="connsiteX39" fmla="*/ 5364480 w 8732972"/>
                <a:gd name="connsiteY39" fmla="*/ 915387 h 931183"/>
                <a:gd name="connsiteX40" fmla="*/ 4145280 w 8732972"/>
                <a:gd name="connsiteY40" fmla="*/ 915387 h 931183"/>
                <a:gd name="connsiteX41" fmla="*/ 3444240 w 8732972"/>
                <a:gd name="connsiteY41" fmla="*/ 930627 h 931183"/>
                <a:gd name="connsiteX42" fmla="*/ 2781300 w 8732972"/>
                <a:gd name="connsiteY42" fmla="*/ 923007 h 931183"/>
                <a:gd name="connsiteX43" fmla="*/ 1424940 w 8732972"/>
                <a:gd name="connsiteY43" fmla="*/ 907767 h 931183"/>
                <a:gd name="connsiteX44" fmla="*/ 975360 w 8732972"/>
                <a:gd name="connsiteY44" fmla="*/ 923007 h 931183"/>
                <a:gd name="connsiteX45" fmla="*/ 213360 w 8732972"/>
                <a:gd name="connsiteY45" fmla="*/ 907767 h 931183"/>
                <a:gd name="connsiteX46" fmla="*/ 182880 w 8732972"/>
                <a:gd name="connsiteY46" fmla="*/ 892527 h 931183"/>
                <a:gd name="connsiteX47" fmla="*/ 114300 w 8732972"/>
                <a:gd name="connsiteY47" fmla="*/ 877287 h 931183"/>
                <a:gd name="connsiteX48" fmla="*/ 91440 w 8732972"/>
                <a:gd name="connsiteY48" fmla="*/ 862047 h 931183"/>
                <a:gd name="connsiteX49" fmla="*/ 53340 w 8732972"/>
                <a:gd name="connsiteY49" fmla="*/ 808707 h 931183"/>
                <a:gd name="connsiteX50" fmla="*/ 22860 w 8732972"/>
                <a:gd name="connsiteY50" fmla="*/ 732507 h 931183"/>
                <a:gd name="connsiteX51" fmla="*/ 15240 w 8732972"/>
                <a:gd name="connsiteY51" fmla="*/ 709647 h 931183"/>
                <a:gd name="connsiteX52" fmla="*/ 0 w 8732972"/>
                <a:gd name="connsiteY52" fmla="*/ 686787 h 931183"/>
                <a:gd name="connsiteX53" fmla="*/ 7620 w 8732972"/>
                <a:gd name="connsiteY53" fmla="*/ 572487 h 931183"/>
                <a:gd name="connsiteX54" fmla="*/ 15240 w 8732972"/>
                <a:gd name="connsiteY54" fmla="*/ 542007 h 931183"/>
                <a:gd name="connsiteX55" fmla="*/ 22860 w 8732972"/>
                <a:gd name="connsiteY55" fmla="*/ 503907 h 931183"/>
                <a:gd name="connsiteX56" fmla="*/ 30480 w 8732972"/>
                <a:gd name="connsiteY56" fmla="*/ 458187 h 931183"/>
                <a:gd name="connsiteX57" fmla="*/ 45720 w 8732972"/>
                <a:gd name="connsiteY57" fmla="*/ 397227 h 931183"/>
                <a:gd name="connsiteX58" fmla="*/ 53340 w 8732972"/>
                <a:gd name="connsiteY58" fmla="*/ 161007 h 931183"/>
                <a:gd name="connsiteX59" fmla="*/ 45720 w 8732972"/>
                <a:gd name="connsiteY59" fmla="*/ 161007 h 93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732972" h="931183">
                  <a:moveTo>
                    <a:pt x="45720" y="161007"/>
                  </a:moveTo>
                  <a:lnTo>
                    <a:pt x="45720" y="161007"/>
                  </a:lnTo>
                  <a:cubicBezTo>
                    <a:pt x="58420" y="143227"/>
                    <a:pt x="72089" y="126101"/>
                    <a:pt x="83820" y="107667"/>
                  </a:cubicBezTo>
                  <a:cubicBezTo>
                    <a:pt x="89918" y="98084"/>
                    <a:pt x="91028" y="85219"/>
                    <a:pt x="99060" y="77187"/>
                  </a:cubicBezTo>
                  <a:cubicBezTo>
                    <a:pt x="107755" y="68492"/>
                    <a:pt x="157221" y="37480"/>
                    <a:pt x="175260" y="31467"/>
                  </a:cubicBezTo>
                  <a:cubicBezTo>
                    <a:pt x="187547" y="27371"/>
                    <a:pt x="200717" y="26657"/>
                    <a:pt x="213360" y="23847"/>
                  </a:cubicBezTo>
                  <a:cubicBezTo>
                    <a:pt x="223583" y="21575"/>
                    <a:pt x="233680" y="18767"/>
                    <a:pt x="243840" y="16227"/>
                  </a:cubicBezTo>
                  <a:cubicBezTo>
                    <a:pt x="820866" y="25844"/>
                    <a:pt x="728995" y="28492"/>
                    <a:pt x="1409700" y="16227"/>
                  </a:cubicBezTo>
                  <a:cubicBezTo>
                    <a:pt x="1455483" y="15402"/>
                    <a:pt x="1501093" y="10083"/>
                    <a:pt x="1546860" y="8607"/>
                  </a:cubicBezTo>
                  <a:lnTo>
                    <a:pt x="1882140" y="987"/>
                  </a:lnTo>
                  <a:lnTo>
                    <a:pt x="2209800" y="8607"/>
                  </a:lnTo>
                  <a:cubicBezTo>
                    <a:pt x="2610149" y="17406"/>
                    <a:pt x="2556510" y="16227"/>
                    <a:pt x="2659380" y="23847"/>
                  </a:cubicBezTo>
                  <a:lnTo>
                    <a:pt x="3017520" y="16227"/>
                  </a:lnTo>
                  <a:lnTo>
                    <a:pt x="4472940" y="8607"/>
                  </a:lnTo>
                  <a:lnTo>
                    <a:pt x="4968240" y="31467"/>
                  </a:lnTo>
                  <a:cubicBezTo>
                    <a:pt x="5395605" y="2976"/>
                    <a:pt x="4992883" y="27594"/>
                    <a:pt x="6004560" y="16227"/>
                  </a:cubicBezTo>
                  <a:lnTo>
                    <a:pt x="6438900" y="8607"/>
                  </a:lnTo>
                  <a:cubicBezTo>
                    <a:pt x="6631403" y="-2717"/>
                    <a:pt x="6571714" y="-3021"/>
                    <a:pt x="6827520" y="8607"/>
                  </a:cubicBezTo>
                  <a:cubicBezTo>
                    <a:pt x="6853020" y="9766"/>
                    <a:pt x="6878210" y="15299"/>
                    <a:pt x="6903720" y="16227"/>
                  </a:cubicBezTo>
                  <a:cubicBezTo>
                    <a:pt x="7017973" y="20382"/>
                    <a:pt x="7132296" y="22835"/>
                    <a:pt x="7246620" y="23847"/>
                  </a:cubicBezTo>
                  <a:lnTo>
                    <a:pt x="8625840" y="31467"/>
                  </a:lnTo>
                  <a:cubicBezTo>
                    <a:pt x="8636548" y="38606"/>
                    <a:pt x="8672879" y="62216"/>
                    <a:pt x="8679180" y="69567"/>
                  </a:cubicBezTo>
                  <a:cubicBezTo>
                    <a:pt x="8686572" y="78192"/>
                    <a:pt x="8690201" y="89500"/>
                    <a:pt x="8694420" y="100047"/>
                  </a:cubicBezTo>
                  <a:cubicBezTo>
                    <a:pt x="8703918" y="123791"/>
                    <a:pt x="8711666" y="150986"/>
                    <a:pt x="8717280" y="176247"/>
                  </a:cubicBezTo>
                  <a:cubicBezTo>
                    <a:pt x="8720090" y="188890"/>
                    <a:pt x="8719820" y="77187"/>
                    <a:pt x="8724900" y="214347"/>
                  </a:cubicBezTo>
                  <a:lnTo>
                    <a:pt x="8717280" y="420087"/>
                  </a:lnTo>
                  <a:cubicBezTo>
                    <a:pt x="8719820" y="470887"/>
                    <a:pt x="8720844" y="521786"/>
                    <a:pt x="8724900" y="572487"/>
                  </a:cubicBezTo>
                  <a:cubicBezTo>
                    <a:pt x="8725933" y="585397"/>
                    <a:pt x="8732520" y="597635"/>
                    <a:pt x="8732520" y="610587"/>
                  </a:cubicBezTo>
                  <a:cubicBezTo>
                    <a:pt x="8732520" y="617267"/>
                    <a:pt x="8737076" y="723396"/>
                    <a:pt x="8717280" y="762987"/>
                  </a:cubicBezTo>
                  <a:cubicBezTo>
                    <a:pt x="8713184" y="771178"/>
                    <a:pt x="8707120" y="778227"/>
                    <a:pt x="8702040" y="785847"/>
                  </a:cubicBezTo>
                  <a:cubicBezTo>
                    <a:pt x="8699500" y="796007"/>
                    <a:pt x="8699104" y="806960"/>
                    <a:pt x="8694420" y="816327"/>
                  </a:cubicBezTo>
                  <a:cubicBezTo>
                    <a:pt x="8686229" y="832710"/>
                    <a:pt x="8679180" y="851887"/>
                    <a:pt x="8663940" y="862047"/>
                  </a:cubicBezTo>
                  <a:cubicBezTo>
                    <a:pt x="8656320" y="867127"/>
                    <a:pt x="8649687" y="874157"/>
                    <a:pt x="8641080" y="877287"/>
                  </a:cubicBezTo>
                  <a:cubicBezTo>
                    <a:pt x="8587343" y="896828"/>
                    <a:pt x="8554849" y="893984"/>
                    <a:pt x="8496300" y="900147"/>
                  </a:cubicBezTo>
                  <a:cubicBezTo>
                    <a:pt x="8475934" y="902291"/>
                    <a:pt x="8455815" y="907401"/>
                    <a:pt x="8435340" y="907767"/>
                  </a:cubicBezTo>
                  <a:lnTo>
                    <a:pt x="7642860" y="915387"/>
                  </a:lnTo>
                  <a:lnTo>
                    <a:pt x="6385560" y="907767"/>
                  </a:lnTo>
                  <a:cubicBezTo>
                    <a:pt x="5873942" y="907767"/>
                    <a:pt x="5990845" y="899316"/>
                    <a:pt x="5730240" y="923007"/>
                  </a:cubicBezTo>
                  <a:cubicBezTo>
                    <a:pt x="5608322" y="920357"/>
                    <a:pt x="5486426" y="915387"/>
                    <a:pt x="5364480" y="915387"/>
                  </a:cubicBezTo>
                  <a:lnTo>
                    <a:pt x="5364480" y="915387"/>
                  </a:lnTo>
                  <a:lnTo>
                    <a:pt x="4145280" y="915387"/>
                  </a:lnTo>
                  <a:cubicBezTo>
                    <a:pt x="3861313" y="935670"/>
                    <a:pt x="3961169" y="930627"/>
                    <a:pt x="3444240" y="930627"/>
                  </a:cubicBezTo>
                  <a:cubicBezTo>
                    <a:pt x="3223245" y="930627"/>
                    <a:pt x="3002280" y="925547"/>
                    <a:pt x="2781300" y="923007"/>
                  </a:cubicBezTo>
                  <a:cubicBezTo>
                    <a:pt x="2242600" y="898521"/>
                    <a:pt x="1844040" y="909037"/>
                    <a:pt x="1424940" y="907767"/>
                  </a:cubicBezTo>
                  <a:lnTo>
                    <a:pt x="975360" y="923007"/>
                  </a:lnTo>
                  <a:lnTo>
                    <a:pt x="213360" y="907767"/>
                  </a:lnTo>
                  <a:lnTo>
                    <a:pt x="182880" y="892527"/>
                  </a:lnTo>
                  <a:cubicBezTo>
                    <a:pt x="160020" y="887447"/>
                    <a:pt x="136516" y="884692"/>
                    <a:pt x="114300" y="877287"/>
                  </a:cubicBezTo>
                  <a:cubicBezTo>
                    <a:pt x="105612" y="874391"/>
                    <a:pt x="98475" y="867910"/>
                    <a:pt x="91440" y="862047"/>
                  </a:cubicBezTo>
                  <a:cubicBezTo>
                    <a:pt x="68209" y="842688"/>
                    <a:pt x="65324" y="836669"/>
                    <a:pt x="53340" y="808707"/>
                  </a:cubicBezTo>
                  <a:cubicBezTo>
                    <a:pt x="42564" y="783562"/>
                    <a:pt x="31511" y="758460"/>
                    <a:pt x="22860" y="732507"/>
                  </a:cubicBezTo>
                  <a:cubicBezTo>
                    <a:pt x="20320" y="724887"/>
                    <a:pt x="18832" y="716831"/>
                    <a:pt x="15240" y="709647"/>
                  </a:cubicBezTo>
                  <a:cubicBezTo>
                    <a:pt x="11144" y="701456"/>
                    <a:pt x="5080" y="694407"/>
                    <a:pt x="0" y="686787"/>
                  </a:cubicBezTo>
                  <a:cubicBezTo>
                    <a:pt x="2540" y="648687"/>
                    <a:pt x="3623" y="610462"/>
                    <a:pt x="7620" y="572487"/>
                  </a:cubicBezTo>
                  <a:cubicBezTo>
                    <a:pt x="8716" y="562072"/>
                    <a:pt x="12968" y="552230"/>
                    <a:pt x="15240" y="542007"/>
                  </a:cubicBezTo>
                  <a:cubicBezTo>
                    <a:pt x="18050" y="529364"/>
                    <a:pt x="20543" y="516650"/>
                    <a:pt x="22860" y="503907"/>
                  </a:cubicBezTo>
                  <a:cubicBezTo>
                    <a:pt x="25624" y="488706"/>
                    <a:pt x="27243" y="473294"/>
                    <a:pt x="30480" y="458187"/>
                  </a:cubicBezTo>
                  <a:cubicBezTo>
                    <a:pt x="34869" y="437707"/>
                    <a:pt x="45720" y="397227"/>
                    <a:pt x="45720" y="397227"/>
                  </a:cubicBezTo>
                  <a:cubicBezTo>
                    <a:pt x="48260" y="318487"/>
                    <a:pt x="48714" y="239652"/>
                    <a:pt x="53340" y="161007"/>
                  </a:cubicBezTo>
                  <a:cubicBezTo>
                    <a:pt x="54434" y="142401"/>
                    <a:pt x="46990" y="161007"/>
                    <a:pt x="45720" y="161007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360000" fontAlgn="t">
                <a:spcBef>
                  <a:spcPts val="600"/>
                </a:spcBef>
              </a:pPr>
              <a:r>
                <a:rPr lang="da-DK" sz="1400">
                  <a:latin typeface="Verdana"/>
                  <a:ea typeface="Verdana"/>
                </a:rPr>
                <a:t>            boligorganisationer med                    boliger (i       kommuner) har været involveret i udviklingen af AlmenKompas</a:t>
              </a:r>
            </a:p>
          </p:txBody>
        </p:sp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A49B4C8A-EA29-27CA-CEC8-8807B899BCFC}"/>
                </a:ext>
              </a:extLst>
            </p:cNvPr>
            <p:cNvSpPr txBox="1"/>
            <p:nvPr/>
          </p:nvSpPr>
          <p:spPr>
            <a:xfrm>
              <a:off x="4083250" y="2206458"/>
              <a:ext cx="82180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800" b="1">
                  <a:latin typeface="Verdana"/>
                  <a:ea typeface="Verdana"/>
                </a:rPr>
                <a:t>135 </a:t>
              </a:r>
              <a:endParaRPr lang="da-DK"/>
            </a:p>
          </p:txBody>
        </p:sp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47393DC7-3FE7-D216-E33E-531B0C08DE9E}"/>
                </a:ext>
              </a:extLst>
            </p:cNvPr>
            <p:cNvSpPr txBox="1"/>
            <p:nvPr/>
          </p:nvSpPr>
          <p:spPr>
            <a:xfrm>
              <a:off x="8978927" y="2213650"/>
              <a:ext cx="73381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800" b="1">
                  <a:latin typeface="Verdana"/>
                  <a:ea typeface="Verdana"/>
                </a:rPr>
                <a:t>56 </a:t>
              </a:r>
              <a:endParaRPr lang="da-DK"/>
            </a:p>
          </p:txBody>
        </p:sp>
        <p:sp>
          <p:nvSpPr>
            <p:cNvPr id="22" name="Tekstfelt 21">
              <a:extLst>
                <a:ext uri="{FF2B5EF4-FFF2-40B4-BE49-F238E27FC236}">
                  <a16:creationId xmlns:a16="http://schemas.microsoft.com/office/drawing/2014/main" id="{62E43558-CDB2-3B63-9CCB-33E9E818EB47}"/>
                </a:ext>
              </a:extLst>
            </p:cNvPr>
            <p:cNvSpPr txBox="1"/>
            <p:nvPr/>
          </p:nvSpPr>
          <p:spPr>
            <a:xfrm>
              <a:off x="6964672" y="2197768"/>
              <a:ext cx="135550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800" b="1">
                  <a:latin typeface="Verdana"/>
                  <a:ea typeface="Verdana"/>
                </a:rPr>
                <a:t>340.000</a:t>
              </a:r>
              <a:endParaRPr lang="da-DK"/>
            </a:p>
          </p:txBody>
        </p:sp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E88029B2-2AF8-3288-3D03-2D24FA26357A}"/>
              </a:ext>
            </a:extLst>
          </p:cNvPr>
          <p:cNvGrpSpPr/>
          <p:nvPr/>
        </p:nvGrpSpPr>
        <p:grpSpPr>
          <a:xfrm>
            <a:off x="3125237" y="2952262"/>
            <a:ext cx="8327831" cy="1005369"/>
            <a:chOff x="3686691" y="3177212"/>
            <a:chExt cx="8327831" cy="1005369"/>
          </a:xfrm>
        </p:grpSpPr>
        <p:sp>
          <p:nvSpPr>
            <p:cNvPr id="23" name="Freeform: Shape 246">
              <a:extLst>
                <a:ext uri="{FF2B5EF4-FFF2-40B4-BE49-F238E27FC236}">
                  <a16:creationId xmlns:a16="http://schemas.microsoft.com/office/drawing/2014/main" id="{46A8DC62-A2BF-CEC6-6CE8-833A8C05690D}"/>
                </a:ext>
              </a:extLst>
            </p:cNvPr>
            <p:cNvSpPr/>
            <p:nvPr/>
          </p:nvSpPr>
          <p:spPr>
            <a:xfrm>
              <a:off x="3686691" y="3177212"/>
              <a:ext cx="8327831" cy="1005369"/>
            </a:xfrm>
            <a:custGeom>
              <a:avLst/>
              <a:gdLst>
                <a:gd name="connsiteX0" fmla="*/ 45720 w 8732972"/>
                <a:gd name="connsiteY0" fmla="*/ 161007 h 931183"/>
                <a:gd name="connsiteX1" fmla="*/ 45720 w 8732972"/>
                <a:gd name="connsiteY1" fmla="*/ 161007 h 931183"/>
                <a:gd name="connsiteX2" fmla="*/ 83820 w 8732972"/>
                <a:gd name="connsiteY2" fmla="*/ 107667 h 931183"/>
                <a:gd name="connsiteX3" fmla="*/ 99060 w 8732972"/>
                <a:gd name="connsiteY3" fmla="*/ 77187 h 931183"/>
                <a:gd name="connsiteX4" fmla="*/ 175260 w 8732972"/>
                <a:gd name="connsiteY4" fmla="*/ 31467 h 931183"/>
                <a:gd name="connsiteX5" fmla="*/ 213360 w 8732972"/>
                <a:gd name="connsiteY5" fmla="*/ 23847 h 931183"/>
                <a:gd name="connsiteX6" fmla="*/ 243840 w 8732972"/>
                <a:gd name="connsiteY6" fmla="*/ 16227 h 931183"/>
                <a:gd name="connsiteX7" fmla="*/ 1409700 w 8732972"/>
                <a:gd name="connsiteY7" fmla="*/ 16227 h 931183"/>
                <a:gd name="connsiteX8" fmla="*/ 1546860 w 8732972"/>
                <a:gd name="connsiteY8" fmla="*/ 8607 h 931183"/>
                <a:gd name="connsiteX9" fmla="*/ 1882140 w 8732972"/>
                <a:gd name="connsiteY9" fmla="*/ 987 h 931183"/>
                <a:gd name="connsiteX10" fmla="*/ 2209800 w 8732972"/>
                <a:gd name="connsiteY10" fmla="*/ 8607 h 931183"/>
                <a:gd name="connsiteX11" fmla="*/ 2659380 w 8732972"/>
                <a:gd name="connsiteY11" fmla="*/ 23847 h 931183"/>
                <a:gd name="connsiteX12" fmla="*/ 3017520 w 8732972"/>
                <a:gd name="connsiteY12" fmla="*/ 16227 h 931183"/>
                <a:gd name="connsiteX13" fmla="*/ 4472940 w 8732972"/>
                <a:gd name="connsiteY13" fmla="*/ 8607 h 931183"/>
                <a:gd name="connsiteX14" fmla="*/ 4968240 w 8732972"/>
                <a:gd name="connsiteY14" fmla="*/ 31467 h 931183"/>
                <a:gd name="connsiteX15" fmla="*/ 6004560 w 8732972"/>
                <a:gd name="connsiteY15" fmla="*/ 16227 h 931183"/>
                <a:gd name="connsiteX16" fmla="*/ 6438900 w 8732972"/>
                <a:gd name="connsiteY16" fmla="*/ 8607 h 931183"/>
                <a:gd name="connsiteX17" fmla="*/ 6827520 w 8732972"/>
                <a:gd name="connsiteY17" fmla="*/ 8607 h 931183"/>
                <a:gd name="connsiteX18" fmla="*/ 6903720 w 8732972"/>
                <a:gd name="connsiteY18" fmla="*/ 16227 h 931183"/>
                <a:gd name="connsiteX19" fmla="*/ 7246620 w 8732972"/>
                <a:gd name="connsiteY19" fmla="*/ 23847 h 931183"/>
                <a:gd name="connsiteX20" fmla="*/ 8625840 w 8732972"/>
                <a:gd name="connsiteY20" fmla="*/ 31467 h 931183"/>
                <a:gd name="connsiteX21" fmla="*/ 8679180 w 8732972"/>
                <a:gd name="connsiteY21" fmla="*/ 69567 h 931183"/>
                <a:gd name="connsiteX22" fmla="*/ 8694420 w 8732972"/>
                <a:gd name="connsiteY22" fmla="*/ 100047 h 931183"/>
                <a:gd name="connsiteX23" fmla="*/ 8717280 w 8732972"/>
                <a:gd name="connsiteY23" fmla="*/ 176247 h 931183"/>
                <a:gd name="connsiteX24" fmla="*/ 8724900 w 8732972"/>
                <a:gd name="connsiteY24" fmla="*/ 214347 h 931183"/>
                <a:gd name="connsiteX25" fmla="*/ 8717280 w 8732972"/>
                <a:gd name="connsiteY25" fmla="*/ 420087 h 931183"/>
                <a:gd name="connsiteX26" fmla="*/ 8724900 w 8732972"/>
                <a:gd name="connsiteY26" fmla="*/ 572487 h 931183"/>
                <a:gd name="connsiteX27" fmla="*/ 8732520 w 8732972"/>
                <a:gd name="connsiteY27" fmla="*/ 610587 h 931183"/>
                <a:gd name="connsiteX28" fmla="*/ 8717280 w 8732972"/>
                <a:gd name="connsiteY28" fmla="*/ 762987 h 931183"/>
                <a:gd name="connsiteX29" fmla="*/ 8702040 w 8732972"/>
                <a:gd name="connsiteY29" fmla="*/ 785847 h 931183"/>
                <a:gd name="connsiteX30" fmla="*/ 8694420 w 8732972"/>
                <a:gd name="connsiteY30" fmla="*/ 816327 h 931183"/>
                <a:gd name="connsiteX31" fmla="*/ 8663940 w 8732972"/>
                <a:gd name="connsiteY31" fmla="*/ 862047 h 931183"/>
                <a:gd name="connsiteX32" fmla="*/ 8641080 w 8732972"/>
                <a:gd name="connsiteY32" fmla="*/ 877287 h 931183"/>
                <a:gd name="connsiteX33" fmla="*/ 8496300 w 8732972"/>
                <a:gd name="connsiteY33" fmla="*/ 900147 h 931183"/>
                <a:gd name="connsiteX34" fmla="*/ 8435340 w 8732972"/>
                <a:gd name="connsiteY34" fmla="*/ 907767 h 931183"/>
                <a:gd name="connsiteX35" fmla="*/ 7642860 w 8732972"/>
                <a:gd name="connsiteY35" fmla="*/ 915387 h 931183"/>
                <a:gd name="connsiteX36" fmla="*/ 6385560 w 8732972"/>
                <a:gd name="connsiteY36" fmla="*/ 907767 h 931183"/>
                <a:gd name="connsiteX37" fmla="*/ 5730240 w 8732972"/>
                <a:gd name="connsiteY37" fmla="*/ 923007 h 931183"/>
                <a:gd name="connsiteX38" fmla="*/ 5364480 w 8732972"/>
                <a:gd name="connsiteY38" fmla="*/ 915387 h 931183"/>
                <a:gd name="connsiteX39" fmla="*/ 5364480 w 8732972"/>
                <a:gd name="connsiteY39" fmla="*/ 915387 h 931183"/>
                <a:gd name="connsiteX40" fmla="*/ 4145280 w 8732972"/>
                <a:gd name="connsiteY40" fmla="*/ 915387 h 931183"/>
                <a:gd name="connsiteX41" fmla="*/ 3444240 w 8732972"/>
                <a:gd name="connsiteY41" fmla="*/ 930627 h 931183"/>
                <a:gd name="connsiteX42" fmla="*/ 2781300 w 8732972"/>
                <a:gd name="connsiteY42" fmla="*/ 923007 h 931183"/>
                <a:gd name="connsiteX43" fmla="*/ 1424940 w 8732972"/>
                <a:gd name="connsiteY43" fmla="*/ 907767 h 931183"/>
                <a:gd name="connsiteX44" fmla="*/ 975360 w 8732972"/>
                <a:gd name="connsiteY44" fmla="*/ 923007 h 931183"/>
                <a:gd name="connsiteX45" fmla="*/ 213360 w 8732972"/>
                <a:gd name="connsiteY45" fmla="*/ 907767 h 931183"/>
                <a:gd name="connsiteX46" fmla="*/ 182880 w 8732972"/>
                <a:gd name="connsiteY46" fmla="*/ 892527 h 931183"/>
                <a:gd name="connsiteX47" fmla="*/ 114300 w 8732972"/>
                <a:gd name="connsiteY47" fmla="*/ 877287 h 931183"/>
                <a:gd name="connsiteX48" fmla="*/ 91440 w 8732972"/>
                <a:gd name="connsiteY48" fmla="*/ 862047 h 931183"/>
                <a:gd name="connsiteX49" fmla="*/ 53340 w 8732972"/>
                <a:gd name="connsiteY49" fmla="*/ 808707 h 931183"/>
                <a:gd name="connsiteX50" fmla="*/ 22860 w 8732972"/>
                <a:gd name="connsiteY50" fmla="*/ 732507 h 931183"/>
                <a:gd name="connsiteX51" fmla="*/ 15240 w 8732972"/>
                <a:gd name="connsiteY51" fmla="*/ 709647 h 931183"/>
                <a:gd name="connsiteX52" fmla="*/ 0 w 8732972"/>
                <a:gd name="connsiteY52" fmla="*/ 686787 h 931183"/>
                <a:gd name="connsiteX53" fmla="*/ 7620 w 8732972"/>
                <a:gd name="connsiteY53" fmla="*/ 572487 h 931183"/>
                <a:gd name="connsiteX54" fmla="*/ 15240 w 8732972"/>
                <a:gd name="connsiteY54" fmla="*/ 542007 h 931183"/>
                <a:gd name="connsiteX55" fmla="*/ 22860 w 8732972"/>
                <a:gd name="connsiteY55" fmla="*/ 503907 h 931183"/>
                <a:gd name="connsiteX56" fmla="*/ 30480 w 8732972"/>
                <a:gd name="connsiteY56" fmla="*/ 458187 h 931183"/>
                <a:gd name="connsiteX57" fmla="*/ 45720 w 8732972"/>
                <a:gd name="connsiteY57" fmla="*/ 397227 h 931183"/>
                <a:gd name="connsiteX58" fmla="*/ 53340 w 8732972"/>
                <a:gd name="connsiteY58" fmla="*/ 161007 h 931183"/>
                <a:gd name="connsiteX59" fmla="*/ 45720 w 8732972"/>
                <a:gd name="connsiteY59" fmla="*/ 161007 h 93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732972" h="931183">
                  <a:moveTo>
                    <a:pt x="45720" y="161007"/>
                  </a:moveTo>
                  <a:lnTo>
                    <a:pt x="45720" y="161007"/>
                  </a:lnTo>
                  <a:cubicBezTo>
                    <a:pt x="58420" y="143227"/>
                    <a:pt x="72089" y="126101"/>
                    <a:pt x="83820" y="107667"/>
                  </a:cubicBezTo>
                  <a:cubicBezTo>
                    <a:pt x="89918" y="98084"/>
                    <a:pt x="91028" y="85219"/>
                    <a:pt x="99060" y="77187"/>
                  </a:cubicBezTo>
                  <a:cubicBezTo>
                    <a:pt x="107755" y="68492"/>
                    <a:pt x="157221" y="37480"/>
                    <a:pt x="175260" y="31467"/>
                  </a:cubicBezTo>
                  <a:cubicBezTo>
                    <a:pt x="187547" y="27371"/>
                    <a:pt x="200717" y="26657"/>
                    <a:pt x="213360" y="23847"/>
                  </a:cubicBezTo>
                  <a:cubicBezTo>
                    <a:pt x="223583" y="21575"/>
                    <a:pt x="233680" y="18767"/>
                    <a:pt x="243840" y="16227"/>
                  </a:cubicBezTo>
                  <a:cubicBezTo>
                    <a:pt x="820866" y="25844"/>
                    <a:pt x="728995" y="28492"/>
                    <a:pt x="1409700" y="16227"/>
                  </a:cubicBezTo>
                  <a:cubicBezTo>
                    <a:pt x="1455483" y="15402"/>
                    <a:pt x="1501093" y="10083"/>
                    <a:pt x="1546860" y="8607"/>
                  </a:cubicBezTo>
                  <a:lnTo>
                    <a:pt x="1882140" y="987"/>
                  </a:lnTo>
                  <a:lnTo>
                    <a:pt x="2209800" y="8607"/>
                  </a:lnTo>
                  <a:cubicBezTo>
                    <a:pt x="2610149" y="17406"/>
                    <a:pt x="2556510" y="16227"/>
                    <a:pt x="2659380" y="23847"/>
                  </a:cubicBezTo>
                  <a:lnTo>
                    <a:pt x="3017520" y="16227"/>
                  </a:lnTo>
                  <a:lnTo>
                    <a:pt x="4472940" y="8607"/>
                  </a:lnTo>
                  <a:lnTo>
                    <a:pt x="4968240" y="31467"/>
                  </a:lnTo>
                  <a:cubicBezTo>
                    <a:pt x="5395605" y="2976"/>
                    <a:pt x="4992883" y="27594"/>
                    <a:pt x="6004560" y="16227"/>
                  </a:cubicBezTo>
                  <a:lnTo>
                    <a:pt x="6438900" y="8607"/>
                  </a:lnTo>
                  <a:cubicBezTo>
                    <a:pt x="6631403" y="-2717"/>
                    <a:pt x="6571714" y="-3021"/>
                    <a:pt x="6827520" y="8607"/>
                  </a:cubicBezTo>
                  <a:cubicBezTo>
                    <a:pt x="6853020" y="9766"/>
                    <a:pt x="6878210" y="15299"/>
                    <a:pt x="6903720" y="16227"/>
                  </a:cubicBezTo>
                  <a:cubicBezTo>
                    <a:pt x="7017973" y="20382"/>
                    <a:pt x="7132296" y="22835"/>
                    <a:pt x="7246620" y="23847"/>
                  </a:cubicBezTo>
                  <a:lnTo>
                    <a:pt x="8625840" y="31467"/>
                  </a:lnTo>
                  <a:cubicBezTo>
                    <a:pt x="8636548" y="38606"/>
                    <a:pt x="8672879" y="62216"/>
                    <a:pt x="8679180" y="69567"/>
                  </a:cubicBezTo>
                  <a:cubicBezTo>
                    <a:pt x="8686572" y="78192"/>
                    <a:pt x="8690201" y="89500"/>
                    <a:pt x="8694420" y="100047"/>
                  </a:cubicBezTo>
                  <a:cubicBezTo>
                    <a:pt x="8703918" y="123791"/>
                    <a:pt x="8711666" y="150986"/>
                    <a:pt x="8717280" y="176247"/>
                  </a:cubicBezTo>
                  <a:cubicBezTo>
                    <a:pt x="8720090" y="188890"/>
                    <a:pt x="8719820" y="77187"/>
                    <a:pt x="8724900" y="214347"/>
                  </a:cubicBezTo>
                  <a:lnTo>
                    <a:pt x="8717280" y="420087"/>
                  </a:lnTo>
                  <a:cubicBezTo>
                    <a:pt x="8719820" y="470887"/>
                    <a:pt x="8720844" y="521786"/>
                    <a:pt x="8724900" y="572487"/>
                  </a:cubicBezTo>
                  <a:cubicBezTo>
                    <a:pt x="8725933" y="585397"/>
                    <a:pt x="8732520" y="597635"/>
                    <a:pt x="8732520" y="610587"/>
                  </a:cubicBezTo>
                  <a:cubicBezTo>
                    <a:pt x="8732520" y="617267"/>
                    <a:pt x="8737076" y="723396"/>
                    <a:pt x="8717280" y="762987"/>
                  </a:cubicBezTo>
                  <a:cubicBezTo>
                    <a:pt x="8713184" y="771178"/>
                    <a:pt x="8707120" y="778227"/>
                    <a:pt x="8702040" y="785847"/>
                  </a:cubicBezTo>
                  <a:cubicBezTo>
                    <a:pt x="8699500" y="796007"/>
                    <a:pt x="8699104" y="806960"/>
                    <a:pt x="8694420" y="816327"/>
                  </a:cubicBezTo>
                  <a:cubicBezTo>
                    <a:pt x="8686229" y="832710"/>
                    <a:pt x="8679180" y="851887"/>
                    <a:pt x="8663940" y="862047"/>
                  </a:cubicBezTo>
                  <a:cubicBezTo>
                    <a:pt x="8656320" y="867127"/>
                    <a:pt x="8649687" y="874157"/>
                    <a:pt x="8641080" y="877287"/>
                  </a:cubicBezTo>
                  <a:cubicBezTo>
                    <a:pt x="8587343" y="896828"/>
                    <a:pt x="8554849" y="893984"/>
                    <a:pt x="8496300" y="900147"/>
                  </a:cubicBezTo>
                  <a:cubicBezTo>
                    <a:pt x="8475934" y="902291"/>
                    <a:pt x="8455815" y="907401"/>
                    <a:pt x="8435340" y="907767"/>
                  </a:cubicBezTo>
                  <a:lnTo>
                    <a:pt x="7642860" y="915387"/>
                  </a:lnTo>
                  <a:lnTo>
                    <a:pt x="6385560" y="907767"/>
                  </a:lnTo>
                  <a:cubicBezTo>
                    <a:pt x="5873942" y="907767"/>
                    <a:pt x="5990845" y="899316"/>
                    <a:pt x="5730240" y="923007"/>
                  </a:cubicBezTo>
                  <a:cubicBezTo>
                    <a:pt x="5608322" y="920357"/>
                    <a:pt x="5486426" y="915387"/>
                    <a:pt x="5364480" y="915387"/>
                  </a:cubicBezTo>
                  <a:lnTo>
                    <a:pt x="5364480" y="915387"/>
                  </a:lnTo>
                  <a:lnTo>
                    <a:pt x="4145280" y="915387"/>
                  </a:lnTo>
                  <a:cubicBezTo>
                    <a:pt x="3861313" y="935670"/>
                    <a:pt x="3961169" y="930627"/>
                    <a:pt x="3444240" y="930627"/>
                  </a:cubicBezTo>
                  <a:cubicBezTo>
                    <a:pt x="3223245" y="930627"/>
                    <a:pt x="3002280" y="925547"/>
                    <a:pt x="2781300" y="923007"/>
                  </a:cubicBezTo>
                  <a:cubicBezTo>
                    <a:pt x="2242600" y="898521"/>
                    <a:pt x="1844040" y="909037"/>
                    <a:pt x="1424940" y="907767"/>
                  </a:cubicBezTo>
                  <a:lnTo>
                    <a:pt x="975360" y="923007"/>
                  </a:lnTo>
                  <a:lnTo>
                    <a:pt x="213360" y="907767"/>
                  </a:lnTo>
                  <a:lnTo>
                    <a:pt x="182880" y="892527"/>
                  </a:lnTo>
                  <a:cubicBezTo>
                    <a:pt x="160020" y="887447"/>
                    <a:pt x="136516" y="884692"/>
                    <a:pt x="114300" y="877287"/>
                  </a:cubicBezTo>
                  <a:cubicBezTo>
                    <a:pt x="105612" y="874391"/>
                    <a:pt x="98475" y="867910"/>
                    <a:pt x="91440" y="862047"/>
                  </a:cubicBezTo>
                  <a:cubicBezTo>
                    <a:pt x="68209" y="842688"/>
                    <a:pt x="65324" y="836669"/>
                    <a:pt x="53340" y="808707"/>
                  </a:cubicBezTo>
                  <a:cubicBezTo>
                    <a:pt x="42564" y="783562"/>
                    <a:pt x="31511" y="758460"/>
                    <a:pt x="22860" y="732507"/>
                  </a:cubicBezTo>
                  <a:cubicBezTo>
                    <a:pt x="20320" y="724887"/>
                    <a:pt x="18832" y="716831"/>
                    <a:pt x="15240" y="709647"/>
                  </a:cubicBezTo>
                  <a:cubicBezTo>
                    <a:pt x="11144" y="701456"/>
                    <a:pt x="5080" y="694407"/>
                    <a:pt x="0" y="686787"/>
                  </a:cubicBezTo>
                  <a:cubicBezTo>
                    <a:pt x="2540" y="648687"/>
                    <a:pt x="3623" y="610462"/>
                    <a:pt x="7620" y="572487"/>
                  </a:cubicBezTo>
                  <a:cubicBezTo>
                    <a:pt x="8716" y="562072"/>
                    <a:pt x="12968" y="552230"/>
                    <a:pt x="15240" y="542007"/>
                  </a:cubicBezTo>
                  <a:cubicBezTo>
                    <a:pt x="18050" y="529364"/>
                    <a:pt x="20543" y="516650"/>
                    <a:pt x="22860" y="503907"/>
                  </a:cubicBezTo>
                  <a:cubicBezTo>
                    <a:pt x="25624" y="488706"/>
                    <a:pt x="27243" y="473294"/>
                    <a:pt x="30480" y="458187"/>
                  </a:cubicBezTo>
                  <a:cubicBezTo>
                    <a:pt x="34869" y="437707"/>
                    <a:pt x="45720" y="397227"/>
                    <a:pt x="45720" y="397227"/>
                  </a:cubicBezTo>
                  <a:cubicBezTo>
                    <a:pt x="48260" y="318487"/>
                    <a:pt x="48714" y="239652"/>
                    <a:pt x="53340" y="161007"/>
                  </a:cubicBezTo>
                  <a:cubicBezTo>
                    <a:pt x="54434" y="142401"/>
                    <a:pt x="46990" y="161007"/>
                    <a:pt x="45720" y="161007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360000" fontAlgn="t">
                <a:spcBef>
                  <a:spcPts val="600"/>
                </a:spcBef>
              </a:pPr>
              <a:r>
                <a:rPr lang="da-DK" sz="1400">
                  <a:latin typeface="Verdana"/>
                  <a:ea typeface="Verdana"/>
                </a:rPr>
                <a:t>              administrationsorganisationer har været med</a:t>
              </a:r>
            </a:p>
          </p:txBody>
        </p:sp>
        <p:sp>
          <p:nvSpPr>
            <p:cNvPr id="24" name="Tekstfelt 23">
              <a:extLst>
                <a:ext uri="{FF2B5EF4-FFF2-40B4-BE49-F238E27FC236}">
                  <a16:creationId xmlns:a16="http://schemas.microsoft.com/office/drawing/2014/main" id="{25DE8113-4052-684D-C489-DB322F68BC87}"/>
                </a:ext>
              </a:extLst>
            </p:cNvPr>
            <p:cNvSpPr txBox="1"/>
            <p:nvPr/>
          </p:nvSpPr>
          <p:spPr>
            <a:xfrm>
              <a:off x="4025036" y="3515711"/>
              <a:ext cx="135550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800" b="1">
                  <a:latin typeface="Verdana"/>
                  <a:ea typeface="Verdana"/>
                </a:rPr>
                <a:t>ALLE </a:t>
              </a:r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7D527E6D-4693-0450-1FB5-8431D358859E}"/>
              </a:ext>
            </a:extLst>
          </p:cNvPr>
          <p:cNvGrpSpPr/>
          <p:nvPr/>
        </p:nvGrpSpPr>
        <p:grpSpPr>
          <a:xfrm>
            <a:off x="3097407" y="4098325"/>
            <a:ext cx="8327831" cy="1005369"/>
            <a:chOff x="3618757" y="4395794"/>
            <a:chExt cx="8327831" cy="1005369"/>
          </a:xfrm>
        </p:grpSpPr>
        <p:sp>
          <p:nvSpPr>
            <p:cNvPr id="25" name="Freeform: Shape 246">
              <a:extLst>
                <a:ext uri="{FF2B5EF4-FFF2-40B4-BE49-F238E27FC236}">
                  <a16:creationId xmlns:a16="http://schemas.microsoft.com/office/drawing/2014/main" id="{2EC282EE-C7E7-5AB2-7F24-7F6E6CDFBA40}"/>
                </a:ext>
              </a:extLst>
            </p:cNvPr>
            <p:cNvSpPr/>
            <p:nvPr/>
          </p:nvSpPr>
          <p:spPr>
            <a:xfrm>
              <a:off x="3618757" y="4395794"/>
              <a:ext cx="8327831" cy="1005369"/>
            </a:xfrm>
            <a:custGeom>
              <a:avLst/>
              <a:gdLst>
                <a:gd name="connsiteX0" fmla="*/ 45720 w 8732972"/>
                <a:gd name="connsiteY0" fmla="*/ 161007 h 931183"/>
                <a:gd name="connsiteX1" fmla="*/ 45720 w 8732972"/>
                <a:gd name="connsiteY1" fmla="*/ 161007 h 931183"/>
                <a:gd name="connsiteX2" fmla="*/ 83820 w 8732972"/>
                <a:gd name="connsiteY2" fmla="*/ 107667 h 931183"/>
                <a:gd name="connsiteX3" fmla="*/ 99060 w 8732972"/>
                <a:gd name="connsiteY3" fmla="*/ 77187 h 931183"/>
                <a:gd name="connsiteX4" fmla="*/ 175260 w 8732972"/>
                <a:gd name="connsiteY4" fmla="*/ 31467 h 931183"/>
                <a:gd name="connsiteX5" fmla="*/ 213360 w 8732972"/>
                <a:gd name="connsiteY5" fmla="*/ 23847 h 931183"/>
                <a:gd name="connsiteX6" fmla="*/ 243840 w 8732972"/>
                <a:gd name="connsiteY6" fmla="*/ 16227 h 931183"/>
                <a:gd name="connsiteX7" fmla="*/ 1409700 w 8732972"/>
                <a:gd name="connsiteY7" fmla="*/ 16227 h 931183"/>
                <a:gd name="connsiteX8" fmla="*/ 1546860 w 8732972"/>
                <a:gd name="connsiteY8" fmla="*/ 8607 h 931183"/>
                <a:gd name="connsiteX9" fmla="*/ 1882140 w 8732972"/>
                <a:gd name="connsiteY9" fmla="*/ 987 h 931183"/>
                <a:gd name="connsiteX10" fmla="*/ 2209800 w 8732972"/>
                <a:gd name="connsiteY10" fmla="*/ 8607 h 931183"/>
                <a:gd name="connsiteX11" fmla="*/ 2659380 w 8732972"/>
                <a:gd name="connsiteY11" fmla="*/ 23847 h 931183"/>
                <a:gd name="connsiteX12" fmla="*/ 3017520 w 8732972"/>
                <a:gd name="connsiteY12" fmla="*/ 16227 h 931183"/>
                <a:gd name="connsiteX13" fmla="*/ 4472940 w 8732972"/>
                <a:gd name="connsiteY13" fmla="*/ 8607 h 931183"/>
                <a:gd name="connsiteX14" fmla="*/ 4968240 w 8732972"/>
                <a:gd name="connsiteY14" fmla="*/ 31467 h 931183"/>
                <a:gd name="connsiteX15" fmla="*/ 6004560 w 8732972"/>
                <a:gd name="connsiteY15" fmla="*/ 16227 h 931183"/>
                <a:gd name="connsiteX16" fmla="*/ 6438900 w 8732972"/>
                <a:gd name="connsiteY16" fmla="*/ 8607 h 931183"/>
                <a:gd name="connsiteX17" fmla="*/ 6827520 w 8732972"/>
                <a:gd name="connsiteY17" fmla="*/ 8607 h 931183"/>
                <a:gd name="connsiteX18" fmla="*/ 6903720 w 8732972"/>
                <a:gd name="connsiteY18" fmla="*/ 16227 h 931183"/>
                <a:gd name="connsiteX19" fmla="*/ 7246620 w 8732972"/>
                <a:gd name="connsiteY19" fmla="*/ 23847 h 931183"/>
                <a:gd name="connsiteX20" fmla="*/ 8625840 w 8732972"/>
                <a:gd name="connsiteY20" fmla="*/ 31467 h 931183"/>
                <a:gd name="connsiteX21" fmla="*/ 8679180 w 8732972"/>
                <a:gd name="connsiteY21" fmla="*/ 69567 h 931183"/>
                <a:gd name="connsiteX22" fmla="*/ 8694420 w 8732972"/>
                <a:gd name="connsiteY22" fmla="*/ 100047 h 931183"/>
                <a:gd name="connsiteX23" fmla="*/ 8717280 w 8732972"/>
                <a:gd name="connsiteY23" fmla="*/ 176247 h 931183"/>
                <a:gd name="connsiteX24" fmla="*/ 8724900 w 8732972"/>
                <a:gd name="connsiteY24" fmla="*/ 214347 h 931183"/>
                <a:gd name="connsiteX25" fmla="*/ 8717280 w 8732972"/>
                <a:gd name="connsiteY25" fmla="*/ 420087 h 931183"/>
                <a:gd name="connsiteX26" fmla="*/ 8724900 w 8732972"/>
                <a:gd name="connsiteY26" fmla="*/ 572487 h 931183"/>
                <a:gd name="connsiteX27" fmla="*/ 8732520 w 8732972"/>
                <a:gd name="connsiteY27" fmla="*/ 610587 h 931183"/>
                <a:gd name="connsiteX28" fmla="*/ 8717280 w 8732972"/>
                <a:gd name="connsiteY28" fmla="*/ 762987 h 931183"/>
                <a:gd name="connsiteX29" fmla="*/ 8702040 w 8732972"/>
                <a:gd name="connsiteY29" fmla="*/ 785847 h 931183"/>
                <a:gd name="connsiteX30" fmla="*/ 8694420 w 8732972"/>
                <a:gd name="connsiteY30" fmla="*/ 816327 h 931183"/>
                <a:gd name="connsiteX31" fmla="*/ 8663940 w 8732972"/>
                <a:gd name="connsiteY31" fmla="*/ 862047 h 931183"/>
                <a:gd name="connsiteX32" fmla="*/ 8641080 w 8732972"/>
                <a:gd name="connsiteY32" fmla="*/ 877287 h 931183"/>
                <a:gd name="connsiteX33" fmla="*/ 8496300 w 8732972"/>
                <a:gd name="connsiteY33" fmla="*/ 900147 h 931183"/>
                <a:gd name="connsiteX34" fmla="*/ 8435340 w 8732972"/>
                <a:gd name="connsiteY34" fmla="*/ 907767 h 931183"/>
                <a:gd name="connsiteX35" fmla="*/ 7642860 w 8732972"/>
                <a:gd name="connsiteY35" fmla="*/ 915387 h 931183"/>
                <a:gd name="connsiteX36" fmla="*/ 6385560 w 8732972"/>
                <a:gd name="connsiteY36" fmla="*/ 907767 h 931183"/>
                <a:gd name="connsiteX37" fmla="*/ 5730240 w 8732972"/>
                <a:gd name="connsiteY37" fmla="*/ 923007 h 931183"/>
                <a:gd name="connsiteX38" fmla="*/ 5364480 w 8732972"/>
                <a:gd name="connsiteY38" fmla="*/ 915387 h 931183"/>
                <a:gd name="connsiteX39" fmla="*/ 5364480 w 8732972"/>
                <a:gd name="connsiteY39" fmla="*/ 915387 h 931183"/>
                <a:gd name="connsiteX40" fmla="*/ 4145280 w 8732972"/>
                <a:gd name="connsiteY40" fmla="*/ 915387 h 931183"/>
                <a:gd name="connsiteX41" fmla="*/ 3444240 w 8732972"/>
                <a:gd name="connsiteY41" fmla="*/ 930627 h 931183"/>
                <a:gd name="connsiteX42" fmla="*/ 2781300 w 8732972"/>
                <a:gd name="connsiteY42" fmla="*/ 923007 h 931183"/>
                <a:gd name="connsiteX43" fmla="*/ 1424940 w 8732972"/>
                <a:gd name="connsiteY43" fmla="*/ 907767 h 931183"/>
                <a:gd name="connsiteX44" fmla="*/ 975360 w 8732972"/>
                <a:gd name="connsiteY44" fmla="*/ 923007 h 931183"/>
                <a:gd name="connsiteX45" fmla="*/ 213360 w 8732972"/>
                <a:gd name="connsiteY45" fmla="*/ 907767 h 931183"/>
                <a:gd name="connsiteX46" fmla="*/ 182880 w 8732972"/>
                <a:gd name="connsiteY46" fmla="*/ 892527 h 931183"/>
                <a:gd name="connsiteX47" fmla="*/ 114300 w 8732972"/>
                <a:gd name="connsiteY47" fmla="*/ 877287 h 931183"/>
                <a:gd name="connsiteX48" fmla="*/ 91440 w 8732972"/>
                <a:gd name="connsiteY48" fmla="*/ 862047 h 931183"/>
                <a:gd name="connsiteX49" fmla="*/ 53340 w 8732972"/>
                <a:gd name="connsiteY49" fmla="*/ 808707 h 931183"/>
                <a:gd name="connsiteX50" fmla="*/ 22860 w 8732972"/>
                <a:gd name="connsiteY50" fmla="*/ 732507 h 931183"/>
                <a:gd name="connsiteX51" fmla="*/ 15240 w 8732972"/>
                <a:gd name="connsiteY51" fmla="*/ 709647 h 931183"/>
                <a:gd name="connsiteX52" fmla="*/ 0 w 8732972"/>
                <a:gd name="connsiteY52" fmla="*/ 686787 h 931183"/>
                <a:gd name="connsiteX53" fmla="*/ 7620 w 8732972"/>
                <a:gd name="connsiteY53" fmla="*/ 572487 h 931183"/>
                <a:gd name="connsiteX54" fmla="*/ 15240 w 8732972"/>
                <a:gd name="connsiteY54" fmla="*/ 542007 h 931183"/>
                <a:gd name="connsiteX55" fmla="*/ 22860 w 8732972"/>
                <a:gd name="connsiteY55" fmla="*/ 503907 h 931183"/>
                <a:gd name="connsiteX56" fmla="*/ 30480 w 8732972"/>
                <a:gd name="connsiteY56" fmla="*/ 458187 h 931183"/>
                <a:gd name="connsiteX57" fmla="*/ 45720 w 8732972"/>
                <a:gd name="connsiteY57" fmla="*/ 397227 h 931183"/>
                <a:gd name="connsiteX58" fmla="*/ 53340 w 8732972"/>
                <a:gd name="connsiteY58" fmla="*/ 161007 h 931183"/>
                <a:gd name="connsiteX59" fmla="*/ 45720 w 8732972"/>
                <a:gd name="connsiteY59" fmla="*/ 161007 h 93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732972" h="931183">
                  <a:moveTo>
                    <a:pt x="45720" y="161007"/>
                  </a:moveTo>
                  <a:lnTo>
                    <a:pt x="45720" y="161007"/>
                  </a:lnTo>
                  <a:cubicBezTo>
                    <a:pt x="58420" y="143227"/>
                    <a:pt x="72089" y="126101"/>
                    <a:pt x="83820" y="107667"/>
                  </a:cubicBezTo>
                  <a:cubicBezTo>
                    <a:pt x="89918" y="98084"/>
                    <a:pt x="91028" y="85219"/>
                    <a:pt x="99060" y="77187"/>
                  </a:cubicBezTo>
                  <a:cubicBezTo>
                    <a:pt x="107755" y="68492"/>
                    <a:pt x="157221" y="37480"/>
                    <a:pt x="175260" y="31467"/>
                  </a:cubicBezTo>
                  <a:cubicBezTo>
                    <a:pt x="187547" y="27371"/>
                    <a:pt x="200717" y="26657"/>
                    <a:pt x="213360" y="23847"/>
                  </a:cubicBezTo>
                  <a:cubicBezTo>
                    <a:pt x="223583" y="21575"/>
                    <a:pt x="233680" y="18767"/>
                    <a:pt x="243840" y="16227"/>
                  </a:cubicBezTo>
                  <a:cubicBezTo>
                    <a:pt x="820866" y="25844"/>
                    <a:pt x="728995" y="28492"/>
                    <a:pt x="1409700" y="16227"/>
                  </a:cubicBezTo>
                  <a:cubicBezTo>
                    <a:pt x="1455483" y="15402"/>
                    <a:pt x="1501093" y="10083"/>
                    <a:pt x="1546860" y="8607"/>
                  </a:cubicBezTo>
                  <a:lnTo>
                    <a:pt x="1882140" y="987"/>
                  </a:lnTo>
                  <a:lnTo>
                    <a:pt x="2209800" y="8607"/>
                  </a:lnTo>
                  <a:cubicBezTo>
                    <a:pt x="2610149" y="17406"/>
                    <a:pt x="2556510" y="16227"/>
                    <a:pt x="2659380" y="23847"/>
                  </a:cubicBezTo>
                  <a:lnTo>
                    <a:pt x="3017520" y="16227"/>
                  </a:lnTo>
                  <a:lnTo>
                    <a:pt x="4472940" y="8607"/>
                  </a:lnTo>
                  <a:lnTo>
                    <a:pt x="4968240" y="31467"/>
                  </a:lnTo>
                  <a:cubicBezTo>
                    <a:pt x="5395605" y="2976"/>
                    <a:pt x="4992883" y="27594"/>
                    <a:pt x="6004560" y="16227"/>
                  </a:cubicBezTo>
                  <a:lnTo>
                    <a:pt x="6438900" y="8607"/>
                  </a:lnTo>
                  <a:cubicBezTo>
                    <a:pt x="6631403" y="-2717"/>
                    <a:pt x="6571714" y="-3021"/>
                    <a:pt x="6827520" y="8607"/>
                  </a:cubicBezTo>
                  <a:cubicBezTo>
                    <a:pt x="6853020" y="9766"/>
                    <a:pt x="6878210" y="15299"/>
                    <a:pt x="6903720" y="16227"/>
                  </a:cubicBezTo>
                  <a:cubicBezTo>
                    <a:pt x="7017973" y="20382"/>
                    <a:pt x="7132296" y="22835"/>
                    <a:pt x="7246620" y="23847"/>
                  </a:cubicBezTo>
                  <a:lnTo>
                    <a:pt x="8625840" y="31467"/>
                  </a:lnTo>
                  <a:cubicBezTo>
                    <a:pt x="8636548" y="38606"/>
                    <a:pt x="8672879" y="62216"/>
                    <a:pt x="8679180" y="69567"/>
                  </a:cubicBezTo>
                  <a:cubicBezTo>
                    <a:pt x="8686572" y="78192"/>
                    <a:pt x="8690201" y="89500"/>
                    <a:pt x="8694420" y="100047"/>
                  </a:cubicBezTo>
                  <a:cubicBezTo>
                    <a:pt x="8703918" y="123791"/>
                    <a:pt x="8711666" y="150986"/>
                    <a:pt x="8717280" y="176247"/>
                  </a:cubicBezTo>
                  <a:cubicBezTo>
                    <a:pt x="8720090" y="188890"/>
                    <a:pt x="8719820" y="77187"/>
                    <a:pt x="8724900" y="214347"/>
                  </a:cubicBezTo>
                  <a:lnTo>
                    <a:pt x="8717280" y="420087"/>
                  </a:lnTo>
                  <a:cubicBezTo>
                    <a:pt x="8719820" y="470887"/>
                    <a:pt x="8720844" y="521786"/>
                    <a:pt x="8724900" y="572487"/>
                  </a:cubicBezTo>
                  <a:cubicBezTo>
                    <a:pt x="8725933" y="585397"/>
                    <a:pt x="8732520" y="597635"/>
                    <a:pt x="8732520" y="610587"/>
                  </a:cubicBezTo>
                  <a:cubicBezTo>
                    <a:pt x="8732520" y="617267"/>
                    <a:pt x="8737076" y="723396"/>
                    <a:pt x="8717280" y="762987"/>
                  </a:cubicBezTo>
                  <a:cubicBezTo>
                    <a:pt x="8713184" y="771178"/>
                    <a:pt x="8707120" y="778227"/>
                    <a:pt x="8702040" y="785847"/>
                  </a:cubicBezTo>
                  <a:cubicBezTo>
                    <a:pt x="8699500" y="796007"/>
                    <a:pt x="8699104" y="806960"/>
                    <a:pt x="8694420" y="816327"/>
                  </a:cubicBezTo>
                  <a:cubicBezTo>
                    <a:pt x="8686229" y="832710"/>
                    <a:pt x="8679180" y="851887"/>
                    <a:pt x="8663940" y="862047"/>
                  </a:cubicBezTo>
                  <a:cubicBezTo>
                    <a:pt x="8656320" y="867127"/>
                    <a:pt x="8649687" y="874157"/>
                    <a:pt x="8641080" y="877287"/>
                  </a:cubicBezTo>
                  <a:cubicBezTo>
                    <a:pt x="8587343" y="896828"/>
                    <a:pt x="8554849" y="893984"/>
                    <a:pt x="8496300" y="900147"/>
                  </a:cubicBezTo>
                  <a:cubicBezTo>
                    <a:pt x="8475934" y="902291"/>
                    <a:pt x="8455815" y="907401"/>
                    <a:pt x="8435340" y="907767"/>
                  </a:cubicBezTo>
                  <a:lnTo>
                    <a:pt x="7642860" y="915387"/>
                  </a:lnTo>
                  <a:lnTo>
                    <a:pt x="6385560" y="907767"/>
                  </a:lnTo>
                  <a:cubicBezTo>
                    <a:pt x="5873942" y="907767"/>
                    <a:pt x="5990845" y="899316"/>
                    <a:pt x="5730240" y="923007"/>
                  </a:cubicBezTo>
                  <a:cubicBezTo>
                    <a:pt x="5608322" y="920357"/>
                    <a:pt x="5486426" y="915387"/>
                    <a:pt x="5364480" y="915387"/>
                  </a:cubicBezTo>
                  <a:lnTo>
                    <a:pt x="5364480" y="915387"/>
                  </a:lnTo>
                  <a:lnTo>
                    <a:pt x="4145280" y="915387"/>
                  </a:lnTo>
                  <a:cubicBezTo>
                    <a:pt x="3861313" y="935670"/>
                    <a:pt x="3961169" y="930627"/>
                    <a:pt x="3444240" y="930627"/>
                  </a:cubicBezTo>
                  <a:cubicBezTo>
                    <a:pt x="3223245" y="930627"/>
                    <a:pt x="3002280" y="925547"/>
                    <a:pt x="2781300" y="923007"/>
                  </a:cubicBezTo>
                  <a:cubicBezTo>
                    <a:pt x="2242600" y="898521"/>
                    <a:pt x="1844040" y="909037"/>
                    <a:pt x="1424940" y="907767"/>
                  </a:cubicBezTo>
                  <a:lnTo>
                    <a:pt x="975360" y="923007"/>
                  </a:lnTo>
                  <a:lnTo>
                    <a:pt x="213360" y="907767"/>
                  </a:lnTo>
                  <a:lnTo>
                    <a:pt x="182880" y="892527"/>
                  </a:lnTo>
                  <a:cubicBezTo>
                    <a:pt x="160020" y="887447"/>
                    <a:pt x="136516" y="884692"/>
                    <a:pt x="114300" y="877287"/>
                  </a:cubicBezTo>
                  <a:cubicBezTo>
                    <a:pt x="105612" y="874391"/>
                    <a:pt x="98475" y="867910"/>
                    <a:pt x="91440" y="862047"/>
                  </a:cubicBezTo>
                  <a:cubicBezTo>
                    <a:pt x="68209" y="842688"/>
                    <a:pt x="65324" y="836669"/>
                    <a:pt x="53340" y="808707"/>
                  </a:cubicBezTo>
                  <a:cubicBezTo>
                    <a:pt x="42564" y="783562"/>
                    <a:pt x="31511" y="758460"/>
                    <a:pt x="22860" y="732507"/>
                  </a:cubicBezTo>
                  <a:cubicBezTo>
                    <a:pt x="20320" y="724887"/>
                    <a:pt x="18832" y="716831"/>
                    <a:pt x="15240" y="709647"/>
                  </a:cubicBezTo>
                  <a:cubicBezTo>
                    <a:pt x="11144" y="701456"/>
                    <a:pt x="5080" y="694407"/>
                    <a:pt x="0" y="686787"/>
                  </a:cubicBezTo>
                  <a:cubicBezTo>
                    <a:pt x="2540" y="648687"/>
                    <a:pt x="3623" y="610462"/>
                    <a:pt x="7620" y="572487"/>
                  </a:cubicBezTo>
                  <a:cubicBezTo>
                    <a:pt x="8716" y="562072"/>
                    <a:pt x="12968" y="552230"/>
                    <a:pt x="15240" y="542007"/>
                  </a:cubicBezTo>
                  <a:cubicBezTo>
                    <a:pt x="18050" y="529364"/>
                    <a:pt x="20543" y="516650"/>
                    <a:pt x="22860" y="503907"/>
                  </a:cubicBezTo>
                  <a:cubicBezTo>
                    <a:pt x="25624" y="488706"/>
                    <a:pt x="27243" y="473294"/>
                    <a:pt x="30480" y="458187"/>
                  </a:cubicBezTo>
                  <a:cubicBezTo>
                    <a:pt x="34869" y="437707"/>
                    <a:pt x="45720" y="397227"/>
                    <a:pt x="45720" y="397227"/>
                  </a:cubicBezTo>
                  <a:cubicBezTo>
                    <a:pt x="48260" y="318487"/>
                    <a:pt x="48714" y="239652"/>
                    <a:pt x="53340" y="161007"/>
                  </a:cubicBezTo>
                  <a:cubicBezTo>
                    <a:pt x="54434" y="142401"/>
                    <a:pt x="46990" y="161007"/>
                    <a:pt x="45720" y="161007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360000" fontAlgn="t">
                <a:spcBef>
                  <a:spcPts val="600"/>
                </a:spcBef>
              </a:pPr>
              <a:r>
                <a:rPr lang="da-DK" sz="1400">
                  <a:latin typeface="Verdana"/>
                  <a:ea typeface="Verdana"/>
                </a:rPr>
                <a:t>                 personer har deltaget på arrangementer med AlmenKompas på programmet</a:t>
              </a:r>
            </a:p>
          </p:txBody>
        </p:sp>
        <p:sp>
          <p:nvSpPr>
            <p:cNvPr id="26" name="Tekstfelt 25">
              <a:extLst>
                <a:ext uri="{FF2B5EF4-FFF2-40B4-BE49-F238E27FC236}">
                  <a16:creationId xmlns:a16="http://schemas.microsoft.com/office/drawing/2014/main" id="{CC822912-9A8D-4C7E-41C7-6FE8C2C6F0DC}"/>
                </a:ext>
              </a:extLst>
            </p:cNvPr>
            <p:cNvSpPr txBox="1"/>
            <p:nvPr/>
          </p:nvSpPr>
          <p:spPr>
            <a:xfrm>
              <a:off x="3864547" y="4725387"/>
              <a:ext cx="135550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b="1">
                  <a:latin typeface="Verdana"/>
                  <a:ea typeface="Verdana"/>
                </a:rPr>
                <a:t>2</a:t>
              </a:r>
              <a:r>
                <a:rPr lang="da-DK" sz="1800" b="1">
                  <a:latin typeface="Verdana"/>
                  <a:ea typeface="Verdana"/>
                </a:rPr>
                <a:t>.000+</a:t>
              </a:r>
              <a:endParaRPr lang="da-DK"/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C7926D37-80E5-9AFA-23C9-8D1EC2E80504}"/>
              </a:ext>
            </a:extLst>
          </p:cNvPr>
          <p:cNvGrpSpPr/>
          <p:nvPr/>
        </p:nvGrpSpPr>
        <p:grpSpPr>
          <a:xfrm>
            <a:off x="578734" y="5288772"/>
            <a:ext cx="10874334" cy="1005369"/>
            <a:chOff x="3125238" y="5460836"/>
            <a:chExt cx="8327831" cy="1005369"/>
          </a:xfrm>
          <a:solidFill>
            <a:schemeClr val="accent1"/>
          </a:solidFill>
        </p:grpSpPr>
        <p:sp>
          <p:nvSpPr>
            <p:cNvPr id="31" name="Freeform: Shape 246">
              <a:extLst>
                <a:ext uri="{FF2B5EF4-FFF2-40B4-BE49-F238E27FC236}">
                  <a16:creationId xmlns:a16="http://schemas.microsoft.com/office/drawing/2014/main" id="{198A579B-9BA2-2039-D2B4-8ED8E4998B25}"/>
                </a:ext>
              </a:extLst>
            </p:cNvPr>
            <p:cNvSpPr/>
            <p:nvPr/>
          </p:nvSpPr>
          <p:spPr>
            <a:xfrm>
              <a:off x="3125238" y="5460836"/>
              <a:ext cx="8327831" cy="1005369"/>
            </a:xfrm>
            <a:custGeom>
              <a:avLst/>
              <a:gdLst>
                <a:gd name="connsiteX0" fmla="*/ 45720 w 8732972"/>
                <a:gd name="connsiteY0" fmla="*/ 161007 h 931183"/>
                <a:gd name="connsiteX1" fmla="*/ 45720 w 8732972"/>
                <a:gd name="connsiteY1" fmla="*/ 161007 h 931183"/>
                <a:gd name="connsiteX2" fmla="*/ 83820 w 8732972"/>
                <a:gd name="connsiteY2" fmla="*/ 107667 h 931183"/>
                <a:gd name="connsiteX3" fmla="*/ 99060 w 8732972"/>
                <a:gd name="connsiteY3" fmla="*/ 77187 h 931183"/>
                <a:gd name="connsiteX4" fmla="*/ 175260 w 8732972"/>
                <a:gd name="connsiteY4" fmla="*/ 31467 h 931183"/>
                <a:gd name="connsiteX5" fmla="*/ 213360 w 8732972"/>
                <a:gd name="connsiteY5" fmla="*/ 23847 h 931183"/>
                <a:gd name="connsiteX6" fmla="*/ 243840 w 8732972"/>
                <a:gd name="connsiteY6" fmla="*/ 16227 h 931183"/>
                <a:gd name="connsiteX7" fmla="*/ 1409700 w 8732972"/>
                <a:gd name="connsiteY7" fmla="*/ 16227 h 931183"/>
                <a:gd name="connsiteX8" fmla="*/ 1546860 w 8732972"/>
                <a:gd name="connsiteY8" fmla="*/ 8607 h 931183"/>
                <a:gd name="connsiteX9" fmla="*/ 1882140 w 8732972"/>
                <a:gd name="connsiteY9" fmla="*/ 987 h 931183"/>
                <a:gd name="connsiteX10" fmla="*/ 2209800 w 8732972"/>
                <a:gd name="connsiteY10" fmla="*/ 8607 h 931183"/>
                <a:gd name="connsiteX11" fmla="*/ 2659380 w 8732972"/>
                <a:gd name="connsiteY11" fmla="*/ 23847 h 931183"/>
                <a:gd name="connsiteX12" fmla="*/ 3017520 w 8732972"/>
                <a:gd name="connsiteY12" fmla="*/ 16227 h 931183"/>
                <a:gd name="connsiteX13" fmla="*/ 4472940 w 8732972"/>
                <a:gd name="connsiteY13" fmla="*/ 8607 h 931183"/>
                <a:gd name="connsiteX14" fmla="*/ 4968240 w 8732972"/>
                <a:gd name="connsiteY14" fmla="*/ 31467 h 931183"/>
                <a:gd name="connsiteX15" fmla="*/ 6004560 w 8732972"/>
                <a:gd name="connsiteY15" fmla="*/ 16227 h 931183"/>
                <a:gd name="connsiteX16" fmla="*/ 6438900 w 8732972"/>
                <a:gd name="connsiteY16" fmla="*/ 8607 h 931183"/>
                <a:gd name="connsiteX17" fmla="*/ 6827520 w 8732972"/>
                <a:gd name="connsiteY17" fmla="*/ 8607 h 931183"/>
                <a:gd name="connsiteX18" fmla="*/ 6903720 w 8732972"/>
                <a:gd name="connsiteY18" fmla="*/ 16227 h 931183"/>
                <a:gd name="connsiteX19" fmla="*/ 7246620 w 8732972"/>
                <a:gd name="connsiteY19" fmla="*/ 23847 h 931183"/>
                <a:gd name="connsiteX20" fmla="*/ 8625840 w 8732972"/>
                <a:gd name="connsiteY20" fmla="*/ 31467 h 931183"/>
                <a:gd name="connsiteX21" fmla="*/ 8679180 w 8732972"/>
                <a:gd name="connsiteY21" fmla="*/ 69567 h 931183"/>
                <a:gd name="connsiteX22" fmla="*/ 8694420 w 8732972"/>
                <a:gd name="connsiteY22" fmla="*/ 100047 h 931183"/>
                <a:gd name="connsiteX23" fmla="*/ 8717280 w 8732972"/>
                <a:gd name="connsiteY23" fmla="*/ 176247 h 931183"/>
                <a:gd name="connsiteX24" fmla="*/ 8724900 w 8732972"/>
                <a:gd name="connsiteY24" fmla="*/ 214347 h 931183"/>
                <a:gd name="connsiteX25" fmla="*/ 8717280 w 8732972"/>
                <a:gd name="connsiteY25" fmla="*/ 420087 h 931183"/>
                <a:gd name="connsiteX26" fmla="*/ 8724900 w 8732972"/>
                <a:gd name="connsiteY26" fmla="*/ 572487 h 931183"/>
                <a:gd name="connsiteX27" fmla="*/ 8732520 w 8732972"/>
                <a:gd name="connsiteY27" fmla="*/ 610587 h 931183"/>
                <a:gd name="connsiteX28" fmla="*/ 8717280 w 8732972"/>
                <a:gd name="connsiteY28" fmla="*/ 762987 h 931183"/>
                <a:gd name="connsiteX29" fmla="*/ 8702040 w 8732972"/>
                <a:gd name="connsiteY29" fmla="*/ 785847 h 931183"/>
                <a:gd name="connsiteX30" fmla="*/ 8694420 w 8732972"/>
                <a:gd name="connsiteY30" fmla="*/ 816327 h 931183"/>
                <a:gd name="connsiteX31" fmla="*/ 8663940 w 8732972"/>
                <a:gd name="connsiteY31" fmla="*/ 862047 h 931183"/>
                <a:gd name="connsiteX32" fmla="*/ 8641080 w 8732972"/>
                <a:gd name="connsiteY32" fmla="*/ 877287 h 931183"/>
                <a:gd name="connsiteX33" fmla="*/ 8496300 w 8732972"/>
                <a:gd name="connsiteY33" fmla="*/ 900147 h 931183"/>
                <a:gd name="connsiteX34" fmla="*/ 8435340 w 8732972"/>
                <a:gd name="connsiteY34" fmla="*/ 907767 h 931183"/>
                <a:gd name="connsiteX35" fmla="*/ 7642860 w 8732972"/>
                <a:gd name="connsiteY35" fmla="*/ 915387 h 931183"/>
                <a:gd name="connsiteX36" fmla="*/ 6385560 w 8732972"/>
                <a:gd name="connsiteY36" fmla="*/ 907767 h 931183"/>
                <a:gd name="connsiteX37" fmla="*/ 5730240 w 8732972"/>
                <a:gd name="connsiteY37" fmla="*/ 923007 h 931183"/>
                <a:gd name="connsiteX38" fmla="*/ 5364480 w 8732972"/>
                <a:gd name="connsiteY38" fmla="*/ 915387 h 931183"/>
                <a:gd name="connsiteX39" fmla="*/ 5364480 w 8732972"/>
                <a:gd name="connsiteY39" fmla="*/ 915387 h 931183"/>
                <a:gd name="connsiteX40" fmla="*/ 4145280 w 8732972"/>
                <a:gd name="connsiteY40" fmla="*/ 915387 h 931183"/>
                <a:gd name="connsiteX41" fmla="*/ 3444240 w 8732972"/>
                <a:gd name="connsiteY41" fmla="*/ 930627 h 931183"/>
                <a:gd name="connsiteX42" fmla="*/ 2781300 w 8732972"/>
                <a:gd name="connsiteY42" fmla="*/ 923007 h 931183"/>
                <a:gd name="connsiteX43" fmla="*/ 1424940 w 8732972"/>
                <a:gd name="connsiteY43" fmla="*/ 907767 h 931183"/>
                <a:gd name="connsiteX44" fmla="*/ 975360 w 8732972"/>
                <a:gd name="connsiteY44" fmla="*/ 923007 h 931183"/>
                <a:gd name="connsiteX45" fmla="*/ 213360 w 8732972"/>
                <a:gd name="connsiteY45" fmla="*/ 907767 h 931183"/>
                <a:gd name="connsiteX46" fmla="*/ 182880 w 8732972"/>
                <a:gd name="connsiteY46" fmla="*/ 892527 h 931183"/>
                <a:gd name="connsiteX47" fmla="*/ 114300 w 8732972"/>
                <a:gd name="connsiteY47" fmla="*/ 877287 h 931183"/>
                <a:gd name="connsiteX48" fmla="*/ 91440 w 8732972"/>
                <a:gd name="connsiteY48" fmla="*/ 862047 h 931183"/>
                <a:gd name="connsiteX49" fmla="*/ 53340 w 8732972"/>
                <a:gd name="connsiteY49" fmla="*/ 808707 h 931183"/>
                <a:gd name="connsiteX50" fmla="*/ 22860 w 8732972"/>
                <a:gd name="connsiteY50" fmla="*/ 732507 h 931183"/>
                <a:gd name="connsiteX51" fmla="*/ 15240 w 8732972"/>
                <a:gd name="connsiteY51" fmla="*/ 709647 h 931183"/>
                <a:gd name="connsiteX52" fmla="*/ 0 w 8732972"/>
                <a:gd name="connsiteY52" fmla="*/ 686787 h 931183"/>
                <a:gd name="connsiteX53" fmla="*/ 7620 w 8732972"/>
                <a:gd name="connsiteY53" fmla="*/ 572487 h 931183"/>
                <a:gd name="connsiteX54" fmla="*/ 15240 w 8732972"/>
                <a:gd name="connsiteY54" fmla="*/ 542007 h 931183"/>
                <a:gd name="connsiteX55" fmla="*/ 22860 w 8732972"/>
                <a:gd name="connsiteY55" fmla="*/ 503907 h 931183"/>
                <a:gd name="connsiteX56" fmla="*/ 30480 w 8732972"/>
                <a:gd name="connsiteY56" fmla="*/ 458187 h 931183"/>
                <a:gd name="connsiteX57" fmla="*/ 45720 w 8732972"/>
                <a:gd name="connsiteY57" fmla="*/ 397227 h 931183"/>
                <a:gd name="connsiteX58" fmla="*/ 53340 w 8732972"/>
                <a:gd name="connsiteY58" fmla="*/ 161007 h 931183"/>
                <a:gd name="connsiteX59" fmla="*/ 45720 w 8732972"/>
                <a:gd name="connsiteY59" fmla="*/ 161007 h 93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732972" h="931183">
                  <a:moveTo>
                    <a:pt x="45720" y="161007"/>
                  </a:moveTo>
                  <a:lnTo>
                    <a:pt x="45720" y="161007"/>
                  </a:lnTo>
                  <a:cubicBezTo>
                    <a:pt x="58420" y="143227"/>
                    <a:pt x="72089" y="126101"/>
                    <a:pt x="83820" y="107667"/>
                  </a:cubicBezTo>
                  <a:cubicBezTo>
                    <a:pt x="89918" y="98084"/>
                    <a:pt x="91028" y="85219"/>
                    <a:pt x="99060" y="77187"/>
                  </a:cubicBezTo>
                  <a:cubicBezTo>
                    <a:pt x="107755" y="68492"/>
                    <a:pt x="157221" y="37480"/>
                    <a:pt x="175260" y="31467"/>
                  </a:cubicBezTo>
                  <a:cubicBezTo>
                    <a:pt x="187547" y="27371"/>
                    <a:pt x="200717" y="26657"/>
                    <a:pt x="213360" y="23847"/>
                  </a:cubicBezTo>
                  <a:cubicBezTo>
                    <a:pt x="223583" y="21575"/>
                    <a:pt x="233680" y="18767"/>
                    <a:pt x="243840" y="16227"/>
                  </a:cubicBezTo>
                  <a:cubicBezTo>
                    <a:pt x="820866" y="25844"/>
                    <a:pt x="728995" y="28492"/>
                    <a:pt x="1409700" y="16227"/>
                  </a:cubicBezTo>
                  <a:cubicBezTo>
                    <a:pt x="1455483" y="15402"/>
                    <a:pt x="1501093" y="10083"/>
                    <a:pt x="1546860" y="8607"/>
                  </a:cubicBezTo>
                  <a:lnTo>
                    <a:pt x="1882140" y="987"/>
                  </a:lnTo>
                  <a:lnTo>
                    <a:pt x="2209800" y="8607"/>
                  </a:lnTo>
                  <a:cubicBezTo>
                    <a:pt x="2610149" y="17406"/>
                    <a:pt x="2556510" y="16227"/>
                    <a:pt x="2659380" y="23847"/>
                  </a:cubicBezTo>
                  <a:lnTo>
                    <a:pt x="3017520" y="16227"/>
                  </a:lnTo>
                  <a:lnTo>
                    <a:pt x="4472940" y="8607"/>
                  </a:lnTo>
                  <a:lnTo>
                    <a:pt x="4968240" y="31467"/>
                  </a:lnTo>
                  <a:cubicBezTo>
                    <a:pt x="5395605" y="2976"/>
                    <a:pt x="4992883" y="27594"/>
                    <a:pt x="6004560" y="16227"/>
                  </a:cubicBezTo>
                  <a:lnTo>
                    <a:pt x="6438900" y="8607"/>
                  </a:lnTo>
                  <a:cubicBezTo>
                    <a:pt x="6631403" y="-2717"/>
                    <a:pt x="6571714" y="-3021"/>
                    <a:pt x="6827520" y="8607"/>
                  </a:cubicBezTo>
                  <a:cubicBezTo>
                    <a:pt x="6853020" y="9766"/>
                    <a:pt x="6878210" y="15299"/>
                    <a:pt x="6903720" y="16227"/>
                  </a:cubicBezTo>
                  <a:cubicBezTo>
                    <a:pt x="7017973" y="20382"/>
                    <a:pt x="7132296" y="22835"/>
                    <a:pt x="7246620" y="23847"/>
                  </a:cubicBezTo>
                  <a:lnTo>
                    <a:pt x="8625840" y="31467"/>
                  </a:lnTo>
                  <a:cubicBezTo>
                    <a:pt x="8636548" y="38606"/>
                    <a:pt x="8672879" y="62216"/>
                    <a:pt x="8679180" y="69567"/>
                  </a:cubicBezTo>
                  <a:cubicBezTo>
                    <a:pt x="8686572" y="78192"/>
                    <a:pt x="8690201" y="89500"/>
                    <a:pt x="8694420" y="100047"/>
                  </a:cubicBezTo>
                  <a:cubicBezTo>
                    <a:pt x="8703918" y="123791"/>
                    <a:pt x="8711666" y="150986"/>
                    <a:pt x="8717280" y="176247"/>
                  </a:cubicBezTo>
                  <a:cubicBezTo>
                    <a:pt x="8720090" y="188890"/>
                    <a:pt x="8719820" y="77187"/>
                    <a:pt x="8724900" y="214347"/>
                  </a:cubicBezTo>
                  <a:lnTo>
                    <a:pt x="8717280" y="420087"/>
                  </a:lnTo>
                  <a:cubicBezTo>
                    <a:pt x="8719820" y="470887"/>
                    <a:pt x="8720844" y="521786"/>
                    <a:pt x="8724900" y="572487"/>
                  </a:cubicBezTo>
                  <a:cubicBezTo>
                    <a:pt x="8725933" y="585397"/>
                    <a:pt x="8732520" y="597635"/>
                    <a:pt x="8732520" y="610587"/>
                  </a:cubicBezTo>
                  <a:cubicBezTo>
                    <a:pt x="8732520" y="617267"/>
                    <a:pt x="8737076" y="723396"/>
                    <a:pt x="8717280" y="762987"/>
                  </a:cubicBezTo>
                  <a:cubicBezTo>
                    <a:pt x="8713184" y="771178"/>
                    <a:pt x="8707120" y="778227"/>
                    <a:pt x="8702040" y="785847"/>
                  </a:cubicBezTo>
                  <a:cubicBezTo>
                    <a:pt x="8699500" y="796007"/>
                    <a:pt x="8699104" y="806960"/>
                    <a:pt x="8694420" y="816327"/>
                  </a:cubicBezTo>
                  <a:cubicBezTo>
                    <a:pt x="8686229" y="832710"/>
                    <a:pt x="8679180" y="851887"/>
                    <a:pt x="8663940" y="862047"/>
                  </a:cubicBezTo>
                  <a:cubicBezTo>
                    <a:pt x="8656320" y="867127"/>
                    <a:pt x="8649687" y="874157"/>
                    <a:pt x="8641080" y="877287"/>
                  </a:cubicBezTo>
                  <a:cubicBezTo>
                    <a:pt x="8587343" y="896828"/>
                    <a:pt x="8554849" y="893984"/>
                    <a:pt x="8496300" y="900147"/>
                  </a:cubicBezTo>
                  <a:cubicBezTo>
                    <a:pt x="8475934" y="902291"/>
                    <a:pt x="8455815" y="907401"/>
                    <a:pt x="8435340" y="907767"/>
                  </a:cubicBezTo>
                  <a:lnTo>
                    <a:pt x="7642860" y="915387"/>
                  </a:lnTo>
                  <a:lnTo>
                    <a:pt x="6385560" y="907767"/>
                  </a:lnTo>
                  <a:cubicBezTo>
                    <a:pt x="5873942" y="907767"/>
                    <a:pt x="5990845" y="899316"/>
                    <a:pt x="5730240" y="923007"/>
                  </a:cubicBezTo>
                  <a:cubicBezTo>
                    <a:pt x="5608322" y="920357"/>
                    <a:pt x="5486426" y="915387"/>
                    <a:pt x="5364480" y="915387"/>
                  </a:cubicBezTo>
                  <a:lnTo>
                    <a:pt x="5364480" y="915387"/>
                  </a:lnTo>
                  <a:lnTo>
                    <a:pt x="4145280" y="915387"/>
                  </a:lnTo>
                  <a:cubicBezTo>
                    <a:pt x="3861313" y="935670"/>
                    <a:pt x="3961169" y="930627"/>
                    <a:pt x="3444240" y="930627"/>
                  </a:cubicBezTo>
                  <a:cubicBezTo>
                    <a:pt x="3223245" y="930627"/>
                    <a:pt x="3002280" y="925547"/>
                    <a:pt x="2781300" y="923007"/>
                  </a:cubicBezTo>
                  <a:cubicBezTo>
                    <a:pt x="2242600" y="898521"/>
                    <a:pt x="1844040" y="909037"/>
                    <a:pt x="1424940" y="907767"/>
                  </a:cubicBezTo>
                  <a:lnTo>
                    <a:pt x="975360" y="923007"/>
                  </a:lnTo>
                  <a:lnTo>
                    <a:pt x="213360" y="907767"/>
                  </a:lnTo>
                  <a:lnTo>
                    <a:pt x="182880" y="892527"/>
                  </a:lnTo>
                  <a:cubicBezTo>
                    <a:pt x="160020" y="887447"/>
                    <a:pt x="136516" y="884692"/>
                    <a:pt x="114300" y="877287"/>
                  </a:cubicBezTo>
                  <a:cubicBezTo>
                    <a:pt x="105612" y="874391"/>
                    <a:pt x="98475" y="867910"/>
                    <a:pt x="91440" y="862047"/>
                  </a:cubicBezTo>
                  <a:cubicBezTo>
                    <a:pt x="68209" y="842688"/>
                    <a:pt x="65324" y="836669"/>
                    <a:pt x="53340" y="808707"/>
                  </a:cubicBezTo>
                  <a:cubicBezTo>
                    <a:pt x="42564" y="783562"/>
                    <a:pt x="31511" y="758460"/>
                    <a:pt x="22860" y="732507"/>
                  </a:cubicBezTo>
                  <a:cubicBezTo>
                    <a:pt x="20320" y="724887"/>
                    <a:pt x="18832" y="716831"/>
                    <a:pt x="15240" y="709647"/>
                  </a:cubicBezTo>
                  <a:cubicBezTo>
                    <a:pt x="11144" y="701456"/>
                    <a:pt x="5080" y="694407"/>
                    <a:pt x="0" y="686787"/>
                  </a:cubicBezTo>
                  <a:cubicBezTo>
                    <a:pt x="2540" y="648687"/>
                    <a:pt x="3623" y="610462"/>
                    <a:pt x="7620" y="572487"/>
                  </a:cubicBezTo>
                  <a:cubicBezTo>
                    <a:pt x="8716" y="562072"/>
                    <a:pt x="12968" y="552230"/>
                    <a:pt x="15240" y="542007"/>
                  </a:cubicBezTo>
                  <a:cubicBezTo>
                    <a:pt x="18050" y="529364"/>
                    <a:pt x="20543" y="516650"/>
                    <a:pt x="22860" y="503907"/>
                  </a:cubicBezTo>
                  <a:cubicBezTo>
                    <a:pt x="25624" y="488706"/>
                    <a:pt x="27243" y="473294"/>
                    <a:pt x="30480" y="458187"/>
                  </a:cubicBezTo>
                  <a:cubicBezTo>
                    <a:pt x="34869" y="437707"/>
                    <a:pt x="45720" y="397227"/>
                    <a:pt x="45720" y="397227"/>
                  </a:cubicBezTo>
                  <a:cubicBezTo>
                    <a:pt x="48260" y="318487"/>
                    <a:pt x="48714" y="239652"/>
                    <a:pt x="53340" y="161007"/>
                  </a:cubicBezTo>
                  <a:cubicBezTo>
                    <a:pt x="54434" y="142401"/>
                    <a:pt x="46990" y="161007"/>
                    <a:pt x="45720" y="161007"/>
                  </a:cubicBez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2160000" fontAlgn="t">
                <a:spcBef>
                  <a:spcPts val="600"/>
                </a:spcBef>
              </a:pPr>
              <a:r>
                <a:rPr lang="da-DK" sz="140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ed eksterne interessenter; privat ejendomsbranche, banker, kommuner, revisorer, advokater, rådgivere, eksperter m.fl.</a:t>
              </a:r>
              <a:endParaRPr lang="da-DK" sz="1400">
                <a:solidFill>
                  <a:schemeClr val="bg1"/>
                </a:solidFill>
                <a:latin typeface="Verdana"/>
                <a:ea typeface="Verdana"/>
              </a:endParaRPr>
            </a:p>
          </p:txBody>
        </p:sp>
        <p:sp>
          <p:nvSpPr>
            <p:cNvPr id="32" name="Tekstfelt 31">
              <a:extLst>
                <a:ext uri="{FF2B5EF4-FFF2-40B4-BE49-F238E27FC236}">
                  <a16:creationId xmlns:a16="http://schemas.microsoft.com/office/drawing/2014/main" id="{8310F2B9-4329-92AC-6E76-7EC81F9B5FCA}"/>
                </a:ext>
              </a:extLst>
            </p:cNvPr>
            <p:cNvSpPr txBox="1"/>
            <p:nvPr/>
          </p:nvSpPr>
          <p:spPr>
            <a:xfrm>
              <a:off x="3386830" y="5775654"/>
              <a:ext cx="1351689" cy="36933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da-DK" b="1">
                  <a:solidFill>
                    <a:schemeClr val="bg1"/>
                  </a:solidFill>
                  <a:latin typeface="Verdana"/>
                  <a:ea typeface="Verdana"/>
                </a:rPr>
                <a:t>Samarbejde</a:t>
              </a:r>
              <a:endParaRPr lang="da-DK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11648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0F7DD-454C-3A74-59C1-1A0E7CFD2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B3EE5EB-AACC-46DF-4248-84F20E86ED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63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3EE5EB-AACC-46DF-4248-84F20E86ED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A1110065-218A-B2F9-7A23-647957C0C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Sådan er AlmenKompas organiseret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9596351-1A96-79C0-705A-04BD354B57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9E532B-59F9-A5FB-A1A8-DD6C3368ED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0E9C43F-06E4-153B-6FA0-E0C2472FF2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Se, hvem der rådgiver, skaber fremdrift og styrer retningen i projekte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FC2C7B-1FED-96E4-7962-074927AB897E}"/>
              </a:ext>
            </a:extLst>
          </p:cNvPr>
          <p:cNvGrpSpPr/>
          <p:nvPr/>
        </p:nvGrpSpPr>
        <p:grpSpPr>
          <a:xfrm>
            <a:off x="11100546" y="4574573"/>
            <a:ext cx="749008" cy="1484945"/>
            <a:chOff x="8083911" y="2970459"/>
            <a:chExt cx="326204" cy="65213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1FC782-A442-251B-670D-1670803AF924}"/>
                </a:ext>
              </a:extLst>
            </p:cNvPr>
            <p:cNvSpPr/>
            <p:nvPr/>
          </p:nvSpPr>
          <p:spPr>
            <a:xfrm>
              <a:off x="8178986" y="3066338"/>
              <a:ext cx="103893" cy="93231"/>
            </a:xfrm>
            <a:custGeom>
              <a:avLst/>
              <a:gdLst>
                <a:gd name="connsiteX0" fmla="*/ 0 w 103893"/>
                <a:gd name="connsiteY0" fmla="*/ 271 h 93231"/>
                <a:gd name="connsiteX1" fmla="*/ 7992 w 103893"/>
                <a:gd name="connsiteY1" fmla="*/ 9712 h 93231"/>
                <a:gd name="connsiteX2" fmla="*/ 17888 w 103893"/>
                <a:gd name="connsiteY2" fmla="*/ 18366 h 93231"/>
                <a:gd name="connsiteX3" fmla="*/ 28116 w 103893"/>
                <a:gd name="connsiteY3" fmla="*/ 26648 h 93231"/>
                <a:gd name="connsiteX4" fmla="*/ 40083 w 103893"/>
                <a:gd name="connsiteY4" fmla="*/ 32114 h 93231"/>
                <a:gd name="connsiteX5" fmla="*/ 52009 w 103893"/>
                <a:gd name="connsiteY5" fmla="*/ 37538 h 93231"/>
                <a:gd name="connsiteX6" fmla="*/ 64928 w 103893"/>
                <a:gd name="connsiteY6" fmla="*/ 39774 h 93231"/>
                <a:gd name="connsiteX7" fmla="*/ 77806 w 103893"/>
                <a:gd name="connsiteY7" fmla="*/ 41721 h 93231"/>
                <a:gd name="connsiteX8" fmla="*/ 91016 w 103893"/>
                <a:gd name="connsiteY8" fmla="*/ 42756 h 93231"/>
                <a:gd name="connsiteX9" fmla="*/ 103894 w 103893"/>
                <a:gd name="connsiteY9" fmla="*/ 40064 h 93231"/>
                <a:gd name="connsiteX10" fmla="*/ 97765 w 103893"/>
                <a:gd name="connsiteY10" fmla="*/ 52073 h 93231"/>
                <a:gd name="connsiteX11" fmla="*/ 90395 w 103893"/>
                <a:gd name="connsiteY11" fmla="*/ 63708 h 93231"/>
                <a:gd name="connsiteX12" fmla="*/ 81740 w 103893"/>
                <a:gd name="connsiteY12" fmla="*/ 74475 h 93231"/>
                <a:gd name="connsiteX13" fmla="*/ 72009 w 103893"/>
                <a:gd name="connsiteY13" fmla="*/ 84330 h 93231"/>
                <a:gd name="connsiteX14" fmla="*/ 59711 w 103893"/>
                <a:gd name="connsiteY14" fmla="*/ 90582 h 93231"/>
                <a:gd name="connsiteX15" fmla="*/ 46543 w 103893"/>
                <a:gd name="connsiteY15" fmla="*/ 93067 h 93231"/>
                <a:gd name="connsiteX16" fmla="*/ 34121 w 103893"/>
                <a:gd name="connsiteY16" fmla="*/ 87684 h 93231"/>
                <a:gd name="connsiteX17" fmla="*/ 25342 w 103893"/>
                <a:gd name="connsiteY17" fmla="*/ 77166 h 93231"/>
                <a:gd name="connsiteX18" fmla="*/ 18054 w 103893"/>
                <a:gd name="connsiteY18" fmla="*/ 65489 h 93231"/>
                <a:gd name="connsiteX19" fmla="*/ 12588 w 103893"/>
                <a:gd name="connsiteY19" fmla="*/ 52818 h 93231"/>
                <a:gd name="connsiteX20" fmla="*/ 8365 w 103893"/>
                <a:gd name="connsiteY20" fmla="*/ 39692 h 93231"/>
                <a:gd name="connsiteX21" fmla="*/ 4721 w 103893"/>
                <a:gd name="connsiteY21" fmla="*/ 26399 h 93231"/>
                <a:gd name="connsiteX22" fmla="*/ 1656 w 103893"/>
                <a:gd name="connsiteY22" fmla="*/ 12983 h 93231"/>
                <a:gd name="connsiteX23" fmla="*/ 41 w 103893"/>
                <a:gd name="connsiteY23" fmla="*/ 146 h 93231"/>
                <a:gd name="connsiteX24" fmla="*/ 0 w 103893"/>
                <a:gd name="connsiteY24" fmla="*/ 271 h 9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893" h="93231">
                  <a:moveTo>
                    <a:pt x="0" y="271"/>
                  </a:moveTo>
                  <a:cubicBezTo>
                    <a:pt x="6377" y="-1261"/>
                    <a:pt x="2402" y="3956"/>
                    <a:pt x="7992" y="9712"/>
                  </a:cubicBezTo>
                  <a:cubicBezTo>
                    <a:pt x="10601" y="12445"/>
                    <a:pt x="14079" y="15219"/>
                    <a:pt x="17888" y="18366"/>
                  </a:cubicBezTo>
                  <a:cubicBezTo>
                    <a:pt x="21035" y="20975"/>
                    <a:pt x="24224" y="24122"/>
                    <a:pt x="28116" y="26648"/>
                  </a:cubicBezTo>
                  <a:cubicBezTo>
                    <a:pt x="31636" y="28925"/>
                    <a:pt x="35984" y="30126"/>
                    <a:pt x="40083" y="32114"/>
                  </a:cubicBezTo>
                  <a:cubicBezTo>
                    <a:pt x="43893" y="33936"/>
                    <a:pt x="47703" y="36130"/>
                    <a:pt x="52009" y="37538"/>
                  </a:cubicBezTo>
                  <a:cubicBezTo>
                    <a:pt x="56026" y="38863"/>
                    <a:pt x="60456" y="38988"/>
                    <a:pt x="64928" y="39774"/>
                  </a:cubicBezTo>
                  <a:cubicBezTo>
                    <a:pt x="69069" y="40520"/>
                    <a:pt x="73293" y="41513"/>
                    <a:pt x="77806" y="41721"/>
                  </a:cubicBezTo>
                  <a:cubicBezTo>
                    <a:pt x="82030" y="41886"/>
                    <a:pt x="86461" y="43170"/>
                    <a:pt x="91016" y="42756"/>
                  </a:cubicBezTo>
                  <a:cubicBezTo>
                    <a:pt x="95198" y="42383"/>
                    <a:pt x="99422" y="41058"/>
                    <a:pt x="103894" y="40064"/>
                  </a:cubicBezTo>
                  <a:cubicBezTo>
                    <a:pt x="103314" y="41224"/>
                    <a:pt x="101492" y="45944"/>
                    <a:pt x="97765" y="52073"/>
                  </a:cubicBezTo>
                  <a:cubicBezTo>
                    <a:pt x="95653" y="55551"/>
                    <a:pt x="93293" y="59692"/>
                    <a:pt x="90395" y="63708"/>
                  </a:cubicBezTo>
                  <a:cubicBezTo>
                    <a:pt x="87827" y="67311"/>
                    <a:pt x="84804" y="70955"/>
                    <a:pt x="81740" y="74475"/>
                  </a:cubicBezTo>
                  <a:cubicBezTo>
                    <a:pt x="78676" y="77994"/>
                    <a:pt x="75405" y="81473"/>
                    <a:pt x="72009" y="84330"/>
                  </a:cubicBezTo>
                  <a:cubicBezTo>
                    <a:pt x="68324" y="87435"/>
                    <a:pt x="63686" y="88885"/>
                    <a:pt x="59711" y="90582"/>
                  </a:cubicBezTo>
                  <a:cubicBezTo>
                    <a:pt x="55322" y="92487"/>
                    <a:pt x="51057" y="93688"/>
                    <a:pt x="46543" y="93067"/>
                  </a:cubicBezTo>
                  <a:cubicBezTo>
                    <a:pt x="42444" y="92529"/>
                    <a:pt x="38179" y="90997"/>
                    <a:pt x="34121" y="87684"/>
                  </a:cubicBezTo>
                  <a:cubicBezTo>
                    <a:pt x="31056" y="85199"/>
                    <a:pt x="28323" y="81555"/>
                    <a:pt x="25342" y="77166"/>
                  </a:cubicBezTo>
                  <a:cubicBezTo>
                    <a:pt x="23065" y="73812"/>
                    <a:pt x="20249" y="70127"/>
                    <a:pt x="18054" y="65489"/>
                  </a:cubicBezTo>
                  <a:cubicBezTo>
                    <a:pt x="16274" y="61721"/>
                    <a:pt x="14286" y="57539"/>
                    <a:pt x="12588" y="52818"/>
                  </a:cubicBezTo>
                  <a:cubicBezTo>
                    <a:pt x="11139" y="48801"/>
                    <a:pt x="9772" y="44412"/>
                    <a:pt x="8365" y="39692"/>
                  </a:cubicBezTo>
                  <a:cubicBezTo>
                    <a:pt x="7164" y="35551"/>
                    <a:pt x="5880" y="31120"/>
                    <a:pt x="4721" y="26399"/>
                  </a:cubicBezTo>
                  <a:cubicBezTo>
                    <a:pt x="3685" y="22176"/>
                    <a:pt x="2609" y="17704"/>
                    <a:pt x="1656" y="12983"/>
                  </a:cubicBezTo>
                  <a:cubicBezTo>
                    <a:pt x="787" y="8677"/>
                    <a:pt x="911" y="4826"/>
                    <a:pt x="41" y="146"/>
                  </a:cubicBezTo>
                  <a:lnTo>
                    <a:pt x="0" y="271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E808879-8D3F-B83C-A24C-F4F78252EF18}"/>
                </a:ext>
              </a:extLst>
            </p:cNvPr>
            <p:cNvSpPr/>
            <p:nvPr/>
          </p:nvSpPr>
          <p:spPr>
            <a:xfrm>
              <a:off x="8180587" y="3155224"/>
              <a:ext cx="94879" cy="215560"/>
            </a:xfrm>
            <a:custGeom>
              <a:avLst/>
              <a:gdLst>
                <a:gd name="connsiteX0" fmla="*/ 7591 w 94879"/>
                <a:gd name="connsiteY0" fmla="*/ 0 h 215560"/>
                <a:gd name="connsiteX1" fmla="*/ 7177 w 94879"/>
                <a:gd name="connsiteY1" fmla="*/ 11387 h 215560"/>
                <a:gd name="connsiteX2" fmla="*/ 6307 w 94879"/>
                <a:gd name="connsiteY2" fmla="*/ 22609 h 215560"/>
                <a:gd name="connsiteX3" fmla="*/ 3491 w 94879"/>
                <a:gd name="connsiteY3" fmla="*/ 30518 h 215560"/>
                <a:gd name="connsiteX4" fmla="*/ 179 w 94879"/>
                <a:gd name="connsiteY4" fmla="*/ 45259 h 215560"/>
                <a:gd name="connsiteX5" fmla="*/ 1421 w 94879"/>
                <a:gd name="connsiteY5" fmla="*/ 60125 h 215560"/>
                <a:gd name="connsiteX6" fmla="*/ 5769 w 94879"/>
                <a:gd name="connsiteY6" fmla="*/ 74742 h 215560"/>
                <a:gd name="connsiteX7" fmla="*/ 6431 w 94879"/>
                <a:gd name="connsiteY7" fmla="*/ 74287 h 215560"/>
                <a:gd name="connsiteX8" fmla="*/ 5479 w 94879"/>
                <a:gd name="connsiteY8" fmla="*/ 87165 h 215560"/>
                <a:gd name="connsiteX9" fmla="*/ 6348 w 94879"/>
                <a:gd name="connsiteY9" fmla="*/ 100084 h 215560"/>
                <a:gd name="connsiteX10" fmla="*/ 6845 w 94879"/>
                <a:gd name="connsiteY10" fmla="*/ 113004 h 215560"/>
                <a:gd name="connsiteX11" fmla="*/ 6721 w 94879"/>
                <a:gd name="connsiteY11" fmla="*/ 125923 h 215560"/>
                <a:gd name="connsiteX12" fmla="*/ 5065 w 94879"/>
                <a:gd name="connsiteY12" fmla="*/ 138801 h 215560"/>
                <a:gd name="connsiteX13" fmla="*/ 5934 w 94879"/>
                <a:gd name="connsiteY13" fmla="*/ 151720 h 215560"/>
                <a:gd name="connsiteX14" fmla="*/ 5769 w 94879"/>
                <a:gd name="connsiteY14" fmla="*/ 164639 h 215560"/>
                <a:gd name="connsiteX15" fmla="*/ 5065 w 94879"/>
                <a:gd name="connsiteY15" fmla="*/ 177558 h 215560"/>
                <a:gd name="connsiteX16" fmla="*/ 5231 w 94879"/>
                <a:gd name="connsiteY16" fmla="*/ 190519 h 215560"/>
                <a:gd name="connsiteX17" fmla="*/ 4402 w 94879"/>
                <a:gd name="connsiteY17" fmla="*/ 203646 h 215560"/>
                <a:gd name="connsiteX18" fmla="*/ 17322 w 94879"/>
                <a:gd name="connsiteY18" fmla="*/ 204267 h 215560"/>
                <a:gd name="connsiteX19" fmla="*/ 29869 w 94879"/>
                <a:gd name="connsiteY19" fmla="*/ 206213 h 215560"/>
                <a:gd name="connsiteX20" fmla="*/ 42291 w 94879"/>
                <a:gd name="connsiteY20" fmla="*/ 209112 h 215560"/>
                <a:gd name="connsiteX21" fmla="*/ 54755 w 94879"/>
                <a:gd name="connsiteY21" fmla="*/ 211513 h 215560"/>
                <a:gd name="connsiteX22" fmla="*/ 67467 w 94879"/>
                <a:gd name="connsiteY22" fmla="*/ 212383 h 215560"/>
                <a:gd name="connsiteX23" fmla="*/ 79973 w 94879"/>
                <a:gd name="connsiteY23" fmla="*/ 213874 h 215560"/>
                <a:gd name="connsiteX24" fmla="*/ 81215 w 94879"/>
                <a:gd name="connsiteY24" fmla="*/ 200002 h 215560"/>
                <a:gd name="connsiteX25" fmla="*/ 83906 w 94879"/>
                <a:gd name="connsiteY25" fmla="*/ 186171 h 215560"/>
                <a:gd name="connsiteX26" fmla="*/ 84900 w 94879"/>
                <a:gd name="connsiteY26" fmla="*/ 172134 h 215560"/>
                <a:gd name="connsiteX27" fmla="*/ 85770 w 94879"/>
                <a:gd name="connsiteY27" fmla="*/ 158097 h 215560"/>
                <a:gd name="connsiteX28" fmla="*/ 87426 w 94879"/>
                <a:gd name="connsiteY28" fmla="*/ 144143 h 215560"/>
                <a:gd name="connsiteX29" fmla="*/ 88586 w 94879"/>
                <a:gd name="connsiteY29" fmla="*/ 130147 h 215560"/>
                <a:gd name="connsiteX30" fmla="*/ 90904 w 94879"/>
                <a:gd name="connsiteY30" fmla="*/ 116275 h 215560"/>
                <a:gd name="connsiteX31" fmla="*/ 92768 w 94879"/>
                <a:gd name="connsiteY31" fmla="*/ 102320 h 215560"/>
                <a:gd name="connsiteX32" fmla="*/ 93762 w 94879"/>
                <a:gd name="connsiteY32" fmla="*/ 88241 h 215560"/>
                <a:gd name="connsiteX33" fmla="*/ 94880 w 94879"/>
                <a:gd name="connsiteY33" fmla="*/ 74204 h 21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4879" h="215560">
                  <a:moveTo>
                    <a:pt x="7591" y="0"/>
                  </a:moveTo>
                  <a:cubicBezTo>
                    <a:pt x="7508" y="5714"/>
                    <a:pt x="7259" y="5673"/>
                    <a:pt x="7177" y="11387"/>
                  </a:cubicBezTo>
                  <a:cubicBezTo>
                    <a:pt x="7094" y="17102"/>
                    <a:pt x="7425" y="17019"/>
                    <a:pt x="6307" y="22609"/>
                  </a:cubicBezTo>
                  <a:cubicBezTo>
                    <a:pt x="5479" y="26791"/>
                    <a:pt x="5313" y="26626"/>
                    <a:pt x="3491" y="30518"/>
                  </a:cubicBezTo>
                  <a:cubicBezTo>
                    <a:pt x="1297" y="35197"/>
                    <a:pt x="676" y="40249"/>
                    <a:pt x="179" y="45259"/>
                  </a:cubicBezTo>
                  <a:cubicBezTo>
                    <a:pt x="-318" y="50270"/>
                    <a:pt x="261" y="55156"/>
                    <a:pt x="1421" y="60125"/>
                  </a:cubicBezTo>
                  <a:cubicBezTo>
                    <a:pt x="2580" y="65094"/>
                    <a:pt x="2953" y="70394"/>
                    <a:pt x="5769" y="74742"/>
                  </a:cubicBezTo>
                  <a:lnTo>
                    <a:pt x="6431" y="74287"/>
                  </a:lnTo>
                  <a:cubicBezTo>
                    <a:pt x="6348" y="80746"/>
                    <a:pt x="5562" y="80746"/>
                    <a:pt x="5479" y="87165"/>
                  </a:cubicBezTo>
                  <a:cubicBezTo>
                    <a:pt x="5396" y="93583"/>
                    <a:pt x="6431" y="93624"/>
                    <a:pt x="6348" y="100084"/>
                  </a:cubicBezTo>
                  <a:cubicBezTo>
                    <a:pt x="6266" y="106544"/>
                    <a:pt x="6928" y="106544"/>
                    <a:pt x="6845" y="113004"/>
                  </a:cubicBezTo>
                  <a:cubicBezTo>
                    <a:pt x="6763" y="119463"/>
                    <a:pt x="6845" y="119463"/>
                    <a:pt x="6721" y="125923"/>
                  </a:cubicBezTo>
                  <a:cubicBezTo>
                    <a:pt x="6597" y="132383"/>
                    <a:pt x="5148" y="132341"/>
                    <a:pt x="5065" y="138801"/>
                  </a:cubicBezTo>
                  <a:cubicBezTo>
                    <a:pt x="4982" y="145261"/>
                    <a:pt x="6017" y="145261"/>
                    <a:pt x="5934" y="151720"/>
                  </a:cubicBezTo>
                  <a:cubicBezTo>
                    <a:pt x="5852" y="158179"/>
                    <a:pt x="5852" y="158179"/>
                    <a:pt x="5769" y="164639"/>
                  </a:cubicBezTo>
                  <a:cubicBezTo>
                    <a:pt x="5686" y="171099"/>
                    <a:pt x="5148" y="171099"/>
                    <a:pt x="5065" y="177558"/>
                  </a:cubicBezTo>
                  <a:cubicBezTo>
                    <a:pt x="4982" y="184018"/>
                    <a:pt x="5313" y="184018"/>
                    <a:pt x="5231" y="190519"/>
                  </a:cubicBezTo>
                  <a:cubicBezTo>
                    <a:pt x="5148" y="197020"/>
                    <a:pt x="261" y="198718"/>
                    <a:pt x="4402" y="203646"/>
                  </a:cubicBezTo>
                  <a:cubicBezTo>
                    <a:pt x="8543" y="208573"/>
                    <a:pt x="11028" y="203397"/>
                    <a:pt x="17322" y="204267"/>
                  </a:cubicBezTo>
                  <a:cubicBezTo>
                    <a:pt x="23616" y="205136"/>
                    <a:pt x="23574" y="205302"/>
                    <a:pt x="29869" y="206213"/>
                  </a:cubicBezTo>
                  <a:cubicBezTo>
                    <a:pt x="36163" y="207124"/>
                    <a:pt x="35997" y="208201"/>
                    <a:pt x="42291" y="209112"/>
                  </a:cubicBezTo>
                  <a:cubicBezTo>
                    <a:pt x="48585" y="210023"/>
                    <a:pt x="48502" y="210602"/>
                    <a:pt x="54755" y="211513"/>
                  </a:cubicBezTo>
                  <a:cubicBezTo>
                    <a:pt x="61008" y="212424"/>
                    <a:pt x="61173" y="211513"/>
                    <a:pt x="67467" y="212383"/>
                  </a:cubicBezTo>
                  <a:cubicBezTo>
                    <a:pt x="73761" y="213253"/>
                    <a:pt x="75128" y="218056"/>
                    <a:pt x="79973" y="213874"/>
                  </a:cubicBezTo>
                  <a:cubicBezTo>
                    <a:pt x="85273" y="209277"/>
                    <a:pt x="80387" y="206958"/>
                    <a:pt x="81215" y="200002"/>
                  </a:cubicBezTo>
                  <a:cubicBezTo>
                    <a:pt x="82043" y="193045"/>
                    <a:pt x="83120" y="193128"/>
                    <a:pt x="83906" y="186171"/>
                  </a:cubicBezTo>
                  <a:cubicBezTo>
                    <a:pt x="84693" y="179215"/>
                    <a:pt x="84113" y="179132"/>
                    <a:pt x="84900" y="172134"/>
                  </a:cubicBezTo>
                  <a:cubicBezTo>
                    <a:pt x="85687" y="165136"/>
                    <a:pt x="84983" y="165053"/>
                    <a:pt x="85770" y="158097"/>
                  </a:cubicBezTo>
                  <a:cubicBezTo>
                    <a:pt x="86557" y="151141"/>
                    <a:pt x="86639" y="151141"/>
                    <a:pt x="87426" y="144143"/>
                  </a:cubicBezTo>
                  <a:cubicBezTo>
                    <a:pt x="88213" y="137145"/>
                    <a:pt x="87799" y="137103"/>
                    <a:pt x="88586" y="130147"/>
                  </a:cubicBezTo>
                  <a:cubicBezTo>
                    <a:pt x="89372" y="123190"/>
                    <a:pt x="90118" y="123231"/>
                    <a:pt x="90904" y="116275"/>
                  </a:cubicBezTo>
                  <a:cubicBezTo>
                    <a:pt x="91691" y="109318"/>
                    <a:pt x="91981" y="109318"/>
                    <a:pt x="92768" y="102320"/>
                  </a:cubicBezTo>
                  <a:cubicBezTo>
                    <a:pt x="93555" y="95322"/>
                    <a:pt x="92975" y="95239"/>
                    <a:pt x="93762" y="88241"/>
                  </a:cubicBezTo>
                  <a:cubicBezTo>
                    <a:pt x="94548" y="81243"/>
                    <a:pt x="94093" y="81202"/>
                    <a:pt x="94880" y="7420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0166813-9593-7B84-3749-643685728751}"/>
                </a:ext>
              </a:extLst>
            </p:cNvPr>
            <p:cNvSpPr/>
            <p:nvPr/>
          </p:nvSpPr>
          <p:spPr>
            <a:xfrm>
              <a:off x="8182600" y="3358621"/>
              <a:ext cx="116741" cy="263971"/>
            </a:xfrm>
            <a:custGeom>
              <a:avLst/>
              <a:gdLst>
                <a:gd name="connsiteX0" fmla="*/ 2845 w 116741"/>
                <a:gd name="connsiteY0" fmla="*/ 0 h 263971"/>
                <a:gd name="connsiteX1" fmla="*/ 5744 w 116741"/>
                <a:gd name="connsiteY1" fmla="*/ 13085 h 263971"/>
                <a:gd name="connsiteX2" fmla="*/ 8808 w 116741"/>
                <a:gd name="connsiteY2" fmla="*/ 26129 h 263971"/>
                <a:gd name="connsiteX3" fmla="*/ 11375 w 116741"/>
                <a:gd name="connsiteY3" fmla="*/ 39297 h 263971"/>
                <a:gd name="connsiteX4" fmla="*/ 15309 w 116741"/>
                <a:gd name="connsiteY4" fmla="*/ 52175 h 263971"/>
                <a:gd name="connsiteX5" fmla="*/ 17256 w 116741"/>
                <a:gd name="connsiteY5" fmla="*/ 65508 h 263971"/>
                <a:gd name="connsiteX6" fmla="*/ 21189 w 116741"/>
                <a:gd name="connsiteY6" fmla="*/ 78386 h 263971"/>
                <a:gd name="connsiteX7" fmla="*/ 23674 w 116741"/>
                <a:gd name="connsiteY7" fmla="*/ 91595 h 263971"/>
                <a:gd name="connsiteX8" fmla="*/ 26821 w 116741"/>
                <a:gd name="connsiteY8" fmla="*/ 104639 h 263971"/>
                <a:gd name="connsiteX9" fmla="*/ 28519 w 116741"/>
                <a:gd name="connsiteY9" fmla="*/ 118014 h 263971"/>
                <a:gd name="connsiteX10" fmla="*/ 32825 w 116741"/>
                <a:gd name="connsiteY10" fmla="*/ 130768 h 263971"/>
                <a:gd name="connsiteX11" fmla="*/ 36055 w 116741"/>
                <a:gd name="connsiteY11" fmla="*/ 143811 h 263971"/>
                <a:gd name="connsiteX12" fmla="*/ 38664 w 116741"/>
                <a:gd name="connsiteY12" fmla="*/ 156979 h 263971"/>
                <a:gd name="connsiteX13" fmla="*/ 40154 w 116741"/>
                <a:gd name="connsiteY13" fmla="*/ 170396 h 263971"/>
                <a:gd name="connsiteX14" fmla="*/ 43301 w 116741"/>
                <a:gd name="connsiteY14" fmla="*/ 183481 h 263971"/>
                <a:gd name="connsiteX15" fmla="*/ 46987 w 116741"/>
                <a:gd name="connsiteY15" fmla="*/ 196442 h 263971"/>
                <a:gd name="connsiteX16" fmla="*/ 39202 w 116741"/>
                <a:gd name="connsiteY16" fmla="*/ 207249 h 263971"/>
                <a:gd name="connsiteX17" fmla="*/ 32287 w 116741"/>
                <a:gd name="connsiteY17" fmla="*/ 218678 h 263971"/>
                <a:gd name="connsiteX18" fmla="*/ 23674 w 116741"/>
                <a:gd name="connsiteY18" fmla="*/ 228947 h 263971"/>
                <a:gd name="connsiteX19" fmla="*/ 15930 w 116741"/>
                <a:gd name="connsiteY19" fmla="*/ 239838 h 263971"/>
                <a:gd name="connsiteX20" fmla="*/ 9264 w 116741"/>
                <a:gd name="connsiteY20" fmla="*/ 251515 h 263971"/>
                <a:gd name="connsiteX21" fmla="*/ 526 w 116741"/>
                <a:gd name="connsiteY21" fmla="*/ 262032 h 263971"/>
                <a:gd name="connsiteX22" fmla="*/ 11955 w 116741"/>
                <a:gd name="connsiteY22" fmla="*/ 259051 h 263971"/>
                <a:gd name="connsiteX23" fmla="*/ 23260 w 116741"/>
                <a:gd name="connsiteY23" fmla="*/ 256608 h 263971"/>
                <a:gd name="connsiteX24" fmla="*/ 34771 w 116741"/>
                <a:gd name="connsiteY24" fmla="*/ 255034 h 263971"/>
                <a:gd name="connsiteX25" fmla="*/ 41190 w 116741"/>
                <a:gd name="connsiteY25" fmla="*/ 245800 h 263971"/>
                <a:gd name="connsiteX26" fmla="*/ 46945 w 116741"/>
                <a:gd name="connsiteY26" fmla="*/ 236152 h 263971"/>
                <a:gd name="connsiteX27" fmla="*/ 49803 w 116741"/>
                <a:gd name="connsiteY27" fmla="*/ 250107 h 263971"/>
                <a:gd name="connsiteX28" fmla="*/ 50962 w 116741"/>
                <a:gd name="connsiteY28" fmla="*/ 236649 h 263971"/>
                <a:gd name="connsiteX29" fmla="*/ 52204 w 116741"/>
                <a:gd name="connsiteY29" fmla="*/ 223688 h 263971"/>
                <a:gd name="connsiteX30" fmla="*/ 52163 w 116741"/>
                <a:gd name="connsiteY30" fmla="*/ 210645 h 263971"/>
                <a:gd name="connsiteX31" fmla="*/ 52743 w 116741"/>
                <a:gd name="connsiteY31" fmla="*/ 198056 h 263971"/>
                <a:gd name="connsiteX32" fmla="*/ 53985 w 116741"/>
                <a:gd name="connsiteY32" fmla="*/ 211224 h 263971"/>
                <a:gd name="connsiteX33" fmla="*/ 57422 w 116741"/>
                <a:gd name="connsiteY33" fmla="*/ 224475 h 263971"/>
                <a:gd name="connsiteX34" fmla="*/ 58954 w 116741"/>
                <a:gd name="connsiteY34" fmla="*/ 238057 h 263971"/>
                <a:gd name="connsiteX35" fmla="*/ 62101 w 116741"/>
                <a:gd name="connsiteY35" fmla="*/ 252343 h 263971"/>
                <a:gd name="connsiteX36" fmla="*/ 67443 w 116741"/>
                <a:gd name="connsiteY36" fmla="*/ 233502 h 263971"/>
                <a:gd name="connsiteX37" fmla="*/ 75476 w 116741"/>
                <a:gd name="connsiteY37" fmla="*/ 248575 h 263971"/>
                <a:gd name="connsiteX38" fmla="*/ 88851 w 116741"/>
                <a:gd name="connsiteY38" fmla="*/ 251308 h 263971"/>
                <a:gd name="connsiteX39" fmla="*/ 102143 w 116741"/>
                <a:gd name="connsiteY39" fmla="*/ 255945 h 263971"/>
                <a:gd name="connsiteX40" fmla="*/ 115890 w 116741"/>
                <a:gd name="connsiteY40" fmla="*/ 258471 h 263971"/>
                <a:gd name="connsiteX41" fmla="*/ 106946 w 116741"/>
                <a:gd name="connsiteY41" fmla="*/ 247374 h 263971"/>
                <a:gd name="connsiteX42" fmla="*/ 97339 w 116741"/>
                <a:gd name="connsiteY42" fmla="*/ 236773 h 263971"/>
                <a:gd name="connsiteX43" fmla="*/ 87981 w 116741"/>
                <a:gd name="connsiteY43" fmla="*/ 225966 h 263971"/>
                <a:gd name="connsiteX44" fmla="*/ 78499 w 116741"/>
                <a:gd name="connsiteY44" fmla="*/ 215241 h 263971"/>
                <a:gd name="connsiteX45" fmla="*/ 70217 w 116741"/>
                <a:gd name="connsiteY45" fmla="*/ 203481 h 263971"/>
                <a:gd name="connsiteX46" fmla="*/ 59865 w 116741"/>
                <a:gd name="connsiteY46" fmla="*/ 193212 h 263971"/>
                <a:gd name="connsiteX47" fmla="*/ 60859 w 116741"/>
                <a:gd name="connsiteY47" fmla="*/ 179961 h 263971"/>
                <a:gd name="connsiteX48" fmla="*/ 63177 w 116741"/>
                <a:gd name="connsiteY48" fmla="*/ 167042 h 263971"/>
                <a:gd name="connsiteX49" fmla="*/ 64502 w 116741"/>
                <a:gd name="connsiteY49" fmla="*/ 154039 h 263971"/>
                <a:gd name="connsiteX50" fmla="*/ 66159 w 116741"/>
                <a:gd name="connsiteY50" fmla="*/ 141037 h 263971"/>
                <a:gd name="connsiteX51" fmla="*/ 66200 w 116741"/>
                <a:gd name="connsiteY51" fmla="*/ 127911 h 263971"/>
                <a:gd name="connsiteX52" fmla="*/ 67111 w 116741"/>
                <a:gd name="connsiteY52" fmla="*/ 114867 h 263971"/>
                <a:gd name="connsiteX53" fmla="*/ 69968 w 116741"/>
                <a:gd name="connsiteY53" fmla="*/ 101989 h 263971"/>
                <a:gd name="connsiteX54" fmla="*/ 70962 w 116741"/>
                <a:gd name="connsiteY54" fmla="*/ 88945 h 263971"/>
                <a:gd name="connsiteX55" fmla="*/ 72412 w 116741"/>
                <a:gd name="connsiteY55" fmla="*/ 75943 h 263971"/>
                <a:gd name="connsiteX56" fmla="*/ 72163 w 116741"/>
                <a:gd name="connsiteY56" fmla="*/ 62775 h 263971"/>
                <a:gd name="connsiteX57" fmla="*/ 74399 w 116741"/>
                <a:gd name="connsiteY57" fmla="*/ 49856 h 263971"/>
                <a:gd name="connsiteX58" fmla="*/ 76345 w 116741"/>
                <a:gd name="connsiteY58" fmla="*/ 36895 h 263971"/>
                <a:gd name="connsiteX59" fmla="*/ 76180 w 116741"/>
                <a:gd name="connsiteY59" fmla="*/ 23686 h 263971"/>
                <a:gd name="connsiteX60" fmla="*/ 77753 w 116741"/>
                <a:gd name="connsiteY60" fmla="*/ 10642 h 26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6741" h="263971">
                  <a:moveTo>
                    <a:pt x="2845" y="0"/>
                  </a:moveTo>
                  <a:cubicBezTo>
                    <a:pt x="4336" y="6543"/>
                    <a:pt x="4253" y="6543"/>
                    <a:pt x="5744" y="13085"/>
                  </a:cubicBezTo>
                  <a:cubicBezTo>
                    <a:pt x="7235" y="19628"/>
                    <a:pt x="7317" y="19586"/>
                    <a:pt x="8808" y="26129"/>
                  </a:cubicBezTo>
                  <a:cubicBezTo>
                    <a:pt x="10299" y="32671"/>
                    <a:pt x="9885" y="32754"/>
                    <a:pt x="11375" y="39297"/>
                  </a:cubicBezTo>
                  <a:cubicBezTo>
                    <a:pt x="12866" y="45839"/>
                    <a:pt x="13819" y="45632"/>
                    <a:pt x="15309" y="52175"/>
                  </a:cubicBezTo>
                  <a:cubicBezTo>
                    <a:pt x="16800" y="58717"/>
                    <a:pt x="15765" y="58966"/>
                    <a:pt x="17256" y="65508"/>
                  </a:cubicBezTo>
                  <a:cubicBezTo>
                    <a:pt x="18746" y="72051"/>
                    <a:pt x="19699" y="71844"/>
                    <a:pt x="21189" y="78386"/>
                  </a:cubicBezTo>
                  <a:cubicBezTo>
                    <a:pt x="22680" y="84929"/>
                    <a:pt x="22183" y="85053"/>
                    <a:pt x="23674" y="91595"/>
                  </a:cubicBezTo>
                  <a:cubicBezTo>
                    <a:pt x="25164" y="98138"/>
                    <a:pt x="25330" y="98097"/>
                    <a:pt x="26821" y="104639"/>
                  </a:cubicBezTo>
                  <a:cubicBezTo>
                    <a:pt x="28312" y="111182"/>
                    <a:pt x="27069" y="111471"/>
                    <a:pt x="28519" y="118014"/>
                  </a:cubicBezTo>
                  <a:cubicBezTo>
                    <a:pt x="29968" y="124557"/>
                    <a:pt x="31376" y="124267"/>
                    <a:pt x="32825" y="130768"/>
                  </a:cubicBezTo>
                  <a:cubicBezTo>
                    <a:pt x="34274" y="137269"/>
                    <a:pt x="34564" y="137269"/>
                    <a:pt x="36055" y="143811"/>
                  </a:cubicBezTo>
                  <a:cubicBezTo>
                    <a:pt x="37546" y="150354"/>
                    <a:pt x="37173" y="150437"/>
                    <a:pt x="38664" y="156979"/>
                  </a:cubicBezTo>
                  <a:cubicBezTo>
                    <a:pt x="40154" y="163522"/>
                    <a:pt x="38664" y="163853"/>
                    <a:pt x="40154" y="170396"/>
                  </a:cubicBezTo>
                  <a:cubicBezTo>
                    <a:pt x="41645" y="176938"/>
                    <a:pt x="41811" y="176897"/>
                    <a:pt x="43301" y="183481"/>
                  </a:cubicBezTo>
                  <a:cubicBezTo>
                    <a:pt x="44792" y="190065"/>
                    <a:pt x="48312" y="189858"/>
                    <a:pt x="46987" y="196442"/>
                  </a:cubicBezTo>
                  <a:cubicBezTo>
                    <a:pt x="45662" y="203025"/>
                    <a:pt x="43053" y="201825"/>
                    <a:pt x="39202" y="207249"/>
                  </a:cubicBezTo>
                  <a:cubicBezTo>
                    <a:pt x="35351" y="212674"/>
                    <a:pt x="36138" y="213253"/>
                    <a:pt x="32287" y="218678"/>
                  </a:cubicBezTo>
                  <a:cubicBezTo>
                    <a:pt x="28436" y="224102"/>
                    <a:pt x="27525" y="223481"/>
                    <a:pt x="23674" y="228947"/>
                  </a:cubicBezTo>
                  <a:cubicBezTo>
                    <a:pt x="19823" y="234413"/>
                    <a:pt x="19781" y="234372"/>
                    <a:pt x="15930" y="239838"/>
                  </a:cubicBezTo>
                  <a:cubicBezTo>
                    <a:pt x="12079" y="245303"/>
                    <a:pt x="13115" y="246049"/>
                    <a:pt x="9264" y="251515"/>
                  </a:cubicBezTo>
                  <a:cubicBezTo>
                    <a:pt x="5413" y="256981"/>
                    <a:pt x="-2041" y="255863"/>
                    <a:pt x="526" y="262032"/>
                  </a:cubicBezTo>
                  <a:cubicBezTo>
                    <a:pt x="2763" y="267333"/>
                    <a:pt x="6324" y="260210"/>
                    <a:pt x="11955" y="259051"/>
                  </a:cubicBezTo>
                  <a:cubicBezTo>
                    <a:pt x="17587" y="257892"/>
                    <a:pt x="17587" y="257809"/>
                    <a:pt x="23260" y="256608"/>
                  </a:cubicBezTo>
                  <a:cubicBezTo>
                    <a:pt x="28933" y="255407"/>
                    <a:pt x="30009" y="258264"/>
                    <a:pt x="34771" y="255034"/>
                  </a:cubicBezTo>
                  <a:cubicBezTo>
                    <a:pt x="39533" y="251805"/>
                    <a:pt x="38125" y="250480"/>
                    <a:pt x="41190" y="245800"/>
                  </a:cubicBezTo>
                  <a:cubicBezTo>
                    <a:pt x="44254" y="241121"/>
                    <a:pt x="41852" y="233875"/>
                    <a:pt x="46945" y="236152"/>
                  </a:cubicBezTo>
                  <a:cubicBezTo>
                    <a:pt x="53198" y="238968"/>
                    <a:pt x="42970" y="249237"/>
                    <a:pt x="49803" y="250107"/>
                  </a:cubicBezTo>
                  <a:cubicBezTo>
                    <a:pt x="56262" y="250894"/>
                    <a:pt x="50631" y="243150"/>
                    <a:pt x="50962" y="236649"/>
                  </a:cubicBezTo>
                  <a:cubicBezTo>
                    <a:pt x="51293" y="230148"/>
                    <a:pt x="51832" y="230189"/>
                    <a:pt x="52204" y="223688"/>
                  </a:cubicBezTo>
                  <a:cubicBezTo>
                    <a:pt x="52577" y="217187"/>
                    <a:pt x="51790" y="217146"/>
                    <a:pt x="52163" y="210645"/>
                  </a:cubicBezTo>
                  <a:cubicBezTo>
                    <a:pt x="52535" y="204144"/>
                    <a:pt x="46283" y="197145"/>
                    <a:pt x="52743" y="198056"/>
                  </a:cubicBezTo>
                  <a:cubicBezTo>
                    <a:pt x="59202" y="198967"/>
                    <a:pt x="52908" y="204516"/>
                    <a:pt x="53985" y="211224"/>
                  </a:cubicBezTo>
                  <a:cubicBezTo>
                    <a:pt x="55061" y="217933"/>
                    <a:pt x="56304" y="217725"/>
                    <a:pt x="57422" y="224475"/>
                  </a:cubicBezTo>
                  <a:cubicBezTo>
                    <a:pt x="58540" y="231225"/>
                    <a:pt x="57836" y="231307"/>
                    <a:pt x="58954" y="238057"/>
                  </a:cubicBezTo>
                  <a:cubicBezTo>
                    <a:pt x="60072" y="244807"/>
                    <a:pt x="56221" y="255738"/>
                    <a:pt x="62101" y="252343"/>
                  </a:cubicBezTo>
                  <a:cubicBezTo>
                    <a:pt x="70341" y="247581"/>
                    <a:pt x="58084" y="235158"/>
                    <a:pt x="67443" y="233502"/>
                  </a:cubicBezTo>
                  <a:cubicBezTo>
                    <a:pt x="76055" y="232011"/>
                    <a:pt x="68933" y="242736"/>
                    <a:pt x="75476" y="248575"/>
                  </a:cubicBezTo>
                  <a:cubicBezTo>
                    <a:pt x="80693" y="253213"/>
                    <a:pt x="82018" y="249734"/>
                    <a:pt x="88851" y="251308"/>
                  </a:cubicBezTo>
                  <a:cubicBezTo>
                    <a:pt x="95683" y="252881"/>
                    <a:pt x="95310" y="254372"/>
                    <a:pt x="102143" y="255945"/>
                  </a:cubicBezTo>
                  <a:cubicBezTo>
                    <a:pt x="108975" y="257519"/>
                    <a:pt x="112453" y="264558"/>
                    <a:pt x="115890" y="258471"/>
                  </a:cubicBezTo>
                  <a:cubicBezTo>
                    <a:pt x="119327" y="252384"/>
                    <a:pt x="111542" y="252798"/>
                    <a:pt x="106946" y="247374"/>
                  </a:cubicBezTo>
                  <a:cubicBezTo>
                    <a:pt x="102350" y="241949"/>
                    <a:pt x="101936" y="242239"/>
                    <a:pt x="97339" y="236773"/>
                  </a:cubicBezTo>
                  <a:cubicBezTo>
                    <a:pt x="92743" y="231307"/>
                    <a:pt x="92619" y="231390"/>
                    <a:pt x="87981" y="225966"/>
                  </a:cubicBezTo>
                  <a:cubicBezTo>
                    <a:pt x="83343" y="220541"/>
                    <a:pt x="83136" y="220707"/>
                    <a:pt x="78499" y="215241"/>
                  </a:cubicBezTo>
                  <a:cubicBezTo>
                    <a:pt x="73861" y="209775"/>
                    <a:pt x="74855" y="208947"/>
                    <a:pt x="70217" y="203481"/>
                  </a:cubicBezTo>
                  <a:cubicBezTo>
                    <a:pt x="65579" y="198015"/>
                    <a:pt x="62142" y="200003"/>
                    <a:pt x="59865" y="193212"/>
                  </a:cubicBezTo>
                  <a:cubicBezTo>
                    <a:pt x="57794" y="187000"/>
                    <a:pt x="60237" y="186462"/>
                    <a:pt x="60859" y="179961"/>
                  </a:cubicBezTo>
                  <a:cubicBezTo>
                    <a:pt x="61480" y="173460"/>
                    <a:pt x="62556" y="173543"/>
                    <a:pt x="63177" y="167042"/>
                  </a:cubicBezTo>
                  <a:cubicBezTo>
                    <a:pt x="63799" y="160540"/>
                    <a:pt x="63881" y="160540"/>
                    <a:pt x="64502" y="154039"/>
                  </a:cubicBezTo>
                  <a:cubicBezTo>
                    <a:pt x="65124" y="147538"/>
                    <a:pt x="65538" y="147580"/>
                    <a:pt x="66159" y="141037"/>
                  </a:cubicBezTo>
                  <a:cubicBezTo>
                    <a:pt x="66780" y="134495"/>
                    <a:pt x="65579" y="134412"/>
                    <a:pt x="66200" y="127911"/>
                  </a:cubicBezTo>
                  <a:cubicBezTo>
                    <a:pt x="66821" y="121410"/>
                    <a:pt x="66490" y="121368"/>
                    <a:pt x="67111" y="114867"/>
                  </a:cubicBezTo>
                  <a:cubicBezTo>
                    <a:pt x="67732" y="108366"/>
                    <a:pt x="69306" y="108490"/>
                    <a:pt x="69968" y="101989"/>
                  </a:cubicBezTo>
                  <a:cubicBezTo>
                    <a:pt x="70631" y="95488"/>
                    <a:pt x="70341" y="95446"/>
                    <a:pt x="70962" y="88945"/>
                  </a:cubicBezTo>
                  <a:cubicBezTo>
                    <a:pt x="71583" y="82444"/>
                    <a:pt x="71790" y="82444"/>
                    <a:pt x="72412" y="75943"/>
                  </a:cubicBezTo>
                  <a:cubicBezTo>
                    <a:pt x="73033" y="69442"/>
                    <a:pt x="71542" y="69276"/>
                    <a:pt x="72163" y="62775"/>
                  </a:cubicBezTo>
                  <a:cubicBezTo>
                    <a:pt x="72784" y="56274"/>
                    <a:pt x="73778" y="56357"/>
                    <a:pt x="74399" y="49856"/>
                  </a:cubicBezTo>
                  <a:cubicBezTo>
                    <a:pt x="75020" y="43355"/>
                    <a:pt x="75724" y="43396"/>
                    <a:pt x="76345" y="36895"/>
                  </a:cubicBezTo>
                  <a:cubicBezTo>
                    <a:pt x="76966" y="30394"/>
                    <a:pt x="75559" y="30228"/>
                    <a:pt x="76180" y="23686"/>
                  </a:cubicBezTo>
                  <a:cubicBezTo>
                    <a:pt x="76801" y="17143"/>
                    <a:pt x="77132" y="17185"/>
                    <a:pt x="77753" y="1064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7E985E-0E64-4386-C13D-0BD1EE0201B9}"/>
                </a:ext>
              </a:extLst>
            </p:cNvPr>
            <p:cNvSpPr/>
            <p:nvPr/>
          </p:nvSpPr>
          <p:spPr>
            <a:xfrm>
              <a:off x="8223099" y="3380858"/>
              <a:ext cx="2595" cy="98013"/>
            </a:xfrm>
            <a:custGeom>
              <a:avLst/>
              <a:gdLst>
                <a:gd name="connsiteX0" fmla="*/ 318 w 2595"/>
                <a:gd name="connsiteY0" fmla="*/ 0 h 98013"/>
                <a:gd name="connsiteX1" fmla="*/ 28 w 2595"/>
                <a:gd name="connsiteY1" fmla="*/ 13996 h 98013"/>
                <a:gd name="connsiteX2" fmla="*/ 318 w 2595"/>
                <a:gd name="connsiteY2" fmla="*/ 27992 h 98013"/>
                <a:gd name="connsiteX3" fmla="*/ 235 w 2595"/>
                <a:gd name="connsiteY3" fmla="*/ 41988 h 98013"/>
                <a:gd name="connsiteX4" fmla="*/ 939 w 2595"/>
                <a:gd name="connsiteY4" fmla="*/ 55984 h 98013"/>
                <a:gd name="connsiteX5" fmla="*/ 318 w 2595"/>
                <a:gd name="connsiteY5" fmla="*/ 70022 h 98013"/>
                <a:gd name="connsiteX6" fmla="*/ 1602 w 2595"/>
                <a:gd name="connsiteY6" fmla="*/ 84018 h 98013"/>
                <a:gd name="connsiteX7" fmla="*/ 2596 w 2595"/>
                <a:gd name="connsiteY7" fmla="*/ 98014 h 9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5" h="98013">
                  <a:moveTo>
                    <a:pt x="318" y="0"/>
                  </a:moveTo>
                  <a:cubicBezTo>
                    <a:pt x="484" y="6998"/>
                    <a:pt x="-137" y="6998"/>
                    <a:pt x="28" y="13996"/>
                  </a:cubicBezTo>
                  <a:cubicBezTo>
                    <a:pt x="194" y="20994"/>
                    <a:pt x="153" y="20994"/>
                    <a:pt x="318" y="27992"/>
                  </a:cubicBezTo>
                  <a:cubicBezTo>
                    <a:pt x="484" y="34990"/>
                    <a:pt x="70" y="34990"/>
                    <a:pt x="235" y="41988"/>
                  </a:cubicBezTo>
                  <a:cubicBezTo>
                    <a:pt x="401" y="48986"/>
                    <a:pt x="774" y="48986"/>
                    <a:pt x="939" y="55984"/>
                  </a:cubicBezTo>
                  <a:cubicBezTo>
                    <a:pt x="1105" y="62982"/>
                    <a:pt x="153" y="63024"/>
                    <a:pt x="318" y="70022"/>
                  </a:cubicBezTo>
                  <a:cubicBezTo>
                    <a:pt x="484" y="77020"/>
                    <a:pt x="1436" y="77020"/>
                    <a:pt x="1602" y="84018"/>
                  </a:cubicBezTo>
                  <a:cubicBezTo>
                    <a:pt x="1768" y="91016"/>
                    <a:pt x="2430" y="91016"/>
                    <a:pt x="2596" y="9801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F16E88A-C7BC-4200-E795-5B43F592DB87}"/>
                </a:ext>
              </a:extLst>
            </p:cNvPr>
            <p:cNvSpPr/>
            <p:nvPr/>
          </p:nvSpPr>
          <p:spPr>
            <a:xfrm>
              <a:off x="8195466" y="3023089"/>
              <a:ext cx="4058" cy="18302"/>
            </a:xfrm>
            <a:custGeom>
              <a:avLst/>
              <a:gdLst>
                <a:gd name="connsiteX0" fmla="*/ 4058 w 4058"/>
                <a:gd name="connsiteY0" fmla="*/ 0 h 18302"/>
                <a:gd name="connsiteX1" fmla="*/ 0 w 4058"/>
                <a:gd name="connsiteY1" fmla="*/ 18303 h 1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8" h="18302">
                  <a:moveTo>
                    <a:pt x="4058" y="0"/>
                  </a:moveTo>
                  <a:cubicBezTo>
                    <a:pt x="1739" y="9068"/>
                    <a:pt x="2360" y="9234"/>
                    <a:pt x="0" y="18303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22EB10-8E65-8207-5D99-48EEEFEE3CBA}"/>
                </a:ext>
              </a:extLst>
            </p:cNvPr>
            <p:cNvSpPr/>
            <p:nvPr/>
          </p:nvSpPr>
          <p:spPr>
            <a:xfrm>
              <a:off x="8220145" y="3029715"/>
              <a:ext cx="5838" cy="17971"/>
            </a:xfrm>
            <a:custGeom>
              <a:avLst/>
              <a:gdLst>
                <a:gd name="connsiteX0" fmla="*/ 5839 w 5838"/>
                <a:gd name="connsiteY0" fmla="*/ 0 h 17971"/>
                <a:gd name="connsiteX1" fmla="*/ 0 w 5838"/>
                <a:gd name="connsiteY1" fmla="*/ 17971 h 1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8" h="17971">
                  <a:moveTo>
                    <a:pt x="5839" y="0"/>
                  </a:moveTo>
                  <a:cubicBezTo>
                    <a:pt x="3188" y="9068"/>
                    <a:pt x="2609" y="8903"/>
                    <a:pt x="0" y="1797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B9AEE4D-0A27-0354-9768-BD19D939F07A}"/>
                </a:ext>
              </a:extLst>
            </p:cNvPr>
            <p:cNvSpPr/>
            <p:nvPr/>
          </p:nvSpPr>
          <p:spPr>
            <a:xfrm>
              <a:off x="8210497" y="2978575"/>
              <a:ext cx="104473" cy="93955"/>
            </a:xfrm>
            <a:custGeom>
              <a:avLst/>
              <a:gdLst>
                <a:gd name="connsiteX0" fmla="*/ 0 w 104473"/>
                <a:gd name="connsiteY0" fmla="*/ 0 h 93955"/>
                <a:gd name="connsiteX1" fmla="*/ 8406 w 104473"/>
                <a:gd name="connsiteY1" fmla="*/ 9855 h 93955"/>
                <a:gd name="connsiteX2" fmla="*/ 16066 w 104473"/>
                <a:gd name="connsiteY2" fmla="*/ 20332 h 93955"/>
                <a:gd name="connsiteX3" fmla="*/ 24762 w 104473"/>
                <a:gd name="connsiteY3" fmla="*/ 29938 h 93955"/>
                <a:gd name="connsiteX4" fmla="*/ 33003 w 104473"/>
                <a:gd name="connsiteY4" fmla="*/ 39959 h 93955"/>
                <a:gd name="connsiteX5" fmla="*/ 42071 w 104473"/>
                <a:gd name="connsiteY5" fmla="*/ 49276 h 93955"/>
                <a:gd name="connsiteX6" fmla="*/ 52009 w 104473"/>
                <a:gd name="connsiteY6" fmla="*/ 57682 h 93955"/>
                <a:gd name="connsiteX7" fmla="*/ 61326 w 104473"/>
                <a:gd name="connsiteY7" fmla="*/ 66668 h 93955"/>
                <a:gd name="connsiteX8" fmla="*/ 71140 w 104473"/>
                <a:gd name="connsiteY8" fmla="*/ 75073 h 93955"/>
                <a:gd name="connsiteX9" fmla="*/ 80746 w 104473"/>
                <a:gd name="connsiteY9" fmla="*/ 83852 h 93955"/>
                <a:gd name="connsiteX10" fmla="*/ 92009 w 104473"/>
                <a:gd name="connsiteY10" fmla="*/ 90395 h 93955"/>
                <a:gd name="connsiteX11" fmla="*/ 104473 w 104473"/>
                <a:gd name="connsiteY11" fmla="*/ 93956 h 9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73" h="93955">
                  <a:moveTo>
                    <a:pt x="0" y="0"/>
                  </a:moveTo>
                  <a:cubicBezTo>
                    <a:pt x="3975" y="5135"/>
                    <a:pt x="3313" y="3644"/>
                    <a:pt x="8406" y="9855"/>
                  </a:cubicBezTo>
                  <a:cubicBezTo>
                    <a:pt x="10766" y="12712"/>
                    <a:pt x="12919" y="16646"/>
                    <a:pt x="16066" y="20332"/>
                  </a:cubicBezTo>
                  <a:cubicBezTo>
                    <a:pt x="18675" y="23396"/>
                    <a:pt x="21739" y="26501"/>
                    <a:pt x="24762" y="29938"/>
                  </a:cubicBezTo>
                  <a:cubicBezTo>
                    <a:pt x="27495" y="33044"/>
                    <a:pt x="29980" y="36688"/>
                    <a:pt x="33003" y="39959"/>
                  </a:cubicBezTo>
                  <a:cubicBezTo>
                    <a:pt x="36025" y="43230"/>
                    <a:pt x="39007" y="46088"/>
                    <a:pt x="42071" y="49276"/>
                  </a:cubicBezTo>
                  <a:cubicBezTo>
                    <a:pt x="45135" y="52464"/>
                    <a:pt x="48903" y="54659"/>
                    <a:pt x="52009" y="57682"/>
                  </a:cubicBezTo>
                  <a:cubicBezTo>
                    <a:pt x="55115" y="60705"/>
                    <a:pt x="58179" y="63810"/>
                    <a:pt x="61326" y="66668"/>
                  </a:cubicBezTo>
                  <a:cubicBezTo>
                    <a:pt x="64473" y="69525"/>
                    <a:pt x="67910" y="72423"/>
                    <a:pt x="71140" y="75073"/>
                  </a:cubicBezTo>
                  <a:cubicBezTo>
                    <a:pt x="74659" y="77931"/>
                    <a:pt x="77392" y="81533"/>
                    <a:pt x="80746" y="83852"/>
                  </a:cubicBezTo>
                  <a:cubicBezTo>
                    <a:pt x="84597" y="86502"/>
                    <a:pt x="88448" y="88655"/>
                    <a:pt x="92009" y="90395"/>
                  </a:cubicBezTo>
                  <a:cubicBezTo>
                    <a:pt x="96482" y="92589"/>
                    <a:pt x="100788" y="93749"/>
                    <a:pt x="104473" y="93956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3DDB3DD-B645-1DAB-CD3D-1625C904D666}"/>
                </a:ext>
              </a:extLst>
            </p:cNvPr>
            <p:cNvSpPr/>
            <p:nvPr/>
          </p:nvSpPr>
          <p:spPr>
            <a:xfrm>
              <a:off x="8312942" y="3047355"/>
              <a:ext cx="97173" cy="185730"/>
            </a:xfrm>
            <a:custGeom>
              <a:avLst/>
              <a:gdLst>
                <a:gd name="connsiteX0" fmla="*/ 455 w 97173"/>
                <a:gd name="connsiteY0" fmla="*/ 0 h 185730"/>
                <a:gd name="connsiteX1" fmla="*/ 6667 w 97173"/>
                <a:gd name="connsiteY1" fmla="*/ 11222 h 185730"/>
                <a:gd name="connsiteX2" fmla="*/ 11594 w 97173"/>
                <a:gd name="connsiteY2" fmla="*/ 23064 h 185730"/>
                <a:gd name="connsiteX3" fmla="*/ 15280 w 97173"/>
                <a:gd name="connsiteY3" fmla="*/ 35363 h 185730"/>
                <a:gd name="connsiteX4" fmla="*/ 18717 w 97173"/>
                <a:gd name="connsiteY4" fmla="*/ 47744 h 185730"/>
                <a:gd name="connsiteX5" fmla="*/ 19959 w 97173"/>
                <a:gd name="connsiteY5" fmla="*/ 60539 h 185730"/>
                <a:gd name="connsiteX6" fmla="*/ 19876 w 97173"/>
                <a:gd name="connsiteY6" fmla="*/ 73417 h 185730"/>
                <a:gd name="connsiteX7" fmla="*/ 20042 w 97173"/>
                <a:gd name="connsiteY7" fmla="*/ 87041 h 185730"/>
                <a:gd name="connsiteX8" fmla="*/ 25756 w 97173"/>
                <a:gd name="connsiteY8" fmla="*/ 99463 h 185730"/>
                <a:gd name="connsiteX9" fmla="*/ 33913 w 97173"/>
                <a:gd name="connsiteY9" fmla="*/ 110312 h 185730"/>
                <a:gd name="connsiteX10" fmla="*/ 42609 w 97173"/>
                <a:gd name="connsiteY10" fmla="*/ 120540 h 185730"/>
                <a:gd name="connsiteX11" fmla="*/ 52423 w 97173"/>
                <a:gd name="connsiteY11" fmla="*/ 129815 h 185730"/>
                <a:gd name="connsiteX12" fmla="*/ 64473 w 97173"/>
                <a:gd name="connsiteY12" fmla="*/ 135820 h 185730"/>
                <a:gd name="connsiteX13" fmla="*/ 77599 w 97173"/>
                <a:gd name="connsiteY13" fmla="*/ 136979 h 185730"/>
                <a:gd name="connsiteX14" fmla="*/ 88697 w 97173"/>
                <a:gd name="connsiteY14" fmla="*/ 129650 h 185730"/>
                <a:gd name="connsiteX15" fmla="*/ 93542 w 97173"/>
                <a:gd name="connsiteY15" fmla="*/ 117020 h 185730"/>
                <a:gd name="connsiteX16" fmla="*/ 96399 w 97173"/>
                <a:gd name="connsiteY16" fmla="*/ 103935 h 185730"/>
                <a:gd name="connsiteX17" fmla="*/ 97144 w 97173"/>
                <a:gd name="connsiteY17" fmla="*/ 117269 h 185730"/>
                <a:gd name="connsiteX18" fmla="*/ 95861 w 97173"/>
                <a:gd name="connsiteY18" fmla="*/ 130726 h 185730"/>
                <a:gd name="connsiteX19" fmla="*/ 91720 w 97173"/>
                <a:gd name="connsiteY19" fmla="*/ 143604 h 185730"/>
                <a:gd name="connsiteX20" fmla="*/ 88614 w 97173"/>
                <a:gd name="connsiteY20" fmla="*/ 156731 h 185730"/>
                <a:gd name="connsiteX21" fmla="*/ 81243 w 97173"/>
                <a:gd name="connsiteY21" fmla="*/ 167953 h 185730"/>
                <a:gd name="connsiteX22" fmla="*/ 72796 w 97173"/>
                <a:gd name="connsiteY22" fmla="*/ 178222 h 185730"/>
                <a:gd name="connsiteX23" fmla="*/ 61036 w 97173"/>
                <a:gd name="connsiteY23" fmla="*/ 184889 h 185730"/>
                <a:gd name="connsiteX24" fmla="*/ 47495 w 97173"/>
                <a:gd name="connsiteY24" fmla="*/ 185344 h 185730"/>
                <a:gd name="connsiteX25" fmla="*/ 34659 w 97173"/>
                <a:gd name="connsiteY25" fmla="*/ 181410 h 185730"/>
                <a:gd name="connsiteX26" fmla="*/ 22319 w 97173"/>
                <a:gd name="connsiteY26" fmla="*/ 176069 h 185730"/>
                <a:gd name="connsiteX27" fmla="*/ 11139 w 97173"/>
                <a:gd name="connsiteY27" fmla="*/ 168574 h 185730"/>
                <a:gd name="connsiteX28" fmla="*/ 0 w 97173"/>
                <a:gd name="connsiteY28" fmla="*/ 160872 h 18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7173" h="185730">
                  <a:moveTo>
                    <a:pt x="455" y="0"/>
                  </a:moveTo>
                  <a:cubicBezTo>
                    <a:pt x="3810" y="5507"/>
                    <a:pt x="3354" y="4141"/>
                    <a:pt x="6667" y="11222"/>
                  </a:cubicBezTo>
                  <a:cubicBezTo>
                    <a:pt x="8240" y="14617"/>
                    <a:pt x="9897" y="18634"/>
                    <a:pt x="11594" y="23064"/>
                  </a:cubicBezTo>
                  <a:cubicBezTo>
                    <a:pt x="13044" y="26833"/>
                    <a:pt x="14037" y="31015"/>
                    <a:pt x="15280" y="35363"/>
                  </a:cubicBezTo>
                  <a:cubicBezTo>
                    <a:pt x="16398" y="39379"/>
                    <a:pt x="17971" y="43437"/>
                    <a:pt x="18717" y="47744"/>
                  </a:cubicBezTo>
                  <a:cubicBezTo>
                    <a:pt x="19462" y="52050"/>
                    <a:pt x="19793" y="56233"/>
                    <a:pt x="19959" y="60539"/>
                  </a:cubicBezTo>
                  <a:cubicBezTo>
                    <a:pt x="20124" y="64846"/>
                    <a:pt x="20456" y="69152"/>
                    <a:pt x="19876" y="73417"/>
                  </a:cubicBezTo>
                  <a:cubicBezTo>
                    <a:pt x="19296" y="77682"/>
                    <a:pt x="18717" y="82279"/>
                    <a:pt x="20042" y="87041"/>
                  </a:cubicBezTo>
                  <a:cubicBezTo>
                    <a:pt x="21201" y="91140"/>
                    <a:pt x="23520" y="95281"/>
                    <a:pt x="25756" y="99463"/>
                  </a:cubicBezTo>
                  <a:cubicBezTo>
                    <a:pt x="27826" y="103355"/>
                    <a:pt x="31181" y="106627"/>
                    <a:pt x="33913" y="110312"/>
                  </a:cubicBezTo>
                  <a:cubicBezTo>
                    <a:pt x="36646" y="113997"/>
                    <a:pt x="39462" y="117393"/>
                    <a:pt x="42609" y="120540"/>
                  </a:cubicBezTo>
                  <a:cubicBezTo>
                    <a:pt x="45756" y="123687"/>
                    <a:pt x="48903" y="127289"/>
                    <a:pt x="52423" y="129815"/>
                  </a:cubicBezTo>
                  <a:cubicBezTo>
                    <a:pt x="56357" y="132590"/>
                    <a:pt x="60539" y="134453"/>
                    <a:pt x="64473" y="135820"/>
                  </a:cubicBezTo>
                  <a:cubicBezTo>
                    <a:pt x="69111" y="137435"/>
                    <a:pt x="73459" y="138014"/>
                    <a:pt x="77599" y="136979"/>
                  </a:cubicBezTo>
                  <a:cubicBezTo>
                    <a:pt x="81740" y="135944"/>
                    <a:pt x="85674" y="133915"/>
                    <a:pt x="88697" y="129650"/>
                  </a:cubicBezTo>
                  <a:cubicBezTo>
                    <a:pt x="90891" y="126544"/>
                    <a:pt x="92134" y="122196"/>
                    <a:pt x="93542" y="117020"/>
                  </a:cubicBezTo>
                  <a:cubicBezTo>
                    <a:pt x="94577" y="113211"/>
                    <a:pt x="95902" y="109028"/>
                    <a:pt x="96399" y="103935"/>
                  </a:cubicBezTo>
                  <a:cubicBezTo>
                    <a:pt x="96730" y="108159"/>
                    <a:pt x="97310" y="112590"/>
                    <a:pt x="97144" y="117269"/>
                  </a:cubicBezTo>
                  <a:cubicBezTo>
                    <a:pt x="96978" y="121658"/>
                    <a:pt x="96482" y="126213"/>
                    <a:pt x="95861" y="130726"/>
                  </a:cubicBezTo>
                  <a:cubicBezTo>
                    <a:pt x="95239" y="135240"/>
                    <a:pt x="92879" y="139298"/>
                    <a:pt x="91720" y="143604"/>
                  </a:cubicBezTo>
                  <a:cubicBezTo>
                    <a:pt x="90560" y="147911"/>
                    <a:pt x="90312" y="152673"/>
                    <a:pt x="88614" y="156731"/>
                  </a:cubicBezTo>
                  <a:cubicBezTo>
                    <a:pt x="86792" y="160996"/>
                    <a:pt x="83728" y="164391"/>
                    <a:pt x="81243" y="167953"/>
                  </a:cubicBezTo>
                  <a:cubicBezTo>
                    <a:pt x="78593" y="171762"/>
                    <a:pt x="76233" y="175530"/>
                    <a:pt x="72796" y="178222"/>
                  </a:cubicBezTo>
                  <a:cubicBezTo>
                    <a:pt x="69359" y="180913"/>
                    <a:pt x="65508" y="183729"/>
                    <a:pt x="61036" y="184889"/>
                  </a:cubicBezTo>
                  <a:cubicBezTo>
                    <a:pt x="56978" y="185965"/>
                    <a:pt x="52340" y="185882"/>
                    <a:pt x="47495" y="185344"/>
                  </a:cubicBezTo>
                  <a:cubicBezTo>
                    <a:pt x="43437" y="184889"/>
                    <a:pt x="39297" y="183149"/>
                    <a:pt x="34659" y="181410"/>
                  </a:cubicBezTo>
                  <a:cubicBezTo>
                    <a:pt x="30808" y="179961"/>
                    <a:pt x="26584" y="178512"/>
                    <a:pt x="22319" y="176069"/>
                  </a:cubicBezTo>
                  <a:cubicBezTo>
                    <a:pt x="18717" y="173998"/>
                    <a:pt x="15073" y="171431"/>
                    <a:pt x="11139" y="168574"/>
                  </a:cubicBezTo>
                  <a:cubicBezTo>
                    <a:pt x="7743" y="166089"/>
                    <a:pt x="3644" y="163977"/>
                    <a:pt x="0" y="16087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C45B4-8034-9264-E17F-EAC335D7778E}"/>
                </a:ext>
              </a:extLst>
            </p:cNvPr>
            <p:cNvSpPr/>
            <p:nvPr/>
          </p:nvSpPr>
          <p:spPr>
            <a:xfrm>
              <a:off x="8215176" y="3194520"/>
              <a:ext cx="17805" cy="46211"/>
            </a:xfrm>
            <a:custGeom>
              <a:avLst/>
              <a:gdLst>
                <a:gd name="connsiteX0" fmla="*/ 17806 w 17805"/>
                <a:gd name="connsiteY0" fmla="*/ 0 h 46211"/>
                <a:gd name="connsiteX1" fmla="*/ 10808 w 17805"/>
                <a:gd name="connsiteY1" fmla="*/ 11139 h 46211"/>
                <a:gd name="connsiteX2" fmla="*/ 4638 w 17805"/>
                <a:gd name="connsiteY2" fmla="*/ 22485 h 46211"/>
                <a:gd name="connsiteX3" fmla="*/ 0 w 17805"/>
                <a:gd name="connsiteY3" fmla="*/ 34659 h 46211"/>
                <a:gd name="connsiteX4" fmla="*/ 5797 w 17805"/>
                <a:gd name="connsiteY4" fmla="*/ 46212 h 4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5" h="46211">
                  <a:moveTo>
                    <a:pt x="17806" y="0"/>
                  </a:moveTo>
                  <a:cubicBezTo>
                    <a:pt x="13416" y="4886"/>
                    <a:pt x="14948" y="5052"/>
                    <a:pt x="10808" y="11139"/>
                  </a:cubicBezTo>
                  <a:cubicBezTo>
                    <a:pt x="8530" y="14534"/>
                    <a:pt x="6460" y="18427"/>
                    <a:pt x="4638" y="22485"/>
                  </a:cubicBezTo>
                  <a:cubicBezTo>
                    <a:pt x="2816" y="26543"/>
                    <a:pt x="0" y="30642"/>
                    <a:pt x="0" y="34659"/>
                  </a:cubicBezTo>
                  <a:cubicBezTo>
                    <a:pt x="0" y="39048"/>
                    <a:pt x="1781" y="43313"/>
                    <a:pt x="5797" y="4621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D51632E-DC35-F95E-0D7F-E2B7AE12F77F}"/>
                </a:ext>
              </a:extLst>
            </p:cNvPr>
            <p:cNvSpPr/>
            <p:nvPr/>
          </p:nvSpPr>
          <p:spPr>
            <a:xfrm>
              <a:off x="8083911" y="3080481"/>
              <a:ext cx="103397" cy="139199"/>
            </a:xfrm>
            <a:custGeom>
              <a:avLst/>
              <a:gdLst>
                <a:gd name="connsiteX0" fmla="*/ 103398 w 103397"/>
                <a:gd name="connsiteY0" fmla="*/ 94328 h 139199"/>
                <a:gd name="connsiteX1" fmla="*/ 89692 w 103397"/>
                <a:gd name="connsiteY1" fmla="*/ 96482 h 139199"/>
                <a:gd name="connsiteX2" fmla="*/ 76193 w 103397"/>
                <a:gd name="connsiteY2" fmla="*/ 99753 h 139199"/>
                <a:gd name="connsiteX3" fmla="*/ 62652 w 103397"/>
                <a:gd name="connsiteY3" fmla="*/ 102900 h 139199"/>
                <a:gd name="connsiteX4" fmla="*/ 49401 w 103397"/>
                <a:gd name="connsiteY4" fmla="*/ 107579 h 139199"/>
                <a:gd name="connsiteX5" fmla="*/ 43066 w 103397"/>
                <a:gd name="connsiteY5" fmla="*/ 97393 h 139199"/>
                <a:gd name="connsiteX6" fmla="*/ 36316 w 103397"/>
                <a:gd name="connsiteY6" fmla="*/ 85964 h 139199"/>
                <a:gd name="connsiteX7" fmla="*/ 32879 w 103397"/>
                <a:gd name="connsiteY7" fmla="*/ 73086 h 139199"/>
                <a:gd name="connsiteX8" fmla="*/ 27703 w 103397"/>
                <a:gd name="connsiteY8" fmla="*/ 60953 h 139199"/>
                <a:gd name="connsiteX9" fmla="*/ 21492 w 103397"/>
                <a:gd name="connsiteY9" fmla="*/ 49193 h 139199"/>
                <a:gd name="connsiteX10" fmla="*/ 17186 w 103397"/>
                <a:gd name="connsiteY10" fmla="*/ 36688 h 139199"/>
                <a:gd name="connsiteX11" fmla="*/ 12714 w 103397"/>
                <a:gd name="connsiteY11" fmla="*/ 24224 h 139199"/>
                <a:gd name="connsiteX12" fmla="*/ 7869 w 103397"/>
                <a:gd name="connsiteY12" fmla="*/ 11926 h 139199"/>
                <a:gd name="connsiteX13" fmla="*/ 2154 w 103397"/>
                <a:gd name="connsiteY13" fmla="*/ 0 h 139199"/>
                <a:gd name="connsiteX14" fmla="*/ 1 w 103397"/>
                <a:gd name="connsiteY14" fmla="*/ 13706 h 139199"/>
                <a:gd name="connsiteX15" fmla="*/ 374 w 103397"/>
                <a:gd name="connsiteY15" fmla="*/ 27619 h 139199"/>
                <a:gd name="connsiteX16" fmla="*/ 2693 w 103397"/>
                <a:gd name="connsiteY16" fmla="*/ 41367 h 139199"/>
                <a:gd name="connsiteX17" fmla="*/ 4887 w 103397"/>
                <a:gd name="connsiteY17" fmla="*/ 55073 h 139199"/>
                <a:gd name="connsiteX18" fmla="*/ 5757 w 103397"/>
                <a:gd name="connsiteY18" fmla="*/ 69069 h 139199"/>
                <a:gd name="connsiteX19" fmla="*/ 9070 w 103397"/>
                <a:gd name="connsiteY19" fmla="*/ 82610 h 139199"/>
                <a:gd name="connsiteX20" fmla="*/ 13335 w 103397"/>
                <a:gd name="connsiteY20" fmla="*/ 95902 h 139199"/>
                <a:gd name="connsiteX21" fmla="*/ 15778 w 103397"/>
                <a:gd name="connsiteY21" fmla="*/ 109691 h 139199"/>
                <a:gd name="connsiteX22" fmla="*/ 20747 w 103397"/>
                <a:gd name="connsiteY22" fmla="*/ 122776 h 139199"/>
                <a:gd name="connsiteX23" fmla="*/ 28407 w 103397"/>
                <a:gd name="connsiteY23" fmla="*/ 134577 h 139199"/>
                <a:gd name="connsiteX24" fmla="*/ 41451 w 103397"/>
                <a:gd name="connsiteY24" fmla="*/ 138470 h 139199"/>
                <a:gd name="connsiteX25" fmla="*/ 54992 w 103397"/>
                <a:gd name="connsiteY25" fmla="*/ 139174 h 139199"/>
                <a:gd name="connsiteX26" fmla="*/ 68615 w 103397"/>
                <a:gd name="connsiteY26" fmla="*/ 138180 h 139199"/>
                <a:gd name="connsiteX27" fmla="*/ 82445 w 103397"/>
                <a:gd name="connsiteY27" fmla="*/ 137476 h 139199"/>
                <a:gd name="connsiteX28" fmla="*/ 95903 w 103397"/>
                <a:gd name="connsiteY28" fmla="*/ 134495 h 13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3397" h="139199">
                  <a:moveTo>
                    <a:pt x="103398" y="94328"/>
                  </a:moveTo>
                  <a:cubicBezTo>
                    <a:pt x="96607" y="95695"/>
                    <a:pt x="97477" y="94784"/>
                    <a:pt x="89692" y="96482"/>
                  </a:cubicBezTo>
                  <a:cubicBezTo>
                    <a:pt x="85551" y="97393"/>
                    <a:pt x="80913" y="98635"/>
                    <a:pt x="76193" y="99753"/>
                  </a:cubicBezTo>
                  <a:cubicBezTo>
                    <a:pt x="71472" y="100871"/>
                    <a:pt x="66751" y="101740"/>
                    <a:pt x="62652" y="102900"/>
                  </a:cubicBezTo>
                  <a:cubicBezTo>
                    <a:pt x="56234" y="104722"/>
                    <a:pt x="50851" y="106254"/>
                    <a:pt x="49401" y="107579"/>
                  </a:cubicBezTo>
                  <a:cubicBezTo>
                    <a:pt x="48325" y="108573"/>
                    <a:pt x="46544" y="104639"/>
                    <a:pt x="43066" y="97393"/>
                  </a:cubicBezTo>
                  <a:cubicBezTo>
                    <a:pt x="41410" y="93997"/>
                    <a:pt x="38262" y="90477"/>
                    <a:pt x="36316" y="85964"/>
                  </a:cubicBezTo>
                  <a:cubicBezTo>
                    <a:pt x="34701" y="82196"/>
                    <a:pt x="34660" y="77351"/>
                    <a:pt x="32879" y="73086"/>
                  </a:cubicBezTo>
                  <a:cubicBezTo>
                    <a:pt x="31264" y="69111"/>
                    <a:pt x="29360" y="65094"/>
                    <a:pt x="27703" y="60953"/>
                  </a:cubicBezTo>
                  <a:cubicBezTo>
                    <a:pt x="26047" y="56812"/>
                    <a:pt x="23107" y="53293"/>
                    <a:pt x="21492" y="49193"/>
                  </a:cubicBezTo>
                  <a:cubicBezTo>
                    <a:pt x="19877" y="45094"/>
                    <a:pt x="18759" y="40663"/>
                    <a:pt x="17186" y="36688"/>
                  </a:cubicBezTo>
                  <a:cubicBezTo>
                    <a:pt x="15488" y="32381"/>
                    <a:pt x="14246" y="28075"/>
                    <a:pt x="12714" y="24224"/>
                  </a:cubicBezTo>
                  <a:cubicBezTo>
                    <a:pt x="10892" y="19669"/>
                    <a:pt x="9318" y="15487"/>
                    <a:pt x="7869" y="11926"/>
                  </a:cubicBezTo>
                  <a:cubicBezTo>
                    <a:pt x="5012" y="4886"/>
                    <a:pt x="2734" y="290"/>
                    <a:pt x="2154" y="0"/>
                  </a:cubicBezTo>
                  <a:cubicBezTo>
                    <a:pt x="705" y="1988"/>
                    <a:pt x="1" y="6957"/>
                    <a:pt x="1" y="13706"/>
                  </a:cubicBezTo>
                  <a:cubicBezTo>
                    <a:pt x="1" y="17723"/>
                    <a:pt x="-40" y="22443"/>
                    <a:pt x="374" y="27619"/>
                  </a:cubicBezTo>
                  <a:cubicBezTo>
                    <a:pt x="746" y="31926"/>
                    <a:pt x="2072" y="36481"/>
                    <a:pt x="2693" y="41367"/>
                  </a:cubicBezTo>
                  <a:cubicBezTo>
                    <a:pt x="3272" y="45798"/>
                    <a:pt x="4142" y="50394"/>
                    <a:pt x="4887" y="55073"/>
                  </a:cubicBezTo>
                  <a:cubicBezTo>
                    <a:pt x="5633" y="59752"/>
                    <a:pt x="4887" y="64473"/>
                    <a:pt x="5757" y="69069"/>
                  </a:cubicBezTo>
                  <a:cubicBezTo>
                    <a:pt x="6626" y="73666"/>
                    <a:pt x="8076" y="78138"/>
                    <a:pt x="9070" y="82610"/>
                  </a:cubicBezTo>
                  <a:cubicBezTo>
                    <a:pt x="10063" y="87082"/>
                    <a:pt x="12217" y="91554"/>
                    <a:pt x="13335" y="95902"/>
                  </a:cubicBezTo>
                  <a:cubicBezTo>
                    <a:pt x="14577" y="100622"/>
                    <a:pt x="14453" y="105550"/>
                    <a:pt x="15778" y="109691"/>
                  </a:cubicBezTo>
                  <a:cubicBezTo>
                    <a:pt x="17351" y="114577"/>
                    <a:pt x="19132" y="119008"/>
                    <a:pt x="20747" y="122776"/>
                  </a:cubicBezTo>
                  <a:cubicBezTo>
                    <a:pt x="23148" y="128366"/>
                    <a:pt x="26006" y="132548"/>
                    <a:pt x="28407" y="134577"/>
                  </a:cubicBezTo>
                  <a:cubicBezTo>
                    <a:pt x="31513" y="137228"/>
                    <a:pt x="36358" y="137600"/>
                    <a:pt x="41451" y="138470"/>
                  </a:cubicBezTo>
                  <a:cubicBezTo>
                    <a:pt x="45675" y="139174"/>
                    <a:pt x="50188" y="139257"/>
                    <a:pt x="54992" y="139174"/>
                  </a:cubicBezTo>
                  <a:cubicBezTo>
                    <a:pt x="59795" y="139091"/>
                    <a:pt x="64143" y="138760"/>
                    <a:pt x="68615" y="138180"/>
                  </a:cubicBezTo>
                  <a:cubicBezTo>
                    <a:pt x="73501" y="137559"/>
                    <a:pt x="78429" y="138263"/>
                    <a:pt x="82445" y="137476"/>
                  </a:cubicBezTo>
                  <a:cubicBezTo>
                    <a:pt x="90354" y="135944"/>
                    <a:pt x="89278" y="136317"/>
                    <a:pt x="95903" y="134495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1F6DEC7-228D-EA8F-8805-96019E20B55E}"/>
                </a:ext>
              </a:extLst>
            </p:cNvPr>
            <p:cNvSpPr/>
            <p:nvPr/>
          </p:nvSpPr>
          <p:spPr>
            <a:xfrm>
              <a:off x="8271575" y="3178246"/>
              <a:ext cx="95820" cy="212144"/>
            </a:xfrm>
            <a:custGeom>
              <a:avLst/>
              <a:gdLst>
                <a:gd name="connsiteX0" fmla="*/ 10435 w 95820"/>
                <a:gd name="connsiteY0" fmla="*/ 0 h 212144"/>
                <a:gd name="connsiteX1" fmla="*/ 19545 w 95820"/>
                <a:gd name="connsiteY1" fmla="*/ 9317 h 212144"/>
                <a:gd name="connsiteX2" fmla="*/ 26791 w 95820"/>
                <a:gd name="connsiteY2" fmla="*/ 20083 h 212144"/>
                <a:gd name="connsiteX3" fmla="*/ 34990 w 95820"/>
                <a:gd name="connsiteY3" fmla="*/ 30104 h 212144"/>
                <a:gd name="connsiteX4" fmla="*/ 43230 w 95820"/>
                <a:gd name="connsiteY4" fmla="*/ 40083 h 212144"/>
                <a:gd name="connsiteX5" fmla="*/ 49980 w 95820"/>
                <a:gd name="connsiteY5" fmla="*/ 51264 h 212144"/>
                <a:gd name="connsiteX6" fmla="*/ 59214 w 95820"/>
                <a:gd name="connsiteY6" fmla="*/ 60539 h 212144"/>
                <a:gd name="connsiteX7" fmla="*/ 66253 w 95820"/>
                <a:gd name="connsiteY7" fmla="*/ 71512 h 212144"/>
                <a:gd name="connsiteX8" fmla="*/ 73997 w 95820"/>
                <a:gd name="connsiteY8" fmla="*/ 81947 h 212144"/>
                <a:gd name="connsiteX9" fmla="*/ 82403 w 95820"/>
                <a:gd name="connsiteY9" fmla="*/ 91885 h 212144"/>
                <a:gd name="connsiteX10" fmla="*/ 89111 w 95820"/>
                <a:gd name="connsiteY10" fmla="*/ 103024 h 212144"/>
                <a:gd name="connsiteX11" fmla="*/ 95819 w 95820"/>
                <a:gd name="connsiteY11" fmla="*/ 113790 h 212144"/>
                <a:gd name="connsiteX12" fmla="*/ 90560 w 95820"/>
                <a:gd name="connsiteY12" fmla="*/ 127041 h 212144"/>
                <a:gd name="connsiteX13" fmla="*/ 82900 w 95820"/>
                <a:gd name="connsiteY13" fmla="*/ 139174 h 212144"/>
                <a:gd name="connsiteX14" fmla="*/ 76150 w 95820"/>
                <a:gd name="connsiteY14" fmla="*/ 151762 h 212144"/>
                <a:gd name="connsiteX15" fmla="*/ 69483 w 95820"/>
                <a:gd name="connsiteY15" fmla="*/ 164474 h 212144"/>
                <a:gd name="connsiteX16" fmla="*/ 61492 w 95820"/>
                <a:gd name="connsiteY16" fmla="*/ 176358 h 212144"/>
                <a:gd name="connsiteX17" fmla="*/ 53914 w 95820"/>
                <a:gd name="connsiteY17" fmla="*/ 188533 h 212144"/>
                <a:gd name="connsiteX18" fmla="*/ 46377 w 95820"/>
                <a:gd name="connsiteY18" fmla="*/ 200707 h 212144"/>
                <a:gd name="connsiteX19" fmla="*/ 37268 w 95820"/>
                <a:gd name="connsiteY19" fmla="*/ 212011 h 212144"/>
                <a:gd name="connsiteX20" fmla="*/ 37185 w 95820"/>
                <a:gd name="connsiteY20" fmla="*/ 199174 h 212144"/>
                <a:gd name="connsiteX21" fmla="*/ 40083 w 95820"/>
                <a:gd name="connsiteY21" fmla="*/ 186048 h 212144"/>
                <a:gd name="connsiteX22" fmla="*/ 42319 w 95820"/>
                <a:gd name="connsiteY22" fmla="*/ 172715 h 212144"/>
                <a:gd name="connsiteX23" fmla="*/ 46626 w 95820"/>
                <a:gd name="connsiteY23" fmla="*/ 159878 h 212144"/>
                <a:gd name="connsiteX24" fmla="*/ 49359 w 95820"/>
                <a:gd name="connsiteY24" fmla="*/ 146627 h 212144"/>
                <a:gd name="connsiteX25" fmla="*/ 53127 w 95820"/>
                <a:gd name="connsiteY25" fmla="*/ 133625 h 212144"/>
                <a:gd name="connsiteX26" fmla="*/ 57806 w 95820"/>
                <a:gd name="connsiteY26" fmla="*/ 120913 h 212144"/>
                <a:gd name="connsiteX27" fmla="*/ 60912 w 95820"/>
                <a:gd name="connsiteY27" fmla="*/ 108242 h 212144"/>
                <a:gd name="connsiteX28" fmla="*/ 52216 w 95820"/>
                <a:gd name="connsiteY28" fmla="*/ 99132 h 212144"/>
                <a:gd name="connsiteX29" fmla="*/ 44183 w 95820"/>
                <a:gd name="connsiteY29" fmla="*/ 89111 h 212144"/>
                <a:gd name="connsiteX30" fmla="*/ 35032 w 95820"/>
                <a:gd name="connsiteY30" fmla="*/ 80125 h 212144"/>
                <a:gd name="connsiteX31" fmla="*/ 26336 w 95820"/>
                <a:gd name="connsiteY31" fmla="*/ 70684 h 212144"/>
                <a:gd name="connsiteX32" fmla="*/ 17474 w 95820"/>
                <a:gd name="connsiteY32" fmla="*/ 61409 h 212144"/>
                <a:gd name="connsiteX33" fmla="*/ 7661 w 95820"/>
                <a:gd name="connsiteY33" fmla="*/ 53003 h 212144"/>
                <a:gd name="connsiteX34" fmla="*/ 0 w 95820"/>
                <a:gd name="connsiteY34" fmla="*/ 42568 h 21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5820" h="212144">
                  <a:moveTo>
                    <a:pt x="10435" y="0"/>
                  </a:moveTo>
                  <a:cubicBezTo>
                    <a:pt x="14493" y="5052"/>
                    <a:pt x="14534" y="3023"/>
                    <a:pt x="19545" y="9317"/>
                  </a:cubicBezTo>
                  <a:cubicBezTo>
                    <a:pt x="21864" y="12215"/>
                    <a:pt x="23810" y="16274"/>
                    <a:pt x="26791" y="20083"/>
                  </a:cubicBezTo>
                  <a:cubicBezTo>
                    <a:pt x="29276" y="23230"/>
                    <a:pt x="32174" y="26501"/>
                    <a:pt x="34990" y="30104"/>
                  </a:cubicBezTo>
                  <a:cubicBezTo>
                    <a:pt x="37557" y="33375"/>
                    <a:pt x="40497" y="36564"/>
                    <a:pt x="43230" y="40083"/>
                  </a:cubicBezTo>
                  <a:cubicBezTo>
                    <a:pt x="45963" y="43603"/>
                    <a:pt x="47288" y="47827"/>
                    <a:pt x="49980" y="51264"/>
                  </a:cubicBezTo>
                  <a:cubicBezTo>
                    <a:pt x="52672" y="54701"/>
                    <a:pt x="56605" y="57102"/>
                    <a:pt x="59214" y="60539"/>
                  </a:cubicBezTo>
                  <a:cubicBezTo>
                    <a:pt x="61823" y="63976"/>
                    <a:pt x="63686" y="68117"/>
                    <a:pt x="66253" y="71512"/>
                  </a:cubicBezTo>
                  <a:cubicBezTo>
                    <a:pt x="68945" y="75073"/>
                    <a:pt x="71512" y="78593"/>
                    <a:pt x="73997" y="81947"/>
                  </a:cubicBezTo>
                  <a:cubicBezTo>
                    <a:pt x="76730" y="85633"/>
                    <a:pt x="80042" y="88614"/>
                    <a:pt x="82403" y="91885"/>
                  </a:cubicBezTo>
                  <a:cubicBezTo>
                    <a:pt x="85260" y="95819"/>
                    <a:pt x="87040" y="99960"/>
                    <a:pt x="89111" y="103024"/>
                  </a:cubicBezTo>
                  <a:cubicBezTo>
                    <a:pt x="93210" y="108987"/>
                    <a:pt x="95902" y="112714"/>
                    <a:pt x="95819" y="113790"/>
                  </a:cubicBezTo>
                  <a:cubicBezTo>
                    <a:pt x="95695" y="115115"/>
                    <a:pt x="94121" y="120209"/>
                    <a:pt x="90560" y="127041"/>
                  </a:cubicBezTo>
                  <a:cubicBezTo>
                    <a:pt x="88614" y="130726"/>
                    <a:pt x="85467" y="134536"/>
                    <a:pt x="82900" y="139174"/>
                  </a:cubicBezTo>
                  <a:cubicBezTo>
                    <a:pt x="80705" y="143107"/>
                    <a:pt x="78635" y="147455"/>
                    <a:pt x="76150" y="151762"/>
                  </a:cubicBezTo>
                  <a:cubicBezTo>
                    <a:pt x="73831" y="155820"/>
                    <a:pt x="71968" y="160333"/>
                    <a:pt x="69483" y="164474"/>
                  </a:cubicBezTo>
                  <a:cubicBezTo>
                    <a:pt x="66999" y="168615"/>
                    <a:pt x="63935" y="172383"/>
                    <a:pt x="61492" y="176358"/>
                  </a:cubicBezTo>
                  <a:cubicBezTo>
                    <a:pt x="58883" y="180624"/>
                    <a:pt x="56357" y="184723"/>
                    <a:pt x="53914" y="188533"/>
                  </a:cubicBezTo>
                  <a:cubicBezTo>
                    <a:pt x="51057" y="193005"/>
                    <a:pt x="48779" y="197311"/>
                    <a:pt x="46377" y="200707"/>
                  </a:cubicBezTo>
                  <a:cubicBezTo>
                    <a:pt x="42195" y="206669"/>
                    <a:pt x="39007" y="211100"/>
                    <a:pt x="37268" y="212011"/>
                  </a:cubicBezTo>
                  <a:cubicBezTo>
                    <a:pt x="35239" y="213088"/>
                    <a:pt x="35611" y="207539"/>
                    <a:pt x="37185" y="199174"/>
                  </a:cubicBezTo>
                  <a:cubicBezTo>
                    <a:pt x="37889" y="195365"/>
                    <a:pt x="38924" y="190934"/>
                    <a:pt x="40083" y="186048"/>
                  </a:cubicBezTo>
                  <a:cubicBezTo>
                    <a:pt x="41077" y="181949"/>
                    <a:pt x="41119" y="177269"/>
                    <a:pt x="42319" y="172715"/>
                  </a:cubicBezTo>
                  <a:cubicBezTo>
                    <a:pt x="43437" y="168449"/>
                    <a:pt x="45425" y="164267"/>
                    <a:pt x="46626" y="159878"/>
                  </a:cubicBezTo>
                  <a:cubicBezTo>
                    <a:pt x="47827" y="155489"/>
                    <a:pt x="48158" y="150851"/>
                    <a:pt x="49359" y="146627"/>
                  </a:cubicBezTo>
                  <a:cubicBezTo>
                    <a:pt x="50642" y="142114"/>
                    <a:pt x="51926" y="137724"/>
                    <a:pt x="53127" y="133625"/>
                  </a:cubicBezTo>
                  <a:cubicBezTo>
                    <a:pt x="54535" y="128822"/>
                    <a:pt x="56688" y="124681"/>
                    <a:pt x="57806" y="120913"/>
                  </a:cubicBezTo>
                  <a:cubicBezTo>
                    <a:pt x="60166" y="113045"/>
                    <a:pt x="63976" y="114246"/>
                    <a:pt x="60912" y="108242"/>
                  </a:cubicBezTo>
                  <a:cubicBezTo>
                    <a:pt x="58013" y="102527"/>
                    <a:pt x="56605" y="103769"/>
                    <a:pt x="52216" y="99132"/>
                  </a:cubicBezTo>
                  <a:cubicBezTo>
                    <a:pt x="47827" y="94494"/>
                    <a:pt x="48613" y="93749"/>
                    <a:pt x="44183" y="89111"/>
                  </a:cubicBezTo>
                  <a:cubicBezTo>
                    <a:pt x="39752" y="84473"/>
                    <a:pt x="39462" y="84763"/>
                    <a:pt x="35032" y="80125"/>
                  </a:cubicBezTo>
                  <a:cubicBezTo>
                    <a:pt x="30601" y="75488"/>
                    <a:pt x="30766" y="75322"/>
                    <a:pt x="26336" y="70684"/>
                  </a:cubicBezTo>
                  <a:cubicBezTo>
                    <a:pt x="21905" y="66046"/>
                    <a:pt x="21905" y="66046"/>
                    <a:pt x="17474" y="61409"/>
                  </a:cubicBezTo>
                  <a:cubicBezTo>
                    <a:pt x="13044" y="56771"/>
                    <a:pt x="12133" y="57641"/>
                    <a:pt x="7661" y="53003"/>
                  </a:cubicBezTo>
                  <a:cubicBezTo>
                    <a:pt x="3188" y="48365"/>
                    <a:pt x="4431" y="47206"/>
                    <a:pt x="0" y="42568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411189-4588-6A23-3D2B-14484548A9FD}"/>
                </a:ext>
              </a:extLst>
            </p:cNvPr>
            <p:cNvSpPr/>
            <p:nvPr/>
          </p:nvSpPr>
          <p:spPr>
            <a:xfrm>
              <a:off x="8163126" y="2970459"/>
              <a:ext cx="152093" cy="203123"/>
            </a:xfrm>
            <a:custGeom>
              <a:avLst/>
              <a:gdLst>
                <a:gd name="connsiteX0" fmla="*/ 152093 w 152093"/>
                <a:gd name="connsiteY0" fmla="*/ 101989 h 203123"/>
                <a:gd name="connsiteX1" fmla="*/ 150561 w 152093"/>
                <a:gd name="connsiteY1" fmla="*/ 115861 h 203123"/>
                <a:gd name="connsiteX2" fmla="*/ 148946 w 152093"/>
                <a:gd name="connsiteY2" fmla="*/ 129691 h 203123"/>
                <a:gd name="connsiteX3" fmla="*/ 144515 w 152093"/>
                <a:gd name="connsiteY3" fmla="*/ 142900 h 203123"/>
                <a:gd name="connsiteX4" fmla="*/ 140871 w 152093"/>
                <a:gd name="connsiteY4" fmla="*/ 156482 h 203123"/>
                <a:gd name="connsiteX5" fmla="*/ 133045 w 152093"/>
                <a:gd name="connsiteY5" fmla="*/ 168118 h 203123"/>
                <a:gd name="connsiteX6" fmla="*/ 124474 w 152093"/>
                <a:gd name="connsiteY6" fmla="*/ 179009 h 203123"/>
                <a:gd name="connsiteX7" fmla="*/ 114950 w 152093"/>
                <a:gd name="connsiteY7" fmla="*/ 189154 h 203123"/>
                <a:gd name="connsiteX8" fmla="*/ 103438 w 152093"/>
                <a:gd name="connsiteY8" fmla="*/ 197145 h 203123"/>
                <a:gd name="connsiteX9" fmla="*/ 90105 w 152093"/>
                <a:gd name="connsiteY9" fmla="*/ 201493 h 203123"/>
                <a:gd name="connsiteX10" fmla="*/ 76274 w 152093"/>
                <a:gd name="connsiteY10" fmla="*/ 203108 h 203123"/>
                <a:gd name="connsiteX11" fmla="*/ 62278 w 152093"/>
                <a:gd name="connsiteY11" fmla="*/ 202197 h 203123"/>
                <a:gd name="connsiteX12" fmla="*/ 49152 w 152093"/>
                <a:gd name="connsiteY12" fmla="*/ 197063 h 203123"/>
                <a:gd name="connsiteX13" fmla="*/ 37557 w 152093"/>
                <a:gd name="connsiteY13" fmla="*/ 189195 h 203123"/>
                <a:gd name="connsiteX14" fmla="*/ 28199 w 152093"/>
                <a:gd name="connsiteY14" fmla="*/ 178884 h 203123"/>
                <a:gd name="connsiteX15" fmla="*/ 18592 w 152093"/>
                <a:gd name="connsiteY15" fmla="*/ 168656 h 203123"/>
                <a:gd name="connsiteX16" fmla="*/ 13002 w 152093"/>
                <a:gd name="connsiteY16" fmla="*/ 155820 h 203123"/>
                <a:gd name="connsiteX17" fmla="*/ 6915 w 152093"/>
                <a:gd name="connsiteY17" fmla="*/ 143273 h 203123"/>
                <a:gd name="connsiteX18" fmla="*/ 4431 w 152093"/>
                <a:gd name="connsiteY18" fmla="*/ 129526 h 203123"/>
                <a:gd name="connsiteX19" fmla="*/ 1449 w 152093"/>
                <a:gd name="connsiteY19" fmla="*/ 115902 h 203123"/>
                <a:gd name="connsiteX20" fmla="*/ 0 w 152093"/>
                <a:gd name="connsiteY20" fmla="*/ 101948 h 203123"/>
                <a:gd name="connsiteX21" fmla="*/ 1408 w 152093"/>
                <a:gd name="connsiteY21" fmla="*/ 87993 h 203123"/>
                <a:gd name="connsiteX22" fmla="*/ 3768 w 152093"/>
                <a:gd name="connsiteY22" fmla="*/ 74245 h 203123"/>
                <a:gd name="connsiteX23" fmla="*/ 6377 w 152093"/>
                <a:gd name="connsiteY23" fmla="*/ 60456 h 203123"/>
                <a:gd name="connsiteX24" fmla="*/ 12174 w 152093"/>
                <a:gd name="connsiteY24" fmla="*/ 47661 h 203123"/>
                <a:gd name="connsiteX25" fmla="*/ 18427 w 152093"/>
                <a:gd name="connsiteY25" fmla="*/ 35114 h 203123"/>
                <a:gd name="connsiteX26" fmla="*/ 27371 w 152093"/>
                <a:gd name="connsiteY26" fmla="*/ 24265 h 203123"/>
                <a:gd name="connsiteX27" fmla="*/ 37143 w 152093"/>
                <a:gd name="connsiteY27" fmla="*/ 14162 h 203123"/>
                <a:gd name="connsiteX28" fmla="*/ 49028 w 152093"/>
                <a:gd name="connsiteY28" fmla="*/ 6584 h 203123"/>
                <a:gd name="connsiteX29" fmla="*/ 62527 w 152093"/>
                <a:gd name="connsiteY29" fmla="*/ 2774 h 203123"/>
                <a:gd name="connsiteX30" fmla="*/ 76233 w 152093"/>
                <a:gd name="connsiteY30" fmla="*/ 0 h 203123"/>
                <a:gd name="connsiteX31" fmla="*/ 89981 w 152093"/>
                <a:gd name="connsiteY31" fmla="*/ 2650 h 203123"/>
                <a:gd name="connsiteX32" fmla="*/ 102941 w 152093"/>
                <a:gd name="connsiteY32" fmla="*/ 7536 h 203123"/>
                <a:gd name="connsiteX33" fmla="*/ 115240 w 152093"/>
                <a:gd name="connsiteY33" fmla="*/ 14244 h 203123"/>
                <a:gd name="connsiteX34" fmla="*/ 125095 w 152093"/>
                <a:gd name="connsiteY34" fmla="*/ 24224 h 203123"/>
                <a:gd name="connsiteX35" fmla="*/ 134039 w 152093"/>
                <a:gd name="connsiteY35" fmla="*/ 35073 h 203123"/>
                <a:gd name="connsiteX36" fmla="*/ 139712 w 152093"/>
                <a:gd name="connsiteY36" fmla="*/ 47910 h 203123"/>
                <a:gd name="connsiteX37" fmla="*/ 145509 w 152093"/>
                <a:gd name="connsiteY37" fmla="*/ 60622 h 203123"/>
                <a:gd name="connsiteX38" fmla="*/ 148284 w 152093"/>
                <a:gd name="connsiteY38" fmla="*/ 74328 h 203123"/>
                <a:gd name="connsiteX39" fmla="*/ 150520 w 152093"/>
                <a:gd name="connsiteY39" fmla="*/ 88034 h 203123"/>
                <a:gd name="connsiteX40" fmla="*/ 152010 w 152093"/>
                <a:gd name="connsiteY40" fmla="*/ 101906 h 203123"/>
                <a:gd name="connsiteX41" fmla="*/ 152093 w 152093"/>
                <a:gd name="connsiteY41" fmla="*/ 101989 h 20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2093" h="203123">
                  <a:moveTo>
                    <a:pt x="152093" y="101989"/>
                  </a:moveTo>
                  <a:cubicBezTo>
                    <a:pt x="152093" y="106709"/>
                    <a:pt x="151016" y="111306"/>
                    <a:pt x="150561" y="115861"/>
                  </a:cubicBezTo>
                  <a:cubicBezTo>
                    <a:pt x="150105" y="120416"/>
                    <a:pt x="149898" y="125219"/>
                    <a:pt x="148946" y="129691"/>
                  </a:cubicBezTo>
                  <a:cubicBezTo>
                    <a:pt x="147994" y="134163"/>
                    <a:pt x="145965" y="138553"/>
                    <a:pt x="144515" y="142900"/>
                  </a:cubicBezTo>
                  <a:cubicBezTo>
                    <a:pt x="143066" y="147248"/>
                    <a:pt x="142818" y="152342"/>
                    <a:pt x="140871" y="156482"/>
                  </a:cubicBezTo>
                  <a:cubicBezTo>
                    <a:pt x="138925" y="160623"/>
                    <a:pt x="135530" y="164309"/>
                    <a:pt x="133045" y="168118"/>
                  </a:cubicBezTo>
                  <a:cubicBezTo>
                    <a:pt x="130561" y="171928"/>
                    <a:pt x="127497" y="175613"/>
                    <a:pt x="124474" y="179009"/>
                  </a:cubicBezTo>
                  <a:cubicBezTo>
                    <a:pt x="121451" y="182404"/>
                    <a:pt x="118511" y="186338"/>
                    <a:pt x="114950" y="189154"/>
                  </a:cubicBezTo>
                  <a:cubicBezTo>
                    <a:pt x="111389" y="191969"/>
                    <a:pt x="107538" y="195075"/>
                    <a:pt x="103438" y="197145"/>
                  </a:cubicBezTo>
                  <a:cubicBezTo>
                    <a:pt x="99339" y="199216"/>
                    <a:pt x="94618" y="200375"/>
                    <a:pt x="90105" y="201493"/>
                  </a:cubicBezTo>
                  <a:cubicBezTo>
                    <a:pt x="85591" y="202611"/>
                    <a:pt x="80995" y="203108"/>
                    <a:pt x="76274" y="203108"/>
                  </a:cubicBezTo>
                  <a:cubicBezTo>
                    <a:pt x="71554" y="203108"/>
                    <a:pt x="66750" y="203315"/>
                    <a:pt x="62278" y="202197"/>
                  </a:cubicBezTo>
                  <a:cubicBezTo>
                    <a:pt x="57806" y="201079"/>
                    <a:pt x="53334" y="199216"/>
                    <a:pt x="49152" y="197063"/>
                  </a:cubicBezTo>
                  <a:cubicBezTo>
                    <a:pt x="44970" y="194909"/>
                    <a:pt x="41284" y="192135"/>
                    <a:pt x="37557" y="189195"/>
                  </a:cubicBezTo>
                  <a:cubicBezTo>
                    <a:pt x="33831" y="186255"/>
                    <a:pt x="31346" y="182445"/>
                    <a:pt x="28199" y="178884"/>
                  </a:cubicBezTo>
                  <a:cubicBezTo>
                    <a:pt x="25052" y="175323"/>
                    <a:pt x="21201" y="172673"/>
                    <a:pt x="18592" y="168656"/>
                  </a:cubicBezTo>
                  <a:cubicBezTo>
                    <a:pt x="15984" y="164640"/>
                    <a:pt x="15031" y="160085"/>
                    <a:pt x="13002" y="155820"/>
                  </a:cubicBezTo>
                  <a:cubicBezTo>
                    <a:pt x="10973" y="151555"/>
                    <a:pt x="8406" y="147745"/>
                    <a:pt x="6915" y="143273"/>
                  </a:cubicBezTo>
                  <a:cubicBezTo>
                    <a:pt x="5424" y="138801"/>
                    <a:pt x="5424" y="134163"/>
                    <a:pt x="4431" y="129526"/>
                  </a:cubicBezTo>
                  <a:cubicBezTo>
                    <a:pt x="3437" y="124888"/>
                    <a:pt x="1905" y="120623"/>
                    <a:pt x="1449" y="115902"/>
                  </a:cubicBezTo>
                  <a:cubicBezTo>
                    <a:pt x="994" y="111182"/>
                    <a:pt x="0" y="106709"/>
                    <a:pt x="0" y="101948"/>
                  </a:cubicBezTo>
                  <a:cubicBezTo>
                    <a:pt x="0" y="97186"/>
                    <a:pt x="952" y="92548"/>
                    <a:pt x="1408" y="87993"/>
                  </a:cubicBezTo>
                  <a:cubicBezTo>
                    <a:pt x="1863" y="83438"/>
                    <a:pt x="2816" y="78717"/>
                    <a:pt x="3768" y="74245"/>
                  </a:cubicBezTo>
                  <a:cubicBezTo>
                    <a:pt x="4721" y="69773"/>
                    <a:pt x="4969" y="64804"/>
                    <a:pt x="6377" y="60456"/>
                  </a:cubicBezTo>
                  <a:cubicBezTo>
                    <a:pt x="7785" y="56108"/>
                    <a:pt x="10228" y="51802"/>
                    <a:pt x="12174" y="47661"/>
                  </a:cubicBezTo>
                  <a:cubicBezTo>
                    <a:pt x="14120" y="43520"/>
                    <a:pt x="15942" y="38924"/>
                    <a:pt x="18427" y="35114"/>
                  </a:cubicBezTo>
                  <a:cubicBezTo>
                    <a:pt x="20911" y="31305"/>
                    <a:pt x="24348" y="27702"/>
                    <a:pt x="27371" y="24265"/>
                  </a:cubicBezTo>
                  <a:cubicBezTo>
                    <a:pt x="30394" y="20828"/>
                    <a:pt x="33582" y="17019"/>
                    <a:pt x="37143" y="14162"/>
                  </a:cubicBezTo>
                  <a:cubicBezTo>
                    <a:pt x="40704" y="11304"/>
                    <a:pt x="44928" y="8654"/>
                    <a:pt x="49028" y="6584"/>
                  </a:cubicBezTo>
                  <a:cubicBezTo>
                    <a:pt x="53127" y="4514"/>
                    <a:pt x="58013" y="3892"/>
                    <a:pt x="62527" y="2774"/>
                  </a:cubicBezTo>
                  <a:cubicBezTo>
                    <a:pt x="67040" y="1656"/>
                    <a:pt x="71512" y="0"/>
                    <a:pt x="76233" y="0"/>
                  </a:cubicBezTo>
                  <a:cubicBezTo>
                    <a:pt x="80953" y="0"/>
                    <a:pt x="85508" y="1574"/>
                    <a:pt x="89981" y="2650"/>
                  </a:cubicBezTo>
                  <a:cubicBezTo>
                    <a:pt x="94453" y="3727"/>
                    <a:pt x="98759" y="5383"/>
                    <a:pt x="102941" y="7536"/>
                  </a:cubicBezTo>
                  <a:cubicBezTo>
                    <a:pt x="107124" y="9690"/>
                    <a:pt x="111554" y="11304"/>
                    <a:pt x="115240" y="14244"/>
                  </a:cubicBezTo>
                  <a:cubicBezTo>
                    <a:pt x="118925" y="17184"/>
                    <a:pt x="121948" y="20663"/>
                    <a:pt x="125095" y="24224"/>
                  </a:cubicBezTo>
                  <a:cubicBezTo>
                    <a:pt x="128242" y="27785"/>
                    <a:pt x="131430" y="31056"/>
                    <a:pt x="134039" y="35073"/>
                  </a:cubicBezTo>
                  <a:cubicBezTo>
                    <a:pt x="136648" y="39090"/>
                    <a:pt x="137683" y="43603"/>
                    <a:pt x="139712" y="47910"/>
                  </a:cubicBezTo>
                  <a:cubicBezTo>
                    <a:pt x="141741" y="52216"/>
                    <a:pt x="144018" y="56108"/>
                    <a:pt x="145509" y="60622"/>
                  </a:cubicBezTo>
                  <a:cubicBezTo>
                    <a:pt x="147000" y="65135"/>
                    <a:pt x="147290" y="69690"/>
                    <a:pt x="148284" y="74328"/>
                  </a:cubicBezTo>
                  <a:cubicBezTo>
                    <a:pt x="149277" y="78966"/>
                    <a:pt x="150023" y="83314"/>
                    <a:pt x="150520" y="88034"/>
                  </a:cubicBezTo>
                  <a:cubicBezTo>
                    <a:pt x="151016" y="92755"/>
                    <a:pt x="152010" y="97186"/>
                    <a:pt x="152010" y="101906"/>
                  </a:cubicBezTo>
                  <a:lnTo>
                    <a:pt x="152093" y="101989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CE3A82-AA22-36B3-604E-B1D407D887C8}"/>
                </a:ext>
              </a:extLst>
            </p:cNvPr>
            <p:cNvSpPr/>
            <p:nvPr/>
          </p:nvSpPr>
          <p:spPr>
            <a:xfrm>
              <a:off x="8223831" y="3617134"/>
              <a:ext cx="130146" cy="1739"/>
            </a:xfrm>
            <a:custGeom>
              <a:avLst/>
              <a:gdLst>
                <a:gd name="connsiteX0" fmla="*/ 130147 w 130146"/>
                <a:gd name="connsiteY0" fmla="*/ 787 h 1739"/>
                <a:gd name="connsiteX1" fmla="*/ 117144 w 130146"/>
                <a:gd name="connsiteY1" fmla="*/ 1242 h 1739"/>
                <a:gd name="connsiteX2" fmla="*/ 104142 w 130146"/>
                <a:gd name="connsiteY2" fmla="*/ 1077 h 1739"/>
                <a:gd name="connsiteX3" fmla="*/ 91140 w 130146"/>
                <a:gd name="connsiteY3" fmla="*/ 1739 h 1739"/>
                <a:gd name="connsiteX4" fmla="*/ 78138 w 130146"/>
                <a:gd name="connsiteY4" fmla="*/ 1201 h 1739"/>
                <a:gd name="connsiteX5" fmla="*/ 65135 w 130146"/>
                <a:gd name="connsiteY5" fmla="*/ 1573 h 1739"/>
                <a:gd name="connsiteX6" fmla="*/ 52133 w 130146"/>
                <a:gd name="connsiteY6" fmla="*/ 1449 h 1739"/>
                <a:gd name="connsiteX7" fmla="*/ 39131 w 130146"/>
                <a:gd name="connsiteY7" fmla="*/ 1035 h 1739"/>
                <a:gd name="connsiteX8" fmla="*/ 26087 w 130146"/>
                <a:gd name="connsiteY8" fmla="*/ 1573 h 1739"/>
                <a:gd name="connsiteX9" fmla="*/ 13044 w 130146"/>
                <a:gd name="connsiteY9" fmla="*/ 0 h 1739"/>
                <a:gd name="connsiteX10" fmla="*/ 0 w 130146"/>
                <a:gd name="connsiteY10" fmla="*/ 1201 h 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146" h="1739">
                  <a:moveTo>
                    <a:pt x="130147" y="787"/>
                  </a:moveTo>
                  <a:cubicBezTo>
                    <a:pt x="128987" y="787"/>
                    <a:pt x="124515" y="1242"/>
                    <a:pt x="117144" y="1242"/>
                  </a:cubicBezTo>
                  <a:cubicBezTo>
                    <a:pt x="113500" y="1242"/>
                    <a:pt x="109153" y="1077"/>
                    <a:pt x="104142" y="1077"/>
                  </a:cubicBezTo>
                  <a:cubicBezTo>
                    <a:pt x="100208" y="1077"/>
                    <a:pt x="95860" y="1739"/>
                    <a:pt x="91140" y="1739"/>
                  </a:cubicBezTo>
                  <a:cubicBezTo>
                    <a:pt x="87082" y="1739"/>
                    <a:pt x="82734" y="1201"/>
                    <a:pt x="78138" y="1201"/>
                  </a:cubicBezTo>
                  <a:cubicBezTo>
                    <a:pt x="73997" y="1201"/>
                    <a:pt x="69649" y="1573"/>
                    <a:pt x="65135" y="1573"/>
                  </a:cubicBezTo>
                  <a:cubicBezTo>
                    <a:pt x="60953" y="1573"/>
                    <a:pt x="56605" y="1449"/>
                    <a:pt x="52133" y="1449"/>
                  </a:cubicBezTo>
                  <a:cubicBezTo>
                    <a:pt x="47910" y="1449"/>
                    <a:pt x="43603" y="1035"/>
                    <a:pt x="39131" y="1035"/>
                  </a:cubicBezTo>
                  <a:cubicBezTo>
                    <a:pt x="34907" y="1035"/>
                    <a:pt x="30559" y="1573"/>
                    <a:pt x="26087" y="1573"/>
                  </a:cubicBezTo>
                  <a:cubicBezTo>
                    <a:pt x="21615" y="1573"/>
                    <a:pt x="17474" y="0"/>
                    <a:pt x="13044" y="0"/>
                  </a:cubicBezTo>
                  <a:cubicBezTo>
                    <a:pt x="8613" y="0"/>
                    <a:pt x="4431" y="1201"/>
                    <a:pt x="0" y="120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316D9A18-CA11-8D70-C6DF-41555AA395B7}"/>
              </a:ext>
            </a:extLst>
          </p:cNvPr>
          <p:cNvSpPr/>
          <p:nvPr/>
        </p:nvSpPr>
        <p:spPr>
          <a:xfrm rot="10800000">
            <a:off x="352433" y="1743075"/>
            <a:ext cx="5620678" cy="2755774"/>
          </a:xfrm>
          <a:prstGeom prst="round2SameRect">
            <a:avLst>
              <a:gd name="adj1" fmla="val 8065"/>
              <a:gd name="adj2" fmla="val 0"/>
            </a:avLst>
          </a:prstGeom>
          <a:noFill/>
          <a:ln w="12700"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56AD1B-2591-1754-A3C0-AA9CAEAFE2C0}"/>
              </a:ext>
            </a:extLst>
          </p:cNvPr>
          <p:cNvSpPr>
            <a:spLocks/>
          </p:cNvSpPr>
          <p:nvPr/>
        </p:nvSpPr>
        <p:spPr>
          <a:xfrm>
            <a:off x="352425" y="2219960"/>
            <a:ext cx="5511037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ik Lønne Gottfredsen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fabo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lle Juul – adm.- og udviklingschef, Landsbyggefonden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v Jørgensen – udviklingskonsulent, BL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ie Bender Foltmann – direktør, Forenet Kredit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le Jacobsen – adm. direktør, DAB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le Nielsen – adm. direktør, Boligselskabet Sct. Jørgen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omas Holluf Nielsen – adm. direktør, Domea.dk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nny Thierry Andersen – koncerndirektør, Nykredi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626433-6FC8-4B9A-D293-520738CB6808}"/>
              </a:ext>
            </a:extLst>
          </p:cNvPr>
          <p:cNvSpPr>
            <a:spLocks/>
          </p:cNvSpPr>
          <p:nvPr/>
        </p:nvSpPr>
        <p:spPr>
          <a:xfrm>
            <a:off x="352432" y="1743075"/>
            <a:ext cx="5620678" cy="476885"/>
          </a:xfrm>
          <a:prstGeom prst="rect">
            <a:avLst/>
          </a:prstGeom>
          <a:solidFill>
            <a:schemeClr val="accent3"/>
          </a:solidFill>
          <a:ln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egruppe</a:t>
            </a: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75D9F175-525B-838E-36E5-906E4D14CC75}"/>
              </a:ext>
            </a:extLst>
          </p:cNvPr>
          <p:cNvSpPr/>
          <p:nvPr/>
        </p:nvSpPr>
        <p:spPr>
          <a:xfrm rot="10800000">
            <a:off x="6218894" y="1743075"/>
            <a:ext cx="5620678" cy="4379913"/>
          </a:xfrm>
          <a:prstGeom prst="round2SameRect">
            <a:avLst>
              <a:gd name="adj1" fmla="val 5533"/>
              <a:gd name="adj2" fmla="val 0"/>
            </a:avLst>
          </a:prstGeom>
          <a:noFill/>
          <a:ln w="12700"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3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FA5C62D-53E9-AB9E-6332-57E0DD824BC1}"/>
              </a:ext>
            </a:extLst>
          </p:cNvPr>
          <p:cNvSpPr>
            <a:spLocks/>
          </p:cNvSpPr>
          <p:nvPr/>
        </p:nvSpPr>
        <p:spPr>
          <a:xfrm>
            <a:off x="6218897" y="1743075"/>
            <a:ext cx="5746124" cy="476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visory board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AF398FAA-1DC3-07C9-0205-E9C5FEA57812}"/>
              </a:ext>
            </a:extLst>
          </p:cNvPr>
          <p:cNvSpPr/>
          <p:nvPr/>
        </p:nvSpPr>
        <p:spPr>
          <a:xfrm rot="10800000">
            <a:off x="352433" y="4762966"/>
            <a:ext cx="5620678" cy="1360021"/>
          </a:xfrm>
          <a:prstGeom prst="round2SameRect">
            <a:avLst>
              <a:gd name="adj1" fmla="val 20201"/>
              <a:gd name="adj2" fmla="val 0"/>
            </a:avLst>
          </a:prstGeom>
          <a:noFill/>
          <a:ln w="12700"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4BDE93-5472-7256-022E-FA0BED2F9737}"/>
              </a:ext>
            </a:extLst>
          </p:cNvPr>
          <p:cNvSpPr>
            <a:spLocks/>
          </p:cNvSpPr>
          <p:nvPr/>
        </p:nvSpPr>
        <p:spPr>
          <a:xfrm>
            <a:off x="352425" y="4941395"/>
            <a:ext cx="5511037" cy="512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>
              <a:spcBef>
                <a:spcPts val="600"/>
              </a:spcBef>
            </a:pP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 medarbejderne på </a:t>
            </a: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almenkompas.dk/teamet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361E10-6855-7433-3EF4-A438FBDD2D8A}"/>
              </a:ext>
            </a:extLst>
          </p:cNvPr>
          <p:cNvSpPr>
            <a:spLocks/>
          </p:cNvSpPr>
          <p:nvPr/>
        </p:nvSpPr>
        <p:spPr>
          <a:xfrm>
            <a:off x="352432" y="4630527"/>
            <a:ext cx="5620678" cy="4292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kretariat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BE4273-8075-004F-1F52-679D205EB083}"/>
              </a:ext>
            </a:extLst>
          </p:cNvPr>
          <p:cNvSpPr>
            <a:spLocks/>
          </p:cNvSpPr>
          <p:nvPr/>
        </p:nvSpPr>
        <p:spPr>
          <a:xfrm>
            <a:off x="6218891" y="2219960"/>
            <a:ext cx="5825625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an Werge – direktør, Al2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nders Holmgren </a:t>
            </a:r>
            <a:r>
              <a:rPr lang="da-DK" sz="1300" b="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– kundedirektør, DAB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ne-Grethe Slagelse - direktør, Holbæk Boligselsk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ne Juul – direktør, Slagelse Boligsels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jarne Larsson – adm. direktør, FS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n Muus – direktør, Boligkontoret Fredericia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acob Michaelsen – direktør, F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tin Hersom Bien – adm. direktør, Boligforeningen Ringgården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Bach Kjær – direktør, Plus 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Hagesen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via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lle Adamsen – adm.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j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ter Basland – adm. direktør, A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Lyngdrup Nedergaard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st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Nielsen –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ceadm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irektør, Boligkontoret Danmark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ie Wedel Heilskov – innovationschef, 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lrik Hoffmeyer – adm. direktør, Bo-Vest 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285FF6A5-848B-57E0-4B71-BFEDC76E7E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39712" y="3276601"/>
            <a:ext cx="305001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390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722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AA6A83-04E4-BB34-9A41-BE3130531A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noProof="0"/>
              <a:t>Kontakt os, og følg med på projektets kanaler</a:t>
            </a:r>
          </a:p>
        </p:txBody>
      </p:sp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1177989" y="2372729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1148331" y="330265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60" name="Graphic 7">
            <a:extLst>
              <a:ext uri="{FF2B5EF4-FFF2-40B4-BE49-F238E27FC236}">
                <a16:creationId xmlns:a16="http://schemas.microsoft.com/office/drawing/2014/main" id="{CD17B9DE-A959-429E-B6FC-DB4942D63BED}"/>
              </a:ext>
            </a:extLst>
          </p:cNvPr>
          <p:cNvSpPr/>
          <p:nvPr/>
        </p:nvSpPr>
        <p:spPr>
          <a:xfrm>
            <a:off x="1148331" y="4264048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05880" y="5383589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05880" y="3457227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05880" y="2494046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75829" y="4390357"/>
            <a:ext cx="578262" cy="5782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2086319" y="238379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 er altid velkommen til at skrive til os på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@domea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2086319" y="334697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ind et hav af oplysninger, billeder og videoer på vores hjemmeside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6C27B2-1A27-41F1-A52B-9D3D06CEA6FA}"/>
              </a:ext>
            </a:extLst>
          </p:cNvPr>
          <p:cNvSpPr txBox="1"/>
          <p:nvPr/>
        </p:nvSpPr>
        <p:spPr>
          <a:xfrm>
            <a:off x="2086319" y="4310155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jævnlige opdateringer, følg os gerne løbende på LinkedIn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ny</a:t>
            </a: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8245012" y="1561037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49343" y="2097745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3389241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4448301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31" y="5622193"/>
            <a:ext cx="1711671" cy="43397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1999129" y="321360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1999129" y="4176783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39CFFE5-5B5F-4F0F-998F-F5E92EA3B30C}"/>
              </a:ext>
            </a:extLst>
          </p:cNvPr>
          <p:cNvSpPr/>
          <p:nvPr/>
        </p:nvSpPr>
        <p:spPr>
          <a:xfrm>
            <a:off x="1999129" y="5139964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9C77463-25D4-3D40-3705-92758E038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8C3478-4073-3070-2463-5CC158D065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8C3478-4073-3070-2463-5CC158D06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601A6-F987-94BD-E8B0-EEB8A9BF49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4" y="1813714"/>
            <a:ext cx="5491810" cy="2272511"/>
          </a:xfrm>
        </p:spPr>
        <p:txBody>
          <a:bodyPr/>
          <a:lstStyle/>
          <a:p>
            <a:r>
              <a:rPr lang="da-DK"/>
              <a:t>Tak for i da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9704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D4787A3-1C89-0082-FD06-A92EFB50EB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C77151-F924-3D6D-3E0F-BA6A5BFBF3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592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C77151-F924-3D6D-3E0F-BA6A5BFBF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44C914-0CE6-6B45-190D-EEA1AA3263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947" y="2365827"/>
            <a:ext cx="4986812" cy="1317205"/>
          </a:xfrm>
        </p:spPr>
        <p:txBody>
          <a:bodyPr/>
          <a:lstStyle/>
          <a:p>
            <a:r>
              <a:rPr lang="da-DK"/>
              <a:t>Pau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2930230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Titel, DM Sans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kt</a:t>
            </a:r>
            <a:endParaRPr lang="da-DK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F398A42-ED66-0EDB-1D0B-BF12A47406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90993"/>
            <a:ext cx="11472000" cy="4685982"/>
          </a:xfrm>
        </p:spPr>
        <p:txBody>
          <a:bodyPr/>
          <a:lstStyle/>
          <a:p>
            <a:pPr lvl="0"/>
            <a:r>
              <a:rPr lang="da-DK"/>
              <a:t>Klik for at redig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3F1B1F-2073-8BDB-32DF-DA0498B9FF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A0D93D-EA89-753A-AB21-B494247512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31F726-D8C8-FE1A-1DA6-D2902746B8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Underoverskrift, DM Sans, 26 </a:t>
            </a:r>
            <a:r>
              <a:rPr lang="da-DK" err="1"/>
              <a:t>pkt</a:t>
            </a:r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1246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4A8C6C8-6946-C158-F45A-543368B56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49A30CD-DDE2-9716-F6FD-C9398A614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30CD-DDE2-9716-F6FD-C9398A614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16D07EB-BA41-BF4E-EC42-855D27881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Titel, DM Sans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kt</a:t>
            </a:r>
            <a:endParaRPr lang="da-D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7E94BC-4DB5-EB8D-FA25-14BA6B0C33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91200"/>
            <a:ext cx="11472000" cy="437945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a-DK">
                <a:latin typeface="Verdana"/>
                <a:ea typeface="Verdana"/>
              </a:rPr>
              <a:t>Klik for at redigere</a:t>
            </a:r>
          </a:p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E1EBF-FEEB-A213-25B7-22A0ABB2F5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95B9140-1438-3222-143E-3AE4C25C3D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AD4AF-531B-6CEB-D613-8198F4E3B6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Underoverskrift, DM Sans, 26 </a:t>
            </a:r>
            <a:r>
              <a:rPr lang="da-DK" err="1"/>
              <a:t>pkt</a:t>
            </a:r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2586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4A8C6C8-6946-C158-F45A-543368B56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49A30CD-DDE2-9716-F6FD-C9398A614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30CD-DDE2-9716-F6FD-C9398A614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16D07EB-BA41-BF4E-EC42-855D27881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Titel, DM Sans ExtraBold, 36 p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7E94BC-4DB5-EB8D-FA25-14BA6B0C33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1950" y="1744259"/>
            <a:ext cx="11472000" cy="437945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a-DK"/>
              <a:t>Klik for at redigere</a:t>
            </a:r>
          </a:p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E1EBF-FEEB-A213-25B7-22A0ABB2F5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7</a:t>
            </a:fld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95B9140-1438-3222-143E-3AE4C25C3D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/>
              <a:t>Sidefod, Verdana, 10 p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AD4AF-531B-6CEB-D613-8198F4E3B6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Underoverskrift, DM Sans, 26 pk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3286977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155340B-60B8-D9C3-3C6D-603241DD3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E2EAEFB-D811-D8B9-852F-AC24FA365E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EAEFB-D811-D8B9-852F-AC24FA365E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C13637B-BD2A-4CD7-0116-BA3C0601D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Titel, DM Sans ExtraBold, 36 p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262E95-AA7C-A1E6-62E1-E1DC5490D3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1950" y="1744259"/>
            <a:ext cx="11472000" cy="437945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a-DK"/>
              <a:t>Klik for at redigere</a:t>
            </a:r>
          </a:p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B17A9D-5CCB-0DA5-2EB3-C1C0186668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12F1B1-D99A-BDFB-6DA0-FE1CDB5257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/>
              <a:t>Sidefod, Verdana, 10 p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A486F6-3598-68DD-E26F-9D1F90EDCE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Underoverskrift, DM Sans, 26 pk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9474310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301DC9F-D53C-1AFF-8CC3-C8D281A92C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BE62F6-54B2-9FE3-1BEA-DA9E203BDC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E62F6-54B2-9FE3-1BEA-DA9E203BD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C5C96BA-9E9C-B1A8-C34C-B8B8CAB2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Titel, DM Sans ExtraBold, 36 p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236E5B-12F2-67F8-49D8-378894D1F1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1950" y="1744259"/>
            <a:ext cx="11472000" cy="437945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a-DK"/>
              <a:t>Klik for at redigere</a:t>
            </a:r>
          </a:p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078F8-394C-FA82-A4B9-D5000DAE71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487139-4988-B1B0-F345-2ED1625DCA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/>
              <a:t>Sidefod, Verdana, 10 p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3D73E2-37A1-EE01-45DD-406821FB23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Underoverskrift, DM Sans, 26 pk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009522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47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84">
            <a:extLst>
              <a:ext uri="{FF2B5EF4-FFF2-40B4-BE49-F238E27FC236}">
                <a16:creationId xmlns:a16="http://schemas.microsoft.com/office/drawing/2014/main" id="{806940DC-C87D-8B85-DA53-5340839AF918}"/>
              </a:ext>
            </a:extLst>
          </p:cNvPr>
          <p:cNvSpPr/>
          <p:nvPr/>
        </p:nvSpPr>
        <p:spPr>
          <a:xfrm>
            <a:off x="669240" y="1725122"/>
            <a:ext cx="4199940" cy="420041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da-DK" sz="16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menKompas</a:t>
            </a:r>
            <a:r>
              <a:rPr lang="da-DK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vil etablere en branchestandard med tilh</a:t>
            </a:r>
            <a:r>
              <a:rPr lang="da-DK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ørende data og enkle værktøjer, som sætter de almene boligorganisationer i stand til at arbejde målbart og databaseret med bæredygtighed, herunder ESG-rapportering</a:t>
            </a:r>
            <a:endParaRPr lang="da-DK" sz="16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C324F66-7917-2808-4F3A-7B45B6D00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Missionen for AlmenKompa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0168B5E-7DDB-C369-E8D8-4904FCEF775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BA0516F-1D6D-D259-197F-93F350CF1D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reeform: Shape 47">
            <a:extLst>
              <a:ext uri="{FF2B5EF4-FFF2-40B4-BE49-F238E27FC236}">
                <a16:creationId xmlns:a16="http://schemas.microsoft.com/office/drawing/2014/main" id="{D7FB2D78-C8D2-A8AC-3073-1C2A0999415C}"/>
              </a:ext>
            </a:extLst>
          </p:cNvPr>
          <p:cNvSpPr/>
          <p:nvPr/>
        </p:nvSpPr>
        <p:spPr>
          <a:xfrm>
            <a:off x="5429459" y="5967910"/>
            <a:ext cx="6410116" cy="311679"/>
          </a:xfrm>
          <a:custGeom>
            <a:avLst/>
            <a:gdLst>
              <a:gd name="connsiteX0" fmla="*/ 0 w 1082244"/>
              <a:gd name="connsiteY0" fmla="*/ 43265 h 52622"/>
              <a:gd name="connsiteX1" fmla="*/ 17848 w 1082244"/>
              <a:gd name="connsiteY1" fmla="*/ 43265 h 52622"/>
              <a:gd name="connsiteX2" fmla="*/ 35696 w 1082244"/>
              <a:gd name="connsiteY2" fmla="*/ 43265 h 52622"/>
              <a:gd name="connsiteX3" fmla="*/ 53544 w 1082244"/>
              <a:gd name="connsiteY3" fmla="*/ 43806 h 52622"/>
              <a:gd name="connsiteX4" fmla="*/ 71393 w 1082244"/>
              <a:gd name="connsiteY4" fmla="*/ 43806 h 52622"/>
              <a:gd name="connsiteX5" fmla="*/ 89241 w 1082244"/>
              <a:gd name="connsiteY5" fmla="*/ 43806 h 52622"/>
              <a:gd name="connsiteX6" fmla="*/ 107089 w 1082244"/>
              <a:gd name="connsiteY6" fmla="*/ 42183 h 52622"/>
              <a:gd name="connsiteX7" fmla="*/ 124937 w 1082244"/>
              <a:gd name="connsiteY7" fmla="*/ 44346 h 52622"/>
              <a:gd name="connsiteX8" fmla="*/ 142785 w 1082244"/>
              <a:gd name="connsiteY8" fmla="*/ 44888 h 52622"/>
              <a:gd name="connsiteX9" fmla="*/ 160633 w 1082244"/>
              <a:gd name="connsiteY9" fmla="*/ 43265 h 52622"/>
              <a:gd name="connsiteX10" fmla="*/ 178481 w 1082244"/>
              <a:gd name="connsiteY10" fmla="*/ 44346 h 52622"/>
              <a:gd name="connsiteX11" fmla="*/ 196329 w 1082244"/>
              <a:gd name="connsiteY11" fmla="*/ 42724 h 52622"/>
              <a:gd name="connsiteX12" fmla="*/ 214177 w 1082244"/>
              <a:gd name="connsiteY12" fmla="*/ 43806 h 52622"/>
              <a:gd name="connsiteX13" fmla="*/ 232026 w 1082244"/>
              <a:gd name="connsiteY13" fmla="*/ 44346 h 52622"/>
              <a:gd name="connsiteX14" fmla="*/ 249874 w 1082244"/>
              <a:gd name="connsiteY14" fmla="*/ 44888 h 52622"/>
              <a:gd name="connsiteX15" fmla="*/ 267722 w 1082244"/>
              <a:gd name="connsiteY15" fmla="*/ 44346 h 52622"/>
              <a:gd name="connsiteX16" fmla="*/ 285570 w 1082244"/>
              <a:gd name="connsiteY16" fmla="*/ 42724 h 52622"/>
              <a:gd name="connsiteX17" fmla="*/ 303418 w 1082244"/>
              <a:gd name="connsiteY17" fmla="*/ 42724 h 52622"/>
              <a:gd name="connsiteX18" fmla="*/ 321266 w 1082244"/>
              <a:gd name="connsiteY18" fmla="*/ 44888 h 52622"/>
              <a:gd name="connsiteX19" fmla="*/ 339114 w 1082244"/>
              <a:gd name="connsiteY19" fmla="*/ 44346 h 52622"/>
              <a:gd name="connsiteX20" fmla="*/ 356962 w 1082244"/>
              <a:gd name="connsiteY20" fmla="*/ 44346 h 52622"/>
              <a:gd name="connsiteX21" fmla="*/ 374810 w 1082244"/>
              <a:gd name="connsiteY21" fmla="*/ 42724 h 52622"/>
              <a:gd name="connsiteX22" fmla="*/ 392658 w 1082244"/>
              <a:gd name="connsiteY22" fmla="*/ 42183 h 52622"/>
              <a:gd name="connsiteX23" fmla="*/ 410507 w 1082244"/>
              <a:gd name="connsiteY23" fmla="*/ 43806 h 52622"/>
              <a:gd name="connsiteX24" fmla="*/ 428355 w 1082244"/>
              <a:gd name="connsiteY24" fmla="*/ 44346 h 52622"/>
              <a:gd name="connsiteX25" fmla="*/ 446203 w 1082244"/>
              <a:gd name="connsiteY25" fmla="*/ 42183 h 52622"/>
              <a:gd name="connsiteX26" fmla="*/ 464051 w 1082244"/>
              <a:gd name="connsiteY26" fmla="*/ 44346 h 52622"/>
              <a:gd name="connsiteX27" fmla="*/ 481899 w 1082244"/>
              <a:gd name="connsiteY27" fmla="*/ 42724 h 52622"/>
              <a:gd name="connsiteX28" fmla="*/ 499747 w 1082244"/>
              <a:gd name="connsiteY28" fmla="*/ 42724 h 52622"/>
              <a:gd name="connsiteX29" fmla="*/ 517595 w 1082244"/>
              <a:gd name="connsiteY29" fmla="*/ 43806 h 52622"/>
              <a:gd name="connsiteX30" fmla="*/ 535443 w 1082244"/>
              <a:gd name="connsiteY30" fmla="*/ 43806 h 52622"/>
              <a:gd name="connsiteX31" fmla="*/ 553292 w 1082244"/>
              <a:gd name="connsiteY31" fmla="*/ 44346 h 52622"/>
              <a:gd name="connsiteX32" fmla="*/ 571139 w 1082244"/>
              <a:gd name="connsiteY32" fmla="*/ 42724 h 52622"/>
              <a:gd name="connsiteX33" fmla="*/ 588988 w 1082244"/>
              <a:gd name="connsiteY33" fmla="*/ 42724 h 52622"/>
              <a:gd name="connsiteX34" fmla="*/ 606835 w 1082244"/>
              <a:gd name="connsiteY34" fmla="*/ 43806 h 52622"/>
              <a:gd name="connsiteX35" fmla="*/ 624684 w 1082244"/>
              <a:gd name="connsiteY35" fmla="*/ 44346 h 52622"/>
              <a:gd name="connsiteX36" fmla="*/ 642532 w 1082244"/>
              <a:gd name="connsiteY36" fmla="*/ 42183 h 52622"/>
              <a:gd name="connsiteX37" fmla="*/ 660380 w 1082244"/>
              <a:gd name="connsiteY37" fmla="*/ 43806 h 52622"/>
              <a:gd name="connsiteX38" fmla="*/ 678228 w 1082244"/>
              <a:gd name="connsiteY38" fmla="*/ 43265 h 52622"/>
              <a:gd name="connsiteX39" fmla="*/ 696076 w 1082244"/>
              <a:gd name="connsiteY39" fmla="*/ 43265 h 52622"/>
              <a:gd name="connsiteX40" fmla="*/ 713924 w 1082244"/>
              <a:gd name="connsiteY40" fmla="*/ 43806 h 52622"/>
              <a:gd name="connsiteX41" fmla="*/ 731773 w 1082244"/>
              <a:gd name="connsiteY41" fmla="*/ 43806 h 52622"/>
              <a:gd name="connsiteX42" fmla="*/ 749620 w 1082244"/>
              <a:gd name="connsiteY42" fmla="*/ 44346 h 52622"/>
              <a:gd name="connsiteX43" fmla="*/ 765846 w 1082244"/>
              <a:gd name="connsiteY43" fmla="*/ 32988 h 52622"/>
              <a:gd name="connsiteX44" fmla="*/ 782612 w 1082244"/>
              <a:gd name="connsiteY44" fmla="*/ 22712 h 52622"/>
              <a:gd name="connsiteX45" fmla="*/ 798838 w 1082244"/>
              <a:gd name="connsiteY45" fmla="*/ 11895 h 52622"/>
              <a:gd name="connsiteX46" fmla="*/ 815605 w 1082244"/>
              <a:gd name="connsiteY46" fmla="*/ 1078 h 52622"/>
              <a:gd name="connsiteX47" fmla="*/ 806410 w 1082244"/>
              <a:gd name="connsiteY47" fmla="*/ 15141 h 52622"/>
              <a:gd name="connsiteX48" fmla="*/ 797756 w 1082244"/>
              <a:gd name="connsiteY48" fmla="*/ 29203 h 52622"/>
              <a:gd name="connsiteX49" fmla="*/ 789103 w 1082244"/>
              <a:gd name="connsiteY49" fmla="*/ 42724 h 52622"/>
              <a:gd name="connsiteX50" fmla="*/ 803706 w 1082244"/>
              <a:gd name="connsiteY50" fmla="*/ 38397 h 52622"/>
              <a:gd name="connsiteX51" fmla="*/ 819390 w 1082244"/>
              <a:gd name="connsiteY51" fmla="*/ 35693 h 52622"/>
              <a:gd name="connsiteX52" fmla="*/ 834535 w 1082244"/>
              <a:gd name="connsiteY52" fmla="*/ 31907 h 52622"/>
              <a:gd name="connsiteX53" fmla="*/ 825340 w 1082244"/>
              <a:gd name="connsiteY53" fmla="*/ 41101 h 52622"/>
              <a:gd name="connsiteX54" fmla="*/ 815063 w 1082244"/>
              <a:gd name="connsiteY54" fmla="*/ 49755 h 52622"/>
              <a:gd name="connsiteX55" fmla="*/ 832371 w 1082244"/>
              <a:gd name="connsiteY55" fmla="*/ 48673 h 52622"/>
              <a:gd name="connsiteX56" fmla="*/ 850219 w 1082244"/>
              <a:gd name="connsiteY56" fmla="*/ 49214 h 52622"/>
              <a:gd name="connsiteX57" fmla="*/ 868067 w 1082244"/>
              <a:gd name="connsiteY57" fmla="*/ 49755 h 52622"/>
              <a:gd name="connsiteX58" fmla="*/ 885915 w 1082244"/>
              <a:gd name="connsiteY58" fmla="*/ 49214 h 52622"/>
              <a:gd name="connsiteX59" fmla="*/ 903763 w 1082244"/>
              <a:gd name="connsiteY59" fmla="*/ 50296 h 52622"/>
              <a:gd name="connsiteX60" fmla="*/ 921612 w 1082244"/>
              <a:gd name="connsiteY60" fmla="*/ 49755 h 52622"/>
              <a:gd name="connsiteX61" fmla="*/ 939459 w 1082244"/>
              <a:gd name="connsiteY61" fmla="*/ 51378 h 52622"/>
              <a:gd name="connsiteX62" fmla="*/ 957308 w 1082244"/>
              <a:gd name="connsiteY62" fmla="*/ 50837 h 52622"/>
              <a:gd name="connsiteX63" fmla="*/ 975156 w 1082244"/>
              <a:gd name="connsiteY63" fmla="*/ 51378 h 52622"/>
              <a:gd name="connsiteX64" fmla="*/ 993004 w 1082244"/>
              <a:gd name="connsiteY64" fmla="*/ 51378 h 52622"/>
              <a:gd name="connsiteX65" fmla="*/ 1010852 w 1082244"/>
              <a:gd name="connsiteY65" fmla="*/ 49214 h 52622"/>
              <a:gd name="connsiteX66" fmla="*/ 1028700 w 1082244"/>
              <a:gd name="connsiteY66" fmla="*/ 51378 h 52622"/>
              <a:gd name="connsiteX67" fmla="*/ 1046548 w 1082244"/>
              <a:gd name="connsiteY67" fmla="*/ 50837 h 52622"/>
              <a:gd name="connsiteX68" fmla="*/ 1064397 w 1082244"/>
              <a:gd name="connsiteY68" fmla="*/ 50837 h 52622"/>
              <a:gd name="connsiteX69" fmla="*/ 1082244 w 1082244"/>
              <a:gd name="connsiteY69" fmla="*/ 51918 h 5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082244" h="52622">
                <a:moveTo>
                  <a:pt x="0" y="43265"/>
                </a:moveTo>
                <a:cubicBezTo>
                  <a:pt x="8653" y="43265"/>
                  <a:pt x="8653" y="43265"/>
                  <a:pt x="17848" y="43265"/>
                </a:cubicBezTo>
                <a:cubicBezTo>
                  <a:pt x="26502" y="43265"/>
                  <a:pt x="26502" y="43265"/>
                  <a:pt x="35696" y="43265"/>
                </a:cubicBezTo>
                <a:cubicBezTo>
                  <a:pt x="44350" y="43265"/>
                  <a:pt x="44350" y="43806"/>
                  <a:pt x="53544" y="43806"/>
                </a:cubicBezTo>
                <a:cubicBezTo>
                  <a:pt x="62198" y="43806"/>
                  <a:pt x="62198" y="43806"/>
                  <a:pt x="71393" y="43806"/>
                </a:cubicBezTo>
                <a:cubicBezTo>
                  <a:pt x="80046" y="43806"/>
                  <a:pt x="80046" y="43806"/>
                  <a:pt x="89241" y="43806"/>
                </a:cubicBezTo>
                <a:cubicBezTo>
                  <a:pt x="97894" y="43806"/>
                  <a:pt x="97894" y="42183"/>
                  <a:pt x="107089" y="42183"/>
                </a:cubicBezTo>
                <a:cubicBezTo>
                  <a:pt x="115742" y="42183"/>
                  <a:pt x="115742" y="44346"/>
                  <a:pt x="124937" y="44346"/>
                </a:cubicBezTo>
                <a:cubicBezTo>
                  <a:pt x="133590" y="44346"/>
                  <a:pt x="133590" y="44888"/>
                  <a:pt x="142785" y="44888"/>
                </a:cubicBezTo>
                <a:cubicBezTo>
                  <a:pt x="151438" y="44888"/>
                  <a:pt x="151438" y="43265"/>
                  <a:pt x="160633" y="43265"/>
                </a:cubicBezTo>
                <a:cubicBezTo>
                  <a:pt x="169287" y="43265"/>
                  <a:pt x="169287" y="44346"/>
                  <a:pt x="178481" y="44346"/>
                </a:cubicBezTo>
                <a:cubicBezTo>
                  <a:pt x="187135" y="44346"/>
                  <a:pt x="187135" y="42724"/>
                  <a:pt x="196329" y="42724"/>
                </a:cubicBezTo>
                <a:cubicBezTo>
                  <a:pt x="204983" y="42724"/>
                  <a:pt x="204983" y="43806"/>
                  <a:pt x="214177" y="43806"/>
                </a:cubicBezTo>
                <a:cubicBezTo>
                  <a:pt x="222831" y="43806"/>
                  <a:pt x="222831" y="44346"/>
                  <a:pt x="232026" y="44346"/>
                </a:cubicBezTo>
                <a:cubicBezTo>
                  <a:pt x="240679" y="44346"/>
                  <a:pt x="240679" y="44888"/>
                  <a:pt x="249874" y="44888"/>
                </a:cubicBezTo>
                <a:cubicBezTo>
                  <a:pt x="258527" y="44888"/>
                  <a:pt x="258527" y="44346"/>
                  <a:pt x="267722" y="44346"/>
                </a:cubicBezTo>
                <a:cubicBezTo>
                  <a:pt x="276375" y="44346"/>
                  <a:pt x="276375" y="42724"/>
                  <a:pt x="285570" y="42724"/>
                </a:cubicBezTo>
                <a:cubicBezTo>
                  <a:pt x="294224" y="42724"/>
                  <a:pt x="294224" y="42724"/>
                  <a:pt x="303418" y="42724"/>
                </a:cubicBezTo>
                <a:cubicBezTo>
                  <a:pt x="312072" y="42724"/>
                  <a:pt x="312072" y="44888"/>
                  <a:pt x="321266" y="44888"/>
                </a:cubicBezTo>
                <a:cubicBezTo>
                  <a:pt x="329920" y="44888"/>
                  <a:pt x="329920" y="44346"/>
                  <a:pt x="339114" y="44346"/>
                </a:cubicBezTo>
                <a:cubicBezTo>
                  <a:pt x="347768" y="44346"/>
                  <a:pt x="347768" y="44346"/>
                  <a:pt x="356962" y="44346"/>
                </a:cubicBezTo>
                <a:cubicBezTo>
                  <a:pt x="365616" y="44346"/>
                  <a:pt x="365616" y="42724"/>
                  <a:pt x="374810" y="42724"/>
                </a:cubicBezTo>
                <a:cubicBezTo>
                  <a:pt x="383464" y="42724"/>
                  <a:pt x="383464" y="42183"/>
                  <a:pt x="392658" y="42183"/>
                </a:cubicBezTo>
                <a:cubicBezTo>
                  <a:pt x="401312" y="42183"/>
                  <a:pt x="401312" y="43806"/>
                  <a:pt x="410507" y="43806"/>
                </a:cubicBezTo>
                <a:cubicBezTo>
                  <a:pt x="419160" y="43806"/>
                  <a:pt x="419160" y="44346"/>
                  <a:pt x="428355" y="44346"/>
                </a:cubicBezTo>
                <a:cubicBezTo>
                  <a:pt x="437008" y="44346"/>
                  <a:pt x="437008" y="42183"/>
                  <a:pt x="446203" y="42183"/>
                </a:cubicBezTo>
                <a:cubicBezTo>
                  <a:pt x="454856" y="42183"/>
                  <a:pt x="454856" y="44346"/>
                  <a:pt x="464051" y="44346"/>
                </a:cubicBezTo>
                <a:cubicBezTo>
                  <a:pt x="472705" y="44346"/>
                  <a:pt x="472705" y="42724"/>
                  <a:pt x="481899" y="42724"/>
                </a:cubicBezTo>
                <a:cubicBezTo>
                  <a:pt x="490552" y="42724"/>
                  <a:pt x="490552" y="42724"/>
                  <a:pt x="499747" y="42724"/>
                </a:cubicBezTo>
                <a:cubicBezTo>
                  <a:pt x="508401" y="42724"/>
                  <a:pt x="508401" y="43806"/>
                  <a:pt x="517595" y="43806"/>
                </a:cubicBezTo>
                <a:cubicBezTo>
                  <a:pt x="526249" y="43806"/>
                  <a:pt x="526249" y="43806"/>
                  <a:pt x="535443" y="43806"/>
                </a:cubicBezTo>
                <a:cubicBezTo>
                  <a:pt x="544097" y="43806"/>
                  <a:pt x="544097" y="44346"/>
                  <a:pt x="553292" y="44346"/>
                </a:cubicBezTo>
                <a:cubicBezTo>
                  <a:pt x="561945" y="44346"/>
                  <a:pt x="561945" y="42724"/>
                  <a:pt x="571139" y="42724"/>
                </a:cubicBezTo>
                <a:cubicBezTo>
                  <a:pt x="579793" y="42724"/>
                  <a:pt x="579793" y="42724"/>
                  <a:pt x="588988" y="42724"/>
                </a:cubicBezTo>
                <a:cubicBezTo>
                  <a:pt x="597641" y="42724"/>
                  <a:pt x="597641" y="43806"/>
                  <a:pt x="606835" y="43806"/>
                </a:cubicBezTo>
                <a:cubicBezTo>
                  <a:pt x="615490" y="43806"/>
                  <a:pt x="615490" y="44346"/>
                  <a:pt x="624684" y="44346"/>
                </a:cubicBezTo>
                <a:cubicBezTo>
                  <a:pt x="633878" y="44346"/>
                  <a:pt x="633337" y="42183"/>
                  <a:pt x="642532" y="42183"/>
                </a:cubicBezTo>
                <a:cubicBezTo>
                  <a:pt x="651186" y="42183"/>
                  <a:pt x="651186" y="43806"/>
                  <a:pt x="660380" y="43806"/>
                </a:cubicBezTo>
                <a:cubicBezTo>
                  <a:pt x="669033" y="43806"/>
                  <a:pt x="669033" y="43265"/>
                  <a:pt x="678228" y="43265"/>
                </a:cubicBezTo>
                <a:cubicBezTo>
                  <a:pt x="686882" y="43265"/>
                  <a:pt x="686882" y="43265"/>
                  <a:pt x="696076" y="43265"/>
                </a:cubicBezTo>
                <a:cubicBezTo>
                  <a:pt x="704730" y="43265"/>
                  <a:pt x="704730" y="43806"/>
                  <a:pt x="713924" y="43806"/>
                </a:cubicBezTo>
                <a:cubicBezTo>
                  <a:pt x="722578" y="43806"/>
                  <a:pt x="722578" y="43806"/>
                  <a:pt x="731773" y="43806"/>
                </a:cubicBezTo>
                <a:cubicBezTo>
                  <a:pt x="740426" y="43806"/>
                  <a:pt x="741508" y="46510"/>
                  <a:pt x="749620" y="44346"/>
                </a:cubicBezTo>
                <a:cubicBezTo>
                  <a:pt x="758815" y="41642"/>
                  <a:pt x="757733" y="38397"/>
                  <a:pt x="765846" y="32988"/>
                </a:cubicBezTo>
                <a:cubicBezTo>
                  <a:pt x="773959" y="27580"/>
                  <a:pt x="774499" y="28121"/>
                  <a:pt x="782612" y="22712"/>
                </a:cubicBezTo>
                <a:cubicBezTo>
                  <a:pt x="790725" y="17304"/>
                  <a:pt x="790725" y="16763"/>
                  <a:pt x="798838" y="11895"/>
                </a:cubicBezTo>
                <a:cubicBezTo>
                  <a:pt x="806951" y="6487"/>
                  <a:pt x="806410" y="-3248"/>
                  <a:pt x="815605" y="1078"/>
                </a:cubicBezTo>
                <a:cubicBezTo>
                  <a:pt x="823176" y="4324"/>
                  <a:pt x="810737" y="8109"/>
                  <a:pt x="806410" y="15141"/>
                </a:cubicBezTo>
                <a:cubicBezTo>
                  <a:pt x="802083" y="22171"/>
                  <a:pt x="802083" y="22171"/>
                  <a:pt x="797756" y="29203"/>
                </a:cubicBezTo>
                <a:cubicBezTo>
                  <a:pt x="793429" y="36233"/>
                  <a:pt x="784776" y="35693"/>
                  <a:pt x="789103" y="42724"/>
                </a:cubicBezTo>
                <a:cubicBezTo>
                  <a:pt x="793429" y="49214"/>
                  <a:pt x="796134" y="40020"/>
                  <a:pt x="803706" y="38397"/>
                </a:cubicBezTo>
                <a:cubicBezTo>
                  <a:pt x="811278" y="36233"/>
                  <a:pt x="811818" y="37856"/>
                  <a:pt x="819390" y="35693"/>
                </a:cubicBezTo>
                <a:cubicBezTo>
                  <a:pt x="826962" y="33529"/>
                  <a:pt x="829126" y="26499"/>
                  <a:pt x="834535" y="31907"/>
                </a:cubicBezTo>
                <a:cubicBezTo>
                  <a:pt x="839402" y="36775"/>
                  <a:pt x="830207" y="36775"/>
                  <a:pt x="825340" y="41101"/>
                </a:cubicBezTo>
                <a:cubicBezTo>
                  <a:pt x="820472" y="45428"/>
                  <a:pt x="810737" y="44346"/>
                  <a:pt x="815063" y="49755"/>
                </a:cubicBezTo>
                <a:cubicBezTo>
                  <a:pt x="821013" y="56786"/>
                  <a:pt x="823718" y="48673"/>
                  <a:pt x="832371" y="48673"/>
                </a:cubicBezTo>
                <a:cubicBezTo>
                  <a:pt x="841025" y="48673"/>
                  <a:pt x="841025" y="49214"/>
                  <a:pt x="850219" y="49214"/>
                </a:cubicBezTo>
                <a:cubicBezTo>
                  <a:pt x="858873" y="49214"/>
                  <a:pt x="858873" y="49755"/>
                  <a:pt x="868067" y="49755"/>
                </a:cubicBezTo>
                <a:cubicBezTo>
                  <a:pt x="876721" y="49755"/>
                  <a:pt x="876721" y="49214"/>
                  <a:pt x="885915" y="49214"/>
                </a:cubicBezTo>
                <a:cubicBezTo>
                  <a:pt x="894569" y="49214"/>
                  <a:pt x="894569" y="50296"/>
                  <a:pt x="903763" y="50296"/>
                </a:cubicBezTo>
                <a:cubicBezTo>
                  <a:pt x="912417" y="50296"/>
                  <a:pt x="912417" y="49755"/>
                  <a:pt x="921612" y="49755"/>
                </a:cubicBezTo>
                <a:cubicBezTo>
                  <a:pt x="930265" y="49755"/>
                  <a:pt x="930265" y="51378"/>
                  <a:pt x="939459" y="51378"/>
                </a:cubicBezTo>
                <a:cubicBezTo>
                  <a:pt x="948113" y="51378"/>
                  <a:pt x="948113" y="50837"/>
                  <a:pt x="957308" y="50837"/>
                </a:cubicBezTo>
                <a:cubicBezTo>
                  <a:pt x="965961" y="50837"/>
                  <a:pt x="965961" y="51378"/>
                  <a:pt x="975156" y="51378"/>
                </a:cubicBezTo>
                <a:cubicBezTo>
                  <a:pt x="983809" y="51378"/>
                  <a:pt x="983809" y="51378"/>
                  <a:pt x="993004" y="51378"/>
                </a:cubicBezTo>
                <a:cubicBezTo>
                  <a:pt x="1001657" y="51378"/>
                  <a:pt x="1001657" y="49214"/>
                  <a:pt x="1010852" y="49214"/>
                </a:cubicBezTo>
                <a:cubicBezTo>
                  <a:pt x="1019506" y="49214"/>
                  <a:pt x="1019506" y="51378"/>
                  <a:pt x="1028700" y="51378"/>
                </a:cubicBezTo>
                <a:cubicBezTo>
                  <a:pt x="1037354" y="51378"/>
                  <a:pt x="1037354" y="50837"/>
                  <a:pt x="1046548" y="50837"/>
                </a:cubicBezTo>
                <a:cubicBezTo>
                  <a:pt x="1055202" y="50837"/>
                  <a:pt x="1055202" y="50837"/>
                  <a:pt x="1064397" y="50837"/>
                </a:cubicBezTo>
                <a:cubicBezTo>
                  <a:pt x="1073591" y="50837"/>
                  <a:pt x="1073050" y="51918"/>
                  <a:pt x="1082244" y="5191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9" name="Freeform: Shape 583">
            <a:extLst>
              <a:ext uri="{FF2B5EF4-FFF2-40B4-BE49-F238E27FC236}">
                <a16:creationId xmlns:a16="http://schemas.microsoft.com/office/drawing/2014/main" id="{C026AA31-9448-6225-8C65-07BC94DB9517}"/>
              </a:ext>
            </a:extLst>
          </p:cNvPr>
          <p:cNvSpPr/>
          <p:nvPr/>
        </p:nvSpPr>
        <p:spPr>
          <a:xfrm>
            <a:off x="383858" y="4692966"/>
            <a:ext cx="5127307" cy="1585021"/>
          </a:xfrm>
          <a:custGeom>
            <a:avLst/>
            <a:gdLst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1889760 w 4808220"/>
              <a:gd name="connsiteY31" fmla="*/ 967740 h 982980"/>
              <a:gd name="connsiteX32" fmla="*/ 2453640 w 4808220"/>
              <a:gd name="connsiteY32" fmla="*/ 975360 h 982980"/>
              <a:gd name="connsiteX33" fmla="*/ 2560320 w 4808220"/>
              <a:gd name="connsiteY33" fmla="*/ 982980 h 982980"/>
              <a:gd name="connsiteX34" fmla="*/ 3779520 w 4808220"/>
              <a:gd name="connsiteY34" fmla="*/ 975360 h 982980"/>
              <a:gd name="connsiteX35" fmla="*/ 3916680 w 4808220"/>
              <a:gd name="connsiteY35" fmla="*/ 960120 h 982980"/>
              <a:gd name="connsiteX36" fmla="*/ 4061460 w 4808220"/>
              <a:gd name="connsiteY36" fmla="*/ 937260 h 982980"/>
              <a:gd name="connsiteX37" fmla="*/ 4808220 w 4808220"/>
              <a:gd name="connsiteY37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82027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03960 w 4808220"/>
              <a:gd name="connsiteY27" fmla="*/ 922020 h 989708"/>
              <a:gd name="connsiteX28" fmla="*/ 1257300 w 4808220"/>
              <a:gd name="connsiteY28" fmla="*/ 937260 h 989708"/>
              <a:gd name="connsiteX29" fmla="*/ 1386840 w 4808220"/>
              <a:gd name="connsiteY29" fmla="*/ 952500 h 989708"/>
              <a:gd name="connsiteX30" fmla="*/ 1455420 w 4808220"/>
              <a:gd name="connsiteY30" fmla="*/ 982027 h 989708"/>
              <a:gd name="connsiteX31" fmla="*/ 2434590 w 4808220"/>
              <a:gd name="connsiteY31" fmla="*/ 989647 h 989708"/>
              <a:gd name="connsiteX32" fmla="*/ 2560320 w 4808220"/>
              <a:gd name="connsiteY32" fmla="*/ 982980 h 989708"/>
              <a:gd name="connsiteX33" fmla="*/ 3779520 w 4808220"/>
              <a:gd name="connsiteY33" fmla="*/ 975360 h 989708"/>
              <a:gd name="connsiteX34" fmla="*/ 3916680 w 4808220"/>
              <a:gd name="connsiteY34" fmla="*/ 960120 h 989708"/>
              <a:gd name="connsiteX35" fmla="*/ 4061460 w 4808220"/>
              <a:gd name="connsiteY35" fmla="*/ 937260 h 989708"/>
              <a:gd name="connsiteX36" fmla="*/ 4808220 w 4808220"/>
              <a:gd name="connsiteY3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57300 w 4808220"/>
              <a:gd name="connsiteY27" fmla="*/ 937260 h 989708"/>
              <a:gd name="connsiteX28" fmla="*/ 1386840 w 4808220"/>
              <a:gd name="connsiteY28" fmla="*/ 952500 h 989708"/>
              <a:gd name="connsiteX29" fmla="*/ 1455420 w 4808220"/>
              <a:gd name="connsiteY29" fmla="*/ 982027 h 989708"/>
              <a:gd name="connsiteX30" fmla="*/ 2434590 w 4808220"/>
              <a:gd name="connsiteY30" fmla="*/ 989647 h 989708"/>
              <a:gd name="connsiteX31" fmla="*/ 2560320 w 4808220"/>
              <a:gd name="connsiteY31" fmla="*/ 982980 h 989708"/>
              <a:gd name="connsiteX32" fmla="*/ 3779520 w 4808220"/>
              <a:gd name="connsiteY32" fmla="*/ 975360 h 989708"/>
              <a:gd name="connsiteX33" fmla="*/ 3916680 w 4808220"/>
              <a:gd name="connsiteY33" fmla="*/ 960120 h 989708"/>
              <a:gd name="connsiteX34" fmla="*/ 4061460 w 4808220"/>
              <a:gd name="connsiteY34" fmla="*/ 937260 h 989708"/>
              <a:gd name="connsiteX35" fmla="*/ 4808220 w 4808220"/>
              <a:gd name="connsiteY3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257300 w 4808220"/>
              <a:gd name="connsiteY26" fmla="*/ 937260 h 989708"/>
              <a:gd name="connsiteX27" fmla="*/ 1386840 w 4808220"/>
              <a:gd name="connsiteY27" fmla="*/ 952500 h 989708"/>
              <a:gd name="connsiteX28" fmla="*/ 1455420 w 4808220"/>
              <a:gd name="connsiteY28" fmla="*/ 982027 h 989708"/>
              <a:gd name="connsiteX29" fmla="*/ 2434590 w 4808220"/>
              <a:gd name="connsiteY29" fmla="*/ 989647 h 989708"/>
              <a:gd name="connsiteX30" fmla="*/ 2560320 w 4808220"/>
              <a:gd name="connsiteY30" fmla="*/ 982980 h 989708"/>
              <a:gd name="connsiteX31" fmla="*/ 3779520 w 4808220"/>
              <a:gd name="connsiteY31" fmla="*/ 975360 h 989708"/>
              <a:gd name="connsiteX32" fmla="*/ 3916680 w 4808220"/>
              <a:gd name="connsiteY32" fmla="*/ 960120 h 989708"/>
              <a:gd name="connsiteX33" fmla="*/ 4061460 w 4808220"/>
              <a:gd name="connsiteY33" fmla="*/ 937260 h 989708"/>
              <a:gd name="connsiteX34" fmla="*/ 4808220 w 4808220"/>
              <a:gd name="connsiteY3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257300 w 4808220"/>
              <a:gd name="connsiteY25" fmla="*/ 937260 h 989708"/>
              <a:gd name="connsiteX26" fmla="*/ 1386840 w 4808220"/>
              <a:gd name="connsiteY26" fmla="*/ 952500 h 989708"/>
              <a:gd name="connsiteX27" fmla="*/ 1455420 w 4808220"/>
              <a:gd name="connsiteY27" fmla="*/ 982027 h 989708"/>
              <a:gd name="connsiteX28" fmla="*/ 2434590 w 4808220"/>
              <a:gd name="connsiteY28" fmla="*/ 989647 h 989708"/>
              <a:gd name="connsiteX29" fmla="*/ 2560320 w 4808220"/>
              <a:gd name="connsiteY29" fmla="*/ 982980 h 989708"/>
              <a:gd name="connsiteX30" fmla="*/ 3779520 w 4808220"/>
              <a:gd name="connsiteY30" fmla="*/ 975360 h 989708"/>
              <a:gd name="connsiteX31" fmla="*/ 3916680 w 4808220"/>
              <a:gd name="connsiteY31" fmla="*/ 960120 h 989708"/>
              <a:gd name="connsiteX32" fmla="*/ 4061460 w 4808220"/>
              <a:gd name="connsiteY32" fmla="*/ 937260 h 989708"/>
              <a:gd name="connsiteX33" fmla="*/ 4808220 w 4808220"/>
              <a:gd name="connsiteY3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257300 w 4808220"/>
              <a:gd name="connsiteY24" fmla="*/ 937260 h 989708"/>
              <a:gd name="connsiteX25" fmla="*/ 1386840 w 4808220"/>
              <a:gd name="connsiteY25" fmla="*/ 952500 h 989708"/>
              <a:gd name="connsiteX26" fmla="*/ 1455420 w 4808220"/>
              <a:gd name="connsiteY26" fmla="*/ 982027 h 989708"/>
              <a:gd name="connsiteX27" fmla="*/ 2434590 w 4808220"/>
              <a:gd name="connsiteY27" fmla="*/ 989647 h 989708"/>
              <a:gd name="connsiteX28" fmla="*/ 2560320 w 4808220"/>
              <a:gd name="connsiteY28" fmla="*/ 982980 h 989708"/>
              <a:gd name="connsiteX29" fmla="*/ 3779520 w 4808220"/>
              <a:gd name="connsiteY29" fmla="*/ 975360 h 989708"/>
              <a:gd name="connsiteX30" fmla="*/ 3916680 w 4808220"/>
              <a:gd name="connsiteY30" fmla="*/ 960120 h 989708"/>
              <a:gd name="connsiteX31" fmla="*/ 4061460 w 4808220"/>
              <a:gd name="connsiteY31" fmla="*/ 937260 h 989708"/>
              <a:gd name="connsiteX32" fmla="*/ 4808220 w 4808220"/>
              <a:gd name="connsiteY3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33400 w 4808220"/>
              <a:gd name="connsiteY15" fmla="*/ 556260 h 989708"/>
              <a:gd name="connsiteX16" fmla="*/ 556260 w 4808220"/>
              <a:gd name="connsiteY16" fmla="*/ 594360 h 989708"/>
              <a:gd name="connsiteX17" fmla="*/ 586740 w 4808220"/>
              <a:gd name="connsiteY17" fmla="*/ 617220 h 989708"/>
              <a:gd name="connsiteX18" fmla="*/ 640080 w 4808220"/>
              <a:gd name="connsiteY18" fmla="*/ 647700 h 989708"/>
              <a:gd name="connsiteX19" fmla="*/ 670560 w 4808220"/>
              <a:gd name="connsiteY19" fmla="*/ 662940 h 989708"/>
              <a:gd name="connsiteX20" fmla="*/ 754380 w 4808220"/>
              <a:gd name="connsiteY20" fmla="*/ 716280 h 989708"/>
              <a:gd name="connsiteX21" fmla="*/ 784860 w 4808220"/>
              <a:gd name="connsiteY21" fmla="*/ 739140 h 989708"/>
              <a:gd name="connsiteX22" fmla="*/ 960120 w 4808220"/>
              <a:gd name="connsiteY22" fmla="*/ 807720 h 989708"/>
              <a:gd name="connsiteX23" fmla="*/ 1257300 w 4808220"/>
              <a:gd name="connsiteY23" fmla="*/ 937260 h 989708"/>
              <a:gd name="connsiteX24" fmla="*/ 1386840 w 4808220"/>
              <a:gd name="connsiteY24" fmla="*/ 952500 h 989708"/>
              <a:gd name="connsiteX25" fmla="*/ 1455420 w 4808220"/>
              <a:gd name="connsiteY25" fmla="*/ 982027 h 989708"/>
              <a:gd name="connsiteX26" fmla="*/ 2434590 w 4808220"/>
              <a:gd name="connsiteY26" fmla="*/ 989647 h 989708"/>
              <a:gd name="connsiteX27" fmla="*/ 2560320 w 4808220"/>
              <a:gd name="connsiteY27" fmla="*/ 982980 h 989708"/>
              <a:gd name="connsiteX28" fmla="*/ 3779520 w 4808220"/>
              <a:gd name="connsiteY28" fmla="*/ 975360 h 989708"/>
              <a:gd name="connsiteX29" fmla="*/ 3916680 w 4808220"/>
              <a:gd name="connsiteY29" fmla="*/ 960120 h 989708"/>
              <a:gd name="connsiteX30" fmla="*/ 4061460 w 4808220"/>
              <a:gd name="connsiteY30" fmla="*/ 937260 h 989708"/>
              <a:gd name="connsiteX31" fmla="*/ 4808220 w 4808220"/>
              <a:gd name="connsiteY3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56260 w 4808220"/>
              <a:gd name="connsiteY15" fmla="*/ 594360 h 989708"/>
              <a:gd name="connsiteX16" fmla="*/ 586740 w 4808220"/>
              <a:gd name="connsiteY16" fmla="*/ 617220 h 989708"/>
              <a:gd name="connsiteX17" fmla="*/ 640080 w 4808220"/>
              <a:gd name="connsiteY17" fmla="*/ 647700 h 989708"/>
              <a:gd name="connsiteX18" fmla="*/ 670560 w 4808220"/>
              <a:gd name="connsiteY18" fmla="*/ 662940 h 989708"/>
              <a:gd name="connsiteX19" fmla="*/ 754380 w 4808220"/>
              <a:gd name="connsiteY19" fmla="*/ 716280 h 989708"/>
              <a:gd name="connsiteX20" fmla="*/ 784860 w 4808220"/>
              <a:gd name="connsiteY20" fmla="*/ 739140 h 989708"/>
              <a:gd name="connsiteX21" fmla="*/ 960120 w 4808220"/>
              <a:gd name="connsiteY21" fmla="*/ 807720 h 989708"/>
              <a:gd name="connsiteX22" fmla="*/ 1257300 w 4808220"/>
              <a:gd name="connsiteY22" fmla="*/ 937260 h 989708"/>
              <a:gd name="connsiteX23" fmla="*/ 1386840 w 4808220"/>
              <a:gd name="connsiteY23" fmla="*/ 952500 h 989708"/>
              <a:gd name="connsiteX24" fmla="*/ 1455420 w 4808220"/>
              <a:gd name="connsiteY24" fmla="*/ 982027 h 989708"/>
              <a:gd name="connsiteX25" fmla="*/ 2434590 w 4808220"/>
              <a:gd name="connsiteY25" fmla="*/ 989647 h 989708"/>
              <a:gd name="connsiteX26" fmla="*/ 2560320 w 4808220"/>
              <a:gd name="connsiteY26" fmla="*/ 982980 h 989708"/>
              <a:gd name="connsiteX27" fmla="*/ 3779520 w 4808220"/>
              <a:gd name="connsiteY27" fmla="*/ 975360 h 989708"/>
              <a:gd name="connsiteX28" fmla="*/ 3916680 w 4808220"/>
              <a:gd name="connsiteY28" fmla="*/ 960120 h 989708"/>
              <a:gd name="connsiteX29" fmla="*/ 4061460 w 4808220"/>
              <a:gd name="connsiteY29" fmla="*/ 937260 h 989708"/>
              <a:gd name="connsiteX30" fmla="*/ 4808220 w 4808220"/>
              <a:gd name="connsiteY3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190500 w 4808220"/>
              <a:gd name="connsiteY6" fmla="*/ 228600 h 989708"/>
              <a:gd name="connsiteX7" fmla="*/ 243840 w 4808220"/>
              <a:gd name="connsiteY7" fmla="*/ 297180 h 989708"/>
              <a:gd name="connsiteX8" fmla="*/ 274320 w 4808220"/>
              <a:gd name="connsiteY8" fmla="*/ 335280 h 989708"/>
              <a:gd name="connsiteX9" fmla="*/ 289560 w 4808220"/>
              <a:gd name="connsiteY9" fmla="*/ 365760 h 989708"/>
              <a:gd name="connsiteX10" fmla="*/ 342900 w 4808220"/>
              <a:gd name="connsiteY10" fmla="*/ 419100 h 989708"/>
              <a:gd name="connsiteX11" fmla="*/ 365760 w 4808220"/>
              <a:gd name="connsiteY11" fmla="*/ 441960 h 989708"/>
              <a:gd name="connsiteX12" fmla="*/ 449580 w 4808220"/>
              <a:gd name="connsiteY12" fmla="*/ 495300 h 989708"/>
              <a:gd name="connsiteX13" fmla="*/ 510540 w 4808220"/>
              <a:gd name="connsiteY13" fmla="*/ 541020 h 989708"/>
              <a:gd name="connsiteX14" fmla="*/ 556260 w 4808220"/>
              <a:gd name="connsiteY14" fmla="*/ 594360 h 989708"/>
              <a:gd name="connsiteX15" fmla="*/ 586740 w 4808220"/>
              <a:gd name="connsiteY15" fmla="*/ 617220 h 989708"/>
              <a:gd name="connsiteX16" fmla="*/ 640080 w 4808220"/>
              <a:gd name="connsiteY16" fmla="*/ 647700 h 989708"/>
              <a:gd name="connsiteX17" fmla="*/ 670560 w 4808220"/>
              <a:gd name="connsiteY17" fmla="*/ 662940 h 989708"/>
              <a:gd name="connsiteX18" fmla="*/ 754380 w 4808220"/>
              <a:gd name="connsiteY18" fmla="*/ 716280 h 989708"/>
              <a:gd name="connsiteX19" fmla="*/ 784860 w 4808220"/>
              <a:gd name="connsiteY19" fmla="*/ 739140 h 989708"/>
              <a:gd name="connsiteX20" fmla="*/ 960120 w 4808220"/>
              <a:gd name="connsiteY20" fmla="*/ 807720 h 989708"/>
              <a:gd name="connsiteX21" fmla="*/ 1257300 w 4808220"/>
              <a:gd name="connsiteY21" fmla="*/ 937260 h 989708"/>
              <a:gd name="connsiteX22" fmla="*/ 1386840 w 4808220"/>
              <a:gd name="connsiteY22" fmla="*/ 952500 h 989708"/>
              <a:gd name="connsiteX23" fmla="*/ 1455420 w 4808220"/>
              <a:gd name="connsiteY23" fmla="*/ 982027 h 989708"/>
              <a:gd name="connsiteX24" fmla="*/ 2434590 w 4808220"/>
              <a:gd name="connsiteY24" fmla="*/ 989647 h 989708"/>
              <a:gd name="connsiteX25" fmla="*/ 2560320 w 4808220"/>
              <a:gd name="connsiteY25" fmla="*/ 982980 h 989708"/>
              <a:gd name="connsiteX26" fmla="*/ 3779520 w 4808220"/>
              <a:gd name="connsiteY26" fmla="*/ 975360 h 989708"/>
              <a:gd name="connsiteX27" fmla="*/ 3916680 w 4808220"/>
              <a:gd name="connsiteY27" fmla="*/ 960120 h 989708"/>
              <a:gd name="connsiteX28" fmla="*/ 4061460 w 4808220"/>
              <a:gd name="connsiteY28" fmla="*/ 937260 h 989708"/>
              <a:gd name="connsiteX29" fmla="*/ 4808220 w 4808220"/>
              <a:gd name="connsiteY2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243840 w 4808220"/>
              <a:gd name="connsiteY6" fmla="*/ 297180 h 989708"/>
              <a:gd name="connsiteX7" fmla="*/ 274320 w 4808220"/>
              <a:gd name="connsiteY7" fmla="*/ 335280 h 989708"/>
              <a:gd name="connsiteX8" fmla="*/ 289560 w 4808220"/>
              <a:gd name="connsiteY8" fmla="*/ 365760 h 989708"/>
              <a:gd name="connsiteX9" fmla="*/ 342900 w 4808220"/>
              <a:gd name="connsiteY9" fmla="*/ 419100 h 989708"/>
              <a:gd name="connsiteX10" fmla="*/ 365760 w 4808220"/>
              <a:gd name="connsiteY10" fmla="*/ 441960 h 989708"/>
              <a:gd name="connsiteX11" fmla="*/ 449580 w 4808220"/>
              <a:gd name="connsiteY11" fmla="*/ 495300 h 989708"/>
              <a:gd name="connsiteX12" fmla="*/ 510540 w 4808220"/>
              <a:gd name="connsiteY12" fmla="*/ 541020 h 989708"/>
              <a:gd name="connsiteX13" fmla="*/ 556260 w 4808220"/>
              <a:gd name="connsiteY13" fmla="*/ 594360 h 989708"/>
              <a:gd name="connsiteX14" fmla="*/ 586740 w 4808220"/>
              <a:gd name="connsiteY14" fmla="*/ 617220 h 989708"/>
              <a:gd name="connsiteX15" fmla="*/ 640080 w 4808220"/>
              <a:gd name="connsiteY15" fmla="*/ 647700 h 989708"/>
              <a:gd name="connsiteX16" fmla="*/ 670560 w 4808220"/>
              <a:gd name="connsiteY16" fmla="*/ 662940 h 989708"/>
              <a:gd name="connsiteX17" fmla="*/ 754380 w 4808220"/>
              <a:gd name="connsiteY17" fmla="*/ 716280 h 989708"/>
              <a:gd name="connsiteX18" fmla="*/ 784860 w 4808220"/>
              <a:gd name="connsiteY18" fmla="*/ 739140 h 989708"/>
              <a:gd name="connsiteX19" fmla="*/ 960120 w 4808220"/>
              <a:gd name="connsiteY19" fmla="*/ 807720 h 989708"/>
              <a:gd name="connsiteX20" fmla="*/ 1257300 w 4808220"/>
              <a:gd name="connsiteY20" fmla="*/ 937260 h 989708"/>
              <a:gd name="connsiteX21" fmla="*/ 1386840 w 4808220"/>
              <a:gd name="connsiteY21" fmla="*/ 952500 h 989708"/>
              <a:gd name="connsiteX22" fmla="*/ 1455420 w 4808220"/>
              <a:gd name="connsiteY22" fmla="*/ 982027 h 989708"/>
              <a:gd name="connsiteX23" fmla="*/ 2434590 w 4808220"/>
              <a:gd name="connsiteY23" fmla="*/ 989647 h 989708"/>
              <a:gd name="connsiteX24" fmla="*/ 2560320 w 4808220"/>
              <a:gd name="connsiteY24" fmla="*/ 982980 h 989708"/>
              <a:gd name="connsiteX25" fmla="*/ 3779520 w 4808220"/>
              <a:gd name="connsiteY25" fmla="*/ 975360 h 989708"/>
              <a:gd name="connsiteX26" fmla="*/ 3916680 w 4808220"/>
              <a:gd name="connsiteY26" fmla="*/ 960120 h 989708"/>
              <a:gd name="connsiteX27" fmla="*/ 4061460 w 4808220"/>
              <a:gd name="connsiteY27" fmla="*/ 937260 h 989708"/>
              <a:gd name="connsiteX28" fmla="*/ 4808220 w 4808220"/>
              <a:gd name="connsiteY2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243840 w 4808220"/>
              <a:gd name="connsiteY5" fmla="*/ 297180 h 989708"/>
              <a:gd name="connsiteX6" fmla="*/ 274320 w 4808220"/>
              <a:gd name="connsiteY6" fmla="*/ 335280 h 989708"/>
              <a:gd name="connsiteX7" fmla="*/ 289560 w 4808220"/>
              <a:gd name="connsiteY7" fmla="*/ 365760 h 989708"/>
              <a:gd name="connsiteX8" fmla="*/ 342900 w 4808220"/>
              <a:gd name="connsiteY8" fmla="*/ 419100 h 989708"/>
              <a:gd name="connsiteX9" fmla="*/ 365760 w 4808220"/>
              <a:gd name="connsiteY9" fmla="*/ 441960 h 989708"/>
              <a:gd name="connsiteX10" fmla="*/ 449580 w 4808220"/>
              <a:gd name="connsiteY10" fmla="*/ 495300 h 989708"/>
              <a:gd name="connsiteX11" fmla="*/ 510540 w 4808220"/>
              <a:gd name="connsiteY11" fmla="*/ 541020 h 989708"/>
              <a:gd name="connsiteX12" fmla="*/ 556260 w 4808220"/>
              <a:gd name="connsiteY12" fmla="*/ 594360 h 989708"/>
              <a:gd name="connsiteX13" fmla="*/ 586740 w 4808220"/>
              <a:gd name="connsiteY13" fmla="*/ 617220 h 989708"/>
              <a:gd name="connsiteX14" fmla="*/ 640080 w 4808220"/>
              <a:gd name="connsiteY14" fmla="*/ 647700 h 989708"/>
              <a:gd name="connsiteX15" fmla="*/ 670560 w 4808220"/>
              <a:gd name="connsiteY15" fmla="*/ 662940 h 989708"/>
              <a:gd name="connsiteX16" fmla="*/ 754380 w 4808220"/>
              <a:gd name="connsiteY16" fmla="*/ 716280 h 989708"/>
              <a:gd name="connsiteX17" fmla="*/ 784860 w 4808220"/>
              <a:gd name="connsiteY17" fmla="*/ 739140 h 989708"/>
              <a:gd name="connsiteX18" fmla="*/ 960120 w 4808220"/>
              <a:gd name="connsiteY18" fmla="*/ 807720 h 989708"/>
              <a:gd name="connsiteX19" fmla="*/ 1257300 w 4808220"/>
              <a:gd name="connsiteY19" fmla="*/ 937260 h 989708"/>
              <a:gd name="connsiteX20" fmla="*/ 1386840 w 4808220"/>
              <a:gd name="connsiteY20" fmla="*/ 952500 h 989708"/>
              <a:gd name="connsiteX21" fmla="*/ 1455420 w 4808220"/>
              <a:gd name="connsiteY21" fmla="*/ 982027 h 989708"/>
              <a:gd name="connsiteX22" fmla="*/ 2434590 w 4808220"/>
              <a:gd name="connsiteY22" fmla="*/ 989647 h 989708"/>
              <a:gd name="connsiteX23" fmla="*/ 2560320 w 4808220"/>
              <a:gd name="connsiteY23" fmla="*/ 982980 h 989708"/>
              <a:gd name="connsiteX24" fmla="*/ 3779520 w 4808220"/>
              <a:gd name="connsiteY24" fmla="*/ 975360 h 989708"/>
              <a:gd name="connsiteX25" fmla="*/ 3916680 w 4808220"/>
              <a:gd name="connsiteY25" fmla="*/ 960120 h 989708"/>
              <a:gd name="connsiteX26" fmla="*/ 4061460 w 4808220"/>
              <a:gd name="connsiteY26" fmla="*/ 937260 h 989708"/>
              <a:gd name="connsiteX27" fmla="*/ 4808220 w 4808220"/>
              <a:gd name="connsiteY2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243840 w 4808220"/>
              <a:gd name="connsiteY4" fmla="*/ 297180 h 989708"/>
              <a:gd name="connsiteX5" fmla="*/ 274320 w 4808220"/>
              <a:gd name="connsiteY5" fmla="*/ 335280 h 989708"/>
              <a:gd name="connsiteX6" fmla="*/ 289560 w 4808220"/>
              <a:gd name="connsiteY6" fmla="*/ 365760 h 989708"/>
              <a:gd name="connsiteX7" fmla="*/ 342900 w 4808220"/>
              <a:gd name="connsiteY7" fmla="*/ 419100 h 989708"/>
              <a:gd name="connsiteX8" fmla="*/ 365760 w 4808220"/>
              <a:gd name="connsiteY8" fmla="*/ 441960 h 989708"/>
              <a:gd name="connsiteX9" fmla="*/ 449580 w 4808220"/>
              <a:gd name="connsiteY9" fmla="*/ 495300 h 989708"/>
              <a:gd name="connsiteX10" fmla="*/ 510540 w 4808220"/>
              <a:gd name="connsiteY10" fmla="*/ 541020 h 989708"/>
              <a:gd name="connsiteX11" fmla="*/ 556260 w 4808220"/>
              <a:gd name="connsiteY11" fmla="*/ 594360 h 989708"/>
              <a:gd name="connsiteX12" fmla="*/ 586740 w 4808220"/>
              <a:gd name="connsiteY12" fmla="*/ 617220 h 989708"/>
              <a:gd name="connsiteX13" fmla="*/ 640080 w 4808220"/>
              <a:gd name="connsiteY13" fmla="*/ 647700 h 989708"/>
              <a:gd name="connsiteX14" fmla="*/ 670560 w 4808220"/>
              <a:gd name="connsiteY14" fmla="*/ 662940 h 989708"/>
              <a:gd name="connsiteX15" fmla="*/ 754380 w 4808220"/>
              <a:gd name="connsiteY15" fmla="*/ 716280 h 989708"/>
              <a:gd name="connsiteX16" fmla="*/ 784860 w 4808220"/>
              <a:gd name="connsiteY16" fmla="*/ 739140 h 989708"/>
              <a:gd name="connsiteX17" fmla="*/ 960120 w 4808220"/>
              <a:gd name="connsiteY17" fmla="*/ 807720 h 989708"/>
              <a:gd name="connsiteX18" fmla="*/ 1257300 w 4808220"/>
              <a:gd name="connsiteY18" fmla="*/ 937260 h 989708"/>
              <a:gd name="connsiteX19" fmla="*/ 1386840 w 4808220"/>
              <a:gd name="connsiteY19" fmla="*/ 952500 h 989708"/>
              <a:gd name="connsiteX20" fmla="*/ 1455420 w 4808220"/>
              <a:gd name="connsiteY20" fmla="*/ 982027 h 989708"/>
              <a:gd name="connsiteX21" fmla="*/ 2434590 w 4808220"/>
              <a:gd name="connsiteY21" fmla="*/ 989647 h 989708"/>
              <a:gd name="connsiteX22" fmla="*/ 2560320 w 4808220"/>
              <a:gd name="connsiteY22" fmla="*/ 982980 h 989708"/>
              <a:gd name="connsiteX23" fmla="*/ 3779520 w 4808220"/>
              <a:gd name="connsiteY23" fmla="*/ 975360 h 989708"/>
              <a:gd name="connsiteX24" fmla="*/ 3916680 w 4808220"/>
              <a:gd name="connsiteY24" fmla="*/ 960120 h 989708"/>
              <a:gd name="connsiteX25" fmla="*/ 4061460 w 4808220"/>
              <a:gd name="connsiteY25" fmla="*/ 937260 h 989708"/>
              <a:gd name="connsiteX26" fmla="*/ 4808220 w 4808220"/>
              <a:gd name="connsiteY2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289560 w 4808220"/>
              <a:gd name="connsiteY5" fmla="*/ 365760 h 989708"/>
              <a:gd name="connsiteX6" fmla="*/ 342900 w 4808220"/>
              <a:gd name="connsiteY6" fmla="*/ 419100 h 989708"/>
              <a:gd name="connsiteX7" fmla="*/ 365760 w 4808220"/>
              <a:gd name="connsiteY7" fmla="*/ 441960 h 989708"/>
              <a:gd name="connsiteX8" fmla="*/ 449580 w 4808220"/>
              <a:gd name="connsiteY8" fmla="*/ 495300 h 989708"/>
              <a:gd name="connsiteX9" fmla="*/ 510540 w 4808220"/>
              <a:gd name="connsiteY9" fmla="*/ 541020 h 989708"/>
              <a:gd name="connsiteX10" fmla="*/ 556260 w 4808220"/>
              <a:gd name="connsiteY10" fmla="*/ 594360 h 989708"/>
              <a:gd name="connsiteX11" fmla="*/ 586740 w 4808220"/>
              <a:gd name="connsiteY11" fmla="*/ 617220 h 989708"/>
              <a:gd name="connsiteX12" fmla="*/ 640080 w 4808220"/>
              <a:gd name="connsiteY12" fmla="*/ 647700 h 989708"/>
              <a:gd name="connsiteX13" fmla="*/ 670560 w 4808220"/>
              <a:gd name="connsiteY13" fmla="*/ 662940 h 989708"/>
              <a:gd name="connsiteX14" fmla="*/ 754380 w 4808220"/>
              <a:gd name="connsiteY14" fmla="*/ 716280 h 989708"/>
              <a:gd name="connsiteX15" fmla="*/ 784860 w 4808220"/>
              <a:gd name="connsiteY15" fmla="*/ 739140 h 989708"/>
              <a:gd name="connsiteX16" fmla="*/ 960120 w 4808220"/>
              <a:gd name="connsiteY16" fmla="*/ 807720 h 989708"/>
              <a:gd name="connsiteX17" fmla="*/ 1257300 w 4808220"/>
              <a:gd name="connsiteY17" fmla="*/ 937260 h 989708"/>
              <a:gd name="connsiteX18" fmla="*/ 1386840 w 4808220"/>
              <a:gd name="connsiteY18" fmla="*/ 952500 h 989708"/>
              <a:gd name="connsiteX19" fmla="*/ 1455420 w 4808220"/>
              <a:gd name="connsiteY19" fmla="*/ 982027 h 989708"/>
              <a:gd name="connsiteX20" fmla="*/ 2434590 w 4808220"/>
              <a:gd name="connsiteY20" fmla="*/ 989647 h 989708"/>
              <a:gd name="connsiteX21" fmla="*/ 2560320 w 4808220"/>
              <a:gd name="connsiteY21" fmla="*/ 982980 h 989708"/>
              <a:gd name="connsiteX22" fmla="*/ 3779520 w 4808220"/>
              <a:gd name="connsiteY22" fmla="*/ 975360 h 989708"/>
              <a:gd name="connsiteX23" fmla="*/ 3916680 w 4808220"/>
              <a:gd name="connsiteY23" fmla="*/ 960120 h 989708"/>
              <a:gd name="connsiteX24" fmla="*/ 4061460 w 4808220"/>
              <a:gd name="connsiteY24" fmla="*/ 937260 h 989708"/>
              <a:gd name="connsiteX25" fmla="*/ 4808220 w 4808220"/>
              <a:gd name="connsiteY2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365760 w 4808220"/>
              <a:gd name="connsiteY6" fmla="*/ 441960 h 989708"/>
              <a:gd name="connsiteX7" fmla="*/ 449580 w 4808220"/>
              <a:gd name="connsiteY7" fmla="*/ 495300 h 989708"/>
              <a:gd name="connsiteX8" fmla="*/ 510540 w 4808220"/>
              <a:gd name="connsiteY8" fmla="*/ 541020 h 989708"/>
              <a:gd name="connsiteX9" fmla="*/ 556260 w 4808220"/>
              <a:gd name="connsiteY9" fmla="*/ 594360 h 989708"/>
              <a:gd name="connsiteX10" fmla="*/ 586740 w 4808220"/>
              <a:gd name="connsiteY10" fmla="*/ 617220 h 989708"/>
              <a:gd name="connsiteX11" fmla="*/ 640080 w 4808220"/>
              <a:gd name="connsiteY11" fmla="*/ 647700 h 989708"/>
              <a:gd name="connsiteX12" fmla="*/ 670560 w 4808220"/>
              <a:gd name="connsiteY12" fmla="*/ 662940 h 989708"/>
              <a:gd name="connsiteX13" fmla="*/ 754380 w 4808220"/>
              <a:gd name="connsiteY13" fmla="*/ 716280 h 989708"/>
              <a:gd name="connsiteX14" fmla="*/ 784860 w 4808220"/>
              <a:gd name="connsiteY14" fmla="*/ 739140 h 989708"/>
              <a:gd name="connsiteX15" fmla="*/ 960120 w 4808220"/>
              <a:gd name="connsiteY15" fmla="*/ 807720 h 989708"/>
              <a:gd name="connsiteX16" fmla="*/ 1257300 w 4808220"/>
              <a:gd name="connsiteY16" fmla="*/ 937260 h 989708"/>
              <a:gd name="connsiteX17" fmla="*/ 1386840 w 4808220"/>
              <a:gd name="connsiteY17" fmla="*/ 952500 h 989708"/>
              <a:gd name="connsiteX18" fmla="*/ 1455420 w 4808220"/>
              <a:gd name="connsiteY18" fmla="*/ 982027 h 989708"/>
              <a:gd name="connsiteX19" fmla="*/ 2434590 w 4808220"/>
              <a:gd name="connsiteY19" fmla="*/ 989647 h 989708"/>
              <a:gd name="connsiteX20" fmla="*/ 2560320 w 4808220"/>
              <a:gd name="connsiteY20" fmla="*/ 982980 h 989708"/>
              <a:gd name="connsiteX21" fmla="*/ 3779520 w 4808220"/>
              <a:gd name="connsiteY21" fmla="*/ 975360 h 989708"/>
              <a:gd name="connsiteX22" fmla="*/ 3916680 w 4808220"/>
              <a:gd name="connsiteY22" fmla="*/ 960120 h 989708"/>
              <a:gd name="connsiteX23" fmla="*/ 4061460 w 4808220"/>
              <a:gd name="connsiteY23" fmla="*/ 937260 h 989708"/>
              <a:gd name="connsiteX24" fmla="*/ 4808220 w 4808220"/>
              <a:gd name="connsiteY2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586740 w 4808220"/>
              <a:gd name="connsiteY9" fmla="*/ 617220 h 989708"/>
              <a:gd name="connsiteX10" fmla="*/ 640080 w 4808220"/>
              <a:gd name="connsiteY10" fmla="*/ 647700 h 989708"/>
              <a:gd name="connsiteX11" fmla="*/ 670560 w 4808220"/>
              <a:gd name="connsiteY11" fmla="*/ 662940 h 989708"/>
              <a:gd name="connsiteX12" fmla="*/ 754380 w 4808220"/>
              <a:gd name="connsiteY12" fmla="*/ 716280 h 989708"/>
              <a:gd name="connsiteX13" fmla="*/ 784860 w 4808220"/>
              <a:gd name="connsiteY13" fmla="*/ 739140 h 989708"/>
              <a:gd name="connsiteX14" fmla="*/ 960120 w 4808220"/>
              <a:gd name="connsiteY14" fmla="*/ 807720 h 989708"/>
              <a:gd name="connsiteX15" fmla="*/ 1257300 w 4808220"/>
              <a:gd name="connsiteY15" fmla="*/ 937260 h 989708"/>
              <a:gd name="connsiteX16" fmla="*/ 1386840 w 4808220"/>
              <a:gd name="connsiteY16" fmla="*/ 952500 h 989708"/>
              <a:gd name="connsiteX17" fmla="*/ 1455420 w 4808220"/>
              <a:gd name="connsiteY17" fmla="*/ 982027 h 989708"/>
              <a:gd name="connsiteX18" fmla="*/ 2434590 w 4808220"/>
              <a:gd name="connsiteY18" fmla="*/ 989647 h 989708"/>
              <a:gd name="connsiteX19" fmla="*/ 2560320 w 4808220"/>
              <a:gd name="connsiteY19" fmla="*/ 982980 h 989708"/>
              <a:gd name="connsiteX20" fmla="*/ 3779520 w 4808220"/>
              <a:gd name="connsiteY20" fmla="*/ 975360 h 989708"/>
              <a:gd name="connsiteX21" fmla="*/ 3916680 w 4808220"/>
              <a:gd name="connsiteY21" fmla="*/ 960120 h 989708"/>
              <a:gd name="connsiteX22" fmla="*/ 4061460 w 4808220"/>
              <a:gd name="connsiteY22" fmla="*/ 937260 h 989708"/>
              <a:gd name="connsiteX23" fmla="*/ 4808220 w 4808220"/>
              <a:gd name="connsiteY2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670560 w 4808220"/>
              <a:gd name="connsiteY10" fmla="*/ 662940 h 989708"/>
              <a:gd name="connsiteX11" fmla="*/ 754380 w 4808220"/>
              <a:gd name="connsiteY11" fmla="*/ 716280 h 989708"/>
              <a:gd name="connsiteX12" fmla="*/ 784860 w 4808220"/>
              <a:gd name="connsiteY12" fmla="*/ 739140 h 989708"/>
              <a:gd name="connsiteX13" fmla="*/ 960120 w 4808220"/>
              <a:gd name="connsiteY13" fmla="*/ 807720 h 989708"/>
              <a:gd name="connsiteX14" fmla="*/ 1257300 w 4808220"/>
              <a:gd name="connsiteY14" fmla="*/ 937260 h 989708"/>
              <a:gd name="connsiteX15" fmla="*/ 1386840 w 4808220"/>
              <a:gd name="connsiteY15" fmla="*/ 952500 h 989708"/>
              <a:gd name="connsiteX16" fmla="*/ 1455420 w 4808220"/>
              <a:gd name="connsiteY16" fmla="*/ 982027 h 989708"/>
              <a:gd name="connsiteX17" fmla="*/ 2434590 w 4808220"/>
              <a:gd name="connsiteY17" fmla="*/ 989647 h 989708"/>
              <a:gd name="connsiteX18" fmla="*/ 2560320 w 4808220"/>
              <a:gd name="connsiteY18" fmla="*/ 982980 h 989708"/>
              <a:gd name="connsiteX19" fmla="*/ 3779520 w 4808220"/>
              <a:gd name="connsiteY19" fmla="*/ 975360 h 989708"/>
              <a:gd name="connsiteX20" fmla="*/ 3916680 w 4808220"/>
              <a:gd name="connsiteY20" fmla="*/ 960120 h 989708"/>
              <a:gd name="connsiteX21" fmla="*/ 4061460 w 4808220"/>
              <a:gd name="connsiteY21" fmla="*/ 937260 h 989708"/>
              <a:gd name="connsiteX22" fmla="*/ 4808220 w 4808220"/>
              <a:gd name="connsiteY2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784860 w 4808220"/>
              <a:gd name="connsiteY11" fmla="*/ 739140 h 989708"/>
              <a:gd name="connsiteX12" fmla="*/ 960120 w 4808220"/>
              <a:gd name="connsiteY12" fmla="*/ 807720 h 989708"/>
              <a:gd name="connsiteX13" fmla="*/ 1257300 w 4808220"/>
              <a:gd name="connsiteY13" fmla="*/ 937260 h 989708"/>
              <a:gd name="connsiteX14" fmla="*/ 1386840 w 4808220"/>
              <a:gd name="connsiteY14" fmla="*/ 952500 h 989708"/>
              <a:gd name="connsiteX15" fmla="*/ 1455420 w 4808220"/>
              <a:gd name="connsiteY15" fmla="*/ 982027 h 989708"/>
              <a:gd name="connsiteX16" fmla="*/ 2434590 w 4808220"/>
              <a:gd name="connsiteY16" fmla="*/ 989647 h 989708"/>
              <a:gd name="connsiteX17" fmla="*/ 2560320 w 4808220"/>
              <a:gd name="connsiteY17" fmla="*/ 982980 h 989708"/>
              <a:gd name="connsiteX18" fmla="*/ 3779520 w 4808220"/>
              <a:gd name="connsiteY18" fmla="*/ 975360 h 989708"/>
              <a:gd name="connsiteX19" fmla="*/ 3916680 w 4808220"/>
              <a:gd name="connsiteY19" fmla="*/ 960120 h 989708"/>
              <a:gd name="connsiteX20" fmla="*/ 4061460 w 4808220"/>
              <a:gd name="connsiteY20" fmla="*/ 937260 h 989708"/>
              <a:gd name="connsiteX21" fmla="*/ 4808220 w 4808220"/>
              <a:gd name="connsiteY2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386840 w 4808220"/>
              <a:gd name="connsiteY13" fmla="*/ 952500 h 989708"/>
              <a:gd name="connsiteX14" fmla="*/ 1455420 w 4808220"/>
              <a:gd name="connsiteY14" fmla="*/ 982027 h 989708"/>
              <a:gd name="connsiteX15" fmla="*/ 2434590 w 4808220"/>
              <a:gd name="connsiteY15" fmla="*/ 989647 h 989708"/>
              <a:gd name="connsiteX16" fmla="*/ 2560320 w 4808220"/>
              <a:gd name="connsiteY16" fmla="*/ 982980 h 989708"/>
              <a:gd name="connsiteX17" fmla="*/ 3779520 w 4808220"/>
              <a:gd name="connsiteY17" fmla="*/ 975360 h 989708"/>
              <a:gd name="connsiteX18" fmla="*/ 3916680 w 4808220"/>
              <a:gd name="connsiteY18" fmla="*/ 960120 h 989708"/>
              <a:gd name="connsiteX19" fmla="*/ 4061460 w 4808220"/>
              <a:gd name="connsiteY19" fmla="*/ 937260 h 989708"/>
              <a:gd name="connsiteX20" fmla="*/ 4808220 w 4808220"/>
              <a:gd name="connsiteY2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64945 w 4808220"/>
              <a:gd name="connsiteY13" fmla="*/ 977265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970 w 4809190"/>
              <a:gd name="connsiteY0" fmla="*/ 0 h 989708"/>
              <a:gd name="connsiteX1" fmla="*/ 23830 w 4809190"/>
              <a:gd name="connsiteY1" fmla="*/ 45720 h 989708"/>
              <a:gd name="connsiteX2" fmla="*/ 244810 w 4809190"/>
              <a:gd name="connsiteY2" fmla="*/ 297180 h 989708"/>
              <a:gd name="connsiteX3" fmla="*/ 275290 w 4809190"/>
              <a:gd name="connsiteY3" fmla="*/ 335280 h 989708"/>
              <a:gd name="connsiteX4" fmla="*/ 343870 w 4809190"/>
              <a:gd name="connsiteY4" fmla="*/ 419100 h 989708"/>
              <a:gd name="connsiteX5" fmla="*/ 450550 w 4809190"/>
              <a:gd name="connsiteY5" fmla="*/ 495300 h 989708"/>
              <a:gd name="connsiteX6" fmla="*/ 511510 w 4809190"/>
              <a:gd name="connsiteY6" fmla="*/ 541020 h 989708"/>
              <a:gd name="connsiteX7" fmla="*/ 557230 w 4809190"/>
              <a:gd name="connsiteY7" fmla="*/ 594360 h 989708"/>
              <a:gd name="connsiteX8" fmla="*/ 641050 w 4809190"/>
              <a:gd name="connsiteY8" fmla="*/ 647700 h 989708"/>
              <a:gd name="connsiteX9" fmla="*/ 755350 w 4809190"/>
              <a:gd name="connsiteY9" fmla="*/ 716280 h 989708"/>
              <a:gd name="connsiteX10" fmla="*/ 961090 w 4809190"/>
              <a:gd name="connsiteY10" fmla="*/ 807720 h 989708"/>
              <a:gd name="connsiteX11" fmla="*/ 1201120 w 4809190"/>
              <a:gd name="connsiteY11" fmla="*/ 918210 h 989708"/>
              <a:gd name="connsiteX12" fmla="*/ 1465915 w 4809190"/>
              <a:gd name="connsiteY12" fmla="*/ 977265 h 989708"/>
              <a:gd name="connsiteX13" fmla="*/ 2435560 w 4809190"/>
              <a:gd name="connsiteY13" fmla="*/ 989647 h 989708"/>
              <a:gd name="connsiteX14" fmla="*/ 2561290 w 4809190"/>
              <a:gd name="connsiteY14" fmla="*/ 982980 h 989708"/>
              <a:gd name="connsiteX15" fmla="*/ 3780490 w 4809190"/>
              <a:gd name="connsiteY15" fmla="*/ 975360 h 989708"/>
              <a:gd name="connsiteX16" fmla="*/ 3917650 w 4809190"/>
              <a:gd name="connsiteY16" fmla="*/ 960120 h 989708"/>
              <a:gd name="connsiteX17" fmla="*/ 4062430 w 4809190"/>
              <a:gd name="connsiteY17" fmla="*/ 937260 h 989708"/>
              <a:gd name="connsiteX18" fmla="*/ 4809190 w 480919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42900 w 4808220"/>
              <a:gd name="connsiteY4" fmla="*/ 419100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56260 w 4808220"/>
              <a:gd name="connsiteY6" fmla="*/ 59436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589020 w 4808220"/>
              <a:gd name="connsiteY14" fmla="*/ 965835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28649 w 5127307"/>
              <a:gd name="connsiteY4" fmla="*/ 985838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27307" h="1585021">
                <a:moveTo>
                  <a:pt x="0" y="0"/>
                </a:moveTo>
                <a:cubicBezTo>
                  <a:pt x="31432" y="105727"/>
                  <a:pt x="106839" y="267654"/>
                  <a:pt x="165735" y="374334"/>
                </a:cubicBezTo>
                <a:cubicBezTo>
                  <a:pt x="224631" y="481014"/>
                  <a:pt x="298767" y="564039"/>
                  <a:pt x="353377" y="640080"/>
                </a:cubicBezTo>
                <a:cubicBezTo>
                  <a:pt x="407987" y="716121"/>
                  <a:pt x="447515" y="772955"/>
                  <a:pt x="493394" y="830581"/>
                </a:cubicBezTo>
                <a:cubicBezTo>
                  <a:pt x="539273" y="888207"/>
                  <a:pt x="582770" y="942499"/>
                  <a:pt x="628649" y="985838"/>
                </a:cubicBezTo>
                <a:cubicBezTo>
                  <a:pt x="674528" y="1029177"/>
                  <a:pt x="729138" y="1059816"/>
                  <a:pt x="768667" y="1090613"/>
                </a:cubicBezTo>
                <a:cubicBezTo>
                  <a:pt x="808196" y="1121410"/>
                  <a:pt x="834072" y="1145223"/>
                  <a:pt x="865822" y="1170623"/>
                </a:cubicBezTo>
                <a:cubicBezTo>
                  <a:pt x="897572" y="1196023"/>
                  <a:pt x="917416" y="1216343"/>
                  <a:pt x="959167" y="1243013"/>
                </a:cubicBezTo>
                <a:cubicBezTo>
                  <a:pt x="1000918" y="1269683"/>
                  <a:pt x="1062989" y="1303973"/>
                  <a:pt x="1116329" y="1330643"/>
                </a:cubicBezTo>
                <a:cubicBezTo>
                  <a:pt x="1169669" y="1357313"/>
                  <a:pt x="1195387" y="1366203"/>
                  <a:pt x="1279207" y="1403033"/>
                </a:cubicBezTo>
                <a:cubicBezTo>
                  <a:pt x="1363027" y="1439863"/>
                  <a:pt x="1433928" y="1489031"/>
                  <a:pt x="1519237" y="1513523"/>
                </a:cubicBezTo>
                <a:cubicBezTo>
                  <a:pt x="1617662" y="1541781"/>
                  <a:pt x="1578292" y="1560672"/>
                  <a:pt x="1784032" y="1572578"/>
                </a:cubicBezTo>
                <a:cubicBezTo>
                  <a:pt x="1989772" y="1584484"/>
                  <a:pt x="2569527" y="1582420"/>
                  <a:pt x="2753677" y="1584960"/>
                </a:cubicBezTo>
                <a:cubicBezTo>
                  <a:pt x="2789318" y="1585770"/>
                  <a:pt x="2843756" y="1578293"/>
                  <a:pt x="2879407" y="1578293"/>
                </a:cubicBezTo>
                <a:lnTo>
                  <a:pt x="3908107" y="1561148"/>
                </a:lnTo>
                <a:cubicBezTo>
                  <a:pt x="3953827" y="1556068"/>
                  <a:pt x="4157027" y="1560196"/>
                  <a:pt x="4235767" y="1555433"/>
                </a:cubicBezTo>
                <a:cubicBezTo>
                  <a:pt x="4314507" y="1550671"/>
                  <a:pt x="4331689" y="1532573"/>
                  <a:pt x="4380547" y="1532573"/>
                </a:cubicBezTo>
                <a:lnTo>
                  <a:pt x="5127307" y="1532573"/>
                </a:ln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  <a:headEnd type="oval"/>
          </a:ln>
        </p:spPr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grpSp>
        <p:nvGrpSpPr>
          <p:cNvPr id="12" name="Group 642">
            <a:extLst>
              <a:ext uri="{FF2B5EF4-FFF2-40B4-BE49-F238E27FC236}">
                <a16:creationId xmlns:a16="http://schemas.microsoft.com/office/drawing/2014/main" id="{36626B09-6AF5-9826-39AB-5D7DE979F042}"/>
              </a:ext>
            </a:extLst>
          </p:cNvPr>
          <p:cNvGrpSpPr/>
          <p:nvPr/>
        </p:nvGrpSpPr>
        <p:grpSpPr>
          <a:xfrm>
            <a:off x="249740" y="1486242"/>
            <a:ext cx="1231831" cy="1231831"/>
            <a:chOff x="3771899" y="1730444"/>
            <a:chExt cx="1231831" cy="1231831"/>
          </a:xfrm>
        </p:grpSpPr>
        <p:grpSp>
          <p:nvGrpSpPr>
            <p:cNvPr id="13" name="Group 588">
              <a:extLst>
                <a:ext uri="{FF2B5EF4-FFF2-40B4-BE49-F238E27FC236}">
                  <a16:creationId xmlns:a16="http://schemas.microsoft.com/office/drawing/2014/main" id="{060AA774-AA74-2020-47B0-ABD8F499E558}"/>
                </a:ext>
              </a:extLst>
            </p:cNvPr>
            <p:cNvGrpSpPr/>
            <p:nvPr/>
          </p:nvGrpSpPr>
          <p:grpSpPr>
            <a:xfrm>
              <a:off x="3771899" y="1730444"/>
              <a:ext cx="1231831" cy="1231831"/>
              <a:chOff x="352424" y="1597094"/>
              <a:chExt cx="1448637" cy="1448637"/>
            </a:xfrm>
          </p:grpSpPr>
          <p:sp>
            <p:nvSpPr>
              <p:cNvPr id="16" name="Oval 586">
                <a:extLst>
                  <a:ext uri="{FF2B5EF4-FFF2-40B4-BE49-F238E27FC236}">
                    <a16:creationId xmlns:a16="http://schemas.microsoft.com/office/drawing/2014/main" id="{08DF5DE2-F969-E96A-2DC5-01673591A780}"/>
                  </a:ext>
                </a:extLst>
              </p:cNvPr>
              <p:cNvSpPr/>
              <p:nvPr/>
            </p:nvSpPr>
            <p:spPr>
              <a:xfrm>
                <a:off x="352424" y="1597094"/>
                <a:ext cx="1448637" cy="144863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  <p:sp>
            <p:nvSpPr>
              <p:cNvPr id="17" name="Oval 587">
                <a:extLst>
                  <a:ext uri="{FF2B5EF4-FFF2-40B4-BE49-F238E27FC236}">
                    <a16:creationId xmlns:a16="http://schemas.microsoft.com/office/drawing/2014/main" id="{AE08DD03-C80A-6864-5FE0-8D7A465BAFE5}"/>
                  </a:ext>
                </a:extLst>
              </p:cNvPr>
              <p:cNvSpPr/>
              <p:nvPr/>
            </p:nvSpPr>
            <p:spPr>
              <a:xfrm>
                <a:off x="477086" y="1721757"/>
                <a:ext cx="1199314" cy="1199312"/>
              </a:xfrm>
              <a:prstGeom prst="ellipse">
                <a:avLst/>
              </a:pr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</p:grpSp>
        <p:sp>
          <p:nvSpPr>
            <p:cNvPr id="14" name="Freeform: Shape 591">
              <a:extLst>
                <a:ext uri="{FF2B5EF4-FFF2-40B4-BE49-F238E27FC236}">
                  <a16:creationId xmlns:a16="http://schemas.microsoft.com/office/drawing/2014/main" id="{44989313-30DB-F86A-52A0-667744ED8501}"/>
                </a:ext>
              </a:extLst>
            </p:cNvPr>
            <p:cNvSpPr/>
            <p:nvPr/>
          </p:nvSpPr>
          <p:spPr>
            <a:xfrm>
              <a:off x="4098465" y="2127284"/>
              <a:ext cx="578698" cy="4381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9264D11-45D9-3CD2-FC4D-8C39747935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Mere bæredygtighed i det almene gennem fælles definitioner og metoder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A72CDEDC-0162-3A22-BC15-20637D8AF4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1322" y="1042375"/>
            <a:ext cx="8578407" cy="54441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8BADE2-B61B-D72C-8862-2F5CC8A5E7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8BADE2-B61B-D72C-8862-2F5CC8A5E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DF3FF7-ADC3-1C69-4A86-8F4D9FA27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4" y="1813714"/>
            <a:ext cx="5491810" cy="2272511"/>
          </a:xfrm>
        </p:spPr>
        <p:txBody>
          <a:bodyPr/>
          <a:lstStyle/>
          <a:p>
            <a:r>
              <a:rPr lang="da-DK"/>
              <a:t>Ekstra ‘skilleblad’ DM Sans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kt</a:t>
            </a:r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01939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083B6E8-FBA7-0B3A-1CB8-4F901A2E24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3B6E8-FBA7-0B3A-1CB8-4F901A2E2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cartoon of people outside a house&#10;&#10;Description automatically generated">
            <a:extLst>
              <a:ext uri="{FF2B5EF4-FFF2-40B4-BE49-F238E27FC236}">
                <a16:creationId xmlns:a16="http://schemas.microsoft.com/office/drawing/2014/main" id="{3842B810-2845-B36A-129B-2F1AB93F63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236050"/>
            <a:ext cx="11353800" cy="63948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52797-8261-DEB3-2350-EB7B00D66D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41273A-9EEC-925A-F68D-2CBAF57DC06A}"/>
              </a:ext>
            </a:extLst>
          </p:cNvPr>
          <p:cNvSpPr/>
          <p:nvPr/>
        </p:nvSpPr>
        <p:spPr>
          <a:xfrm>
            <a:off x="1" y="76200"/>
            <a:ext cx="12191999" cy="6790751"/>
          </a:xfrm>
          <a:prstGeom prst="rect">
            <a:avLst/>
          </a:prstGeom>
          <a:solidFill>
            <a:srgbClr val="F2F6F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49AD20-5822-7A9F-7187-FB88619F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Nyt</a:t>
            </a:r>
            <a:r>
              <a:rPr lang="en-US"/>
              <a:t> slide med </a:t>
            </a:r>
            <a:r>
              <a:rPr lang="en-US" err="1"/>
              <a:t>stor</a:t>
            </a:r>
            <a:r>
              <a:rPr lang="en-US"/>
              <a:t>, </a:t>
            </a:r>
            <a:r>
              <a:rPr lang="en-US" err="1"/>
              <a:t>nedtonet</a:t>
            </a:r>
            <a:r>
              <a:rPr lang="en-US"/>
              <a:t> illust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94F7F89-D2CD-6941-9D0B-AFC865C58D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FC49CA-D82B-AA38-BF8D-32EF4691BA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924D3BE6-CCBC-1799-737A-4E327D39D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15">
            <a:extLst>
              <a:ext uri="{FF2B5EF4-FFF2-40B4-BE49-F238E27FC236}">
                <a16:creationId xmlns:a16="http://schemas.microsoft.com/office/drawing/2014/main" id="{5FD2C01A-747F-72BE-B92F-5EAEEECCEEE8}"/>
              </a:ext>
            </a:extLst>
          </p:cNvPr>
          <p:cNvSpPr txBox="1">
            <a:spLocks/>
          </p:cNvSpPr>
          <p:nvPr/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K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814B08-8399-43E7-AAE4-68AF4906CF08}" type="slidenum">
              <a:rPr lang="da-DK" smtClean="0"/>
              <a:pPr/>
              <a:t>21</a:t>
            </a:fld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48287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8850BC9-E5B4-0CA9-D1F3-C7D0EC959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A39EF0-E328-7D0D-D556-36509F8D52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A39EF0-E328-7D0D-D556-36509F8D5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4C6C9F63-516E-D1C3-6196-E049CD78D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llustrati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bru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nye slid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B30736-3448-8EDE-C521-23A586D58F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A group of people outside a building&#10;&#10;Description automatically generated">
            <a:extLst>
              <a:ext uri="{FF2B5EF4-FFF2-40B4-BE49-F238E27FC236}">
                <a16:creationId xmlns:a16="http://schemas.microsoft.com/office/drawing/2014/main" id="{05BFC33B-5AA7-DBDA-3629-F383E01C62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639" y="95591"/>
            <a:ext cx="647700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25E8735-9EF1-0875-445C-0D8A5B4CEB8F}"/>
              </a:ext>
            </a:extLst>
          </p:cNvPr>
          <p:cNvGrpSpPr/>
          <p:nvPr/>
        </p:nvGrpSpPr>
        <p:grpSpPr>
          <a:xfrm>
            <a:off x="596926" y="2569834"/>
            <a:ext cx="3886174" cy="3488182"/>
            <a:chOff x="596926" y="2201746"/>
            <a:chExt cx="4296260" cy="3856270"/>
          </a:xfrm>
        </p:grpSpPr>
        <p:sp>
          <p:nvSpPr>
            <p:cNvPr id="3" name="Graphic 5">
              <a:extLst>
                <a:ext uri="{FF2B5EF4-FFF2-40B4-BE49-F238E27FC236}">
                  <a16:creationId xmlns:a16="http://schemas.microsoft.com/office/drawing/2014/main" id="{72142AF5-7A07-84CD-926E-42DBE78FFE03}"/>
                </a:ext>
              </a:extLst>
            </p:cNvPr>
            <p:cNvSpPr/>
            <p:nvPr/>
          </p:nvSpPr>
          <p:spPr>
            <a:xfrm>
              <a:off x="2825040" y="3973285"/>
              <a:ext cx="2068146" cy="2053427"/>
            </a:xfrm>
            <a:custGeom>
              <a:avLst/>
              <a:gdLst>
                <a:gd name="connsiteX0" fmla="*/ 1540115 w 2068146"/>
                <a:gd name="connsiteY0" fmla="*/ 109518 h 2053427"/>
                <a:gd name="connsiteX1" fmla="*/ 882859 w 2068146"/>
                <a:gd name="connsiteY1" fmla="*/ 6187 h 2053427"/>
                <a:gd name="connsiteX2" fmla="*/ 356860 w 2068146"/>
                <a:gd name="connsiteY2" fmla="*/ 272246 h 2053427"/>
                <a:gd name="connsiteX3" fmla="*/ 54805 w 2068146"/>
                <a:gd name="connsiteY3" fmla="*/ 861064 h 2053427"/>
                <a:gd name="connsiteX4" fmla="*/ 147251 w 2068146"/>
                <a:gd name="connsiteY4" fmla="*/ 1440064 h 2053427"/>
                <a:gd name="connsiteX5" fmla="*/ 617883 w 2068146"/>
                <a:gd name="connsiteY5" fmla="*/ 1907386 h 2053427"/>
                <a:gd name="connsiteX6" fmla="*/ 1200983 w 2068146"/>
                <a:gd name="connsiteY6" fmla="*/ 1999181 h 2053427"/>
                <a:gd name="connsiteX7" fmla="*/ 1793969 w 2068146"/>
                <a:gd name="connsiteY7" fmla="*/ 1699250 h 2053427"/>
                <a:gd name="connsiteX8" fmla="*/ 2061914 w 2068146"/>
                <a:gd name="connsiteY8" fmla="*/ 1176950 h 2053427"/>
                <a:gd name="connsiteX9" fmla="*/ 1957854 w 2068146"/>
                <a:gd name="connsiteY9" fmla="*/ 524316 h 2053427"/>
                <a:gd name="connsiteX10" fmla="*/ 1540366 w 2068146"/>
                <a:gd name="connsiteY10" fmla="*/ 109763 h 2053427"/>
                <a:gd name="connsiteX11" fmla="*/ 1540115 w 2068146"/>
                <a:gd name="connsiteY11" fmla="*/ 109518 h 205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8146" h="2053427">
                  <a:moveTo>
                    <a:pt x="1540115" y="109518"/>
                  </a:moveTo>
                  <a:lnTo>
                    <a:pt x="882859" y="6187"/>
                  </a:lnTo>
                  <a:cubicBezTo>
                    <a:pt x="668061" y="-27684"/>
                    <a:pt x="455732" y="79820"/>
                    <a:pt x="356860" y="272246"/>
                  </a:cubicBezTo>
                  <a:lnTo>
                    <a:pt x="54805" y="861064"/>
                  </a:lnTo>
                  <a:cubicBezTo>
                    <a:pt x="-44068" y="1053492"/>
                    <a:pt x="-6743" y="1287396"/>
                    <a:pt x="147251" y="1440064"/>
                  </a:cubicBezTo>
                  <a:lnTo>
                    <a:pt x="617883" y="1907386"/>
                  </a:lnTo>
                  <a:cubicBezTo>
                    <a:pt x="771631" y="2060049"/>
                    <a:pt x="1007193" y="2097111"/>
                    <a:pt x="1200983" y="1999181"/>
                  </a:cubicBezTo>
                  <a:lnTo>
                    <a:pt x="1793969" y="1699250"/>
                  </a:lnTo>
                  <a:cubicBezTo>
                    <a:pt x="1987764" y="1601069"/>
                    <a:pt x="2096029" y="1390235"/>
                    <a:pt x="2061914" y="1176950"/>
                  </a:cubicBezTo>
                  <a:lnTo>
                    <a:pt x="1957854" y="524316"/>
                  </a:lnTo>
                  <a:cubicBezTo>
                    <a:pt x="1923739" y="311026"/>
                    <a:pt x="1755409" y="143634"/>
                    <a:pt x="1540366" y="109763"/>
                  </a:cubicBezTo>
                  <a:lnTo>
                    <a:pt x="1540115" y="109518"/>
                  </a:lnTo>
                  <a:close/>
                </a:path>
              </a:pathLst>
            </a:custGeom>
            <a:solidFill>
              <a:srgbClr val="51597F">
                <a:alpha val="89804"/>
              </a:srgbClr>
            </a:solidFill>
            <a:ln w="5206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10000"/>
                      <a:lumOff val="90000"/>
                    </a:schemeClr>
                  </a:solidFill>
                  <a:effectLst/>
                  <a:uLnTx/>
                  <a:uFillTx/>
                  <a:latin typeface="DM Sans 14pt ExtraBold"/>
                  <a:ea typeface="+mn-ea"/>
                  <a:cs typeface="+mn-cs"/>
                </a:rPr>
                <a:t>G</a:t>
              </a:r>
              <a:endParaRPr lang="en-GB">
                <a:solidFill>
                  <a:schemeClr val="tx2">
                    <a:lumMod val="10000"/>
                    <a:lumOff val="90000"/>
                  </a:schemeClr>
                </a:solidFill>
              </a:endParaRPr>
            </a:p>
          </p:txBody>
        </p:sp>
        <p:sp>
          <p:nvSpPr>
            <p:cNvPr id="4" name="Graphic 7">
              <a:extLst>
                <a:ext uri="{FF2B5EF4-FFF2-40B4-BE49-F238E27FC236}">
                  <a16:creationId xmlns:a16="http://schemas.microsoft.com/office/drawing/2014/main" id="{3A1928EB-47B9-5310-B337-C50102E58194}"/>
                </a:ext>
              </a:extLst>
            </p:cNvPr>
            <p:cNvSpPr/>
            <p:nvPr/>
          </p:nvSpPr>
          <p:spPr>
            <a:xfrm>
              <a:off x="1708935" y="2201746"/>
              <a:ext cx="2149254" cy="2149255"/>
            </a:xfrm>
            <a:custGeom>
              <a:avLst/>
              <a:gdLst>
                <a:gd name="connsiteX0" fmla="*/ 1999914 w 2149254"/>
                <a:gd name="connsiteY0" fmla="*/ 714081 h 2149255"/>
                <a:gd name="connsiteX1" fmla="*/ 1435173 w 2149254"/>
                <a:gd name="connsiteY1" fmla="*/ 149343 h 2149255"/>
                <a:gd name="connsiteX2" fmla="*/ 714080 w 2149254"/>
                <a:gd name="connsiteY2" fmla="*/ 149343 h 2149255"/>
                <a:gd name="connsiteX3" fmla="*/ 149344 w 2149254"/>
                <a:gd name="connsiteY3" fmla="*/ 714081 h 2149255"/>
                <a:gd name="connsiteX4" fmla="*/ 149344 w 2149254"/>
                <a:gd name="connsiteY4" fmla="*/ 1435174 h 2149255"/>
                <a:gd name="connsiteX5" fmla="*/ 714080 w 2149254"/>
                <a:gd name="connsiteY5" fmla="*/ 1999915 h 2149255"/>
                <a:gd name="connsiteX6" fmla="*/ 1435173 w 2149254"/>
                <a:gd name="connsiteY6" fmla="*/ 1999915 h 2149255"/>
                <a:gd name="connsiteX7" fmla="*/ 1999914 w 2149254"/>
                <a:gd name="connsiteY7" fmla="*/ 1435174 h 2149255"/>
                <a:gd name="connsiteX8" fmla="*/ 1999914 w 2149254"/>
                <a:gd name="connsiteY8" fmla="*/ 714081 h 214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254" h="2149255">
                  <a:moveTo>
                    <a:pt x="1999914" y="714081"/>
                  </a:moveTo>
                  <a:lnTo>
                    <a:pt x="1435173" y="149343"/>
                  </a:lnTo>
                  <a:cubicBezTo>
                    <a:pt x="1236052" y="-49781"/>
                    <a:pt x="913207" y="-49781"/>
                    <a:pt x="714080" y="149343"/>
                  </a:cubicBezTo>
                  <a:lnTo>
                    <a:pt x="149344" y="714081"/>
                  </a:lnTo>
                  <a:cubicBezTo>
                    <a:pt x="-49781" y="913208"/>
                    <a:pt x="-49781" y="1236053"/>
                    <a:pt x="149344" y="1435174"/>
                  </a:cubicBezTo>
                  <a:lnTo>
                    <a:pt x="714080" y="1999915"/>
                  </a:lnTo>
                  <a:cubicBezTo>
                    <a:pt x="913207" y="2199036"/>
                    <a:pt x="1236052" y="2199036"/>
                    <a:pt x="1435173" y="1999915"/>
                  </a:cubicBezTo>
                  <a:lnTo>
                    <a:pt x="1999914" y="1435174"/>
                  </a:lnTo>
                  <a:cubicBezTo>
                    <a:pt x="2199035" y="1236053"/>
                    <a:pt x="2199035" y="913208"/>
                    <a:pt x="1999914" y="714081"/>
                  </a:cubicBezTo>
                  <a:close/>
                </a:path>
              </a:pathLst>
            </a:custGeom>
            <a:solidFill>
              <a:srgbClr val="339C91">
                <a:alpha val="90000"/>
              </a:srgbClr>
            </a:solidFill>
            <a:ln w="5212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lang="en-GB" sz="3600">
                  <a:solidFill>
                    <a:schemeClr val="accent2">
                      <a:lumMod val="20000"/>
                      <a:lumOff val="80000"/>
                    </a:schemeClr>
                  </a:solidFill>
                  <a:latin typeface="+mj-lt"/>
                </a:rPr>
                <a:t>E</a:t>
              </a:r>
              <a:endParaRPr lang="en-GB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endParaRPr>
            </a:p>
          </p:txBody>
        </p:sp>
        <p:sp>
          <p:nvSpPr>
            <p:cNvPr id="5" name="Graphic 9">
              <a:extLst>
                <a:ext uri="{FF2B5EF4-FFF2-40B4-BE49-F238E27FC236}">
                  <a16:creationId xmlns:a16="http://schemas.microsoft.com/office/drawing/2014/main" id="{ADFD0609-D0F3-19E5-CB46-102BBE8D3BE5}"/>
                </a:ext>
              </a:extLst>
            </p:cNvPr>
            <p:cNvSpPr/>
            <p:nvPr/>
          </p:nvSpPr>
          <p:spPr>
            <a:xfrm>
              <a:off x="596926" y="3975149"/>
              <a:ext cx="2090225" cy="2082867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rgbClr val="F79FA7">
                <a:alpha val="90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FACCD0"/>
                  </a:solidFill>
                  <a:effectLst/>
                  <a:uLnTx/>
                  <a:uFillTx/>
                  <a:latin typeface="DM Sans 14pt ExtraBold"/>
                  <a:ea typeface="+mn-ea"/>
                  <a:cs typeface="+mn-cs"/>
                </a:rPr>
                <a:t>S</a:t>
              </a:r>
              <a:endParaRPr lang="en-GB">
                <a:solidFill>
                  <a:srgbClr val="FACCD0"/>
                </a:solidFill>
              </a:endParaRPr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6C929987-776D-6D1E-C23E-E8BD3805C0D8}"/>
                </a:ext>
              </a:extLst>
            </p:cNvPr>
            <p:cNvSpPr/>
            <p:nvPr/>
          </p:nvSpPr>
          <p:spPr>
            <a:xfrm>
              <a:off x="1652144" y="3285035"/>
              <a:ext cx="2201080" cy="1722428"/>
            </a:xfrm>
            <a:custGeom>
              <a:avLst/>
              <a:gdLst>
                <a:gd name="connsiteX0" fmla="*/ 955524 w 2201080"/>
                <a:gd name="connsiteY0" fmla="*/ 77131 h 1722428"/>
                <a:gd name="connsiteX1" fmla="*/ 1245557 w 2201080"/>
                <a:gd name="connsiteY1" fmla="*/ 77131 h 1722428"/>
                <a:gd name="connsiteX2" fmla="*/ 2170909 w 2201080"/>
                <a:gd name="connsiteY2" fmla="*/ 1449776 h 1722428"/>
                <a:gd name="connsiteX3" fmla="*/ 2025893 w 2201080"/>
                <a:gd name="connsiteY3" fmla="*/ 1722429 h 1722428"/>
                <a:gd name="connsiteX4" fmla="*/ 175189 w 2201080"/>
                <a:gd name="connsiteY4" fmla="*/ 1722429 h 1722428"/>
                <a:gd name="connsiteX5" fmla="*/ 30172 w 2201080"/>
                <a:gd name="connsiteY5" fmla="*/ 1449776 h 1722428"/>
                <a:gd name="connsiteX6" fmla="*/ 955524 w 2201080"/>
                <a:gd name="connsiteY6" fmla="*/ 77131 h 172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1080" h="1722428">
                  <a:moveTo>
                    <a:pt x="955524" y="77131"/>
                  </a:moveTo>
                  <a:cubicBezTo>
                    <a:pt x="1024853" y="-25710"/>
                    <a:pt x="1176228" y="-25710"/>
                    <a:pt x="1245557" y="77131"/>
                  </a:cubicBezTo>
                  <a:lnTo>
                    <a:pt x="2170909" y="1449776"/>
                  </a:lnTo>
                  <a:cubicBezTo>
                    <a:pt x="2249219" y="1565938"/>
                    <a:pt x="2165987" y="1722429"/>
                    <a:pt x="2025893" y="1722429"/>
                  </a:cubicBezTo>
                  <a:lnTo>
                    <a:pt x="175189" y="1722429"/>
                  </a:lnTo>
                  <a:cubicBezTo>
                    <a:pt x="35095" y="1722429"/>
                    <a:pt x="-48139" y="1565938"/>
                    <a:pt x="30172" y="1449776"/>
                  </a:cubicBezTo>
                  <a:lnTo>
                    <a:pt x="955524" y="77131"/>
                  </a:lnTo>
                  <a:close/>
                </a:path>
              </a:pathLst>
            </a:custGeom>
            <a:noFill/>
            <a:ln w="12909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18" name="Billede 13">
            <a:extLst>
              <a:ext uri="{FF2B5EF4-FFF2-40B4-BE49-F238E27FC236}">
                <a16:creationId xmlns:a16="http://schemas.microsoft.com/office/drawing/2014/main" id="{FF3528B8-1B52-7C65-8140-A579F5BC5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8971" y="907232"/>
            <a:ext cx="1870738" cy="1896995"/>
          </a:xfrm>
          <a:prstGeom prst="rect">
            <a:avLst/>
          </a:prstGeom>
        </p:spPr>
      </p:pic>
      <p:pic>
        <p:nvPicPr>
          <p:cNvPr id="19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3A1C4295-28F0-4AFB-B069-5C27471FEA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670" y="991653"/>
            <a:ext cx="2541466" cy="2578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: Rounded Corners 44">
            <a:extLst>
              <a:ext uri="{FF2B5EF4-FFF2-40B4-BE49-F238E27FC236}">
                <a16:creationId xmlns:a16="http://schemas.microsoft.com/office/drawing/2014/main" id="{71B2A7DC-FF3D-5790-5DCE-89F8B48D4B0F}"/>
              </a:ext>
            </a:extLst>
          </p:cNvPr>
          <p:cNvSpPr/>
          <p:nvPr/>
        </p:nvSpPr>
        <p:spPr>
          <a:xfrm>
            <a:off x="5492670" y="4251338"/>
            <a:ext cx="119584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9" name="Rectangle: Rounded Corners 62">
            <a:extLst>
              <a:ext uri="{FF2B5EF4-FFF2-40B4-BE49-F238E27FC236}">
                <a16:creationId xmlns:a16="http://schemas.microsoft.com/office/drawing/2014/main" id="{8ADDB643-C90C-FB0D-5661-5536A26014B5}"/>
              </a:ext>
            </a:extLst>
          </p:cNvPr>
          <p:cNvSpPr/>
          <p:nvPr/>
        </p:nvSpPr>
        <p:spPr>
          <a:xfrm>
            <a:off x="5492670" y="1955483"/>
            <a:ext cx="4873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11" name="Rectangle: Rounded Corners 85">
            <a:extLst>
              <a:ext uri="{FF2B5EF4-FFF2-40B4-BE49-F238E27FC236}">
                <a16:creationId xmlns:a16="http://schemas.microsoft.com/office/drawing/2014/main" id="{7F59FF21-FE54-801E-0C49-AEFC6C8966F8}"/>
              </a:ext>
            </a:extLst>
          </p:cNvPr>
          <p:cNvSpPr/>
          <p:nvPr/>
        </p:nvSpPr>
        <p:spPr>
          <a:xfrm>
            <a:off x="5521284" y="3113684"/>
            <a:ext cx="59952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</a:t>
            </a:r>
          </a:p>
        </p:txBody>
      </p:sp>
      <p:grpSp>
        <p:nvGrpSpPr>
          <p:cNvPr id="13" name="Group 330">
            <a:extLst>
              <a:ext uri="{FF2B5EF4-FFF2-40B4-BE49-F238E27FC236}">
                <a16:creationId xmlns:a16="http://schemas.microsoft.com/office/drawing/2014/main" id="{C1C59446-3695-7F0B-2F9A-D7BDA23BDFEE}"/>
              </a:ext>
            </a:extLst>
          </p:cNvPr>
          <p:cNvGrpSpPr/>
          <p:nvPr/>
        </p:nvGrpSpPr>
        <p:grpSpPr>
          <a:xfrm>
            <a:off x="4460428" y="1589402"/>
            <a:ext cx="958810" cy="966280"/>
            <a:chOff x="4156082" y="-3024236"/>
            <a:chExt cx="2183420" cy="2200431"/>
          </a:xfrm>
        </p:grpSpPr>
        <p:sp>
          <p:nvSpPr>
            <p:cNvPr id="14" name="Freeform: Shape 328">
              <a:extLst>
                <a:ext uri="{FF2B5EF4-FFF2-40B4-BE49-F238E27FC236}">
                  <a16:creationId xmlns:a16="http://schemas.microsoft.com/office/drawing/2014/main" id="{6B17EE31-AE7B-1BF7-DE6C-D68EC0772804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15" name="Freeform: Shape 329">
              <a:extLst>
                <a:ext uri="{FF2B5EF4-FFF2-40B4-BE49-F238E27FC236}">
                  <a16:creationId xmlns:a16="http://schemas.microsoft.com/office/drawing/2014/main" id="{DCFC931E-8392-4665-F53D-629F2F7C05DF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0" name="Group 331">
            <a:extLst>
              <a:ext uri="{FF2B5EF4-FFF2-40B4-BE49-F238E27FC236}">
                <a16:creationId xmlns:a16="http://schemas.microsoft.com/office/drawing/2014/main" id="{8ED23289-794E-C456-8D36-F0D2BDE0BA8A}"/>
              </a:ext>
            </a:extLst>
          </p:cNvPr>
          <p:cNvGrpSpPr/>
          <p:nvPr/>
        </p:nvGrpSpPr>
        <p:grpSpPr>
          <a:xfrm>
            <a:off x="4474998" y="2739706"/>
            <a:ext cx="962976" cy="963400"/>
            <a:chOff x="3092692" y="-1631033"/>
            <a:chExt cx="2192906" cy="2193874"/>
          </a:xfrm>
        </p:grpSpPr>
        <p:sp>
          <p:nvSpPr>
            <p:cNvPr id="21" name="Freeform: Shape 326">
              <a:extLst>
                <a:ext uri="{FF2B5EF4-FFF2-40B4-BE49-F238E27FC236}">
                  <a16:creationId xmlns:a16="http://schemas.microsoft.com/office/drawing/2014/main" id="{8618D6F3-BDAD-A877-9531-5C041FE7639C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" name="Freeform: Shape 327">
              <a:extLst>
                <a:ext uri="{FF2B5EF4-FFF2-40B4-BE49-F238E27FC236}">
                  <a16:creationId xmlns:a16="http://schemas.microsoft.com/office/drawing/2014/main" id="{E4A9E798-4BF4-7FC6-F81D-BBF011BEEBD4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3" name="Group 332">
            <a:extLst>
              <a:ext uri="{FF2B5EF4-FFF2-40B4-BE49-F238E27FC236}">
                <a16:creationId xmlns:a16="http://schemas.microsoft.com/office/drawing/2014/main" id="{0B3DD3B3-0902-42F8-2507-053E86BA22BA}"/>
              </a:ext>
            </a:extLst>
          </p:cNvPr>
          <p:cNvGrpSpPr/>
          <p:nvPr/>
        </p:nvGrpSpPr>
        <p:grpSpPr>
          <a:xfrm rot="21410080">
            <a:off x="4504538" y="3909565"/>
            <a:ext cx="905270" cy="898990"/>
            <a:chOff x="8336051" y="3610471"/>
            <a:chExt cx="2227633" cy="2212181"/>
          </a:xfrm>
        </p:grpSpPr>
        <p:sp>
          <p:nvSpPr>
            <p:cNvPr id="24" name="Freeform: Shape 333">
              <a:extLst>
                <a:ext uri="{FF2B5EF4-FFF2-40B4-BE49-F238E27FC236}">
                  <a16:creationId xmlns:a16="http://schemas.microsoft.com/office/drawing/2014/main" id="{07D439CF-C221-0444-369A-01D870D5D260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5" name="Freeform: Shape 334">
              <a:extLst>
                <a:ext uri="{FF2B5EF4-FFF2-40B4-BE49-F238E27FC236}">
                  <a16:creationId xmlns:a16="http://schemas.microsoft.com/office/drawing/2014/main" id="{F23F4062-5C4C-E0DB-C35D-7F57BA3D4D44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978401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22756CC-2A1B-ABC8-1AB3-8070665B48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AAF4B3-ADEC-F594-E85D-B4E53A7F7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AF4B3-ADEC-F594-E85D-B4E53A7F7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0F207845-296B-0925-6829-D793DEF10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llustrati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bru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nye slid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83071F-A67F-3F5C-CB68-B26CB8FFCE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78260" y="1483059"/>
            <a:ext cx="7124050" cy="48253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630679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C9CFC37-7127-25F4-32D0-B1BABB48F1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9F37EC-DDEB-7CA0-BA91-2CAAD1CBB2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9F37EC-DDEB-7CA0-BA91-2CAAD1CB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E2FDA60A-03A2-0E6C-8641-FE741E64A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llustrati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bru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nye slid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6D3B151-5126-78F2-0B8E-BB251A626E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11044" y="4911339"/>
            <a:ext cx="3354950" cy="135776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8D98B85-A5DB-F39E-AF42-29538426E7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 flipV="1">
            <a:off x="172983" y="1533088"/>
            <a:ext cx="2449873" cy="1656700"/>
          </a:xfrm>
          <a:prstGeom prst="rect">
            <a:avLst/>
          </a:prstGeom>
        </p:spPr>
      </p:pic>
      <p:grpSp>
        <p:nvGrpSpPr>
          <p:cNvPr id="11" name="Graphic 8">
            <a:extLst>
              <a:ext uri="{FF2B5EF4-FFF2-40B4-BE49-F238E27FC236}">
                <a16:creationId xmlns:a16="http://schemas.microsoft.com/office/drawing/2014/main" id="{A84CFB78-B92F-B781-4D9B-62A8845B7BF1}"/>
              </a:ext>
            </a:extLst>
          </p:cNvPr>
          <p:cNvGrpSpPr/>
          <p:nvPr/>
        </p:nvGrpSpPr>
        <p:grpSpPr>
          <a:xfrm>
            <a:off x="7548984" y="3219746"/>
            <a:ext cx="1852329" cy="1175370"/>
            <a:chOff x="9982961" y="5233301"/>
            <a:chExt cx="2262505" cy="1435642"/>
          </a:xfrm>
          <a:noFill/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0944397-BB66-0C1D-A0A4-B858D6B1A6BF}"/>
                </a:ext>
              </a:extLst>
            </p:cNvPr>
            <p:cNvSpPr/>
            <p:nvPr/>
          </p:nvSpPr>
          <p:spPr>
            <a:xfrm>
              <a:off x="10864514" y="5748477"/>
              <a:ext cx="16985" cy="893368"/>
            </a:xfrm>
            <a:custGeom>
              <a:avLst/>
              <a:gdLst>
                <a:gd name="connsiteX0" fmla="*/ 4971 w 16985"/>
                <a:gd name="connsiteY0" fmla="*/ 893369 h 893368"/>
                <a:gd name="connsiteX1" fmla="*/ 1987 w 16985"/>
                <a:gd name="connsiteY1" fmla="*/ 846316 h 893368"/>
                <a:gd name="connsiteX2" fmla="*/ 18 w 16985"/>
                <a:gd name="connsiteY2" fmla="*/ 799199 h 893368"/>
                <a:gd name="connsiteX3" fmla="*/ 1161 w 16985"/>
                <a:gd name="connsiteY3" fmla="*/ 752272 h 893368"/>
                <a:gd name="connsiteX4" fmla="*/ 3701 w 16985"/>
                <a:gd name="connsiteY4" fmla="*/ 705345 h 893368"/>
                <a:gd name="connsiteX5" fmla="*/ 7257 w 16985"/>
                <a:gd name="connsiteY5" fmla="*/ 658419 h 893368"/>
                <a:gd name="connsiteX6" fmla="*/ 8273 w 16985"/>
                <a:gd name="connsiteY6" fmla="*/ 611493 h 893368"/>
                <a:gd name="connsiteX7" fmla="*/ 5987 w 16985"/>
                <a:gd name="connsiteY7" fmla="*/ 564388 h 893368"/>
                <a:gd name="connsiteX8" fmla="*/ 4971 w 16985"/>
                <a:gd name="connsiteY8" fmla="*/ 517449 h 893368"/>
                <a:gd name="connsiteX9" fmla="*/ 5162 w 16985"/>
                <a:gd name="connsiteY9" fmla="*/ 470370 h 893368"/>
                <a:gd name="connsiteX10" fmla="*/ 11385 w 16985"/>
                <a:gd name="connsiteY10" fmla="*/ 423431 h 893368"/>
                <a:gd name="connsiteX11" fmla="*/ 12083 w 16985"/>
                <a:gd name="connsiteY11" fmla="*/ 376498 h 893368"/>
                <a:gd name="connsiteX12" fmla="*/ 12972 w 16985"/>
                <a:gd name="connsiteY12" fmla="*/ 329419 h 893368"/>
                <a:gd name="connsiteX13" fmla="*/ 9988 w 16985"/>
                <a:gd name="connsiteY13" fmla="*/ 282334 h 893368"/>
                <a:gd name="connsiteX14" fmla="*/ 8146 w 16985"/>
                <a:gd name="connsiteY14" fmla="*/ 235401 h 893368"/>
                <a:gd name="connsiteX15" fmla="*/ 9289 w 16985"/>
                <a:gd name="connsiteY15" fmla="*/ 188322 h 893368"/>
                <a:gd name="connsiteX16" fmla="*/ 13543 w 16985"/>
                <a:gd name="connsiteY16" fmla="*/ 141383 h 893368"/>
                <a:gd name="connsiteX17" fmla="*/ 13226 w 16985"/>
                <a:gd name="connsiteY17" fmla="*/ 94304 h 893368"/>
                <a:gd name="connsiteX18" fmla="*/ 16973 w 16985"/>
                <a:gd name="connsiteY18" fmla="*/ 47225 h 893368"/>
                <a:gd name="connsiteX19" fmla="*/ 13798 w 16985"/>
                <a:gd name="connsiteY19" fmla="*/ 0 h 893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985" h="893368">
                  <a:moveTo>
                    <a:pt x="4971" y="893369"/>
                  </a:moveTo>
                  <a:cubicBezTo>
                    <a:pt x="5289" y="869938"/>
                    <a:pt x="1732" y="869938"/>
                    <a:pt x="1987" y="846316"/>
                  </a:cubicBezTo>
                  <a:cubicBezTo>
                    <a:pt x="2304" y="822693"/>
                    <a:pt x="-236" y="822820"/>
                    <a:pt x="18" y="799199"/>
                  </a:cubicBezTo>
                  <a:cubicBezTo>
                    <a:pt x="336" y="775577"/>
                    <a:pt x="717" y="775767"/>
                    <a:pt x="1161" y="752272"/>
                  </a:cubicBezTo>
                  <a:cubicBezTo>
                    <a:pt x="1605" y="728840"/>
                    <a:pt x="3447" y="728840"/>
                    <a:pt x="3701" y="705345"/>
                  </a:cubicBezTo>
                  <a:cubicBezTo>
                    <a:pt x="4018" y="681851"/>
                    <a:pt x="7003" y="681851"/>
                    <a:pt x="7257" y="658419"/>
                  </a:cubicBezTo>
                  <a:cubicBezTo>
                    <a:pt x="7575" y="634924"/>
                    <a:pt x="7829" y="634924"/>
                    <a:pt x="8273" y="611493"/>
                  </a:cubicBezTo>
                  <a:cubicBezTo>
                    <a:pt x="8717" y="587997"/>
                    <a:pt x="5733" y="587997"/>
                    <a:pt x="5987" y="564388"/>
                  </a:cubicBezTo>
                  <a:cubicBezTo>
                    <a:pt x="6304" y="540779"/>
                    <a:pt x="4590" y="540919"/>
                    <a:pt x="4971" y="517449"/>
                  </a:cubicBezTo>
                  <a:cubicBezTo>
                    <a:pt x="5416" y="493986"/>
                    <a:pt x="4971" y="493986"/>
                    <a:pt x="5162" y="470370"/>
                  </a:cubicBezTo>
                  <a:cubicBezTo>
                    <a:pt x="5289" y="446761"/>
                    <a:pt x="11004" y="446901"/>
                    <a:pt x="11385" y="423431"/>
                  </a:cubicBezTo>
                  <a:cubicBezTo>
                    <a:pt x="11829" y="399967"/>
                    <a:pt x="11829" y="399967"/>
                    <a:pt x="12083" y="376498"/>
                  </a:cubicBezTo>
                  <a:cubicBezTo>
                    <a:pt x="12401" y="353028"/>
                    <a:pt x="12654" y="353028"/>
                    <a:pt x="12972" y="329419"/>
                  </a:cubicBezTo>
                  <a:cubicBezTo>
                    <a:pt x="13226" y="305803"/>
                    <a:pt x="9670" y="305803"/>
                    <a:pt x="9988" y="282334"/>
                  </a:cubicBezTo>
                  <a:cubicBezTo>
                    <a:pt x="10242" y="258871"/>
                    <a:pt x="7829" y="258871"/>
                    <a:pt x="8146" y="235401"/>
                  </a:cubicBezTo>
                  <a:cubicBezTo>
                    <a:pt x="8400" y="211931"/>
                    <a:pt x="8972" y="211931"/>
                    <a:pt x="9289" y="188322"/>
                  </a:cubicBezTo>
                  <a:cubicBezTo>
                    <a:pt x="9543" y="164707"/>
                    <a:pt x="13226" y="164852"/>
                    <a:pt x="13543" y="141383"/>
                  </a:cubicBezTo>
                  <a:cubicBezTo>
                    <a:pt x="13798" y="117913"/>
                    <a:pt x="12972" y="117913"/>
                    <a:pt x="13226" y="94304"/>
                  </a:cubicBezTo>
                  <a:cubicBezTo>
                    <a:pt x="13543" y="70688"/>
                    <a:pt x="16655" y="70834"/>
                    <a:pt x="16973" y="47225"/>
                  </a:cubicBezTo>
                  <a:cubicBezTo>
                    <a:pt x="17227" y="23609"/>
                    <a:pt x="13543" y="23609"/>
                    <a:pt x="13798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A98FA5A-B893-C9DC-009A-C0F0F54CA6BA}"/>
                </a:ext>
              </a:extLst>
            </p:cNvPr>
            <p:cNvSpPr/>
            <p:nvPr/>
          </p:nvSpPr>
          <p:spPr>
            <a:xfrm>
              <a:off x="10870247" y="6136068"/>
              <a:ext cx="160401" cy="155321"/>
            </a:xfrm>
            <a:custGeom>
              <a:avLst/>
              <a:gdLst>
                <a:gd name="connsiteX0" fmla="*/ 160401 w 160401"/>
                <a:gd name="connsiteY0" fmla="*/ 0 h 155321"/>
                <a:gd name="connsiteX1" fmla="*/ 128016 w 160401"/>
                <a:gd name="connsiteY1" fmla="*/ 30575 h 155321"/>
                <a:gd name="connsiteX2" fmla="*/ 94297 w 160401"/>
                <a:gd name="connsiteY2" fmla="*/ 60020 h 155321"/>
                <a:gd name="connsiteX3" fmla="*/ 64834 w 160401"/>
                <a:gd name="connsiteY3" fmla="*/ 93732 h 155321"/>
                <a:gd name="connsiteX4" fmla="*/ 34227 w 160401"/>
                <a:gd name="connsiteY4" fmla="*/ 126302 h 155321"/>
                <a:gd name="connsiteX5" fmla="*/ 0 w 160401"/>
                <a:gd name="connsiteY5" fmla="*/ 155321 h 15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401" h="155321">
                  <a:moveTo>
                    <a:pt x="160401" y="0"/>
                  </a:moveTo>
                  <a:cubicBezTo>
                    <a:pt x="144653" y="15786"/>
                    <a:pt x="143764" y="14789"/>
                    <a:pt x="128016" y="30575"/>
                  </a:cubicBezTo>
                  <a:cubicBezTo>
                    <a:pt x="112205" y="46368"/>
                    <a:pt x="110046" y="44234"/>
                    <a:pt x="94297" y="60020"/>
                  </a:cubicBezTo>
                  <a:cubicBezTo>
                    <a:pt x="78486" y="75806"/>
                    <a:pt x="80645" y="77940"/>
                    <a:pt x="64834" y="93732"/>
                  </a:cubicBezTo>
                  <a:cubicBezTo>
                    <a:pt x="49022" y="109519"/>
                    <a:pt x="50038" y="110515"/>
                    <a:pt x="34227" y="126302"/>
                  </a:cubicBezTo>
                  <a:cubicBezTo>
                    <a:pt x="18479" y="142087"/>
                    <a:pt x="15748" y="139389"/>
                    <a:pt x="0" y="155321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441DC38-427F-8C55-2BE3-0FC4403B3753}"/>
                </a:ext>
              </a:extLst>
            </p:cNvPr>
            <p:cNvSpPr/>
            <p:nvPr/>
          </p:nvSpPr>
          <p:spPr>
            <a:xfrm>
              <a:off x="10744072" y="5891561"/>
              <a:ext cx="134810" cy="135261"/>
            </a:xfrm>
            <a:custGeom>
              <a:avLst/>
              <a:gdLst>
                <a:gd name="connsiteX0" fmla="*/ 0 w 134810"/>
                <a:gd name="connsiteY0" fmla="*/ 0 h 135261"/>
                <a:gd name="connsiteX1" fmla="*/ 33274 w 134810"/>
                <a:gd name="connsiteY1" fmla="*/ 34131 h 135261"/>
                <a:gd name="connsiteX2" fmla="*/ 66548 w 134810"/>
                <a:gd name="connsiteY2" fmla="*/ 68415 h 135261"/>
                <a:gd name="connsiteX3" fmla="*/ 97854 w 134810"/>
                <a:gd name="connsiteY3" fmla="*/ 104686 h 135261"/>
                <a:gd name="connsiteX4" fmla="*/ 134810 w 134810"/>
                <a:gd name="connsiteY4" fmla="*/ 135262 h 13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810" h="135261">
                  <a:moveTo>
                    <a:pt x="0" y="0"/>
                  </a:moveTo>
                  <a:cubicBezTo>
                    <a:pt x="16891" y="16923"/>
                    <a:pt x="16320" y="17348"/>
                    <a:pt x="33274" y="34131"/>
                  </a:cubicBezTo>
                  <a:cubicBezTo>
                    <a:pt x="50229" y="50921"/>
                    <a:pt x="49657" y="51486"/>
                    <a:pt x="66548" y="68415"/>
                  </a:cubicBezTo>
                  <a:cubicBezTo>
                    <a:pt x="83503" y="85338"/>
                    <a:pt x="81090" y="87757"/>
                    <a:pt x="97854" y="104686"/>
                  </a:cubicBezTo>
                  <a:cubicBezTo>
                    <a:pt x="114618" y="121609"/>
                    <a:pt x="117920" y="118478"/>
                    <a:pt x="134810" y="13526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51824F-58C9-4542-D93C-51C455AD568D}"/>
                </a:ext>
              </a:extLst>
            </p:cNvPr>
            <p:cNvSpPr/>
            <p:nvPr/>
          </p:nvSpPr>
          <p:spPr>
            <a:xfrm>
              <a:off x="10576667" y="5490425"/>
              <a:ext cx="565681" cy="981303"/>
            </a:xfrm>
            <a:custGeom>
              <a:avLst/>
              <a:gdLst>
                <a:gd name="connsiteX0" fmla="*/ 296564 w 565681"/>
                <a:gd name="connsiteY0" fmla="*/ 981304 h 981303"/>
                <a:gd name="connsiteX1" fmla="*/ 327997 w 565681"/>
                <a:gd name="connsiteY1" fmla="*/ 950760 h 981303"/>
                <a:gd name="connsiteX2" fmla="*/ 363366 w 565681"/>
                <a:gd name="connsiteY2" fmla="*/ 924725 h 981303"/>
                <a:gd name="connsiteX3" fmla="*/ 393720 w 565681"/>
                <a:gd name="connsiteY3" fmla="*/ 892721 h 981303"/>
                <a:gd name="connsiteX4" fmla="*/ 430359 w 565681"/>
                <a:gd name="connsiteY4" fmla="*/ 868083 h 981303"/>
                <a:gd name="connsiteX5" fmla="*/ 462236 w 565681"/>
                <a:gd name="connsiteY5" fmla="*/ 837800 h 981303"/>
                <a:gd name="connsiteX6" fmla="*/ 493414 w 565681"/>
                <a:gd name="connsiteY6" fmla="*/ 806647 h 981303"/>
                <a:gd name="connsiteX7" fmla="*/ 523006 w 565681"/>
                <a:gd name="connsiteY7" fmla="*/ 776497 h 981303"/>
                <a:gd name="connsiteX8" fmla="*/ 544469 w 565681"/>
                <a:gd name="connsiteY8" fmla="*/ 739940 h 981303"/>
                <a:gd name="connsiteX9" fmla="*/ 560280 w 565681"/>
                <a:gd name="connsiteY9" fmla="*/ 700259 h 981303"/>
                <a:gd name="connsiteX10" fmla="*/ 565677 w 565681"/>
                <a:gd name="connsiteY10" fmla="*/ 657447 h 981303"/>
                <a:gd name="connsiteX11" fmla="*/ 558121 w 565681"/>
                <a:gd name="connsiteY11" fmla="*/ 615201 h 981303"/>
                <a:gd name="connsiteX12" fmla="*/ 548025 w 565681"/>
                <a:gd name="connsiteY12" fmla="*/ 573240 h 981303"/>
                <a:gd name="connsiteX13" fmla="*/ 526117 w 565681"/>
                <a:gd name="connsiteY13" fmla="*/ 531565 h 981303"/>
                <a:gd name="connsiteX14" fmla="*/ 510750 w 565681"/>
                <a:gd name="connsiteY14" fmla="*/ 487331 h 981303"/>
                <a:gd name="connsiteX15" fmla="*/ 489541 w 565681"/>
                <a:gd name="connsiteY15" fmla="*/ 445370 h 981303"/>
                <a:gd name="connsiteX16" fmla="*/ 477603 w 565681"/>
                <a:gd name="connsiteY16" fmla="*/ 399574 h 981303"/>
                <a:gd name="connsiteX17" fmla="*/ 459251 w 565681"/>
                <a:gd name="connsiteY17" fmla="*/ 356476 h 981303"/>
                <a:gd name="connsiteX18" fmla="*/ 437915 w 565681"/>
                <a:gd name="connsiteY18" fmla="*/ 314516 h 981303"/>
                <a:gd name="connsiteX19" fmla="*/ 425152 w 565681"/>
                <a:gd name="connsiteY19" fmla="*/ 269145 h 981303"/>
                <a:gd name="connsiteX20" fmla="*/ 406927 w 565681"/>
                <a:gd name="connsiteY20" fmla="*/ 225901 h 981303"/>
                <a:gd name="connsiteX21" fmla="*/ 387751 w 565681"/>
                <a:gd name="connsiteY21" fmla="*/ 183090 h 981303"/>
                <a:gd name="connsiteX22" fmla="*/ 372764 w 565681"/>
                <a:gd name="connsiteY22" fmla="*/ 138570 h 981303"/>
                <a:gd name="connsiteX23" fmla="*/ 355175 w 565681"/>
                <a:gd name="connsiteY23" fmla="*/ 95047 h 981303"/>
                <a:gd name="connsiteX24" fmla="*/ 334411 w 565681"/>
                <a:gd name="connsiteY24" fmla="*/ 52807 h 981303"/>
                <a:gd name="connsiteX25" fmla="*/ 314599 w 565681"/>
                <a:gd name="connsiteY25" fmla="*/ 10135 h 981303"/>
                <a:gd name="connsiteX26" fmla="*/ 289008 w 565681"/>
                <a:gd name="connsiteY26" fmla="*/ 10135 h 981303"/>
                <a:gd name="connsiteX27" fmla="*/ 265513 w 565681"/>
                <a:gd name="connsiteY27" fmla="*/ 50387 h 981303"/>
                <a:gd name="connsiteX28" fmla="*/ 245638 w 565681"/>
                <a:gd name="connsiteY28" fmla="*/ 92342 h 981303"/>
                <a:gd name="connsiteX29" fmla="*/ 224428 w 565681"/>
                <a:gd name="connsiteY29" fmla="*/ 133737 h 981303"/>
                <a:gd name="connsiteX30" fmla="*/ 206395 w 565681"/>
                <a:gd name="connsiteY30" fmla="*/ 176549 h 981303"/>
                <a:gd name="connsiteX31" fmla="*/ 183915 w 565681"/>
                <a:gd name="connsiteY31" fmla="*/ 217227 h 981303"/>
                <a:gd name="connsiteX32" fmla="*/ 161564 w 565681"/>
                <a:gd name="connsiteY32" fmla="*/ 258051 h 981303"/>
                <a:gd name="connsiteX33" fmla="*/ 140672 w 565681"/>
                <a:gd name="connsiteY33" fmla="*/ 299580 h 981303"/>
                <a:gd name="connsiteX34" fmla="*/ 124035 w 565681"/>
                <a:gd name="connsiteY34" fmla="*/ 343103 h 981303"/>
                <a:gd name="connsiteX35" fmla="*/ 103398 w 565681"/>
                <a:gd name="connsiteY35" fmla="*/ 384778 h 981303"/>
                <a:gd name="connsiteX36" fmla="*/ 77616 w 565681"/>
                <a:gd name="connsiteY36" fmla="*/ 423894 h 981303"/>
                <a:gd name="connsiteX37" fmla="*/ 60599 w 565681"/>
                <a:gd name="connsiteY37" fmla="*/ 467417 h 981303"/>
                <a:gd name="connsiteX38" fmla="*/ 37548 w 565681"/>
                <a:gd name="connsiteY38" fmla="*/ 507956 h 981303"/>
                <a:gd name="connsiteX39" fmla="*/ 17926 w 565681"/>
                <a:gd name="connsiteY39" fmla="*/ 550202 h 981303"/>
                <a:gd name="connsiteX40" fmla="*/ 9672 w 565681"/>
                <a:gd name="connsiteY40" fmla="*/ 596710 h 981303"/>
                <a:gd name="connsiteX41" fmla="*/ 147 w 565681"/>
                <a:gd name="connsiteY41" fmla="*/ 643077 h 981303"/>
                <a:gd name="connsiteX42" fmla="*/ 2242 w 565681"/>
                <a:gd name="connsiteY42" fmla="*/ 690588 h 981303"/>
                <a:gd name="connsiteX43" fmla="*/ 17609 w 565681"/>
                <a:gd name="connsiteY43" fmla="*/ 735533 h 981303"/>
                <a:gd name="connsiteX44" fmla="*/ 33421 w 565681"/>
                <a:gd name="connsiteY44" fmla="*/ 780053 h 981303"/>
                <a:gd name="connsiteX45" fmla="*/ 58884 w 565681"/>
                <a:gd name="connsiteY45" fmla="*/ 819881 h 981303"/>
                <a:gd name="connsiteX46" fmla="*/ 92857 w 565681"/>
                <a:gd name="connsiteY46" fmla="*/ 852589 h 981303"/>
                <a:gd name="connsiteX47" fmla="*/ 117876 w 565681"/>
                <a:gd name="connsiteY47" fmla="*/ 883323 h 981303"/>
                <a:gd name="connsiteX48" fmla="*/ 146514 w 565681"/>
                <a:gd name="connsiteY48" fmla="*/ 910184 h 981303"/>
                <a:gd name="connsiteX49" fmla="*/ 179216 w 565681"/>
                <a:gd name="connsiteY49" fmla="*/ 932663 h 98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5681" h="981303">
                  <a:moveTo>
                    <a:pt x="296564" y="981304"/>
                  </a:moveTo>
                  <a:cubicBezTo>
                    <a:pt x="313201" y="967080"/>
                    <a:pt x="311360" y="964984"/>
                    <a:pt x="327997" y="950760"/>
                  </a:cubicBezTo>
                  <a:cubicBezTo>
                    <a:pt x="344634" y="936536"/>
                    <a:pt x="346729" y="939076"/>
                    <a:pt x="363366" y="924725"/>
                  </a:cubicBezTo>
                  <a:cubicBezTo>
                    <a:pt x="380067" y="910311"/>
                    <a:pt x="377210" y="907072"/>
                    <a:pt x="393720" y="892721"/>
                  </a:cubicBezTo>
                  <a:cubicBezTo>
                    <a:pt x="410166" y="878307"/>
                    <a:pt x="413722" y="882307"/>
                    <a:pt x="430359" y="868083"/>
                  </a:cubicBezTo>
                  <a:cubicBezTo>
                    <a:pt x="447060" y="853872"/>
                    <a:pt x="445599" y="852164"/>
                    <a:pt x="462236" y="837800"/>
                  </a:cubicBezTo>
                  <a:cubicBezTo>
                    <a:pt x="478873" y="823436"/>
                    <a:pt x="476777" y="821017"/>
                    <a:pt x="493414" y="806647"/>
                  </a:cubicBezTo>
                  <a:cubicBezTo>
                    <a:pt x="504464" y="797122"/>
                    <a:pt x="514624" y="787730"/>
                    <a:pt x="523006" y="776497"/>
                  </a:cubicBezTo>
                  <a:cubicBezTo>
                    <a:pt x="531388" y="765257"/>
                    <a:pt x="538626" y="752888"/>
                    <a:pt x="544469" y="739940"/>
                  </a:cubicBezTo>
                  <a:cubicBezTo>
                    <a:pt x="550311" y="726999"/>
                    <a:pt x="557232" y="714197"/>
                    <a:pt x="560280" y="700259"/>
                  </a:cubicBezTo>
                  <a:cubicBezTo>
                    <a:pt x="563264" y="686321"/>
                    <a:pt x="565804" y="671811"/>
                    <a:pt x="565677" y="657447"/>
                  </a:cubicBezTo>
                  <a:cubicBezTo>
                    <a:pt x="565487" y="643077"/>
                    <a:pt x="561233" y="629139"/>
                    <a:pt x="558121" y="615201"/>
                  </a:cubicBezTo>
                  <a:cubicBezTo>
                    <a:pt x="555010" y="601262"/>
                    <a:pt x="554248" y="586327"/>
                    <a:pt x="548025" y="573240"/>
                  </a:cubicBezTo>
                  <a:cubicBezTo>
                    <a:pt x="538944" y="551625"/>
                    <a:pt x="534816" y="553326"/>
                    <a:pt x="526117" y="531565"/>
                  </a:cubicBezTo>
                  <a:cubicBezTo>
                    <a:pt x="517417" y="509804"/>
                    <a:pt x="519450" y="508953"/>
                    <a:pt x="510750" y="487331"/>
                  </a:cubicBezTo>
                  <a:cubicBezTo>
                    <a:pt x="502051" y="465709"/>
                    <a:pt x="498367" y="467131"/>
                    <a:pt x="489541" y="445370"/>
                  </a:cubicBezTo>
                  <a:cubicBezTo>
                    <a:pt x="480714" y="423609"/>
                    <a:pt x="486429" y="421335"/>
                    <a:pt x="477603" y="399574"/>
                  </a:cubicBezTo>
                  <a:cubicBezTo>
                    <a:pt x="468776" y="377813"/>
                    <a:pt x="468078" y="378098"/>
                    <a:pt x="459251" y="356476"/>
                  </a:cubicBezTo>
                  <a:cubicBezTo>
                    <a:pt x="450425" y="334855"/>
                    <a:pt x="446615" y="336277"/>
                    <a:pt x="437915" y="314516"/>
                  </a:cubicBezTo>
                  <a:cubicBezTo>
                    <a:pt x="429279" y="292754"/>
                    <a:pt x="433788" y="290906"/>
                    <a:pt x="425152" y="269145"/>
                  </a:cubicBezTo>
                  <a:cubicBezTo>
                    <a:pt x="416452" y="247383"/>
                    <a:pt x="415754" y="247663"/>
                    <a:pt x="406927" y="225901"/>
                  </a:cubicBezTo>
                  <a:cubicBezTo>
                    <a:pt x="398102" y="204140"/>
                    <a:pt x="396514" y="204851"/>
                    <a:pt x="387751" y="183090"/>
                  </a:cubicBezTo>
                  <a:cubicBezTo>
                    <a:pt x="378924" y="161328"/>
                    <a:pt x="381591" y="160331"/>
                    <a:pt x="372764" y="138570"/>
                  </a:cubicBezTo>
                  <a:cubicBezTo>
                    <a:pt x="363938" y="116808"/>
                    <a:pt x="363938" y="116808"/>
                    <a:pt x="355175" y="95047"/>
                  </a:cubicBezTo>
                  <a:cubicBezTo>
                    <a:pt x="346349" y="73285"/>
                    <a:pt x="343174" y="74568"/>
                    <a:pt x="334411" y="52807"/>
                  </a:cubicBezTo>
                  <a:cubicBezTo>
                    <a:pt x="325584" y="31039"/>
                    <a:pt x="323425" y="31896"/>
                    <a:pt x="314599" y="10135"/>
                  </a:cubicBezTo>
                  <a:cubicBezTo>
                    <a:pt x="309202" y="-3378"/>
                    <a:pt x="294533" y="-3378"/>
                    <a:pt x="289008" y="10135"/>
                  </a:cubicBezTo>
                  <a:cubicBezTo>
                    <a:pt x="279039" y="31039"/>
                    <a:pt x="275927" y="29616"/>
                    <a:pt x="265513" y="50387"/>
                  </a:cubicBezTo>
                  <a:cubicBezTo>
                    <a:pt x="255163" y="71152"/>
                    <a:pt x="255861" y="71577"/>
                    <a:pt x="245638" y="92342"/>
                  </a:cubicBezTo>
                  <a:cubicBezTo>
                    <a:pt x="235414" y="113113"/>
                    <a:pt x="234842" y="112967"/>
                    <a:pt x="224428" y="133737"/>
                  </a:cubicBezTo>
                  <a:cubicBezTo>
                    <a:pt x="214078" y="154502"/>
                    <a:pt x="216618" y="155785"/>
                    <a:pt x="206395" y="176549"/>
                  </a:cubicBezTo>
                  <a:cubicBezTo>
                    <a:pt x="196108" y="197313"/>
                    <a:pt x="194139" y="196463"/>
                    <a:pt x="183915" y="217227"/>
                  </a:cubicBezTo>
                  <a:cubicBezTo>
                    <a:pt x="173628" y="237992"/>
                    <a:pt x="171787" y="237141"/>
                    <a:pt x="161564" y="258051"/>
                  </a:cubicBezTo>
                  <a:cubicBezTo>
                    <a:pt x="151340" y="278956"/>
                    <a:pt x="151023" y="278816"/>
                    <a:pt x="140672" y="299580"/>
                  </a:cubicBezTo>
                  <a:cubicBezTo>
                    <a:pt x="130258" y="320345"/>
                    <a:pt x="134259" y="322339"/>
                    <a:pt x="124035" y="343103"/>
                  </a:cubicBezTo>
                  <a:cubicBezTo>
                    <a:pt x="113748" y="363874"/>
                    <a:pt x="113621" y="363874"/>
                    <a:pt x="103398" y="384778"/>
                  </a:cubicBezTo>
                  <a:cubicBezTo>
                    <a:pt x="93174" y="405689"/>
                    <a:pt x="88031" y="403130"/>
                    <a:pt x="77616" y="423894"/>
                  </a:cubicBezTo>
                  <a:cubicBezTo>
                    <a:pt x="67266" y="444659"/>
                    <a:pt x="70949" y="446513"/>
                    <a:pt x="60599" y="467417"/>
                  </a:cubicBezTo>
                  <a:cubicBezTo>
                    <a:pt x="50185" y="488328"/>
                    <a:pt x="47772" y="487045"/>
                    <a:pt x="37548" y="507956"/>
                  </a:cubicBezTo>
                  <a:cubicBezTo>
                    <a:pt x="27325" y="528866"/>
                    <a:pt x="27578" y="529006"/>
                    <a:pt x="17926" y="550202"/>
                  </a:cubicBezTo>
                  <a:cubicBezTo>
                    <a:pt x="12529" y="565138"/>
                    <a:pt x="12339" y="581349"/>
                    <a:pt x="9672" y="596710"/>
                  </a:cubicBezTo>
                  <a:cubicBezTo>
                    <a:pt x="6941" y="612070"/>
                    <a:pt x="401" y="627431"/>
                    <a:pt x="147" y="643077"/>
                  </a:cubicBezTo>
                  <a:cubicBezTo>
                    <a:pt x="-171" y="658724"/>
                    <a:pt x="-171" y="675081"/>
                    <a:pt x="2242" y="690588"/>
                  </a:cubicBezTo>
                  <a:cubicBezTo>
                    <a:pt x="4655" y="706088"/>
                    <a:pt x="12783" y="720458"/>
                    <a:pt x="17609" y="735533"/>
                  </a:cubicBezTo>
                  <a:cubicBezTo>
                    <a:pt x="22435" y="750608"/>
                    <a:pt x="25991" y="765969"/>
                    <a:pt x="33421" y="780053"/>
                  </a:cubicBezTo>
                  <a:cubicBezTo>
                    <a:pt x="40787" y="794131"/>
                    <a:pt x="49359" y="807218"/>
                    <a:pt x="58884" y="819881"/>
                  </a:cubicBezTo>
                  <a:cubicBezTo>
                    <a:pt x="68409" y="832536"/>
                    <a:pt x="81173" y="841642"/>
                    <a:pt x="92857" y="852589"/>
                  </a:cubicBezTo>
                  <a:cubicBezTo>
                    <a:pt x="107208" y="866115"/>
                    <a:pt x="103525" y="869925"/>
                    <a:pt x="117876" y="883323"/>
                  </a:cubicBezTo>
                  <a:cubicBezTo>
                    <a:pt x="132290" y="896658"/>
                    <a:pt x="132290" y="896849"/>
                    <a:pt x="146514" y="910184"/>
                  </a:cubicBezTo>
                  <a:cubicBezTo>
                    <a:pt x="160738" y="923582"/>
                    <a:pt x="164992" y="919328"/>
                    <a:pt x="179216" y="93266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79D5D2E-396B-96E0-9373-F3F0953B06C9}"/>
                </a:ext>
              </a:extLst>
            </p:cNvPr>
            <p:cNvSpPr/>
            <p:nvPr/>
          </p:nvSpPr>
          <p:spPr>
            <a:xfrm>
              <a:off x="10076688" y="5955284"/>
              <a:ext cx="313943" cy="219043"/>
            </a:xfrm>
            <a:custGeom>
              <a:avLst/>
              <a:gdLst>
                <a:gd name="connsiteX0" fmla="*/ 11811 w 313943"/>
                <a:gd name="connsiteY0" fmla="*/ 219043 h 219043"/>
                <a:gd name="connsiteX1" fmla="*/ 0 w 313943"/>
                <a:gd name="connsiteY1" fmla="*/ 158452 h 219043"/>
                <a:gd name="connsiteX2" fmla="*/ 7810 w 313943"/>
                <a:gd name="connsiteY2" fmla="*/ 110515 h 219043"/>
                <a:gd name="connsiteX3" fmla="*/ 29718 w 313943"/>
                <a:gd name="connsiteY3" fmla="*/ 67278 h 219043"/>
                <a:gd name="connsiteX4" fmla="*/ 62293 w 313943"/>
                <a:gd name="connsiteY4" fmla="*/ 30581 h 219043"/>
                <a:gd name="connsiteX5" fmla="*/ 107506 w 313943"/>
                <a:gd name="connsiteY5" fmla="*/ 11519 h 219043"/>
                <a:gd name="connsiteX6" fmla="*/ 155321 w 313943"/>
                <a:gd name="connsiteY6" fmla="*/ 0 h 219043"/>
                <a:gd name="connsiteX7" fmla="*/ 205232 w 313943"/>
                <a:gd name="connsiteY7" fmla="*/ 4832 h 219043"/>
                <a:gd name="connsiteX8" fmla="*/ 246190 w 313943"/>
                <a:gd name="connsiteY8" fmla="*/ 33280 h 219043"/>
                <a:gd name="connsiteX9" fmla="*/ 284480 w 313943"/>
                <a:gd name="connsiteY9" fmla="*/ 64573 h 219043"/>
                <a:gd name="connsiteX10" fmla="*/ 302705 w 313943"/>
                <a:gd name="connsiteY10" fmla="*/ 110515 h 219043"/>
                <a:gd name="connsiteX11" fmla="*/ 313944 w 313943"/>
                <a:gd name="connsiteY11" fmla="*/ 158452 h 2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943" h="219043">
                  <a:moveTo>
                    <a:pt x="11811" y="219043"/>
                  </a:moveTo>
                  <a:cubicBezTo>
                    <a:pt x="3873" y="200127"/>
                    <a:pt x="0" y="180213"/>
                    <a:pt x="0" y="158452"/>
                  </a:cubicBezTo>
                  <a:cubicBezTo>
                    <a:pt x="0" y="141382"/>
                    <a:pt x="2857" y="125876"/>
                    <a:pt x="7810" y="110515"/>
                  </a:cubicBezTo>
                  <a:cubicBezTo>
                    <a:pt x="12827" y="95155"/>
                    <a:pt x="20066" y="80505"/>
                    <a:pt x="29718" y="67278"/>
                  </a:cubicBezTo>
                  <a:cubicBezTo>
                    <a:pt x="39433" y="54051"/>
                    <a:pt x="48958" y="40392"/>
                    <a:pt x="62293" y="30581"/>
                  </a:cubicBezTo>
                  <a:cubicBezTo>
                    <a:pt x="75692" y="20764"/>
                    <a:pt x="91631" y="16783"/>
                    <a:pt x="107506" y="11519"/>
                  </a:cubicBezTo>
                  <a:cubicBezTo>
                    <a:pt x="123444" y="6255"/>
                    <a:pt x="138240" y="0"/>
                    <a:pt x="155321" y="0"/>
                  </a:cubicBezTo>
                  <a:cubicBezTo>
                    <a:pt x="172403" y="0"/>
                    <a:pt x="189865" y="0"/>
                    <a:pt x="205232" y="4832"/>
                  </a:cubicBezTo>
                  <a:cubicBezTo>
                    <a:pt x="220599" y="9671"/>
                    <a:pt x="232981" y="23609"/>
                    <a:pt x="246190" y="33280"/>
                  </a:cubicBezTo>
                  <a:cubicBezTo>
                    <a:pt x="259461" y="42951"/>
                    <a:pt x="274638" y="51206"/>
                    <a:pt x="284480" y="64573"/>
                  </a:cubicBezTo>
                  <a:cubicBezTo>
                    <a:pt x="294259" y="77946"/>
                    <a:pt x="297561" y="94583"/>
                    <a:pt x="302705" y="110515"/>
                  </a:cubicBezTo>
                  <a:cubicBezTo>
                    <a:pt x="307784" y="126447"/>
                    <a:pt x="313944" y="141382"/>
                    <a:pt x="313944" y="15845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22D2E95-0616-C69D-57AF-6E2822F465A6}"/>
                </a:ext>
              </a:extLst>
            </p:cNvPr>
            <p:cNvSpPr/>
            <p:nvPr/>
          </p:nvSpPr>
          <p:spPr>
            <a:xfrm>
              <a:off x="9982961" y="6197943"/>
              <a:ext cx="192151" cy="191871"/>
            </a:xfrm>
            <a:custGeom>
              <a:avLst/>
              <a:gdLst>
                <a:gd name="connsiteX0" fmla="*/ 97854 w 192151"/>
                <a:gd name="connsiteY0" fmla="*/ 191872 h 191871"/>
                <a:gd name="connsiteX1" fmla="*/ 50229 w 192151"/>
                <a:gd name="connsiteY1" fmla="*/ 176378 h 191871"/>
                <a:gd name="connsiteX2" fmla="*/ 13653 w 192151"/>
                <a:gd name="connsiteY2" fmla="*/ 142519 h 191871"/>
                <a:gd name="connsiteX3" fmla="*/ 0 w 192151"/>
                <a:gd name="connsiteY3" fmla="*/ 93878 h 191871"/>
                <a:gd name="connsiteX4" fmla="*/ 16383 w 192151"/>
                <a:gd name="connsiteY4" fmla="*/ 46799 h 191871"/>
                <a:gd name="connsiteX5" fmla="*/ 51943 w 192151"/>
                <a:gd name="connsiteY5" fmla="*/ 14224 h 191871"/>
                <a:gd name="connsiteX6" fmla="*/ 97854 w 192151"/>
                <a:gd name="connsiteY6" fmla="*/ 0 h 191871"/>
                <a:gd name="connsiteX7" fmla="*/ 146050 w 192151"/>
                <a:gd name="connsiteY7" fmla="*/ 10242 h 191871"/>
                <a:gd name="connsiteX8" fmla="*/ 179197 w 192151"/>
                <a:gd name="connsiteY8" fmla="*/ 46799 h 191871"/>
                <a:gd name="connsiteX9" fmla="*/ 192151 w 192151"/>
                <a:gd name="connsiteY9" fmla="*/ 93732 h 191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151" h="191871">
                  <a:moveTo>
                    <a:pt x="97854" y="191872"/>
                  </a:moveTo>
                  <a:cubicBezTo>
                    <a:pt x="80518" y="191872"/>
                    <a:pt x="64262" y="184315"/>
                    <a:pt x="50229" y="176378"/>
                  </a:cubicBezTo>
                  <a:cubicBezTo>
                    <a:pt x="36132" y="168377"/>
                    <a:pt x="22034" y="157010"/>
                    <a:pt x="13653" y="142519"/>
                  </a:cubicBezTo>
                  <a:cubicBezTo>
                    <a:pt x="5270" y="128016"/>
                    <a:pt x="0" y="111227"/>
                    <a:pt x="0" y="93878"/>
                  </a:cubicBezTo>
                  <a:cubicBezTo>
                    <a:pt x="0" y="76524"/>
                    <a:pt x="8255" y="60877"/>
                    <a:pt x="16383" y="46799"/>
                  </a:cubicBezTo>
                  <a:cubicBezTo>
                    <a:pt x="24447" y="32715"/>
                    <a:pt x="37402" y="22619"/>
                    <a:pt x="51943" y="14224"/>
                  </a:cubicBezTo>
                  <a:cubicBezTo>
                    <a:pt x="66421" y="5836"/>
                    <a:pt x="80518" y="0"/>
                    <a:pt x="97854" y="0"/>
                  </a:cubicBezTo>
                  <a:cubicBezTo>
                    <a:pt x="115189" y="0"/>
                    <a:pt x="132144" y="2134"/>
                    <a:pt x="146050" y="10242"/>
                  </a:cubicBezTo>
                  <a:cubicBezTo>
                    <a:pt x="160020" y="18351"/>
                    <a:pt x="170815" y="32290"/>
                    <a:pt x="179197" y="46799"/>
                  </a:cubicBezTo>
                  <a:cubicBezTo>
                    <a:pt x="187579" y="61303"/>
                    <a:pt x="192151" y="76524"/>
                    <a:pt x="192151" y="9373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3ED704-D42D-E9F2-FEA6-D5EBC0814151}"/>
                </a:ext>
              </a:extLst>
            </p:cNvPr>
            <p:cNvSpPr/>
            <p:nvPr/>
          </p:nvSpPr>
          <p:spPr>
            <a:xfrm>
              <a:off x="10158539" y="5576652"/>
              <a:ext cx="454978" cy="358006"/>
            </a:xfrm>
            <a:custGeom>
              <a:avLst/>
              <a:gdLst>
                <a:gd name="connsiteX0" fmla="*/ 17717 w 454978"/>
                <a:gd name="connsiteY0" fmla="*/ 358006 h 358006"/>
                <a:gd name="connsiteX1" fmla="*/ 2350 w 454978"/>
                <a:gd name="connsiteY1" fmla="*/ 306514 h 358006"/>
                <a:gd name="connsiteX2" fmla="*/ 508 w 454978"/>
                <a:gd name="connsiteY2" fmla="*/ 253321 h 358006"/>
                <a:gd name="connsiteX3" fmla="*/ 4382 w 454978"/>
                <a:gd name="connsiteY3" fmla="*/ 204394 h 358006"/>
                <a:gd name="connsiteX4" fmla="*/ 20129 w 454978"/>
                <a:gd name="connsiteY4" fmla="*/ 158020 h 358006"/>
                <a:gd name="connsiteX5" fmla="*/ 43180 w 454978"/>
                <a:gd name="connsiteY5" fmla="*/ 115068 h 358006"/>
                <a:gd name="connsiteX6" fmla="*/ 70929 w 454978"/>
                <a:gd name="connsiteY6" fmla="*/ 74104 h 358006"/>
                <a:gd name="connsiteX7" fmla="*/ 110173 w 454978"/>
                <a:gd name="connsiteY7" fmla="*/ 43809 h 358006"/>
                <a:gd name="connsiteX8" fmla="*/ 153290 w 454978"/>
                <a:gd name="connsiteY8" fmla="*/ 19488 h 358006"/>
                <a:gd name="connsiteX9" fmla="*/ 201613 w 454978"/>
                <a:gd name="connsiteY9" fmla="*/ 9385 h 358006"/>
                <a:gd name="connsiteX10" fmla="*/ 250127 w 454978"/>
                <a:gd name="connsiteY10" fmla="*/ 0 h 358006"/>
                <a:gd name="connsiteX11" fmla="*/ 296355 w 454978"/>
                <a:gd name="connsiteY11" fmla="*/ 9531 h 358006"/>
                <a:gd name="connsiteX12" fmla="*/ 341440 w 454978"/>
                <a:gd name="connsiteY12" fmla="*/ 21190 h 358006"/>
                <a:gd name="connsiteX13" fmla="*/ 384810 w 454978"/>
                <a:gd name="connsiteY13" fmla="*/ 39395 h 358006"/>
                <a:gd name="connsiteX14" fmla="*/ 423228 w 454978"/>
                <a:gd name="connsiteY14" fmla="*/ 67278 h 358006"/>
                <a:gd name="connsiteX15" fmla="*/ 454978 w 454978"/>
                <a:gd name="connsiteY15" fmla="*/ 102552 h 35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4978" h="358006">
                  <a:moveTo>
                    <a:pt x="17717" y="358006"/>
                  </a:moveTo>
                  <a:cubicBezTo>
                    <a:pt x="10478" y="341935"/>
                    <a:pt x="6223" y="324155"/>
                    <a:pt x="2350" y="306514"/>
                  </a:cubicBezTo>
                  <a:cubicBezTo>
                    <a:pt x="-1460" y="288880"/>
                    <a:pt x="508" y="271386"/>
                    <a:pt x="508" y="253321"/>
                  </a:cubicBezTo>
                  <a:cubicBezTo>
                    <a:pt x="508" y="236538"/>
                    <a:pt x="1207" y="220320"/>
                    <a:pt x="4382" y="204394"/>
                  </a:cubicBezTo>
                  <a:cubicBezTo>
                    <a:pt x="7493" y="188462"/>
                    <a:pt x="13907" y="173101"/>
                    <a:pt x="20129" y="158020"/>
                  </a:cubicBezTo>
                  <a:cubicBezTo>
                    <a:pt x="26417" y="142945"/>
                    <a:pt x="34100" y="128581"/>
                    <a:pt x="43180" y="115068"/>
                  </a:cubicBezTo>
                  <a:cubicBezTo>
                    <a:pt x="52261" y="101555"/>
                    <a:pt x="59246" y="85769"/>
                    <a:pt x="70929" y="74104"/>
                  </a:cubicBezTo>
                  <a:cubicBezTo>
                    <a:pt x="82550" y="62440"/>
                    <a:pt x="96393" y="53054"/>
                    <a:pt x="110173" y="43809"/>
                  </a:cubicBezTo>
                  <a:cubicBezTo>
                    <a:pt x="123953" y="34563"/>
                    <a:pt x="137922" y="25889"/>
                    <a:pt x="153290" y="19488"/>
                  </a:cubicBezTo>
                  <a:cubicBezTo>
                    <a:pt x="168656" y="13087"/>
                    <a:pt x="185293" y="12655"/>
                    <a:pt x="201613" y="9385"/>
                  </a:cubicBezTo>
                  <a:cubicBezTo>
                    <a:pt x="217996" y="6115"/>
                    <a:pt x="233363" y="0"/>
                    <a:pt x="250127" y="0"/>
                  </a:cubicBezTo>
                  <a:cubicBezTo>
                    <a:pt x="266891" y="0"/>
                    <a:pt x="281115" y="6540"/>
                    <a:pt x="296355" y="9531"/>
                  </a:cubicBezTo>
                  <a:cubicBezTo>
                    <a:pt x="311595" y="12516"/>
                    <a:pt x="326962" y="15500"/>
                    <a:pt x="341440" y="21190"/>
                  </a:cubicBezTo>
                  <a:cubicBezTo>
                    <a:pt x="355981" y="26879"/>
                    <a:pt x="371603" y="31147"/>
                    <a:pt x="384810" y="39395"/>
                  </a:cubicBezTo>
                  <a:cubicBezTo>
                    <a:pt x="398082" y="47650"/>
                    <a:pt x="411734" y="56610"/>
                    <a:pt x="423228" y="67278"/>
                  </a:cubicBezTo>
                  <a:cubicBezTo>
                    <a:pt x="434785" y="77946"/>
                    <a:pt x="445707" y="89891"/>
                    <a:pt x="454978" y="10255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F498005-D37E-D6B2-B9E0-584CCE900076}"/>
                </a:ext>
              </a:extLst>
            </p:cNvPr>
            <p:cNvSpPr/>
            <p:nvPr/>
          </p:nvSpPr>
          <p:spPr>
            <a:xfrm>
              <a:off x="10552493" y="5314879"/>
              <a:ext cx="288861" cy="288804"/>
            </a:xfrm>
            <a:custGeom>
              <a:avLst/>
              <a:gdLst>
                <a:gd name="connsiteX0" fmla="*/ 0 w 288861"/>
                <a:gd name="connsiteY0" fmla="*/ 288805 h 288804"/>
                <a:gd name="connsiteX1" fmla="*/ 3111 w 288861"/>
                <a:gd name="connsiteY1" fmla="*/ 243574 h 288804"/>
                <a:gd name="connsiteX2" fmla="*/ 14605 w 288861"/>
                <a:gd name="connsiteY2" fmla="*/ 199626 h 288804"/>
                <a:gd name="connsiteX3" fmla="*/ 34099 w 288861"/>
                <a:gd name="connsiteY3" fmla="*/ 158948 h 288804"/>
                <a:gd name="connsiteX4" fmla="*/ 53721 w 288861"/>
                <a:gd name="connsiteY4" fmla="*/ 117844 h 288804"/>
                <a:gd name="connsiteX5" fmla="*/ 87185 w 288861"/>
                <a:gd name="connsiteY5" fmla="*/ 86977 h 288804"/>
                <a:gd name="connsiteX6" fmla="*/ 121729 w 288861"/>
                <a:gd name="connsiteY6" fmla="*/ 58669 h 288804"/>
                <a:gd name="connsiteX7" fmla="*/ 159702 w 288861"/>
                <a:gd name="connsiteY7" fmla="*/ 35345 h 288804"/>
                <a:gd name="connsiteX8" fmla="*/ 200406 w 288861"/>
                <a:gd name="connsiteY8" fmla="*/ 16428 h 288804"/>
                <a:gd name="connsiteX9" fmla="*/ 243332 w 288861"/>
                <a:gd name="connsiteY9" fmla="*/ 1354 h 288804"/>
                <a:gd name="connsiteX10" fmla="*/ 288861 w 288861"/>
                <a:gd name="connsiteY10" fmla="*/ 496 h 288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8861" h="288804">
                  <a:moveTo>
                    <a:pt x="0" y="288805"/>
                  </a:moveTo>
                  <a:cubicBezTo>
                    <a:pt x="0" y="273445"/>
                    <a:pt x="825" y="258230"/>
                    <a:pt x="3111" y="243574"/>
                  </a:cubicBezTo>
                  <a:cubicBezTo>
                    <a:pt x="5397" y="228925"/>
                    <a:pt x="9906" y="213850"/>
                    <a:pt x="14605" y="199626"/>
                  </a:cubicBezTo>
                  <a:cubicBezTo>
                    <a:pt x="19303" y="185402"/>
                    <a:pt x="27305" y="172314"/>
                    <a:pt x="34099" y="158948"/>
                  </a:cubicBezTo>
                  <a:cubicBezTo>
                    <a:pt x="40957" y="145575"/>
                    <a:pt x="44894" y="130074"/>
                    <a:pt x="53721" y="117844"/>
                  </a:cubicBezTo>
                  <a:cubicBezTo>
                    <a:pt x="62547" y="105608"/>
                    <a:pt x="76517" y="97645"/>
                    <a:pt x="87185" y="86977"/>
                  </a:cubicBezTo>
                  <a:cubicBezTo>
                    <a:pt x="97853" y="76309"/>
                    <a:pt x="109474" y="67489"/>
                    <a:pt x="121729" y="58669"/>
                  </a:cubicBezTo>
                  <a:cubicBezTo>
                    <a:pt x="133985" y="49855"/>
                    <a:pt x="146367" y="42171"/>
                    <a:pt x="159702" y="35345"/>
                  </a:cubicBezTo>
                  <a:cubicBezTo>
                    <a:pt x="173100" y="28519"/>
                    <a:pt x="185864" y="21121"/>
                    <a:pt x="200406" y="16428"/>
                  </a:cubicBezTo>
                  <a:cubicBezTo>
                    <a:pt x="214884" y="11735"/>
                    <a:pt x="228282" y="3766"/>
                    <a:pt x="243332" y="1354"/>
                  </a:cubicBezTo>
                  <a:cubicBezTo>
                    <a:pt x="258445" y="-1066"/>
                    <a:pt x="273621" y="496"/>
                    <a:pt x="288861" y="496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BC5882F-EFD9-5DA7-80AE-25B4CFDA8987}"/>
                </a:ext>
              </a:extLst>
            </p:cNvPr>
            <p:cNvSpPr/>
            <p:nvPr/>
          </p:nvSpPr>
          <p:spPr>
            <a:xfrm>
              <a:off x="10860396" y="5236691"/>
              <a:ext cx="178507" cy="108129"/>
            </a:xfrm>
            <a:custGeom>
              <a:avLst/>
              <a:gdLst>
                <a:gd name="connsiteX0" fmla="*/ 9 w 178507"/>
                <a:gd name="connsiteY0" fmla="*/ 108129 h 108129"/>
                <a:gd name="connsiteX1" fmla="*/ 5025 w 178507"/>
                <a:gd name="connsiteY1" fmla="*/ 65317 h 108129"/>
                <a:gd name="connsiteX2" fmla="*/ 32457 w 178507"/>
                <a:gd name="connsiteY2" fmla="*/ 32177 h 108129"/>
                <a:gd name="connsiteX3" fmla="*/ 66429 w 178507"/>
                <a:gd name="connsiteY3" fmla="*/ 6713 h 108129"/>
                <a:gd name="connsiteX4" fmla="*/ 108403 w 178507"/>
                <a:gd name="connsiteY4" fmla="*/ 1170 h 108129"/>
                <a:gd name="connsiteX5" fmla="*/ 145677 w 178507"/>
                <a:gd name="connsiteY5" fmla="*/ 2021 h 108129"/>
                <a:gd name="connsiteX6" fmla="*/ 178507 w 178507"/>
                <a:gd name="connsiteY6" fmla="*/ 20658 h 10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507" h="108129">
                  <a:moveTo>
                    <a:pt x="9" y="108129"/>
                  </a:moveTo>
                  <a:cubicBezTo>
                    <a:pt x="9" y="93340"/>
                    <a:pt x="-436" y="78119"/>
                    <a:pt x="5025" y="65317"/>
                  </a:cubicBezTo>
                  <a:cubicBezTo>
                    <a:pt x="10422" y="52516"/>
                    <a:pt x="22487" y="42273"/>
                    <a:pt x="32457" y="32177"/>
                  </a:cubicBezTo>
                  <a:cubicBezTo>
                    <a:pt x="42426" y="22080"/>
                    <a:pt x="53095" y="12263"/>
                    <a:pt x="66429" y="6713"/>
                  </a:cubicBezTo>
                  <a:cubicBezTo>
                    <a:pt x="79828" y="1170"/>
                    <a:pt x="93608" y="1170"/>
                    <a:pt x="108403" y="1170"/>
                  </a:cubicBezTo>
                  <a:cubicBezTo>
                    <a:pt x="121039" y="1170"/>
                    <a:pt x="134311" y="-1961"/>
                    <a:pt x="145677" y="2021"/>
                  </a:cubicBezTo>
                  <a:cubicBezTo>
                    <a:pt x="157044" y="6002"/>
                    <a:pt x="168982" y="12974"/>
                    <a:pt x="178507" y="20658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41">
              <a:extLst>
                <a:ext uri="{FF2B5EF4-FFF2-40B4-BE49-F238E27FC236}">
                  <a16:creationId xmlns:a16="http://schemas.microsoft.com/office/drawing/2014/main" id="{475DE5CF-FE56-429D-ADC6-B7C831612D9E}"/>
                </a:ext>
              </a:extLst>
            </p:cNvPr>
            <p:cNvSpPr/>
            <p:nvPr/>
          </p:nvSpPr>
          <p:spPr>
            <a:xfrm>
              <a:off x="11022012" y="5233301"/>
              <a:ext cx="258571" cy="130428"/>
            </a:xfrm>
            <a:custGeom>
              <a:avLst/>
              <a:gdLst>
                <a:gd name="connsiteX0" fmla="*/ 258572 w 258571"/>
                <a:gd name="connsiteY0" fmla="*/ 130283 h 130428"/>
                <a:gd name="connsiteX1" fmla="*/ 248031 w 258571"/>
                <a:gd name="connsiteY1" fmla="*/ 82067 h 130428"/>
                <a:gd name="connsiteX2" fmla="*/ 221170 w 258571"/>
                <a:gd name="connsiteY2" fmla="*/ 40678 h 130428"/>
                <a:gd name="connsiteX3" fmla="*/ 180594 w 258571"/>
                <a:gd name="connsiteY3" fmla="*/ 11659 h 130428"/>
                <a:gd name="connsiteX4" fmla="*/ 131381 w 258571"/>
                <a:gd name="connsiteY4" fmla="*/ 0 h 130428"/>
                <a:gd name="connsiteX5" fmla="*/ 83756 w 258571"/>
                <a:gd name="connsiteY5" fmla="*/ 15360 h 130428"/>
                <a:gd name="connsiteX6" fmla="*/ 39370 w 258571"/>
                <a:gd name="connsiteY6" fmla="*/ 38398 h 130428"/>
                <a:gd name="connsiteX7" fmla="*/ 15748 w 258571"/>
                <a:gd name="connsiteY7" fmla="*/ 82493 h 130428"/>
                <a:gd name="connsiteX8" fmla="*/ 0 w 258571"/>
                <a:gd name="connsiteY8" fmla="*/ 130429 h 13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571" h="130428">
                  <a:moveTo>
                    <a:pt x="258572" y="130283"/>
                  </a:moveTo>
                  <a:cubicBezTo>
                    <a:pt x="258572" y="112935"/>
                    <a:pt x="254318" y="97142"/>
                    <a:pt x="248031" y="82067"/>
                  </a:cubicBezTo>
                  <a:cubicBezTo>
                    <a:pt x="241744" y="66992"/>
                    <a:pt x="232981" y="52482"/>
                    <a:pt x="221170" y="40678"/>
                  </a:cubicBezTo>
                  <a:cubicBezTo>
                    <a:pt x="209359" y="28873"/>
                    <a:pt x="196279" y="18205"/>
                    <a:pt x="180594" y="11659"/>
                  </a:cubicBezTo>
                  <a:cubicBezTo>
                    <a:pt x="164973" y="5118"/>
                    <a:pt x="148781" y="0"/>
                    <a:pt x="131381" y="0"/>
                  </a:cubicBezTo>
                  <a:cubicBezTo>
                    <a:pt x="114046" y="0"/>
                    <a:pt x="98806" y="9099"/>
                    <a:pt x="83756" y="15360"/>
                  </a:cubicBezTo>
                  <a:cubicBezTo>
                    <a:pt x="68644" y="21615"/>
                    <a:pt x="51181" y="26594"/>
                    <a:pt x="39370" y="38398"/>
                  </a:cubicBezTo>
                  <a:cubicBezTo>
                    <a:pt x="27559" y="50209"/>
                    <a:pt x="22161" y="66846"/>
                    <a:pt x="15748" y="82493"/>
                  </a:cubicBezTo>
                  <a:cubicBezTo>
                    <a:pt x="9334" y="98139"/>
                    <a:pt x="0" y="113074"/>
                    <a:pt x="0" y="130429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3B20F6-21E6-9F50-8998-C451C90EF052}"/>
                </a:ext>
              </a:extLst>
            </p:cNvPr>
            <p:cNvSpPr/>
            <p:nvPr/>
          </p:nvSpPr>
          <p:spPr>
            <a:xfrm>
              <a:off x="11289982" y="5261373"/>
              <a:ext cx="208216" cy="54141"/>
            </a:xfrm>
            <a:custGeom>
              <a:avLst/>
              <a:gdLst>
                <a:gd name="connsiteX0" fmla="*/ 208217 w 208216"/>
                <a:gd name="connsiteY0" fmla="*/ 54142 h 54141"/>
                <a:gd name="connsiteX1" fmla="*/ 175387 w 208216"/>
                <a:gd name="connsiteY1" fmla="*/ 23846 h 54141"/>
                <a:gd name="connsiteX2" fmla="*/ 133795 w 208216"/>
                <a:gd name="connsiteY2" fmla="*/ 8200 h 54141"/>
                <a:gd name="connsiteX3" fmla="*/ 90742 w 208216"/>
                <a:gd name="connsiteY3" fmla="*/ 948 h 54141"/>
                <a:gd name="connsiteX4" fmla="*/ 41783 w 208216"/>
                <a:gd name="connsiteY4" fmla="*/ 2936 h 54141"/>
                <a:gd name="connsiteX5" fmla="*/ 0 w 208216"/>
                <a:gd name="connsiteY5" fmla="*/ 28678 h 5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216" h="54141">
                  <a:moveTo>
                    <a:pt x="208217" y="54142"/>
                  </a:moveTo>
                  <a:cubicBezTo>
                    <a:pt x="198819" y="42477"/>
                    <a:pt x="187706" y="32234"/>
                    <a:pt x="175387" y="23846"/>
                  </a:cubicBezTo>
                  <a:cubicBezTo>
                    <a:pt x="163005" y="15451"/>
                    <a:pt x="148337" y="12752"/>
                    <a:pt x="133795" y="8200"/>
                  </a:cubicBezTo>
                  <a:cubicBezTo>
                    <a:pt x="119317" y="3647"/>
                    <a:pt x="106109" y="948"/>
                    <a:pt x="90742" y="948"/>
                  </a:cubicBezTo>
                  <a:cubicBezTo>
                    <a:pt x="73914" y="948"/>
                    <a:pt x="56897" y="-2183"/>
                    <a:pt x="41783" y="2936"/>
                  </a:cubicBezTo>
                  <a:cubicBezTo>
                    <a:pt x="26734" y="8060"/>
                    <a:pt x="12764" y="19007"/>
                    <a:pt x="0" y="28678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43">
              <a:extLst>
                <a:ext uri="{FF2B5EF4-FFF2-40B4-BE49-F238E27FC236}">
                  <a16:creationId xmlns:a16="http://schemas.microsoft.com/office/drawing/2014/main" id="{06872A18-377F-2C13-0EDD-9092D302E81E}"/>
                </a:ext>
              </a:extLst>
            </p:cNvPr>
            <p:cNvSpPr/>
            <p:nvPr/>
          </p:nvSpPr>
          <p:spPr>
            <a:xfrm>
              <a:off x="11298491" y="5275402"/>
              <a:ext cx="728446" cy="540632"/>
            </a:xfrm>
            <a:custGeom>
              <a:avLst/>
              <a:gdLst>
                <a:gd name="connsiteX0" fmla="*/ 0 w 728446"/>
                <a:gd name="connsiteY0" fmla="*/ 367817 h 540632"/>
                <a:gd name="connsiteX1" fmla="*/ 6096 w 728446"/>
                <a:gd name="connsiteY1" fmla="*/ 320453 h 540632"/>
                <a:gd name="connsiteX2" fmla="*/ 11366 w 728446"/>
                <a:gd name="connsiteY2" fmla="*/ 272948 h 540632"/>
                <a:gd name="connsiteX3" fmla="*/ 27051 w 728446"/>
                <a:gd name="connsiteY3" fmla="*/ 227718 h 540632"/>
                <a:gd name="connsiteX4" fmla="*/ 51371 w 728446"/>
                <a:gd name="connsiteY4" fmla="*/ 186614 h 540632"/>
                <a:gd name="connsiteX5" fmla="*/ 75946 w 728446"/>
                <a:gd name="connsiteY5" fmla="*/ 145936 h 540632"/>
                <a:gd name="connsiteX6" fmla="*/ 107378 w 728446"/>
                <a:gd name="connsiteY6" fmla="*/ 110090 h 540632"/>
                <a:gd name="connsiteX7" fmla="*/ 143510 w 728446"/>
                <a:gd name="connsiteY7" fmla="*/ 78943 h 540632"/>
                <a:gd name="connsiteX8" fmla="*/ 181102 w 728446"/>
                <a:gd name="connsiteY8" fmla="*/ 48927 h 540632"/>
                <a:gd name="connsiteX9" fmla="*/ 225044 w 728446"/>
                <a:gd name="connsiteY9" fmla="*/ 29585 h 540632"/>
                <a:gd name="connsiteX10" fmla="*/ 271526 w 728446"/>
                <a:gd name="connsiteY10" fmla="*/ 18631 h 540632"/>
                <a:gd name="connsiteX11" fmla="*/ 317309 w 728446"/>
                <a:gd name="connsiteY11" fmla="*/ 4553 h 540632"/>
                <a:gd name="connsiteX12" fmla="*/ 365125 w 728446"/>
                <a:gd name="connsiteY12" fmla="*/ 0 h 540632"/>
                <a:gd name="connsiteX13" fmla="*/ 413067 w 728446"/>
                <a:gd name="connsiteY13" fmla="*/ 3842 h 540632"/>
                <a:gd name="connsiteX14" fmla="*/ 460248 w 728446"/>
                <a:gd name="connsiteY14" fmla="*/ 12802 h 540632"/>
                <a:gd name="connsiteX15" fmla="*/ 504063 w 728446"/>
                <a:gd name="connsiteY15" fmla="*/ 32569 h 540632"/>
                <a:gd name="connsiteX16" fmla="*/ 547052 w 728446"/>
                <a:gd name="connsiteY16" fmla="*/ 53055 h 540632"/>
                <a:gd name="connsiteX17" fmla="*/ 586994 w 728446"/>
                <a:gd name="connsiteY17" fmla="*/ 79083 h 540632"/>
                <a:gd name="connsiteX18" fmla="*/ 621030 w 728446"/>
                <a:gd name="connsiteY18" fmla="*/ 112363 h 540632"/>
                <a:gd name="connsiteX19" fmla="*/ 656589 w 728446"/>
                <a:gd name="connsiteY19" fmla="*/ 144653 h 540632"/>
                <a:gd name="connsiteX20" fmla="*/ 680465 w 728446"/>
                <a:gd name="connsiteY20" fmla="*/ 186189 h 540632"/>
                <a:gd name="connsiteX21" fmla="*/ 699833 w 728446"/>
                <a:gd name="connsiteY21" fmla="*/ 229565 h 540632"/>
                <a:gd name="connsiteX22" fmla="*/ 718693 w 728446"/>
                <a:gd name="connsiteY22" fmla="*/ 273374 h 540632"/>
                <a:gd name="connsiteX23" fmla="*/ 724852 w 728446"/>
                <a:gd name="connsiteY23" fmla="*/ 320739 h 540632"/>
                <a:gd name="connsiteX24" fmla="*/ 728408 w 728446"/>
                <a:gd name="connsiteY24" fmla="*/ 368104 h 540632"/>
                <a:gd name="connsiteX25" fmla="*/ 727139 w 728446"/>
                <a:gd name="connsiteY25" fmla="*/ 413048 h 540632"/>
                <a:gd name="connsiteX26" fmla="*/ 721296 w 728446"/>
                <a:gd name="connsiteY26" fmla="*/ 458000 h 540632"/>
                <a:gd name="connsiteX27" fmla="*/ 705929 w 728446"/>
                <a:gd name="connsiteY27" fmla="*/ 500666 h 540632"/>
                <a:gd name="connsiteX28" fmla="*/ 684847 w 728446"/>
                <a:gd name="connsiteY28" fmla="*/ 540633 h 54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28446" h="540632">
                  <a:moveTo>
                    <a:pt x="0" y="367817"/>
                  </a:moveTo>
                  <a:cubicBezTo>
                    <a:pt x="0" y="351606"/>
                    <a:pt x="4001" y="336099"/>
                    <a:pt x="6096" y="320453"/>
                  </a:cubicBezTo>
                  <a:cubicBezTo>
                    <a:pt x="8255" y="304813"/>
                    <a:pt x="7429" y="288170"/>
                    <a:pt x="11366" y="272948"/>
                  </a:cubicBezTo>
                  <a:cubicBezTo>
                    <a:pt x="15367" y="257728"/>
                    <a:pt x="21082" y="242227"/>
                    <a:pt x="27051" y="227718"/>
                  </a:cubicBezTo>
                  <a:cubicBezTo>
                    <a:pt x="33020" y="213208"/>
                    <a:pt x="43561" y="200406"/>
                    <a:pt x="51371" y="186614"/>
                  </a:cubicBezTo>
                  <a:cubicBezTo>
                    <a:pt x="59182" y="172815"/>
                    <a:pt x="66294" y="158452"/>
                    <a:pt x="75946" y="145936"/>
                  </a:cubicBezTo>
                  <a:cubicBezTo>
                    <a:pt x="85661" y="133414"/>
                    <a:pt x="96139" y="121330"/>
                    <a:pt x="107378" y="110090"/>
                  </a:cubicBezTo>
                  <a:cubicBezTo>
                    <a:pt x="118618" y="98851"/>
                    <a:pt x="130873" y="88754"/>
                    <a:pt x="143510" y="78943"/>
                  </a:cubicBezTo>
                  <a:cubicBezTo>
                    <a:pt x="156210" y="69126"/>
                    <a:pt x="167132" y="56896"/>
                    <a:pt x="181102" y="48927"/>
                  </a:cubicBezTo>
                  <a:cubicBezTo>
                    <a:pt x="195008" y="40964"/>
                    <a:pt x="210248" y="35700"/>
                    <a:pt x="225044" y="29585"/>
                  </a:cubicBezTo>
                  <a:cubicBezTo>
                    <a:pt x="239840" y="23470"/>
                    <a:pt x="256032" y="22759"/>
                    <a:pt x="271526" y="18631"/>
                  </a:cubicBezTo>
                  <a:cubicBezTo>
                    <a:pt x="287020" y="14510"/>
                    <a:pt x="301244" y="6541"/>
                    <a:pt x="317309" y="4553"/>
                  </a:cubicBezTo>
                  <a:cubicBezTo>
                    <a:pt x="333375" y="2559"/>
                    <a:pt x="349059" y="0"/>
                    <a:pt x="365125" y="0"/>
                  </a:cubicBezTo>
                  <a:cubicBezTo>
                    <a:pt x="381190" y="0"/>
                    <a:pt x="397383" y="1708"/>
                    <a:pt x="413067" y="3842"/>
                  </a:cubicBezTo>
                  <a:cubicBezTo>
                    <a:pt x="428689" y="5976"/>
                    <a:pt x="445071" y="8674"/>
                    <a:pt x="460248" y="12802"/>
                  </a:cubicBezTo>
                  <a:cubicBezTo>
                    <a:pt x="475488" y="16923"/>
                    <a:pt x="489458" y="26454"/>
                    <a:pt x="504063" y="32569"/>
                  </a:cubicBezTo>
                  <a:cubicBezTo>
                    <a:pt x="518731" y="38691"/>
                    <a:pt x="533273" y="45091"/>
                    <a:pt x="547052" y="53055"/>
                  </a:cubicBezTo>
                  <a:cubicBezTo>
                    <a:pt x="560832" y="61017"/>
                    <a:pt x="574357" y="69266"/>
                    <a:pt x="586994" y="79083"/>
                  </a:cubicBezTo>
                  <a:cubicBezTo>
                    <a:pt x="599694" y="88894"/>
                    <a:pt x="609790" y="101130"/>
                    <a:pt x="621030" y="112363"/>
                  </a:cubicBezTo>
                  <a:cubicBezTo>
                    <a:pt x="632269" y="123603"/>
                    <a:pt x="646747" y="131991"/>
                    <a:pt x="656589" y="144653"/>
                  </a:cubicBezTo>
                  <a:cubicBezTo>
                    <a:pt x="666369" y="157315"/>
                    <a:pt x="672464" y="172390"/>
                    <a:pt x="680465" y="186189"/>
                  </a:cubicBezTo>
                  <a:cubicBezTo>
                    <a:pt x="688403" y="199981"/>
                    <a:pt x="693674" y="214776"/>
                    <a:pt x="699833" y="229565"/>
                  </a:cubicBezTo>
                  <a:cubicBezTo>
                    <a:pt x="705929" y="244361"/>
                    <a:pt x="714565" y="257874"/>
                    <a:pt x="718693" y="273374"/>
                  </a:cubicBezTo>
                  <a:cubicBezTo>
                    <a:pt x="722820" y="288881"/>
                    <a:pt x="722693" y="304813"/>
                    <a:pt x="724852" y="320739"/>
                  </a:cubicBezTo>
                  <a:cubicBezTo>
                    <a:pt x="726948" y="336671"/>
                    <a:pt x="728408" y="351892"/>
                    <a:pt x="728408" y="368104"/>
                  </a:cubicBezTo>
                  <a:cubicBezTo>
                    <a:pt x="728408" y="383324"/>
                    <a:pt x="728790" y="398399"/>
                    <a:pt x="727139" y="413048"/>
                  </a:cubicBezTo>
                  <a:cubicBezTo>
                    <a:pt x="725424" y="427698"/>
                    <a:pt x="724852" y="443490"/>
                    <a:pt x="721296" y="458000"/>
                  </a:cubicBezTo>
                  <a:cubicBezTo>
                    <a:pt x="717740" y="472504"/>
                    <a:pt x="711454" y="486728"/>
                    <a:pt x="705929" y="500666"/>
                  </a:cubicBezTo>
                  <a:cubicBezTo>
                    <a:pt x="700341" y="514604"/>
                    <a:pt x="692150" y="527406"/>
                    <a:pt x="684847" y="54063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C540CF-B74C-B7B6-A58F-53118D9E3848}"/>
                </a:ext>
              </a:extLst>
            </p:cNvPr>
            <p:cNvSpPr/>
            <p:nvPr/>
          </p:nvSpPr>
          <p:spPr>
            <a:xfrm>
              <a:off x="11926887" y="5836659"/>
              <a:ext cx="205124" cy="408787"/>
            </a:xfrm>
            <a:custGeom>
              <a:avLst/>
              <a:gdLst>
                <a:gd name="connsiteX0" fmla="*/ 0 w 205124"/>
                <a:gd name="connsiteY0" fmla="*/ 408787 h 408787"/>
                <a:gd name="connsiteX1" fmla="*/ 44958 w 205124"/>
                <a:gd name="connsiteY1" fmla="*/ 401244 h 408787"/>
                <a:gd name="connsiteX2" fmla="*/ 89027 w 205124"/>
                <a:gd name="connsiteY2" fmla="*/ 389300 h 408787"/>
                <a:gd name="connsiteX3" fmla="*/ 127127 w 205124"/>
                <a:gd name="connsiteY3" fmla="*/ 363982 h 408787"/>
                <a:gd name="connsiteX4" fmla="*/ 159321 w 205124"/>
                <a:gd name="connsiteY4" fmla="*/ 331553 h 408787"/>
                <a:gd name="connsiteX5" fmla="*/ 186182 w 205124"/>
                <a:gd name="connsiteY5" fmla="*/ 294145 h 408787"/>
                <a:gd name="connsiteX6" fmla="*/ 202120 w 205124"/>
                <a:gd name="connsiteY6" fmla="*/ 250622 h 408787"/>
                <a:gd name="connsiteX7" fmla="*/ 205105 w 205124"/>
                <a:gd name="connsiteY7" fmla="*/ 204534 h 408787"/>
                <a:gd name="connsiteX8" fmla="*/ 200279 w 205124"/>
                <a:gd name="connsiteY8" fmla="*/ 158877 h 408787"/>
                <a:gd name="connsiteX9" fmla="*/ 185039 w 205124"/>
                <a:gd name="connsiteY9" fmla="*/ 115494 h 408787"/>
                <a:gd name="connsiteX10" fmla="*/ 158306 w 205124"/>
                <a:gd name="connsiteY10" fmla="*/ 78518 h 408787"/>
                <a:gd name="connsiteX11" fmla="*/ 129286 w 205124"/>
                <a:gd name="connsiteY11" fmla="*/ 42812 h 408787"/>
                <a:gd name="connsiteX12" fmla="*/ 88900 w 205124"/>
                <a:gd name="connsiteY12" fmla="*/ 20485 h 408787"/>
                <a:gd name="connsiteX13" fmla="*/ 45085 w 205124"/>
                <a:gd name="connsiteY13" fmla="*/ 8395 h 408787"/>
                <a:gd name="connsiteX14" fmla="*/ 254 w 205124"/>
                <a:gd name="connsiteY14" fmla="*/ 0 h 40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5124" h="408787">
                  <a:moveTo>
                    <a:pt x="0" y="408787"/>
                  </a:moveTo>
                  <a:cubicBezTo>
                    <a:pt x="15494" y="408787"/>
                    <a:pt x="30290" y="404660"/>
                    <a:pt x="44958" y="401244"/>
                  </a:cubicBezTo>
                  <a:cubicBezTo>
                    <a:pt x="59627" y="397834"/>
                    <a:pt x="75374" y="395840"/>
                    <a:pt x="89027" y="389300"/>
                  </a:cubicBezTo>
                  <a:cubicBezTo>
                    <a:pt x="102680" y="382759"/>
                    <a:pt x="115380" y="373367"/>
                    <a:pt x="127127" y="363982"/>
                  </a:cubicBezTo>
                  <a:cubicBezTo>
                    <a:pt x="138938" y="354590"/>
                    <a:pt x="149796" y="343497"/>
                    <a:pt x="159321" y="331553"/>
                  </a:cubicBezTo>
                  <a:cubicBezTo>
                    <a:pt x="168846" y="319602"/>
                    <a:pt x="179515" y="307943"/>
                    <a:pt x="186182" y="294145"/>
                  </a:cubicBezTo>
                  <a:cubicBezTo>
                    <a:pt x="192849" y="280346"/>
                    <a:pt x="198692" y="265697"/>
                    <a:pt x="202120" y="250622"/>
                  </a:cubicBezTo>
                  <a:cubicBezTo>
                    <a:pt x="205549" y="235541"/>
                    <a:pt x="205105" y="220180"/>
                    <a:pt x="205105" y="204534"/>
                  </a:cubicBezTo>
                  <a:cubicBezTo>
                    <a:pt x="205105" y="188887"/>
                    <a:pt x="203518" y="173387"/>
                    <a:pt x="200279" y="158877"/>
                  </a:cubicBezTo>
                  <a:cubicBezTo>
                    <a:pt x="196977" y="144367"/>
                    <a:pt x="191580" y="129153"/>
                    <a:pt x="185039" y="115494"/>
                  </a:cubicBezTo>
                  <a:cubicBezTo>
                    <a:pt x="178498" y="101841"/>
                    <a:pt x="167704" y="90322"/>
                    <a:pt x="158306" y="78518"/>
                  </a:cubicBezTo>
                  <a:cubicBezTo>
                    <a:pt x="148907" y="66707"/>
                    <a:pt x="141224" y="52343"/>
                    <a:pt x="129286" y="42812"/>
                  </a:cubicBezTo>
                  <a:cubicBezTo>
                    <a:pt x="117348" y="33287"/>
                    <a:pt x="102680" y="27165"/>
                    <a:pt x="88900" y="20485"/>
                  </a:cubicBezTo>
                  <a:cubicBezTo>
                    <a:pt x="75120" y="13798"/>
                    <a:pt x="60007" y="11805"/>
                    <a:pt x="45085" y="8395"/>
                  </a:cubicBezTo>
                  <a:cubicBezTo>
                    <a:pt x="30163" y="4978"/>
                    <a:pt x="15939" y="0"/>
                    <a:pt x="254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45">
              <a:extLst>
                <a:ext uri="{FF2B5EF4-FFF2-40B4-BE49-F238E27FC236}">
                  <a16:creationId xmlns:a16="http://schemas.microsoft.com/office/drawing/2014/main" id="{76AD9D95-6C38-AC2B-4582-531F8E90B812}"/>
                </a:ext>
              </a:extLst>
            </p:cNvPr>
            <p:cNvSpPr/>
            <p:nvPr/>
          </p:nvSpPr>
          <p:spPr>
            <a:xfrm>
              <a:off x="12125007" y="5970644"/>
              <a:ext cx="120460" cy="120332"/>
            </a:xfrm>
            <a:custGeom>
              <a:avLst/>
              <a:gdLst>
                <a:gd name="connsiteX0" fmla="*/ 120460 w 120460"/>
                <a:gd name="connsiteY0" fmla="*/ 120333 h 120332"/>
                <a:gd name="connsiteX1" fmla="*/ 111506 w 120460"/>
                <a:gd name="connsiteY1" fmla="*/ 74105 h 120332"/>
                <a:gd name="connsiteX2" fmla="*/ 81407 w 120460"/>
                <a:gd name="connsiteY2" fmla="*/ 38976 h 120332"/>
                <a:gd name="connsiteX3" fmla="*/ 45657 w 120460"/>
                <a:gd name="connsiteY3" fmla="*/ 10103 h 120332"/>
                <a:gd name="connsiteX4" fmla="*/ 0 w 120460"/>
                <a:gd name="connsiteY4" fmla="*/ 0 h 12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60" h="120332">
                  <a:moveTo>
                    <a:pt x="120460" y="120333"/>
                  </a:moveTo>
                  <a:cubicBezTo>
                    <a:pt x="120460" y="104401"/>
                    <a:pt x="117222" y="88043"/>
                    <a:pt x="111506" y="74105"/>
                  </a:cubicBezTo>
                  <a:cubicBezTo>
                    <a:pt x="105855" y="60166"/>
                    <a:pt x="92202" y="49784"/>
                    <a:pt x="81407" y="38976"/>
                  </a:cubicBezTo>
                  <a:cubicBezTo>
                    <a:pt x="70549" y="28162"/>
                    <a:pt x="60072" y="16072"/>
                    <a:pt x="45657" y="10103"/>
                  </a:cubicBezTo>
                  <a:cubicBezTo>
                    <a:pt x="31306" y="4128"/>
                    <a:pt x="15939" y="0"/>
                    <a:pt x="0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B6A6B9-6AB5-B446-4DAE-03101FEF281E}"/>
                </a:ext>
              </a:extLst>
            </p:cNvPr>
            <p:cNvSpPr/>
            <p:nvPr/>
          </p:nvSpPr>
          <p:spPr>
            <a:xfrm>
              <a:off x="10478389" y="6530706"/>
              <a:ext cx="1564258" cy="138237"/>
            </a:xfrm>
            <a:custGeom>
              <a:avLst/>
              <a:gdLst>
                <a:gd name="connsiteX0" fmla="*/ 0 w 1564258"/>
                <a:gd name="connsiteY0" fmla="*/ 113108 h 138237"/>
                <a:gd name="connsiteX1" fmla="*/ 45783 w 1564258"/>
                <a:gd name="connsiteY1" fmla="*/ 113108 h 138237"/>
                <a:gd name="connsiteX2" fmla="*/ 91567 w 1564258"/>
                <a:gd name="connsiteY2" fmla="*/ 108155 h 138237"/>
                <a:gd name="connsiteX3" fmla="*/ 137351 w 1564258"/>
                <a:gd name="connsiteY3" fmla="*/ 112029 h 138237"/>
                <a:gd name="connsiteX4" fmla="*/ 183197 w 1564258"/>
                <a:gd name="connsiteY4" fmla="*/ 109299 h 138237"/>
                <a:gd name="connsiteX5" fmla="*/ 228981 w 1564258"/>
                <a:gd name="connsiteY5" fmla="*/ 113108 h 138237"/>
                <a:gd name="connsiteX6" fmla="*/ 274765 w 1564258"/>
                <a:gd name="connsiteY6" fmla="*/ 112156 h 138237"/>
                <a:gd name="connsiteX7" fmla="*/ 320548 w 1564258"/>
                <a:gd name="connsiteY7" fmla="*/ 110314 h 138237"/>
                <a:gd name="connsiteX8" fmla="*/ 366522 w 1564258"/>
                <a:gd name="connsiteY8" fmla="*/ 112600 h 138237"/>
                <a:gd name="connsiteX9" fmla="*/ 412432 w 1564258"/>
                <a:gd name="connsiteY9" fmla="*/ 109743 h 138237"/>
                <a:gd name="connsiteX10" fmla="*/ 458280 w 1564258"/>
                <a:gd name="connsiteY10" fmla="*/ 112156 h 138237"/>
                <a:gd name="connsiteX11" fmla="*/ 504190 w 1564258"/>
                <a:gd name="connsiteY11" fmla="*/ 107457 h 138237"/>
                <a:gd name="connsiteX12" fmla="*/ 550164 w 1564258"/>
                <a:gd name="connsiteY12" fmla="*/ 110124 h 138237"/>
                <a:gd name="connsiteX13" fmla="*/ 596075 w 1564258"/>
                <a:gd name="connsiteY13" fmla="*/ 112981 h 138237"/>
                <a:gd name="connsiteX14" fmla="*/ 642048 w 1564258"/>
                <a:gd name="connsiteY14" fmla="*/ 112981 h 138237"/>
                <a:gd name="connsiteX15" fmla="*/ 688530 w 1564258"/>
                <a:gd name="connsiteY15" fmla="*/ 112283 h 138237"/>
                <a:gd name="connsiteX16" fmla="*/ 731330 w 1564258"/>
                <a:gd name="connsiteY16" fmla="*/ 82819 h 138237"/>
                <a:gd name="connsiteX17" fmla="*/ 775144 w 1564258"/>
                <a:gd name="connsiteY17" fmla="*/ 55831 h 138237"/>
                <a:gd name="connsiteX18" fmla="*/ 817563 w 1564258"/>
                <a:gd name="connsiteY18" fmla="*/ 26367 h 138237"/>
                <a:gd name="connsiteX19" fmla="*/ 860933 w 1564258"/>
                <a:gd name="connsiteY19" fmla="*/ 2936 h 138237"/>
                <a:gd name="connsiteX20" fmla="*/ 840042 w 1564258"/>
                <a:gd name="connsiteY20" fmla="*/ 37734 h 138237"/>
                <a:gd name="connsiteX21" fmla="*/ 817118 w 1564258"/>
                <a:gd name="connsiteY21" fmla="*/ 74881 h 138237"/>
                <a:gd name="connsiteX22" fmla="*/ 789813 w 1564258"/>
                <a:gd name="connsiteY22" fmla="*/ 112410 h 138237"/>
                <a:gd name="connsiteX23" fmla="*/ 833056 w 1564258"/>
                <a:gd name="connsiteY23" fmla="*/ 100027 h 138237"/>
                <a:gd name="connsiteX24" fmla="*/ 873569 w 1564258"/>
                <a:gd name="connsiteY24" fmla="*/ 87836 h 138237"/>
                <a:gd name="connsiteX25" fmla="*/ 916368 w 1564258"/>
                <a:gd name="connsiteY25" fmla="*/ 79580 h 138237"/>
                <a:gd name="connsiteX26" fmla="*/ 888492 w 1564258"/>
                <a:gd name="connsiteY26" fmla="*/ 104473 h 138237"/>
                <a:gd name="connsiteX27" fmla="*/ 859790 w 1564258"/>
                <a:gd name="connsiteY27" fmla="*/ 130888 h 138237"/>
                <a:gd name="connsiteX28" fmla="*/ 909003 w 1564258"/>
                <a:gd name="connsiteY28" fmla="*/ 128222 h 138237"/>
                <a:gd name="connsiteX29" fmla="*/ 955675 w 1564258"/>
                <a:gd name="connsiteY29" fmla="*/ 129238 h 138237"/>
                <a:gd name="connsiteX30" fmla="*/ 1002475 w 1564258"/>
                <a:gd name="connsiteY30" fmla="*/ 127078 h 138237"/>
                <a:gd name="connsiteX31" fmla="*/ 1049274 w 1564258"/>
                <a:gd name="connsiteY31" fmla="*/ 126634 h 138237"/>
                <a:gd name="connsiteX32" fmla="*/ 1096073 w 1564258"/>
                <a:gd name="connsiteY32" fmla="*/ 131079 h 138237"/>
                <a:gd name="connsiteX33" fmla="*/ 1142809 w 1564258"/>
                <a:gd name="connsiteY33" fmla="*/ 131460 h 138237"/>
                <a:gd name="connsiteX34" fmla="*/ 1189609 w 1564258"/>
                <a:gd name="connsiteY34" fmla="*/ 125808 h 138237"/>
                <a:gd name="connsiteX35" fmla="*/ 1236408 w 1564258"/>
                <a:gd name="connsiteY35" fmla="*/ 129618 h 138237"/>
                <a:gd name="connsiteX36" fmla="*/ 1283208 w 1564258"/>
                <a:gd name="connsiteY36" fmla="*/ 129618 h 138237"/>
                <a:gd name="connsiteX37" fmla="*/ 1330007 w 1564258"/>
                <a:gd name="connsiteY37" fmla="*/ 127332 h 138237"/>
                <a:gd name="connsiteX38" fmla="*/ 1376807 w 1564258"/>
                <a:gd name="connsiteY38" fmla="*/ 129238 h 138237"/>
                <a:gd name="connsiteX39" fmla="*/ 1423606 w 1564258"/>
                <a:gd name="connsiteY39" fmla="*/ 128475 h 138237"/>
                <a:gd name="connsiteX40" fmla="*/ 1470406 w 1564258"/>
                <a:gd name="connsiteY40" fmla="*/ 130762 h 138237"/>
                <a:gd name="connsiteX41" fmla="*/ 1517332 w 1564258"/>
                <a:gd name="connsiteY41" fmla="*/ 129809 h 138237"/>
                <a:gd name="connsiteX42" fmla="*/ 1564259 w 1564258"/>
                <a:gd name="connsiteY42" fmla="*/ 127523 h 13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64258" h="138237">
                  <a:moveTo>
                    <a:pt x="0" y="113108"/>
                  </a:moveTo>
                  <a:cubicBezTo>
                    <a:pt x="22860" y="113108"/>
                    <a:pt x="22860" y="113108"/>
                    <a:pt x="45783" y="113108"/>
                  </a:cubicBezTo>
                  <a:cubicBezTo>
                    <a:pt x="68707" y="113108"/>
                    <a:pt x="68707" y="108155"/>
                    <a:pt x="91567" y="108155"/>
                  </a:cubicBezTo>
                  <a:cubicBezTo>
                    <a:pt x="114491" y="108155"/>
                    <a:pt x="114491" y="112029"/>
                    <a:pt x="137351" y="112029"/>
                  </a:cubicBezTo>
                  <a:cubicBezTo>
                    <a:pt x="160274" y="112029"/>
                    <a:pt x="160274" y="109299"/>
                    <a:pt x="183197" y="109299"/>
                  </a:cubicBezTo>
                  <a:cubicBezTo>
                    <a:pt x="206057" y="109299"/>
                    <a:pt x="206057" y="113108"/>
                    <a:pt x="228981" y="113108"/>
                  </a:cubicBezTo>
                  <a:cubicBezTo>
                    <a:pt x="251905" y="113108"/>
                    <a:pt x="251905" y="112156"/>
                    <a:pt x="274765" y="112156"/>
                  </a:cubicBezTo>
                  <a:cubicBezTo>
                    <a:pt x="297688" y="112156"/>
                    <a:pt x="297688" y="110314"/>
                    <a:pt x="320548" y="110314"/>
                  </a:cubicBezTo>
                  <a:cubicBezTo>
                    <a:pt x="343471" y="110314"/>
                    <a:pt x="343471" y="112600"/>
                    <a:pt x="366522" y="112600"/>
                  </a:cubicBezTo>
                  <a:cubicBezTo>
                    <a:pt x="389572" y="112600"/>
                    <a:pt x="389445" y="109743"/>
                    <a:pt x="412432" y="109743"/>
                  </a:cubicBezTo>
                  <a:cubicBezTo>
                    <a:pt x="435483" y="109743"/>
                    <a:pt x="435356" y="112156"/>
                    <a:pt x="458280" y="112156"/>
                  </a:cubicBezTo>
                  <a:cubicBezTo>
                    <a:pt x="481140" y="112156"/>
                    <a:pt x="481140" y="107457"/>
                    <a:pt x="504190" y="107457"/>
                  </a:cubicBezTo>
                  <a:cubicBezTo>
                    <a:pt x="527241" y="107457"/>
                    <a:pt x="527114" y="110124"/>
                    <a:pt x="550164" y="110124"/>
                  </a:cubicBezTo>
                  <a:cubicBezTo>
                    <a:pt x="573215" y="110124"/>
                    <a:pt x="573024" y="112981"/>
                    <a:pt x="596075" y="112981"/>
                  </a:cubicBezTo>
                  <a:cubicBezTo>
                    <a:pt x="619125" y="112981"/>
                    <a:pt x="619125" y="112981"/>
                    <a:pt x="642048" y="112981"/>
                  </a:cubicBezTo>
                  <a:cubicBezTo>
                    <a:pt x="664908" y="112981"/>
                    <a:pt x="666496" y="118950"/>
                    <a:pt x="688530" y="112283"/>
                  </a:cubicBezTo>
                  <a:cubicBezTo>
                    <a:pt x="713168" y="104726"/>
                    <a:pt x="709613" y="96662"/>
                    <a:pt x="731330" y="82819"/>
                  </a:cubicBezTo>
                  <a:cubicBezTo>
                    <a:pt x="753110" y="69039"/>
                    <a:pt x="753428" y="69611"/>
                    <a:pt x="775144" y="55831"/>
                  </a:cubicBezTo>
                  <a:cubicBezTo>
                    <a:pt x="796925" y="41988"/>
                    <a:pt x="795782" y="40147"/>
                    <a:pt x="817563" y="26367"/>
                  </a:cubicBezTo>
                  <a:cubicBezTo>
                    <a:pt x="839280" y="12587"/>
                    <a:pt x="837438" y="-7605"/>
                    <a:pt x="860933" y="2936"/>
                  </a:cubicBezTo>
                  <a:cubicBezTo>
                    <a:pt x="880681" y="11889"/>
                    <a:pt x="851535" y="19382"/>
                    <a:pt x="840042" y="37734"/>
                  </a:cubicBezTo>
                  <a:cubicBezTo>
                    <a:pt x="828484" y="56086"/>
                    <a:pt x="828802" y="56403"/>
                    <a:pt x="817118" y="74881"/>
                  </a:cubicBezTo>
                  <a:cubicBezTo>
                    <a:pt x="805434" y="93360"/>
                    <a:pt x="777875" y="94249"/>
                    <a:pt x="789813" y="112410"/>
                  </a:cubicBezTo>
                  <a:cubicBezTo>
                    <a:pt x="801751" y="130635"/>
                    <a:pt x="812546" y="105171"/>
                    <a:pt x="833056" y="100027"/>
                  </a:cubicBezTo>
                  <a:cubicBezTo>
                    <a:pt x="853504" y="94948"/>
                    <a:pt x="852932" y="92788"/>
                    <a:pt x="873569" y="87836"/>
                  </a:cubicBezTo>
                  <a:cubicBezTo>
                    <a:pt x="894207" y="82819"/>
                    <a:pt x="901319" y="64785"/>
                    <a:pt x="916368" y="79580"/>
                  </a:cubicBezTo>
                  <a:cubicBezTo>
                    <a:pt x="929195" y="92090"/>
                    <a:pt x="901764" y="92535"/>
                    <a:pt x="888492" y="104473"/>
                  </a:cubicBezTo>
                  <a:cubicBezTo>
                    <a:pt x="875284" y="116411"/>
                    <a:pt x="848296" y="117109"/>
                    <a:pt x="859790" y="130888"/>
                  </a:cubicBezTo>
                  <a:cubicBezTo>
                    <a:pt x="874840" y="148859"/>
                    <a:pt x="885507" y="128222"/>
                    <a:pt x="909003" y="128222"/>
                  </a:cubicBezTo>
                  <a:cubicBezTo>
                    <a:pt x="932497" y="128222"/>
                    <a:pt x="932307" y="129238"/>
                    <a:pt x="955675" y="129238"/>
                  </a:cubicBezTo>
                  <a:cubicBezTo>
                    <a:pt x="978980" y="129238"/>
                    <a:pt x="978980" y="127078"/>
                    <a:pt x="1002475" y="127078"/>
                  </a:cubicBezTo>
                  <a:cubicBezTo>
                    <a:pt x="1025906" y="127078"/>
                    <a:pt x="1025779" y="126634"/>
                    <a:pt x="1049274" y="126634"/>
                  </a:cubicBezTo>
                  <a:cubicBezTo>
                    <a:pt x="1072705" y="126634"/>
                    <a:pt x="1072579" y="131079"/>
                    <a:pt x="1096073" y="131079"/>
                  </a:cubicBezTo>
                  <a:cubicBezTo>
                    <a:pt x="1119505" y="131079"/>
                    <a:pt x="1119378" y="131460"/>
                    <a:pt x="1142809" y="131460"/>
                  </a:cubicBezTo>
                  <a:cubicBezTo>
                    <a:pt x="1166305" y="131460"/>
                    <a:pt x="1166178" y="125808"/>
                    <a:pt x="1189609" y="125808"/>
                  </a:cubicBezTo>
                  <a:cubicBezTo>
                    <a:pt x="1213104" y="125808"/>
                    <a:pt x="1213104" y="129618"/>
                    <a:pt x="1236408" y="129618"/>
                  </a:cubicBezTo>
                  <a:cubicBezTo>
                    <a:pt x="1259777" y="129618"/>
                    <a:pt x="1259904" y="129618"/>
                    <a:pt x="1283208" y="129618"/>
                  </a:cubicBezTo>
                  <a:cubicBezTo>
                    <a:pt x="1306576" y="129618"/>
                    <a:pt x="1306576" y="127332"/>
                    <a:pt x="1330007" y="127332"/>
                  </a:cubicBezTo>
                  <a:cubicBezTo>
                    <a:pt x="1353503" y="127332"/>
                    <a:pt x="1353503" y="129238"/>
                    <a:pt x="1376807" y="129238"/>
                  </a:cubicBezTo>
                  <a:cubicBezTo>
                    <a:pt x="1400112" y="129238"/>
                    <a:pt x="1400302" y="128475"/>
                    <a:pt x="1423606" y="128475"/>
                  </a:cubicBezTo>
                  <a:cubicBezTo>
                    <a:pt x="1446911" y="128475"/>
                    <a:pt x="1447102" y="130762"/>
                    <a:pt x="1470406" y="130762"/>
                  </a:cubicBezTo>
                  <a:cubicBezTo>
                    <a:pt x="1493710" y="130762"/>
                    <a:pt x="1493901" y="129809"/>
                    <a:pt x="1517332" y="129809"/>
                  </a:cubicBezTo>
                  <a:cubicBezTo>
                    <a:pt x="1540828" y="129809"/>
                    <a:pt x="1540828" y="127523"/>
                    <a:pt x="1564259" y="12752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8" name="Graphic 8">
            <a:extLst>
              <a:ext uri="{FF2B5EF4-FFF2-40B4-BE49-F238E27FC236}">
                <a16:creationId xmlns:a16="http://schemas.microsoft.com/office/drawing/2014/main" id="{060CB88B-4D48-700E-95FB-2600EE129DBE}"/>
              </a:ext>
            </a:extLst>
          </p:cNvPr>
          <p:cNvGrpSpPr/>
          <p:nvPr/>
        </p:nvGrpSpPr>
        <p:grpSpPr>
          <a:xfrm>
            <a:off x="5348116" y="1559531"/>
            <a:ext cx="6433047" cy="930157"/>
            <a:chOff x="6592050" y="412483"/>
            <a:chExt cx="9346640" cy="1351434"/>
          </a:xfrm>
          <a:noFill/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6E1C1F-D89F-A218-B0F6-8734842C276F}"/>
                </a:ext>
              </a:extLst>
            </p:cNvPr>
            <p:cNvSpPr/>
            <p:nvPr/>
          </p:nvSpPr>
          <p:spPr>
            <a:xfrm>
              <a:off x="7104126" y="750308"/>
              <a:ext cx="2612537" cy="871950"/>
            </a:xfrm>
            <a:custGeom>
              <a:avLst/>
              <a:gdLst>
                <a:gd name="connsiteX0" fmla="*/ 0 w 2612537"/>
                <a:gd name="connsiteY0" fmla="*/ 836963 h 871950"/>
                <a:gd name="connsiteX1" fmla="*/ 32385 w 2612537"/>
                <a:gd name="connsiteY1" fmla="*/ 812077 h 871950"/>
                <a:gd name="connsiteX2" fmla="*/ 59499 w 2612537"/>
                <a:gd name="connsiteY2" fmla="*/ 781890 h 871950"/>
                <a:gd name="connsiteX3" fmla="*/ 89218 w 2612537"/>
                <a:gd name="connsiteY3" fmla="*/ 754293 h 871950"/>
                <a:gd name="connsiteX4" fmla="*/ 117284 w 2612537"/>
                <a:gd name="connsiteY4" fmla="*/ 725095 h 871950"/>
                <a:gd name="connsiteX5" fmla="*/ 146368 w 2612537"/>
                <a:gd name="connsiteY5" fmla="*/ 696882 h 871950"/>
                <a:gd name="connsiteX6" fmla="*/ 172212 w 2612537"/>
                <a:gd name="connsiteY6" fmla="*/ 665469 h 871950"/>
                <a:gd name="connsiteX7" fmla="*/ 201041 w 2612537"/>
                <a:gd name="connsiteY7" fmla="*/ 637008 h 871950"/>
                <a:gd name="connsiteX8" fmla="*/ 228918 w 2612537"/>
                <a:gd name="connsiteY8" fmla="*/ 607690 h 871950"/>
                <a:gd name="connsiteX9" fmla="*/ 257873 w 2612537"/>
                <a:gd name="connsiteY9" fmla="*/ 579477 h 871950"/>
                <a:gd name="connsiteX10" fmla="*/ 287782 w 2612537"/>
                <a:gd name="connsiteY10" fmla="*/ 552121 h 871950"/>
                <a:gd name="connsiteX11" fmla="*/ 315658 w 2612537"/>
                <a:gd name="connsiteY11" fmla="*/ 522676 h 871950"/>
                <a:gd name="connsiteX12" fmla="*/ 346075 w 2612537"/>
                <a:gd name="connsiteY12" fmla="*/ 495822 h 871950"/>
                <a:gd name="connsiteX13" fmla="*/ 372428 w 2612537"/>
                <a:gd name="connsiteY13" fmla="*/ 464898 h 871950"/>
                <a:gd name="connsiteX14" fmla="*/ 400621 w 2612537"/>
                <a:gd name="connsiteY14" fmla="*/ 435821 h 871950"/>
                <a:gd name="connsiteX15" fmla="*/ 431673 w 2612537"/>
                <a:gd name="connsiteY15" fmla="*/ 409583 h 871950"/>
                <a:gd name="connsiteX16" fmla="*/ 460883 w 2612537"/>
                <a:gd name="connsiteY16" fmla="*/ 381617 h 871950"/>
                <a:gd name="connsiteX17" fmla="*/ 487108 w 2612537"/>
                <a:gd name="connsiteY17" fmla="*/ 350566 h 871950"/>
                <a:gd name="connsiteX18" fmla="*/ 518922 w 2612537"/>
                <a:gd name="connsiteY18" fmla="*/ 325064 h 871950"/>
                <a:gd name="connsiteX19" fmla="*/ 545147 w 2612537"/>
                <a:gd name="connsiteY19" fmla="*/ 293898 h 871950"/>
                <a:gd name="connsiteX20" fmla="*/ 572770 w 2612537"/>
                <a:gd name="connsiteY20" fmla="*/ 264206 h 871950"/>
                <a:gd name="connsiteX21" fmla="*/ 603186 w 2612537"/>
                <a:gd name="connsiteY21" fmla="*/ 237225 h 871950"/>
                <a:gd name="connsiteX22" fmla="*/ 631380 w 2612537"/>
                <a:gd name="connsiteY22" fmla="*/ 208148 h 871950"/>
                <a:gd name="connsiteX23" fmla="*/ 659575 w 2612537"/>
                <a:gd name="connsiteY23" fmla="*/ 179198 h 871950"/>
                <a:gd name="connsiteX24" fmla="*/ 690435 w 2612537"/>
                <a:gd name="connsiteY24" fmla="*/ 152586 h 871950"/>
                <a:gd name="connsiteX25" fmla="*/ 717486 w 2612537"/>
                <a:gd name="connsiteY25" fmla="*/ 122277 h 871950"/>
                <a:gd name="connsiteX26" fmla="*/ 746316 w 2612537"/>
                <a:gd name="connsiteY26" fmla="*/ 93696 h 871950"/>
                <a:gd name="connsiteX27" fmla="*/ 776668 w 2612537"/>
                <a:gd name="connsiteY27" fmla="*/ 66594 h 871950"/>
                <a:gd name="connsiteX28" fmla="*/ 805942 w 2612537"/>
                <a:gd name="connsiteY28" fmla="*/ 38381 h 871950"/>
                <a:gd name="connsiteX29" fmla="*/ 833818 w 2612537"/>
                <a:gd name="connsiteY29" fmla="*/ 9920 h 871950"/>
                <a:gd name="connsiteX30" fmla="*/ 873379 w 2612537"/>
                <a:gd name="connsiteY30" fmla="*/ 8072 h 871950"/>
                <a:gd name="connsiteX31" fmla="*/ 913765 w 2612537"/>
                <a:gd name="connsiteY31" fmla="*/ 6713 h 871950"/>
                <a:gd name="connsiteX32" fmla="*/ 954151 w 2612537"/>
                <a:gd name="connsiteY32" fmla="*/ 10657 h 871950"/>
                <a:gd name="connsiteX33" fmla="*/ 994601 w 2612537"/>
                <a:gd name="connsiteY33" fmla="*/ 7329 h 871950"/>
                <a:gd name="connsiteX34" fmla="*/ 1034986 w 2612537"/>
                <a:gd name="connsiteY34" fmla="*/ 10657 h 871950"/>
                <a:gd name="connsiteX35" fmla="*/ 1075436 w 2612537"/>
                <a:gd name="connsiteY35" fmla="*/ 5361 h 871950"/>
                <a:gd name="connsiteX36" fmla="*/ 1115822 w 2612537"/>
                <a:gd name="connsiteY36" fmla="*/ 10168 h 871950"/>
                <a:gd name="connsiteX37" fmla="*/ 1156208 w 2612537"/>
                <a:gd name="connsiteY37" fmla="*/ 7456 h 871950"/>
                <a:gd name="connsiteX38" fmla="*/ 1196657 w 2612537"/>
                <a:gd name="connsiteY38" fmla="*/ 5856 h 871950"/>
                <a:gd name="connsiteX39" fmla="*/ 1237043 w 2612537"/>
                <a:gd name="connsiteY39" fmla="*/ 6840 h 871950"/>
                <a:gd name="connsiteX40" fmla="*/ 1277430 w 2612537"/>
                <a:gd name="connsiteY40" fmla="*/ 8072 h 871950"/>
                <a:gd name="connsiteX41" fmla="*/ 1317879 w 2612537"/>
                <a:gd name="connsiteY41" fmla="*/ 10784 h 871950"/>
                <a:gd name="connsiteX42" fmla="*/ 1358265 w 2612537"/>
                <a:gd name="connsiteY42" fmla="*/ 8193 h 871950"/>
                <a:gd name="connsiteX43" fmla="*/ 1398715 w 2612537"/>
                <a:gd name="connsiteY43" fmla="*/ 7577 h 871950"/>
                <a:gd name="connsiteX44" fmla="*/ 1439101 w 2612537"/>
                <a:gd name="connsiteY44" fmla="*/ 8441 h 871950"/>
                <a:gd name="connsiteX45" fmla="*/ 1479487 w 2612537"/>
                <a:gd name="connsiteY45" fmla="*/ 7704 h 871950"/>
                <a:gd name="connsiteX46" fmla="*/ 1519936 w 2612537"/>
                <a:gd name="connsiteY46" fmla="*/ 7704 h 871950"/>
                <a:gd name="connsiteX47" fmla="*/ 1560322 w 2612537"/>
                <a:gd name="connsiteY47" fmla="*/ 7704 h 871950"/>
                <a:gd name="connsiteX48" fmla="*/ 1600708 w 2612537"/>
                <a:gd name="connsiteY48" fmla="*/ 6224 h 871950"/>
                <a:gd name="connsiteX49" fmla="*/ 1641157 w 2612537"/>
                <a:gd name="connsiteY49" fmla="*/ 5977 h 871950"/>
                <a:gd name="connsiteX50" fmla="*/ 1681543 w 2612537"/>
                <a:gd name="connsiteY50" fmla="*/ 10657 h 871950"/>
                <a:gd name="connsiteX51" fmla="*/ 1721930 w 2612537"/>
                <a:gd name="connsiteY51" fmla="*/ 5361 h 871950"/>
                <a:gd name="connsiteX52" fmla="*/ 1762379 w 2612537"/>
                <a:gd name="connsiteY52" fmla="*/ 6472 h 871950"/>
                <a:gd name="connsiteX53" fmla="*/ 1802765 w 2612537"/>
                <a:gd name="connsiteY53" fmla="*/ 7704 h 871950"/>
                <a:gd name="connsiteX54" fmla="*/ 1843215 w 2612537"/>
                <a:gd name="connsiteY54" fmla="*/ 9552 h 871950"/>
                <a:gd name="connsiteX55" fmla="*/ 1883601 w 2612537"/>
                <a:gd name="connsiteY55" fmla="*/ 10536 h 871950"/>
                <a:gd name="connsiteX56" fmla="*/ 1923987 w 2612537"/>
                <a:gd name="connsiteY56" fmla="*/ 8072 h 871950"/>
                <a:gd name="connsiteX57" fmla="*/ 1964436 w 2612537"/>
                <a:gd name="connsiteY57" fmla="*/ 7577 h 871950"/>
                <a:gd name="connsiteX58" fmla="*/ 2004822 w 2612537"/>
                <a:gd name="connsiteY58" fmla="*/ 6840 h 871950"/>
                <a:gd name="connsiteX59" fmla="*/ 2045208 w 2612537"/>
                <a:gd name="connsiteY59" fmla="*/ 6472 h 871950"/>
                <a:gd name="connsiteX60" fmla="*/ 2085657 w 2612537"/>
                <a:gd name="connsiteY60" fmla="*/ 8441 h 871950"/>
                <a:gd name="connsiteX61" fmla="*/ 2126043 w 2612537"/>
                <a:gd name="connsiteY61" fmla="*/ 10409 h 871950"/>
                <a:gd name="connsiteX62" fmla="*/ 2166493 w 2612537"/>
                <a:gd name="connsiteY62" fmla="*/ 6961 h 871950"/>
                <a:gd name="connsiteX63" fmla="*/ 2206879 w 2612537"/>
                <a:gd name="connsiteY63" fmla="*/ 6713 h 871950"/>
                <a:gd name="connsiteX64" fmla="*/ 2247265 w 2612537"/>
                <a:gd name="connsiteY64" fmla="*/ 6593 h 871950"/>
                <a:gd name="connsiteX65" fmla="*/ 2287715 w 2612537"/>
                <a:gd name="connsiteY65" fmla="*/ 5856 h 871950"/>
                <a:gd name="connsiteX66" fmla="*/ 2328101 w 2612537"/>
                <a:gd name="connsiteY66" fmla="*/ 6961 h 871950"/>
                <a:gd name="connsiteX67" fmla="*/ 2368487 w 2612537"/>
                <a:gd name="connsiteY67" fmla="*/ 6097 h 871950"/>
                <a:gd name="connsiteX68" fmla="*/ 2408936 w 2612537"/>
                <a:gd name="connsiteY68" fmla="*/ 6097 h 871950"/>
                <a:gd name="connsiteX69" fmla="*/ 2449322 w 2612537"/>
                <a:gd name="connsiteY69" fmla="*/ 5729 h 871950"/>
                <a:gd name="connsiteX70" fmla="*/ 2489771 w 2612537"/>
                <a:gd name="connsiteY70" fmla="*/ 4865 h 871950"/>
                <a:gd name="connsiteX71" fmla="*/ 2530284 w 2612537"/>
                <a:gd name="connsiteY71" fmla="*/ 5729 h 871950"/>
                <a:gd name="connsiteX72" fmla="*/ 2570797 w 2612537"/>
                <a:gd name="connsiteY72" fmla="*/ 10041 h 871950"/>
                <a:gd name="connsiteX73" fmla="*/ 2610993 w 2612537"/>
                <a:gd name="connsiteY73" fmla="*/ 7704 h 871950"/>
                <a:gd name="connsiteX74" fmla="*/ 2581275 w 2612537"/>
                <a:gd name="connsiteY74" fmla="*/ 34806 h 871950"/>
                <a:gd name="connsiteX75" fmla="*/ 2552700 w 2612537"/>
                <a:gd name="connsiteY75" fmla="*/ 63387 h 871950"/>
                <a:gd name="connsiteX76" fmla="*/ 2526093 w 2612537"/>
                <a:gd name="connsiteY76" fmla="*/ 93943 h 871950"/>
                <a:gd name="connsiteX77" fmla="*/ 2495042 w 2612537"/>
                <a:gd name="connsiteY77" fmla="*/ 120182 h 871950"/>
                <a:gd name="connsiteX78" fmla="*/ 2468055 w 2612537"/>
                <a:gd name="connsiteY78" fmla="*/ 150490 h 871950"/>
                <a:gd name="connsiteX79" fmla="*/ 2437511 w 2612537"/>
                <a:gd name="connsiteY79" fmla="*/ 177103 h 871950"/>
                <a:gd name="connsiteX80" fmla="*/ 2411286 w 2612537"/>
                <a:gd name="connsiteY80" fmla="*/ 208148 h 871950"/>
                <a:gd name="connsiteX81" fmla="*/ 2380234 w 2612537"/>
                <a:gd name="connsiteY81" fmla="*/ 234393 h 871950"/>
                <a:gd name="connsiteX82" fmla="*/ 2354580 w 2612537"/>
                <a:gd name="connsiteY82" fmla="*/ 265927 h 871950"/>
                <a:gd name="connsiteX83" fmla="*/ 2326259 w 2612537"/>
                <a:gd name="connsiteY83" fmla="*/ 294635 h 871950"/>
                <a:gd name="connsiteX84" fmla="*/ 2294954 w 2612537"/>
                <a:gd name="connsiteY84" fmla="*/ 320505 h 871950"/>
                <a:gd name="connsiteX85" fmla="*/ 2266887 w 2612537"/>
                <a:gd name="connsiteY85" fmla="*/ 349709 h 871950"/>
                <a:gd name="connsiteX86" fmla="*/ 2238184 w 2612537"/>
                <a:gd name="connsiteY86" fmla="*/ 378163 h 871950"/>
                <a:gd name="connsiteX87" fmla="*/ 2211324 w 2612537"/>
                <a:gd name="connsiteY87" fmla="*/ 408471 h 871950"/>
                <a:gd name="connsiteX88" fmla="*/ 2180907 w 2612537"/>
                <a:gd name="connsiteY88" fmla="*/ 435205 h 871950"/>
                <a:gd name="connsiteX89" fmla="*/ 2152904 w 2612537"/>
                <a:gd name="connsiteY89" fmla="*/ 464529 h 871950"/>
                <a:gd name="connsiteX90" fmla="*/ 2123948 w 2612537"/>
                <a:gd name="connsiteY90" fmla="*/ 492742 h 871950"/>
                <a:gd name="connsiteX91" fmla="*/ 2095373 w 2612537"/>
                <a:gd name="connsiteY91" fmla="*/ 521444 h 871950"/>
                <a:gd name="connsiteX92" fmla="*/ 2065718 w 2612537"/>
                <a:gd name="connsiteY92" fmla="*/ 549041 h 871950"/>
                <a:gd name="connsiteX93" fmla="*/ 2038604 w 2612537"/>
                <a:gd name="connsiteY93" fmla="*/ 579229 h 871950"/>
                <a:gd name="connsiteX94" fmla="*/ 2011108 w 2612537"/>
                <a:gd name="connsiteY94" fmla="*/ 609043 h 871950"/>
                <a:gd name="connsiteX95" fmla="*/ 1983168 w 2612537"/>
                <a:gd name="connsiteY95" fmla="*/ 638367 h 871950"/>
                <a:gd name="connsiteX96" fmla="*/ 1952244 w 2612537"/>
                <a:gd name="connsiteY96" fmla="*/ 664732 h 871950"/>
                <a:gd name="connsiteX97" fmla="*/ 1923034 w 2612537"/>
                <a:gd name="connsiteY97" fmla="*/ 692697 h 871950"/>
                <a:gd name="connsiteX98" fmla="*/ 1894459 w 2612537"/>
                <a:gd name="connsiteY98" fmla="*/ 721399 h 871950"/>
                <a:gd name="connsiteX99" fmla="*/ 1866709 w 2612537"/>
                <a:gd name="connsiteY99" fmla="*/ 750971 h 871950"/>
                <a:gd name="connsiteX100" fmla="*/ 1837372 w 2612537"/>
                <a:gd name="connsiteY100" fmla="*/ 779057 h 871950"/>
                <a:gd name="connsiteX101" fmla="*/ 1808226 w 2612537"/>
                <a:gd name="connsiteY101" fmla="*/ 807150 h 871950"/>
                <a:gd name="connsiteX102" fmla="*/ 1782572 w 2612537"/>
                <a:gd name="connsiteY102" fmla="*/ 839059 h 871950"/>
                <a:gd name="connsiteX103" fmla="*/ 1753362 w 2612537"/>
                <a:gd name="connsiteY103" fmla="*/ 868624 h 871950"/>
                <a:gd name="connsiteX104" fmla="*/ 1711833 w 2612537"/>
                <a:gd name="connsiteY104" fmla="*/ 868135 h 871950"/>
                <a:gd name="connsiteX105" fmla="*/ 1671193 w 2612537"/>
                <a:gd name="connsiteY105" fmla="*/ 869240 h 871950"/>
                <a:gd name="connsiteX106" fmla="*/ 1630553 w 2612537"/>
                <a:gd name="connsiteY106" fmla="*/ 868256 h 871950"/>
                <a:gd name="connsiteX107" fmla="*/ 1589913 w 2612537"/>
                <a:gd name="connsiteY107" fmla="*/ 869488 h 871950"/>
                <a:gd name="connsiteX108" fmla="*/ 1549209 w 2612537"/>
                <a:gd name="connsiteY108" fmla="*/ 864313 h 871950"/>
                <a:gd name="connsiteX109" fmla="*/ 1508569 w 2612537"/>
                <a:gd name="connsiteY109" fmla="*/ 864808 h 871950"/>
                <a:gd name="connsiteX110" fmla="*/ 1467930 w 2612537"/>
                <a:gd name="connsiteY110" fmla="*/ 863824 h 871950"/>
                <a:gd name="connsiteX111" fmla="*/ 1427290 w 2612537"/>
                <a:gd name="connsiteY111" fmla="*/ 866287 h 871950"/>
                <a:gd name="connsiteX112" fmla="*/ 1386586 w 2612537"/>
                <a:gd name="connsiteY112" fmla="*/ 865176 h 871950"/>
                <a:gd name="connsiteX113" fmla="*/ 1345946 w 2612537"/>
                <a:gd name="connsiteY113" fmla="*/ 863576 h 871950"/>
                <a:gd name="connsiteX114" fmla="*/ 1305306 w 2612537"/>
                <a:gd name="connsiteY114" fmla="*/ 865671 h 871950"/>
                <a:gd name="connsiteX115" fmla="*/ 1264666 w 2612537"/>
                <a:gd name="connsiteY115" fmla="*/ 866287 h 871950"/>
                <a:gd name="connsiteX116" fmla="*/ 1223963 w 2612537"/>
                <a:gd name="connsiteY116" fmla="*/ 866287 h 871950"/>
                <a:gd name="connsiteX117" fmla="*/ 1183322 w 2612537"/>
                <a:gd name="connsiteY117" fmla="*/ 864192 h 871950"/>
                <a:gd name="connsiteX118" fmla="*/ 1142682 w 2612537"/>
                <a:gd name="connsiteY118" fmla="*/ 867640 h 871950"/>
                <a:gd name="connsiteX119" fmla="*/ 1102043 w 2612537"/>
                <a:gd name="connsiteY119" fmla="*/ 869240 h 871950"/>
                <a:gd name="connsiteX120" fmla="*/ 1061339 w 2612537"/>
                <a:gd name="connsiteY120" fmla="*/ 868993 h 871950"/>
                <a:gd name="connsiteX121" fmla="*/ 1020699 w 2612537"/>
                <a:gd name="connsiteY121" fmla="*/ 865792 h 871950"/>
                <a:gd name="connsiteX122" fmla="*/ 980059 w 2612537"/>
                <a:gd name="connsiteY122" fmla="*/ 863824 h 871950"/>
                <a:gd name="connsiteX123" fmla="*/ 939419 w 2612537"/>
                <a:gd name="connsiteY123" fmla="*/ 865424 h 871950"/>
                <a:gd name="connsiteX124" fmla="*/ 898716 w 2612537"/>
                <a:gd name="connsiteY124" fmla="*/ 869120 h 871950"/>
                <a:gd name="connsiteX125" fmla="*/ 858076 w 2612537"/>
                <a:gd name="connsiteY125" fmla="*/ 866529 h 871950"/>
                <a:gd name="connsiteX126" fmla="*/ 817435 w 2612537"/>
                <a:gd name="connsiteY126" fmla="*/ 867761 h 871950"/>
                <a:gd name="connsiteX127" fmla="*/ 776795 w 2612537"/>
                <a:gd name="connsiteY127" fmla="*/ 869367 h 871950"/>
                <a:gd name="connsiteX128" fmla="*/ 736092 w 2612537"/>
                <a:gd name="connsiteY128" fmla="*/ 865913 h 871950"/>
                <a:gd name="connsiteX129" fmla="*/ 695452 w 2612537"/>
                <a:gd name="connsiteY129" fmla="*/ 869735 h 871950"/>
                <a:gd name="connsiteX130" fmla="*/ 654812 w 2612537"/>
                <a:gd name="connsiteY130" fmla="*/ 869240 h 871950"/>
                <a:gd name="connsiteX131" fmla="*/ 614172 w 2612537"/>
                <a:gd name="connsiteY131" fmla="*/ 866160 h 871950"/>
                <a:gd name="connsiteX132" fmla="*/ 573468 w 2612537"/>
                <a:gd name="connsiteY132" fmla="*/ 863697 h 871950"/>
                <a:gd name="connsiteX133" fmla="*/ 532829 w 2612537"/>
                <a:gd name="connsiteY133" fmla="*/ 868872 h 871950"/>
                <a:gd name="connsiteX134" fmla="*/ 492189 w 2612537"/>
                <a:gd name="connsiteY134" fmla="*/ 867888 h 871950"/>
                <a:gd name="connsiteX135" fmla="*/ 451548 w 2612537"/>
                <a:gd name="connsiteY135" fmla="*/ 864440 h 871950"/>
                <a:gd name="connsiteX136" fmla="*/ 410718 w 2612537"/>
                <a:gd name="connsiteY136" fmla="*/ 865297 h 871950"/>
                <a:gd name="connsiteX137" fmla="*/ 370078 w 2612537"/>
                <a:gd name="connsiteY137" fmla="*/ 864929 h 871950"/>
                <a:gd name="connsiteX138" fmla="*/ 329311 w 2612537"/>
                <a:gd name="connsiteY138" fmla="*/ 866040 h 871950"/>
                <a:gd name="connsiteX139" fmla="*/ 288544 w 2612537"/>
                <a:gd name="connsiteY139" fmla="*/ 865297 h 871950"/>
                <a:gd name="connsiteX140" fmla="*/ 247714 w 2612537"/>
                <a:gd name="connsiteY140" fmla="*/ 865792 h 871950"/>
                <a:gd name="connsiteX141" fmla="*/ 207073 w 2612537"/>
                <a:gd name="connsiteY141" fmla="*/ 868751 h 871950"/>
                <a:gd name="connsiteX142" fmla="*/ 166306 w 2612537"/>
                <a:gd name="connsiteY142" fmla="*/ 864440 h 871950"/>
                <a:gd name="connsiteX143" fmla="*/ 125540 w 2612537"/>
                <a:gd name="connsiteY143" fmla="*/ 868624 h 871950"/>
                <a:gd name="connsiteX144" fmla="*/ 84772 w 2612537"/>
                <a:gd name="connsiteY144" fmla="*/ 865544 h 871950"/>
                <a:gd name="connsiteX145" fmla="*/ 43942 w 2612537"/>
                <a:gd name="connsiteY145" fmla="*/ 869608 h 871950"/>
                <a:gd name="connsiteX146" fmla="*/ 3175 w 2612537"/>
                <a:gd name="connsiteY146" fmla="*/ 865424 h 87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612537" h="871950">
                  <a:moveTo>
                    <a:pt x="0" y="836963"/>
                  </a:moveTo>
                  <a:cubicBezTo>
                    <a:pt x="14288" y="822669"/>
                    <a:pt x="18097" y="826365"/>
                    <a:pt x="32385" y="812077"/>
                  </a:cubicBezTo>
                  <a:cubicBezTo>
                    <a:pt x="46672" y="797784"/>
                    <a:pt x="45212" y="796304"/>
                    <a:pt x="59499" y="781890"/>
                  </a:cubicBezTo>
                  <a:cubicBezTo>
                    <a:pt x="73787" y="767475"/>
                    <a:pt x="74867" y="768707"/>
                    <a:pt x="89218" y="754293"/>
                  </a:cubicBezTo>
                  <a:cubicBezTo>
                    <a:pt x="103505" y="739878"/>
                    <a:pt x="102997" y="739389"/>
                    <a:pt x="117284" y="725095"/>
                  </a:cubicBezTo>
                  <a:cubicBezTo>
                    <a:pt x="131572" y="710808"/>
                    <a:pt x="132080" y="711297"/>
                    <a:pt x="146368" y="696882"/>
                  </a:cubicBezTo>
                  <a:cubicBezTo>
                    <a:pt x="160655" y="682468"/>
                    <a:pt x="157924" y="679883"/>
                    <a:pt x="172212" y="665469"/>
                  </a:cubicBezTo>
                  <a:cubicBezTo>
                    <a:pt x="186499" y="651054"/>
                    <a:pt x="186754" y="651302"/>
                    <a:pt x="201041" y="637008"/>
                  </a:cubicBezTo>
                  <a:cubicBezTo>
                    <a:pt x="215329" y="622721"/>
                    <a:pt x="214630" y="621978"/>
                    <a:pt x="228918" y="607690"/>
                  </a:cubicBezTo>
                  <a:cubicBezTo>
                    <a:pt x="243205" y="593396"/>
                    <a:pt x="243586" y="593764"/>
                    <a:pt x="257873" y="579477"/>
                  </a:cubicBezTo>
                  <a:cubicBezTo>
                    <a:pt x="272161" y="565183"/>
                    <a:pt x="273494" y="566415"/>
                    <a:pt x="287782" y="552121"/>
                  </a:cubicBezTo>
                  <a:cubicBezTo>
                    <a:pt x="302069" y="537834"/>
                    <a:pt x="301244" y="536970"/>
                    <a:pt x="315658" y="522676"/>
                  </a:cubicBezTo>
                  <a:cubicBezTo>
                    <a:pt x="330073" y="508389"/>
                    <a:pt x="331660" y="510110"/>
                    <a:pt x="346075" y="495822"/>
                  </a:cubicBezTo>
                  <a:cubicBezTo>
                    <a:pt x="360490" y="481528"/>
                    <a:pt x="358140" y="479191"/>
                    <a:pt x="372428" y="464898"/>
                  </a:cubicBezTo>
                  <a:cubicBezTo>
                    <a:pt x="386715" y="450604"/>
                    <a:pt x="386207" y="450115"/>
                    <a:pt x="400621" y="435821"/>
                  </a:cubicBezTo>
                  <a:cubicBezTo>
                    <a:pt x="415036" y="421533"/>
                    <a:pt x="417385" y="423870"/>
                    <a:pt x="431673" y="409583"/>
                  </a:cubicBezTo>
                  <a:cubicBezTo>
                    <a:pt x="445960" y="395289"/>
                    <a:pt x="446595" y="395905"/>
                    <a:pt x="460883" y="381617"/>
                  </a:cubicBezTo>
                  <a:cubicBezTo>
                    <a:pt x="475170" y="367324"/>
                    <a:pt x="472821" y="364860"/>
                    <a:pt x="487108" y="350566"/>
                  </a:cubicBezTo>
                  <a:cubicBezTo>
                    <a:pt x="501396" y="336278"/>
                    <a:pt x="504507" y="339358"/>
                    <a:pt x="518922" y="325064"/>
                  </a:cubicBezTo>
                  <a:cubicBezTo>
                    <a:pt x="533336" y="310777"/>
                    <a:pt x="530860" y="308313"/>
                    <a:pt x="545147" y="293898"/>
                  </a:cubicBezTo>
                  <a:cubicBezTo>
                    <a:pt x="559435" y="279484"/>
                    <a:pt x="558482" y="278493"/>
                    <a:pt x="572770" y="264206"/>
                  </a:cubicBezTo>
                  <a:cubicBezTo>
                    <a:pt x="587057" y="249912"/>
                    <a:pt x="588772" y="251639"/>
                    <a:pt x="603186" y="237225"/>
                  </a:cubicBezTo>
                  <a:cubicBezTo>
                    <a:pt x="617601" y="222810"/>
                    <a:pt x="617093" y="222442"/>
                    <a:pt x="631380" y="208148"/>
                  </a:cubicBezTo>
                  <a:cubicBezTo>
                    <a:pt x="645668" y="193854"/>
                    <a:pt x="645287" y="193486"/>
                    <a:pt x="659575" y="179198"/>
                  </a:cubicBezTo>
                  <a:cubicBezTo>
                    <a:pt x="673926" y="164905"/>
                    <a:pt x="676021" y="167000"/>
                    <a:pt x="690435" y="152586"/>
                  </a:cubicBezTo>
                  <a:cubicBezTo>
                    <a:pt x="704850" y="138171"/>
                    <a:pt x="703072" y="136691"/>
                    <a:pt x="717486" y="122277"/>
                  </a:cubicBezTo>
                  <a:cubicBezTo>
                    <a:pt x="731901" y="107862"/>
                    <a:pt x="731901" y="107989"/>
                    <a:pt x="746316" y="93696"/>
                  </a:cubicBezTo>
                  <a:cubicBezTo>
                    <a:pt x="760730" y="79402"/>
                    <a:pt x="762381" y="81008"/>
                    <a:pt x="776668" y="66594"/>
                  </a:cubicBezTo>
                  <a:cubicBezTo>
                    <a:pt x="790956" y="52179"/>
                    <a:pt x="791528" y="52795"/>
                    <a:pt x="805942" y="38381"/>
                  </a:cubicBezTo>
                  <a:cubicBezTo>
                    <a:pt x="820356" y="23966"/>
                    <a:pt x="814959" y="17680"/>
                    <a:pt x="833818" y="9920"/>
                  </a:cubicBezTo>
                  <a:cubicBezTo>
                    <a:pt x="852678" y="2160"/>
                    <a:pt x="853122" y="8072"/>
                    <a:pt x="873379" y="8072"/>
                  </a:cubicBezTo>
                  <a:cubicBezTo>
                    <a:pt x="893572" y="8072"/>
                    <a:pt x="893572" y="6713"/>
                    <a:pt x="913765" y="6713"/>
                  </a:cubicBezTo>
                  <a:cubicBezTo>
                    <a:pt x="933958" y="6713"/>
                    <a:pt x="933958" y="10657"/>
                    <a:pt x="954151" y="10657"/>
                  </a:cubicBezTo>
                  <a:cubicBezTo>
                    <a:pt x="974407" y="10657"/>
                    <a:pt x="974407" y="7329"/>
                    <a:pt x="994601" y="7329"/>
                  </a:cubicBezTo>
                  <a:cubicBezTo>
                    <a:pt x="1014793" y="7329"/>
                    <a:pt x="1014793" y="10657"/>
                    <a:pt x="1034986" y="10657"/>
                  </a:cubicBezTo>
                  <a:cubicBezTo>
                    <a:pt x="1055180" y="10657"/>
                    <a:pt x="1055180" y="5361"/>
                    <a:pt x="1075436" y="5361"/>
                  </a:cubicBezTo>
                  <a:cubicBezTo>
                    <a:pt x="1095629" y="5361"/>
                    <a:pt x="1095629" y="10168"/>
                    <a:pt x="1115822" y="10168"/>
                  </a:cubicBezTo>
                  <a:cubicBezTo>
                    <a:pt x="1136015" y="10168"/>
                    <a:pt x="1136015" y="7456"/>
                    <a:pt x="1156208" y="7456"/>
                  </a:cubicBezTo>
                  <a:cubicBezTo>
                    <a:pt x="1176401" y="7456"/>
                    <a:pt x="1176401" y="5856"/>
                    <a:pt x="1196657" y="5856"/>
                  </a:cubicBezTo>
                  <a:cubicBezTo>
                    <a:pt x="1216851" y="5856"/>
                    <a:pt x="1216851" y="6840"/>
                    <a:pt x="1237043" y="6840"/>
                  </a:cubicBezTo>
                  <a:cubicBezTo>
                    <a:pt x="1257237" y="6840"/>
                    <a:pt x="1257237" y="8072"/>
                    <a:pt x="1277430" y="8072"/>
                  </a:cubicBezTo>
                  <a:cubicBezTo>
                    <a:pt x="1297686" y="8072"/>
                    <a:pt x="1297686" y="10784"/>
                    <a:pt x="1317879" y="10784"/>
                  </a:cubicBezTo>
                  <a:cubicBezTo>
                    <a:pt x="1338072" y="10784"/>
                    <a:pt x="1338072" y="8193"/>
                    <a:pt x="1358265" y="8193"/>
                  </a:cubicBezTo>
                  <a:cubicBezTo>
                    <a:pt x="1378458" y="8193"/>
                    <a:pt x="1378458" y="7577"/>
                    <a:pt x="1398715" y="7577"/>
                  </a:cubicBezTo>
                  <a:cubicBezTo>
                    <a:pt x="1418907" y="7577"/>
                    <a:pt x="1418907" y="8441"/>
                    <a:pt x="1439101" y="8441"/>
                  </a:cubicBezTo>
                  <a:cubicBezTo>
                    <a:pt x="1459293" y="8441"/>
                    <a:pt x="1459293" y="7704"/>
                    <a:pt x="1479487" y="7704"/>
                  </a:cubicBezTo>
                  <a:cubicBezTo>
                    <a:pt x="1499680" y="7704"/>
                    <a:pt x="1499680" y="7704"/>
                    <a:pt x="1519936" y="7704"/>
                  </a:cubicBezTo>
                  <a:cubicBezTo>
                    <a:pt x="1540129" y="7704"/>
                    <a:pt x="1540129" y="7704"/>
                    <a:pt x="1560322" y="7704"/>
                  </a:cubicBezTo>
                  <a:cubicBezTo>
                    <a:pt x="1580515" y="7704"/>
                    <a:pt x="1580515" y="6224"/>
                    <a:pt x="1600708" y="6224"/>
                  </a:cubicBezTo>
                  <a:cubicBezTo>
                    <a:pt x="1620965" y="6224"/>
                    <a:pt x="1620965" y="5977"/>
                    <a:pt x="1641157" y="5977"/>
                  </a:cubicBezTo>
                  <a:cubicBezTo>
                    <a:pt x="1661351" y="5977"/>
                    <a:pt x="1661351" y="10657"/>
                    <a:pt x="1681543" y="10657"/>
                  </a:cubicBezTo>
                  <a:cubicBezTo>
                    <a:pt x="1701737" y="10657"/>
                    <a:pt x="1701737" y="5361"/>
                    <a:pt x="1721930" y="5361"/>
                  </a:cubicBezTo>
                  <a:cubicBezTo>
                    <a:pt x="1742186" y="5361"/>
                    <a:pt x="1742186" y="6472"/>
                    <a:pt x="1762379" y="6472"/>
                  </a:cubicBezTo>
                  <a:cubicBezTo>
                    <a:pt x="1782572" y="6472"/>
                    <a:pt x="1782572" y="7704"/>
                    <a:pt x="1802765" y="7704"/>
                  </a:cubicBezTo>
                  <a:cubicBezTo>
                    <a:pt x="1822958" y="7704"/>
                    <a:pt x="1822958" y="9552"/>
                    <a:pt x="1843215" y="9552"/>
                  </a:cubicBezTo>
                  <a:cubicBezTo>
                    <a:pt x="1863407" y="9552"/>
                    <a:pt x="1863407" y="10536"/>
                    <a:pt x="1883601" y="10536"/>
                  </a:cubicBezTo>
                  <a:cubicBezTo>
                    <a:pt x="1903793" y="10536"/>
                    <a:pt x="1903793" y="8072"/>
                    <a:pt x="1923987" y="8072"/>
                  </a:cubicBezTo>
                  <a:cubicBezTo>
                    <a:pt x="1944243" y="8072"/>
                    <a:pt x="1944243" y="7577"/>
                    <a:pt x="1964436" y="7577"/>
                  </a:cubicBezTo>
                  <a:cubicBezTo>
                    <a:pt x="1984629" y="7577"/>
                    <a:pt x="1984629" y="6840"/>
                    <a:pt x="2004822" y="6840"/>
                  </a:cubicBezTo>
                  <a:cubicBezTo>
                    <a:pt x="2025015" y="6840"/>
                    <a:pt x="2025015" y="6472"/>
                    <a:pt x="2045208" y="6472"/>
                  </a:cubicBezTo>
                  <a:cubicBezTo>
                    <a:pt x="2065465" y="6472"/>
                    <a:pt x="2065465" y="8441"/>
                    <a:pt x="2085657" y="8441"/>
                  </a:cubicBezTo>
                  <a:cubicBezTo>
                    <a:pt x="2105851" y="8441"/>
                    <a:pt x="2105851" y="10409"/>
                    <a:pt x="2126043" y="10409"/>
                  </a:cubicBezTo>
                  <a:cubicBezTo>
                    <a:pt x="2146237" y="10409"/>
                    <a:pt x="2146237" y="6961"/>
                    <a:pt x="2166493" y="6961"/>
                  </a:cubicBezTo>
                  <a:cubicBezTo>
                    <a:pt x="2186686" y="6961"/>
                    <a:pt x="2186686" y="6713"/>
                    <a:pt x="2206879" y="6713"/>
                  </a:cubicBezTo>
                  <a:cubicBezTo>
                    <a:pt x="2227072" y="6713"/>
                    <a:pt x="2227072" y="6593"/>
                    <a:pt x="2247265" y="6593"/>
                  </a:cubicBezTo>
                  <a:cubicBezTo>
                    <a:pt x="2267521" y="6593"/>
                    <a:pt x="2267521" y="5856"/>
                    <a:pt x="2287715" y="5856"/>
                  </a:cubicBezTo>
                  <a:cubicBezTo>
                    <a:pt x="2307907" y="5856"/>
                    <a:pt x="2307907" y="6961"/>
                    <a:pt x="2328101" y="6961"/>
                  </a:cubicBezTo>
                  <a:cubicBezTo>
                    <a:pt x="2348293" y="6961"/>
                    <a:pt x="2348293" y="6097"/>
                    <a:pt x="2368487" y="6097"/>
                  </a:cubicBezTo>
                  <a:cubicBezTo>
                    <a:pt x="2388743" y="6097"/>
                    <a:pt x="2388743" y="6097"/>
                    <a:pt x="2408936" y="6097"/>
                  </a:cubicBezTo>
                  <a:cubicBezTo>
                    <a:pt x="2429129" y="6097"/>
                    <a:pt x="2429129" y="5729"/>
                    <a:pt x="2449322" y="5729"/>
                  </a:cubicBezTo>
                  <a:cubicBezTo>
                    <a:pt x="2469515" y="5729"/>
                    <a:pt x="2469515" y="4865"/>
                    <a:pt x="2489771" y="4865"/>
                  </a:cubicBezTo>
                  <a:cubicBezTo>
                    <a:pt x="2509965" y="4865"/>
                    <a:pt x="2509965" y="5729"/>
                    <a:pt x="2530284" y="5729"/>
                  </a:cubicBezTo>
                  <a:cubicBezTo>
                    <a:pt x="2550605" y="5729"/>
                    <a:pt x="2550605" y="10041"/>
                    <a:pt x="2570797" y="10041"/>
                  </a:cubicBezTo>
                  <a:cubicBezTo>
                    <a:pt x="2590991" y="10041"/>
                    <a:pt x="2603182" y="-10902"/>
                    <a:pt x="2610993" y="7704"/>
                  </a:cubicBezTo>
                  <a:cubicBezTo>
                    <a:pt x="2618740" y="26303"/>
                    <a:pt x="2595563" y="20512"/>
                    <a:pt x="2581275" y="34806"/>
                  </a:cubicBezTo>
                  <a:cubicBezTo>
                    <a:pt x="2566988" y="49100"/>
                    <a:pt x="2566988" y="49100"/>
                    <a:pt x="2552700" y="63387"/>
                  </a:cubicBezTo>
                  <a:cubicBezTo>
                    <a:pt x="2538413" y="77681"/>
                    <a:pt x="2540381" y="79649"/>
                    <a:pt x="2526093" y="93943"/>
                  </a:cubicBezTo>
                  <a:cubicBezTo>
                    <a:pt x="2511806" y="108231"/>
                    <a:pt x="2509330" y="105767"/>
                    <a:pt x="2495042" y="120182"/>
                  </a:cubicBezTo>
                  <a:cubicBezTo>
                    <a:pt x="2480755" y="134596"/>
                    <a:pt x="2482342" y="136203"/>
                    <a:pt x="2468055" y="150490"/>
                  </a:cubicBezTo>
                  <a:cubicBezTo>
                    <a:pt x="2453767" y="164784"/>
                    <a:pt x="2451799" y="162809"/>
                    <a:pt x="2437511" y="177103"/>
                  </a:cubicBezTo>
                  <a:cubicBezTo>
                    <a:pt x="2423224" y="191390"/>
                    <a:pt x="2425573" y="193734"/>
                    <a:pt x="2411286" y="208148"/>
                  </a:cubicBezTo>
                  <a:cubicBezTo>
                    <a:pt x="2396998" y="222562"/>
                    <a:pt x="2394649" y="220099"/>
                    <a:pt x="2380234" y="234393"/>
                  </a:cubicBezTo>
                  <a:cubicBezTo>
                    <a:pt x="2365819" y="248680"/>
                    <a:pt x="2368868" y="251639"/>
                    <a:pt x="2354580" y="265927"/>
                  </a:cubicBezTo>
                  <a:cubicBezTo>
                    <a:pt x="2340293" y="280220"/>
                    <a:pt x="2340546" y="280468"/>
                    <a:pt x="2326259" y="294635"/>
                  </a:cubicBezTo>
                  <a:cubicBezTo>
                    <a:pt x="2311971" y="308802"/>
                    <a:pt x="2309241" y="306217"/>
                    <a:pt x="2294954" y="320505"/>
                  </a:cubicBezTo>
                  <a:cubicBezTo>
                    <a:pt x="2280666" y="334799"/>
                    <a:pt x="2281174" y="335415"/>
                    <a:pt x="2266887" y="349709"/>
                  </a:cubicBezTo>
                  <a:cubicBezTo>
                    <a:pt x="2252599" y="363996"/>
                    <a:pt x="2252472" y="363875"/>
                    <a:pt x="2238184" y="378163"/>
                  </a:cubicBezTo>
                  <a:cubicBezTo>
                    <a:pt x="2223897" y="392457"/>
                    <a:pt x="2225612" y="394184"/>
                    <a:pt x="2211324" y="408471"/>
                  </a:cubicBezTo>
                  <a:cubicBezTo>
                    <a:pt x="2197037" y="422765"/>
                    <a:pt x="2195195" y="420918"/>
                    <a:pt x="2180907" y="435205"/>
                  </a:cubicBezTo>
                  <a:cubicBezTo>
                    <a:pt x="2166620" y="449499"/>
                    <a:pt x="2167192" y="450115"/>
                    <a:pt x="2152904" y="464529"/>
                  </a:cubicBezTo>
                  <a:cubicBezTo>
                    <a:pt x="2138617" y="478944"/>
                    <a:pt x="2138236" y="478449"/>
                    <a:pt x="2123948" y="492742"/>
                  </a:cubicBezTo>
                  <a:cubicBezTo>
                    <a:pt x="2109661" y="507030"/>
                    <a:pt x="2109661" y="507157"/>
                    <a:pt x="2095373" y="521444"/>
                  </a:cubicBezTo>
                  <a:cubicBezTo>
                    <a:pt x="2081085" y="535738"/>
                    <a:pt x="2080133" y="534754"/>
                    <a:pt x="2065718" y="549041"/>
                  </a:cubicBezTo>
                  <a:cubicBezTo>
                    <a:pt x="2051304" y="563335"/>
                    <a:pt x="2052892" y="564935"/>
                    <a:pt x="2038604" y="579229"/>
                  </a:cubicBezTo>
                  <a:cubicBezTo>
                    <a:pt x="2024317" y="593517"/>
                    <a:pt x="2025396" y="594628"/>
                    <a:pt x="2011108" y="609043"/>
                  </a:cubicBezTo>
                  <a:cubicBezTo>
                    <a:pt x="1996821" y="623457"/>
                    <a:pt x="1997456" y="624073"/>
                    <a:pt x="1983168" y="638367"/>
                  </a:cubicBezTo>
                  <a:cubicBezTo>
                    <a:pt x="1968881" y="652654"/>
                    <a:pt x="1966531" y="650438"/>
                    <a:pt x="1952244" y="664732"/>
                  </a:cubicBezTo>
                  <a:cubicBezTo>
                    <a:pt x="1937956" y="679020"/>
                    <a:pt x="1937321" y="678404"/>
                    <a:pt x="1923034" y="692697"/>
                  </a:cubicBezTo>
                  <a:cubicBezTo>
                    <a:pt x="1908746" y="706985"/>
                    <a:pt x="1908746" y="707112"/>
                    <a:pt x="1894459" y="721399"/>
                  </a:cubicBezTo>
                  <a:cubicBezTo>
                    <a:pt x="1880171" y="735693"/>
                    <a:pt x="1880997" y="736678"/>
                    <a:pt x="1866709" y="750971"/>
                  </a:cubicBezTo>
                  <a:cubicBezTo>
                    <a:pt x="1852422" y="765259"/>
                    <a:pt x="1851787" y="764643"/>
                    <a:pt x="1837372" y="779057"/>
                  </a:cubicBezTo>
                  <a:cubicBezTo>
                    <a:pt x="1822958" y="793472"/>
                    <a:pt x="1822514" y="792856"/>
                    <a:pt x="1808226" y="807150"/>
                  </a:cubicBezTo>
                  <a:cubicBezTo>
                    <a:pt x="1793939" y="821437"/>
                    <a:pt x="1796987" y="824644"/>
                    <a:pt x="1782572" y="839059"/>
                  </a:cubicBezTo>
                  <a:cubicBezTo>
                    <a:pt x="1768157" y="853473"/>
                    <a:pt x="1772221" y="860865"/>
                    <a:pt x="1753362" y="868624"/>
                  </a:cubicBezTo>
                  <a:cubicBezTo>
                    <a:pt x="1734503" y="876384"/>
                    <a:pt x="1732217" y="868135"/>
                    <a:pt x="1711833" y="868135"/>
                  </a:cubicBezTo>
                  <a:cubicBezTo>
                    <a:pt x="1691513" y="868135"/>
                    <a:pt x="1691513" y="869240"/>
                    <a:pt x="1671193" y="869240"/>
                  </a:cubicBezTo>
                  <a:cubicBezTo>
                    <a:pt x="1650873" y="869240"/>
                    <a:pt x="1650873" y="868256"/>
                    <a:pt x="1630553" y="868256"/>
                  </a:cubicBezTo>
                  <a:cubicBezTo>
                    <a:pt x="1610233" y="868256"/>
                    <a:pt x="1610233" y="869488"/>
                    <a:pt x="1589913" y="869488"/>
                  </a:cubicBezTo>
                  <a:cubicBezTo>
                    <a:pt x="1569593" y="869488"/>
                    <a:pt x="1569593" y="864313"/>
                    <a:pt x="1549209" y="864313"/>
                  </a:cubicBezTo>
                  <a:cubicBezTo>
                    <a:pt x="1528890" y="864313"/>
                    <a:pt x="1528890" y="864808"/>
                    <a:pt x="1508569" y="864808"/>
                  </a:cubicBezTo>
                  <a:cubicBezTo>
                    <a:pt x="1488250" y="864808"/>
                    <a:pt x="1488250" y="863824"/>
                    <a:pt x="1467930" y="863824"/>
                  </a:cubicBezTo>
                  <a:cubicBezTo>
                    <a:pt x="1447609" y="863824"/>
                    <a:pt x="1447609" y="866287"/>
                    <a:pt x="1427290" y="866287"/>
                  </a:cubicBezTo>
                  <a:cubicBezTo>
                    <a:pt x="1406906" y="866287"/>
                    <a:pt x="1406906" y="865176"/>
                    <a:pt x="1386586" y="865176"/>
                  </a:cubicBezTo>
                  <a:cubicBezTo>
                    <a:pt x="1366266" y="865176"/>
                    <a:pt x="1366266" y="863576"/>
                    <a:pt x="1345946" y="863576"/>
                  </a:cubicBezTo>
                  <a:cubicBezTo>
                    <a:pt x="1325626" y="863576"/>
                    <a:pt x="1325626" y="865671"/>
                    <a:pt x="1305306" y="865671"/>
                  </a:cubicBezTo>
                  <a:cubicBezTo>
                    <a:pt x="1284986" y="865671"/>
                    <a:pt x="1284986" y="866287"/>
                    <a:pt x="1264666" y="866287"/>
                  </a:cubicBezTo>
                  <a:cubicBezTo>
                    <a:pt x="1244282" y="866287"/>
                    <a:pt x="1244282" y="866287"/>
                    <a:pt x="1223963" y="866287"/>
                  </a:cubicBezTo>
                  <a:cubicBezTo>
                    <a:pt x="1203643" y="866287"/>
                    <a:pt x="1203643" y="864192"/>
                    <a:pt x="1183322" y="864192"/>
                  </a:cubicBezTo>
                  <a:cubicBezTo>
                    <a:pt x="1163003" y="864192"/>
                    <a:pt x="1163003" y="867640"/>
                    <a:pt x="1142682" y="867640"/>
                  </a:cubicBezTo>
                  <a:cubicBezTo>
                    <a:pt x="1122363" y="867640"/>
                    <a:pt x="1122363" y="869240"/>
                    <a:pt x="1102043" y="869240"/>
                  </a:cubicBezTo>
                  <a:cubicBezTo>
                    <a:pt x="1081659" y="869240"/>
                    <a:pt x="1081659" y="868993"/>
                    <a:pt x="1061339" y="868993"/>
                  </a:cubicBezTo>
                  <a:cubicBezTo>
                    <a:pt x="1041019" y="868993"/>
                    <a:pt x="1041019" y="865792"/>
                    <a:pt x="1020699" y="865792"/>
                  </a:cubicBezTo>
                  <a:cubicBezTo>
                    <a:pt x="1000379" y="865792"/>
                    <a:pt x="1000379" y="863824"/>
                    <a:pt x="980059" y="863824"/>
                  </a:cubicBezTo>
                  <a:cubicBezTo>
                    <a:pt x="959739" y="863824"/>
                    <a:pt x="959739" y="865424"/>
                    <a:pt x="939419" y="865424"/>
                  </a:cubicBezTo>
                  <a:cubicBezTo>
                    <a:pt x="919035" y="865424"/>
                    <a:pt x="919035" y="869120"/>
                    <a:pt x="898716" y="869120"/>
                  </a:cubicBezTo>
                  <a:cubicBezTo>
                    <a:pt x="878395" y="869120"/>
                    <a:pt x="878395" y="866529"/>
                    <a:pt x="858076" y="866529"/>
                  </a:cubicBezTo>
                  <a:cubicBezTo>
                    <a:pt x="837755" y="866529"/>
                    <a:pt x="837755" y="867761"/>
                    <a:pt x="817435" y="867761"/>
                  </a:cubicBezTo>
                  <a:cubicBezTo>
                    <a:pt x="797116" y="867761"/>
                    <a:pt x="797116" y="869367"/>
                    <a:pt x="776795" y="869367"/>
                  </a:cubicBezTo>
                  <a:cubicBezTo>
                    <a:pt x="756412" y="869367"/>
                    <a:pt x="756412" y="865913"/>
                    <a:pt x="736092" y="865913"/>
                  </a:cubicBezTo>
                  <a:cubicBezTo>
                    <a:pt x="715772" y="865913"/>
                    <a:pt x="715772" y="869735"/>
                    <a:pt x="695452" y="869735"/>
                  </a:cubicBezTo>
                  <a:cubicBezTo>
                    <a:pt x="675132" y="869735"/>
                    <a:pt x="675132" y="869240"/>
                    <a:pt x="654812" y="869240"/>
                  </a:cubicBezTo>
                  <a:cubicBezTo>
                    <a:pt x="634492" y="869240"/>
                    <a:pt x="634492" y="866160"/>
                    <a:pt x="614172" y="866160"/>
                  </a:cubicBezTo>
                  <a:cubicBezTo>
                    <a:pt x="593789" y="866160"/>
                    <a:pt x="593789" y="863697"/>
                    <a:pt x="573468" y="863697"/>
                  </a:cubicBezTo>
                  <a:cubicBezTo>
                    <a:pt x="553148" y="863697"/>
                    <a:pt x="553148" y="868872"/>
                    <a:pt x="532829" y="868872"/>
                  </a:cubicBezTo>
                  <a:cubicBezTo>
                    <a:pt x="512508" y="868872"/>
                    <a:pt x="512508" y="867888"/>
                    <a:pt x="492189" y="867888"/>
                  </a:cubicBezTo>
                  <a:cubicBezTo>
                    <a:pt x="471868" y="867888"/>
                    <a:pt x="471868" y="864440"/>
                    <a:pt x="451548" y="864440"/>
                  </a:cubicBezTo>
                  <a:cubicBezTo>
                    <a:pt x="431165" y="864440"/>
                    <a:pt x="431165" y="865297"/>
                    <a:pt x="410718" y="865297"/>
                  </a:cubicBezTo>
                  <a:cubicBezTo>
                    <a:pt x="390271" y="865297"/>
                    <a:pt x="390398" y="864929"/>
                    <a:pt x="370078" y="864929"/>
                  </a:cubicBezTo>
                  <a:cubicBezTo>
                    <a:pt x="349758" y="864929"/>
                    <a:pt x="349758" y="866040"/>
                    <a:pt x="329311" y="866040"/>
                  </a:cubicBezTo>
                  <a:cubicBezTo>
                    <a:pt x="308864" y="866040"/>
                    <a:pt x="308991" y="865297"/>
                    <a:pt x="288544" y="865297"/>
                  </a:cubicBezTo>
                  <a:cubicBezTo>
                    <a:pt x="268097" y="865297"/>
                    <a:pt x="268224" y="865792"/>
                    <a:pt x="247714" y="865792"/>
                  </a:cubicBezTo>
                  <a:cubicBezTo>
                    <a:pt x="227267" y="865792"/>
                    <a:pt x="227393" y="868751"/>
                    <a:pt x="207073" y="868751"/>
                  </a:cubicBezTo>
                  <a:cubicBezTo>
                    <a:pt x="186754" y="868751"/>
                    <a:pt x="186754" y="864440"/>
                    <a:pt x="166306" y="864440"/>
                  </a:cubicBezTo>
                  <a:cubicBezTo>
                    <a:pt x="145859" y="864440"/>
                    <a:pt x="145986" y="868624"/>
                    <a:pt x="125540" y="868624"/>
                  </a:cubicBezTo>
                  <a:cubicBezTo>
                    <a:pt x="105093" y="868624"/>
                    <a:pt x="105219" y="865544"/>
                    <a:pt x="84772" y="865544"/>
                  </a:cubicBezTo>
                  <a:cubicBezTo>
                    <a:pt x="64326" y="865544"/>
                    <a:pt x="64326" y="869608"/>
                    <a:pt x="43942" y="869608"/>
                  </a:cubicBezTo>
                  <a:cubicBezTo>
                    <a:pt x="23622" y="869608"/>
                    <a:pt x="23495" y="865424"/>
                    <a:pt x="3175" y="86542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F15C34E-E73E-D21B-BF57-745046A05134}"/>
                </a:ext>
              </a:extLst>
            </p:cNvPr>
            <p:cNvSpPr/>
            <p:nvPr/>
          </p:nvSpPr>
          <p:spPr>
            <a:xfrm>
              <a:off x="7353617" y="1338154"/>
              <a:ext cx="1778253" cy="5791"/>
            </a:xfrm>
            <a:custGeom>
              <a:avLst/>
              <a:gdLst>
                <a:gd name="connsiteX0" fmla="*/ 0 w 1778253"/>
                <a:gd name="connsiteY0" fmla="*/ 1606 h 5791"/>
                <a:gd name="connsiteX1" fmla="*/ 40259 w 1778253"/>
                <a:gd name="connsiteY1" fmla="*/ 5055 h 5791"/>
                <a:gd name="connsiteX2" fmla="*/ 80645 w 1778253"/>
                <a:gd name="connsiteY2" fmla="*/ 5671 h 5791"/>
                <a:gd name="connsiteX3" fmla="*/ 121094 w 1778253"/>
                <a:gd name="connsiteY3" fmla="*/ 4439 h 5791"/>
                <a:gd name="connsiteX4" fmla="*/ 161480 w 1778253"/>
                <a:gd name="connsiteY4" fmla="*/ 1975 h 5791"/>
                <a:gd name="connsiteX5" fmla="*/ 201930 w 1778253"/>
                <a:gd name="connsiteY5" fmla="*/ 1975 h 5791"/>
                <a:gd name="connsiteX6" fmla="*/ 242315 w 1778253"/>
                <a:gd name="connsiteY6" fmla="*/ 3080 h 5791"/>
                <a:gd name="connsiteX7" fmla="*/ 282701 w 1778253"/>
                <a:gd name="connsiteY7" fmla="*/ 1975 h 5791"/>
                <a:gd name="connsiteX8" fmla="*/ 323151 w 1778253"/>
                <a:gd name="connsiteY8" fmla="*/ 2838 h 5791"/>
                <a:gd name="connsiteX9" fmla="*/ 363538 w 1778253"/>
                <a:gd name="connsiteY9" fmla="*/ 991 h 5791"/>
                <a:gd name="connsiteX10" fmla="*/ 403923 w 1778253"/>
                <a:gd name="connsiteY10" fmla="*/ 5544 h 5791"/>
                <a:gd name="connsiteX11" fmla="*/ 444373 w 1778253"/>
                <a:gd name="connsiteY11" fmla="*/ 3943 h 5791"/>
                <a:gd name="connsiteX12" fmla="*/ 484759 w 1778253"/>
                <a:gd name="connsiteY12" fmla="*/ 4191 h 5791"/>
                <a:gd name="connsiteX13" fmla="*/ 525208 w 1778253"/>
                <a:gd name="connsiteY13" fmla="*/ 2591 h 5791"/>
                <a:gd name="connsiteX14" fmla="*/ 565594 w 1778253"/>
                <a:gd name="connsiteY14" fmla="*/ 3823 h 5791"/>
                <a:gd name="connsiteX15" fmla="*/ 605980 w 1778253"/>
                <a:gd name="connsiteY15" fmla="*/ 1727 h 5791"/>
                <a:gd name="connsiteX16" fmla="*/ 646430 w 1778253"/>
                <a:gd name="connsiteY16" fmla="*/ 864 h 5791"/>
                <a:gd name="connsiteX17" fmla="*/ 686815 w 1778253"/>
                <a:gd name="connsiteY17" fmla="*/ 2838 h 5791"/>
                <a:gd name="connsiteX18" fmla="*/ 727201 w 1778253"/>
                <a:gd name="connsiteY18" fmla="*/ 1606 h 5791"/>
                <a:gd name="connsiteX19" fmla="*/ 767651 w 1778253"/>
                <a:gd name="connsiteY19" fmla="*/ 743 h 5791"/>
                <a:gd name="connsiteX20" fmla="*/ 808038 w 1778253"/>
                <a:gd name="connsiteY20" fmla="*/ 616 h 5791"/>
                <a:gd name="connsiteX21" fmla="*/ 848487 w 1778253"/>
                <a:gd name="connsiteY21" fmla="*/ 3207 h 5791"/>
                <a:gd name="connsiteX22" fmla="*/ 888873 w 1778253"/>
                <a:gd name="connsiteY22" fmla="*/ 1359 h 5791"/>
                <a:gd name="connsiteX23" fmla="*/ 929259 w 1778253"/>
                <a:gd name="connsiteY23" fmla="*/ 2222 h 5791"/>
                <a:gd name="connsiteX24" fmla="*/ 969708 w 1778253"/>
                <a:gd name="connsiteY24" fmla="*/ 2959 h 5791"/>
                <a:gd name="connsiteX25" fmla="*/ 1010094 w 1778253"/>
                <a:gd name="connsiteY25" fmla="*/ 1111 h 5791"/>
                <a:gd name="connsiteX26" fmla="*/ 1050480 w 1778253"/>
                <a:gd name="connsiteY26" fmla="*/ 1111 h 5791"/>
                <a:gd name="connsiteX27" fmla="*/ 1090930 w 1778253"/>
                <a:gd name="connsiteY27" fmla="*/ 3943 h 5791"/>
                <a:gd name="connsiteX28" fmla="*/ 1131316 w 1778253"/>
                <a:gd name="connsiteY28" fmla="*/ 743 h 5791"/>
                <a:gd name="connsiteX29" fmla="*/ 1171765 w 1778253"/>
                <a:gd name="connsiteY29" fmla="*/ 2343 h 5791"/>
                <a:gd name="connsiteX30" fmla="*/ 1212151 w 1778253"/>
                <a:gd name="connsiteY30" fmla="*/ 2591 h 5791"/>
                <a:gd name="connsiteX31" fmla="*/ 1252538 w 1778253"/>
                <a:gd name="connsiteY31" fmla="*/ 5791 h 5791"/>
                <a:gd name="connsiteX32" fmla="*/ 1292987 w 1778253"/>
                <a:gd name="connsiteY32" fmla="*/ 5791 h 5791"/>
                <a:gd name="connsiteX33" fmla="*/ 1333373 w 1778253"/>
                <a:gd name="connsiteY33" fmla="*/ 375 h 5791"/>
                <a:gd name="connsiteX34" fmla="*/ 1373759 w 1778253"/>
                <a:gd name="connsiteY34" fmla="*/ 4070 h 5791"/>
                <a:gd name="connsiteX35" fmla="*/ 1414208 w 1778253"/>
                <a:gd name="connsiteY35" fmla="*/ 4686 h 5791"/>
                <a:gd name="connsiteX36" fmla="*/ 1454594 w 1778253"/>
                <a:gd name="connsiteY36" fmla="*/ 1480 h 5791"/>
                <a:gd name="connsiteX37" fmla="*/ 1495044 w 1778253"/>
                <a:gd name="connsiteY37" fmla="*/ 5055 h 5791"/>
                <a:gd name="connsiteX38" fmla="*/ 1535430 w 1778253"/>
                <a:gd name="connsiteY38" fmla="*/ 5055 h 5791"/>
                <a:gd name="connsiteX39" fmla="*/ 1575816 w 1778253"/>
                <a:gd name="connsiteY39" fmla="*/ 1848 h 5791"/>
                <a:gd name="connsiteX40" fmla="*/ 1616265 w 1778253"/>
                <a:gd name="connsiteY40" fmla="*/ 2464 h 5791"/>
                <a:gd name="connsiteX41" fmla="*/ 1656651 w 1778253"/>
                <a:gd name="connsiteY41" fmla="*/ 495 h 5791"/>
                <a:gd name="connsiteX42" fmla="*/ 1697164 w 1778253"/>
                <a:gd name="connsiteY42" fmla="*/ 1480 h 5791"/>
                <a:gd name="connsiteX43" fmla="*/ 1737741 w 1778253"/>
                <a:gd name="connsiteY43" fmla="*/ 0 h 5791"/>
                <a:gd name="connsiteX44" fmla="*/ 1778254 w 1778253"/>
                <a:gd name="connsiteY44" fmla="*/ 864 h 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778253" h="5791">
                  <a:moveTo>
                    <a:pt x="0" y="1606"/>
                  </a:moveTo>
                  <a:cubicBezTo>
                    <a:pt x="20193" y="1606"/>
                    <a:pt x="20193" y="5055"/>
                    <a:pt x="40259" y="5055"/>
                  </a:cubicBezTo>
                  <a:cubicBezTo>
                    <a:pt x="60325" y="5055"/>
                    <a:pt x="60451" y="5671"/>
                    <a:pt x="80645" y="5671"/>
                  </a:cubicBezTo>
                  <a:cubicBezTo>
                    <a:pt x="100901" y="5671"/>
                    <a:pt x="100901" y="4439"/>
                    <a:pt x="121094" y="4439"/>
                  </a:cubicBezTo>
                  <a:cubicBezTo>
                    <a:pt x="141288" y="4439"/>
                    <a:pt x="141288" y="1975"/>
                    <a:pt x="161480" y="1975"/>
                  </a:cubicBezTo>
                  <a:cubicBezTo>
                    <a:pt x="181673" y="1975"/>
                    <a:pt x="181673" y="1975"/>
                    <a:pt x="201930" y="1975"/>
                  </a:cubicBezTo>
                  <a:cubicBezTo>
                    <a:pt x="222123" y="1975"/>
                    <a:pt x="222123" y="3080"/>
                    <a:pt x="242315" y="3080"/>
                  </a:cubicBezTo>
                  <a:cubicBezTo>
                    <a:pt x="262509" y="3080"/>
                    <a:pt x="262509" y="1975"/>
                    <a:pt x="282701" y="1975"/>
                  </a:cubicBezTo>
                  <a:cubicBezTo>
                    <a:pt x="302895" y="1975"/>
                    <a:pt x="302958" y="2838"/>
                    <a:pt x="323151" y="2838"/>
                  </a:cubicBezTo>
                  <a:cubicBezTo>
                    <a:pt x="343344" y="2838"/>
                    <a:pt x="343344" y="991"/>
                    <a:pt x="363538" y="991"/>
                  </a:cubicBezTo>
                  <a:cubicBezTo>
                    <a:pt x="383730" y="991"/>
                    <a:pt x="383730" y="5544"/>
                    <a:pt x="403923" y="5544"/>
                  </a:cubicBezTo>
                  <a:cubicBezTo>
                    <a:pt x="424180" y="5544"/>
                    <a:pt x="424180" y="3943"/>
                    <a:pt x="444373" y="3943"/>
                  </a:cubicBezTo>
                  <a:cubicBezTo>
                    <a:pt x="464565" y="3943"/>
                    <a:pt x="464565" y="4191"/>
                    <a:pt x="484759" y="4191"/>
                  </a:cubicBezTo>
                  <a:cubicBezTo>
                    <a:pt x="504951" y="4191"/>
                    <a:pt x="504951" y="2591"/>
                    <a:pt x="525208" y="2591"/>
                  </a:cubicBezTo>
                  <a:cubicBezTo>
                    <a:pt x="545401" y="2591"/>
                    <a:pt x="545401" y="3823"/>
                    <a:pt x="565594" y="3823"/>
                  </a:cubicBezTo>
                  <a:cubicBezTo>
                    <a:pt x="585788" y="3823"/>
                    <a:pt x="585788" y="1727"/>
                    <a:pt x="605980" y="1727"/>
                  </a:cubicBezTo>
                  <a:cubicBezTo>
                    <a:pt x="626173" y="1727"/>
                    <a:pt x="626173" y="864"/>
                    <a:pt x="646430" y="864"/>
                  </a:cubicBezTo>
                  <a:cubicBezTo>
                    <a:pt x="666623" y="864"/>
                    <a:pt x="666623" y="2838"/>
                    <a:pt x="686815" y="2838"/>
                  </a:cubicBezTo>
                  <a:cubicBezTo>
                    <a:pt x="707009" y="2838"/>
                    <a:pt x="707009" y="1606"/>
                    <a:pt x="727201" y="1606"/>
                  </a:cubicBezTo>
                  <a:cubicBezTo>
                    <a:pt x="747458" y="1606"/>
                    <a:pt x="747458" y="743"/>
                    <a:pt x="767651" y="743"/>
                  </a:cubicBezTo>
                  <a:cubicBezTo>
                    <a:pt x="787844" y="743"/>
                    <a:pt x="787844" y="616"/>
                    <a:pt x="808038" y="616"/>
                  </a:cubicBezTo>
                  <a:cubicBezTo>
                    <a:pt x="828230" y="616"/>
                    <a:pt x="828230" y="3207"/>
                    <a:pt x="848487" y="3207"/>
                  </a:cubicBezTo>
                  <a:cubicBezTo>
                    <a:pt x="868680" y="3207"/>
                    <a:pt x="868680" y="1359"/>
                    <a:pt x="888873" y="1359"/>
                  </a:cubicBezTo>
                  <a:cubicBezTo>
                    <a:pt x="909065" y="1359"/>
                    <a:pt x="909065" y="2222"/>
                    <a:pt x="929259" y="2222"/>
                  </a:cubicBezTo>
                  <a:cubicBezTo>
                    <a:pt x="949451" y="2222"/>
                    <a:pt x="949451" y="2959"/>
                    <a:pt x="969708" y="2959"/>
                  </a:cubicBezTo>
                  <a:cubicBezTo>
                    <a:pt x="989901" y="2959"/>
                    <a:pt x="989901" y="1111"/>
                    <a:pt x="1010094" y="1111"/>
                  </a:cubicBezTo>
                  <a:cubicBezTo>
                    <a:pt x="1030288" y="1111"/>
                    <a:pt x="1030288" y="1111"/>
                    <a:pt x="1050480" y="1111"/>
                  </a:cubicBezTo>
                  <a:cubicBezTo>
                    <a:pt x="1070737" y="1111"/>
                    <a:pt x="1070737" y="3943"/>
                    <a:pt x="1090930" y="3943"/>
                  </a:cubicBezTo>
                  <a:cubicBezTo>
                    <a:pt x="1111123" y="3943"/>
                    <a:pt x="1111123" y="743"/>
                    <a:pt x="1131316" y="743"/>
                  </a:cubicBezTo>
                  <a:cubicBezTo>
                    <a:pt x="1151509" y="743"/>
                    <a:pt x="1151509" y="2343"/>
                    <a:pt x="1171765" y="2343"/>
                  </a:cubicBezTo>
                  <a:cubicBezTo>
                    <a:pt x="1191958" y="2343"/>
                    <a:pt x="1191958" y="2591"/>
                    <a:pt x="1212151" y="2591"/>
                  </a:cubicBezTo>
                  <a:cubicBezTo>
                    <a:pt x="1232344" y="2591"/>
                    <a:pt x="1232344" y="5791"/>
                    <a:pt x="1252538" y="5791"/>
                  </a:cubicBezTo>
                  <a:cubicBezTo>
                    <a:pt x="1272730" y="5791"/>
                    <a:pt x="1272730" y="5791"/>
                    <a:pt x="1292987" y="5791"/>
                  </a:cubicBezTo>
                  <a:cubicBezTo>
                    <a:pt x="1313180" y="5791"/>
                    <a:pt x="1313180" y="375"/>
                    <a:pt x="1333373" y="375"/>
                  </a:cubicBezTo>
                  <a:cubicBezTo>
                    <a:pt x="1353566" y="375"/>
                    <a:pt x="1353566" y="4070"/>
                    <a:pt x="1373759" y="4070"/>
                  </a:cubicBezTo>
                  <a:cubicBezTo>
                    <a:pt x="1394015" y="4070"/>
                    <a:pt x="1394015" y="4686"/>
                    <a:pt x="1414208" y="4686"/>
                  </a:cubicBezTo>
                  <a:cubicBezTo>
                    <a:pt x="1434401" y="4686"/>
                    <a:pt x="1434401" y="1480"/>
                    <a:pt x="1454594" y="1480"/>
                  </a:cubicBezTo>
                  <a:cubicBezTo>
                    <a:pt x="1474788" y="1480"/>
                    <a:pt x="1474788" y="5055"/>
                    <a:pt x="1495044" y="5055"/>
                  </a:cubicBezTo>
                  <a:cubicBezTo>
                    <a:pt x="1515237" y="5055"/>
                    <a:pt x="1515237" y="5055"/>
                    <a:pt x="1535430" y="5055"/>
                  </a:cubicBezTo>
                  <a:cubicBezTo>
                    <a:pt x="1555623" y="5055"/>
                    <a:pt x="1555623" y="1848"/>
                    <a:pt x="1575816" y="1848"/>
                  </a:cubicBezTo>
                  <a:cubicBezTo>
                    <a:pt x="1596009" y="1848"/>
                    <a:pt x="1596009" y="2464"/>
                    <a:pt x="1616265" y="2464"/>
                  </a:cubicBezTo>
                  <a:cubicBezTo>
                    <a:pt x="1636458" y="2464"/>
                    <a:pt x="1636458" y="495"/>
                    <a:pt x="1656651" y="495"/>
                  </a:cubicBezTo>
                  <a:cubicBezTo>
                    <a:pt x="1676844" y="495"/>
                    <a:pt x="1676844" y="1480"/>
                    <a:pt x="1697164" y="1480"/>
                  </a:cubicBezTo>
                  <a:cubicBezTo>
                    <a:pt x="1717484" y="1480"/>
                    <a:pt x="1717484" y="0"/>
                    <a:pt x="1737741" y="0"/>
                  </a:cubicBezTo>
                  <a:cubicBezTo>
                    <a:pt x="1757934" y="0"/>
                    <a:pt x="1758061" y="864"/>
                    <a:pt x="1778254" y="86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3B15A7F-2478-5819-35A7-B13A2EFFF946}"/>
                </a:ext>
              </a:extLst>
            </p:cNvPr>
            <p:cNvSpPr/>
            <p:nvPr/>
          </p:nvSpPr>
          <p:spPr>
            <a:xfrm>
              <a:off x="7687564" y="1004169"/>
              <a:ext cx="1767967" cy="5911"/>
            </a:xfrm>
            <a:custGeom>
              <a:avLst/>
              <a:gdLst>
                <a:gd name="connsiteX0" fmla="*/ 0 w 1767967"/>
                <a:gd name="connsiteY0" fmla="*/ 1600 h 5911"/>
                <a:gd name="connsiteX1" fmla="*/ 40195 w 1767967"/>
                <a:gd name="connsiteY1" fmla="*/ 3816 h 5911"/>
                <a:gd name="connsiteX2" fmla="*/ 80328 w 1767967"/>
                <a:gd name="connsiteY2" fmla="*/ 3200 h 5911"/>
                <a:gd name="connsiteX3" fmla="*/ 120523 w 1767967"/>
                <a:gd name="connsiteY3" fmla="*/ 2096 h 5911"/>
                <a:gd name="connsiteX4" fmla="*/ 160655 w 1767967"/>
                <a:gd name="connsiteY4" fmla="*/ 4801 h 5911"/>
                <a:gd name="connsiteX5" fmla="*/ 200851 w 1767967"/>
                <a:gd name="connsiteY5" fmla="*/ 616 h 5911"/>
                <a:gd name="connsiteX6" fmla="*/ 240982 w 1767967"/>
                <a:gd name="connsiteY6" fmla="*/ 737 h 5911"/>
                <a:gd name="connsiteX7" fmla="*/ 281178 w 1767967"/>
                <a:gd name="connsiteY7" fmla="*/ 2832 h 5911"/>
                <a:gd name="connsiteX8" fmla="*/ 321310 w 1767967"/>
                <a:gd name="connsiteY8" fmla="*/ 5664 h 5911"/>
                <a:gd name="connsiteX9" fmla="*/ 361505 w 1767967"/>
                <a:gd name="connsiteY9" fmla="*/ 4432 h 5911"/>
                <a:gd name="connsiteX10" fmla="*/ 401638 w 1767967"/>
                <a:gd name="connsiteY10" fmla="*/ 1969 h 5911"/>
                <a:gd name="connsiteX11" fmla="*/ 441833 w 1767967"/>
                <a:gd name="connsiteY11" fmla="*/ 4801 h 5911"/>
                <a:gd name="connsiteX12" fmla="*/ 481965 w 1767967"/>
                <a:gd name="connsiteY12" fmla="*/ 121 h 5911"/>
                <a:gd name="connsiteX13" fmla="*/ 522160 w 1767967"/>
                <a:gd name="connsiteY13" fmla="*/ 1105 h 5911"/>
                <a:gd name="connsiteX14" fmla="*/ 562292 w 1767967"/>
                <a:gd name="connsiteY14" fmla="*/ 1721 h 5911"/>
                <a:gd name="connsiteX15" fmla="*/ 602488 w 1767967"/>
                <a:gd name="connsiteY15" fmla="*/ 3816 h 5911"/>
                <a:gd name="connsiteX16" fmla="*/ 642620 w 1767967"/>
                <a:gd name="connsiteY16" fmla="*/ 984 h 5911"/>
                <a:gd name="connsiteX17" fmla="*/ 682816 w 1767967"/>
                <a:gd name="connsiteY17" fmla="*/ 1969 h 5911"/>
                <a:gd name="connsiteX18" fmla="*/ 722947 w 1767967"/>
                <a:gd name="connsiteY18" fmla="*/ 5544 h 5911"/>
                <a:gd name="connsiteX19" fmla="*/ 763143 w 1767967"/>
                <a:gd name="connsiteY19" fmla="*/ 1969 h 5911"/>
                <a:gd name="connsiteX20" fmla="*/ 803275 w 1767967"/>
                <a:gd name="connsiteY20" fmla="*/ 3448 h 5911"/>
                <a:gd name="connsiteX21" fmla="*/ 843470 w 1767967"/>
                <a:gd name="connsiteY21" fmla="*/ 984 h 5911"/>
                <a:gd name="connsiteX22" fmla="*/ 883603 w 1767967"/>
                <a:gd name="connsiteY22" fmla="*/ 4064 h 5911"/>
                <a:gd name="connsiteX23" fmla="*/ 923798 w 1767967"/>
                <a:gd name="connsiteY23" fmla="*/ 1105 h 5911"/>
                <a:gd name="connsiteX24" fmla="*/ 963930 w 1767967"/>
                <a:gd name="connsiteY24" fmla="*/ 2337 h 5911"/>
                <a:gd name="connsiteX25" fmla="*/ 1004126 w 1767967"/>
                <a:gd name="connsiteY25" fmla="*/ 5664 h 5911"/>
                <a:gd name="connsiteX26" fmla="*/ 1044257 w 1767967"/>
                <a:gd name="connsiteY26" fmla="*/ 4064 h 5911"/>
                <a:gd name="connsiteX27" fmla="*/ 1084453 w 1767967"/>
                <a:gd name="connsiteY27" fmla="*/ 2464 h 5911"/>
                <a:gd name="connsiteX28" fmla="*/ 1124585 w 1767967"/>
                <a:gd name="connsiteY28" fmla="*/ 4559 h 5911"/>
                <a:gd name="connsiteX29" fmla="*/ 1164780 w 1767967"/>
                <a:gd name="connsiteY29" fmla="*/ 3448 h 5911"/>
                <a:gd name="connsiteX30" fmla="*/ 1204913 w 1767967"/>
                <a:gd name="connsiteY30" fmla="*/ 1969 h 5911"/>
                <a:gd name="connsiteX31" fmla="*/ 1245108 w 1767967"/>
                <a:gd name="connsiteY31" fmla="*/ 1848 h 5911"/>
                <a:gd name="connsiteX32" fmla="*/ 1285240 w 1767967"/>
                <a:gd name="connsiteY32" fmla="*/ 1353 h 5911"/>
                <a:gd name="connsiteX33" fmla="*/ 1325435 w 1767967"/>
                <a:gd name="connsiteY33" fmla="*/ 2953 h 5911"/>
                <a:gd name="connsiteX34" fmla="*/ 1365567 w 1767967"/>
                <a:gd name="connsiteY34" fmla="*/ 5544 h 5911"/>
                <a:gd name="connsiteX35" fmla="*/ 1405763 w 1767967"/>
                <a:gd name="connsiteY35" fmla="*/ 2464 h 5911"/>
                <a:gd name="connsiteX36" fmla="*/ 1445895 w 1767967"/>
                <a:gd name="connsiteY36" fmla="*/ 5664 h 5911"/>
                <a:gd name="connsiteX37" fmla="*/ 1486217 w 1767967"/>
                <a:gd name="connsiteY37" fmla="*/ 2096 h 5911"/>
                <a:gd name="connsiteX38" fmla="*/ 1526477 w 1767967"/>
                <a:gd name="connsiteY38" fmla="*/ 2216 h 5911"/>
                <a:gd name="connsiteX39" fmla="*/ 1566672 w 1767967"/>
                <a:gd name="connsiteY39" fmla="*/ 4185 h 5911"/>
                <a:gd name="connsiteX40" fmla="*/ 1606804 w 1767967"/>
                <a:gd name="connsiteY40" fmla="*/ 1105 h 5911"/>
                <a:gd name="connsiteX41" fmla="*/ 1647063 w 1767967"/>
                <a:gd name="connsiteY41" fmla="*/ 3327 h 5911"/>
                <a:gd name="connsiteX42" fmla="*/ 1687385 w 1767967"/>
                <a:gd name="connsiteY42" fmla="*/ 0 h 5911"/>
                <a:gd name="connsiteX43" fmla="*/ 1727644 w 1767967"/>
                <a:gd name="connsiteY43" fmla="*/ 5912 h 5911"/>
                <a:gd name="connsiteX44" fmla="*/ 1767967 w 1767967"/>
                <a:gd name="connsiteY44" fmla="*/ 737 h 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767967" h="5911">
                  <a:moveTo>
                    <a:pt x="0" y="1600"/>
                  </a:moveTo>
                  <a:cubicBezTo>
                    <a:pt x="20130" y="1600"/>
                    <a:pt x="20130" y="3816"/>
                    <a:pt x="40195" y="3816"/>
                  </a:cubicBezTo>
                  <a:cubicBezTo>
                    <a:pt x="60261" y="3816"/>
                    <a:pt x="60261" y="3200"/>
                    <a:pt x="80328" y="3200"/>
                  </a:cubicBezTo>
                  <a:cubicBezTo>
                    <a:pt x="100457" y="3200"/>
                    <a:pt x="100457" y="2096"/>
                    <a:pt x="120523" y="2096"/>
                  </a:cubicBezTo>
                  <a:cubicBezTo>
                    <a:pt x="140589" y="2096"/>
                    <a:pt x="140589" y="4801"/>
                    <a:pt x="160655" y="4801"/>
                  </a:cubicBezTo>
                  <a:cubicBezTo>
                    <a:pt x="180784" y="4801"/>
                    <a:pt x="180784" y="616"/>
                    <a:pt x="200851" y="616"/>
                  </a:cubicBezTo>
                  <a:cubicBezTo>
                    <a:pt x="220917" y="616"/>
                    <a:pt x="220917" y="737"/>
                    <a:pt x="240982" y="737"/>
                  </a:cubicBezTo>
                  <a:cubicBezTo>
                    <a:pt x="261112" y="737"/>
                    <a:pt x="261112" y="2832"/>
                    <a:pt x="281178" y="2832"/>
                  </a:cubicBezTo>
                  <a:cubicBezTo>
                    <a:pt x="301244" y="2832"/>
                    <a:pt x="301244" y="5664"/>
                    <a:pt x="321310" y="5664"/>
                  </a:cubicBezTo>
                  <a:cubicBezTo>
                    <a:pt x="341440" y="5664"/>
                    <a:pt x="341440" y="4432"/>
                    <a:pt x="361505" y="4432"/>
                  </a:cubicBezTo>
                  <a:cubicBezTo>
                    <a:pt x="381571" y="4432"/>
                    <a:pt x="381571" y="1969"/>
                    <a:pt x="401638" y="1969"/>
                  </a:cubicBezTo>
                  <a:cubicBezTo>
                    <a:pt x="421767" y="1969"/>
                    <a:pt x="421767" y="4801"/>
                    <a:pt x="441833" y="4801"/>
                  </a:cubicBezTo>
                  <a:cubicBezTo>
                    <a:pt x="461899" y="4801"/>
                    <a:pt x="461899" y="121"/>
                    <a:pt x="481965" y="121"/>
                  </a:cubicBezTo>
                  <a:cubicBezTo>
                    <a:pt x="502094" y="121"/>
                    <a:pt x="502094" y="1105"/>
                    <a:pt x="522160" y="1105"/>
                  </a:cubicBezTo>
                  <a:cubicBezTo>
                    <a:pt x="542227" y="1105"/>
                    <a:pt x="542227" y="1721"/>
                    <a:pt x="562292" y="1721"/>
                  </a:cubicBezTo>
                  <a:cubicBezTo>
                    <a:pt x="582422" y="1721"/>
                    <a:pt x="582422" y="3816"/>
                    <a:pt x="602488" y="3816"/>
                  </a:cubicBezTo>
                  <a:cubicBezTo>
                    <a:pt x="622554" y="3816"/>
                    <a:pt x="622554" y="984"/>
                    <a:pt x="642620" y="984"/>
                  </a:cubicBezTo>
                  <a:cubicBezTo>
                    <a:pt x="662750" y="984"/>
                    <a:pt x="662750" y="1969"/>
                    <a:pt x="682816" y="1969"/>
                  </a:cubicBezTo>
                  <a:cubicBezTo>
                    <a:pt x="702881" y="1969"/>
                    <a:pt x="702881" y="5544"/>
                    <a:pt x="722947" y="5544"/>
                  </a:cubicBezTo>
                  <a:cubicBezTo>
                    <a:pt x="743077" y="5544"/>
                    <a:pt x="743077" y="1969"/>
                    <a:pt x="763143" y="1969"/>
                  </a:cubicBezTo>
                  <a:cubicBezTo>
                    <a:pt x="783209" y="1969"/>
                    <a:pt x="783209" y="3448"/>
                    <a:pt x="803275" y="3448"/>
                  </a:cubicBezTo>
                  <a:cubicBezTo>
                    <a:pt x="823405" y="3448"/>
                    <a:pt x="823405" y="984"/>
                    <a:pt x="843470" y="984"/>
                  </a:cubicBezTo>
                  <a:cubicBezTo>
                    <a:pt x="863536" y="984"/>
                    <a:pt x="863536" y="4064"/>
                    <a:pt x="883603" y="4064"/>
                  </a:cubicBezTo>
                  <a:cubicBezTo>
                    <a:pt x="903732" y="4064"/>
                    <a:pt x="903668" y="1105"/>
                    <a:pt x="923798" y="1105"/>
                  </a:cubicBezTo>
                  <a:cubicBezTo>
                    <a:pt x="943864" y="1105"/>
                    <a:pt x="943864" y="2337"/>
                    <a:pt x="963930" y="2337"/>
                  </a:cubicBezTo>
                  <a:cubicBezTo>
                    <a:pt x="983996" y="2337"/>
                    <a:pt x="983996" y="5664"/>
                    <a:pt x="1004126" y="5664"/>
                  </a:cubicBezTo>
                  <a:cubicBezTo>
                    <a:pt x="1024192" y="5664"/>
                    <a:pt x="1024192" y="4064"/>
                    <a:pt x="1044257" y="4064"/>
                  </a:cubicBezTo>
                  <a:cubicBezTo>
                    <a:pt x="1064323" y="4064"/>
                    <a:pt x="1064323" y="2464"/>
                    <a:pt x="1084453" y="2464"/>
                  </a:cubicBezTo>
                  <a:cubicBezTo>
                    <a:pt x="1104519" y="2464"/>
                    <a:pt x="1104519" y="4559"/>
                    <a:pt x="1124585" y="4559"/>
                  </a:cubicBezTo>
                  <a:cubicBezTo>
                    <a:pt x="1144651" y="4559"/>
                    <a:pt x="1144651" y="3448"/>
                    <a:pt x="1164780" y="3448"/>
                  </a:cubicBezTo>
                  <a:cubicBezTo>
                    <a:pt x="1184846" y="3448"/>
                    <a:pt x="1184846" y="1969"/>
                    <a:pt x="1204913" y="1969"/>
                  </a:cubicBezTo>
                  <a:cubicBezTo>
                    <a:pt x="1224979" y="1969"/>
                    <a:pt x="1224979" y="1848"/>
                    <a:pt x="1245108" y="1848"/>
                  </a:cubicBezTo>
                  <a:cubicBezTo>
                    <a:pt x="1265174" y="1848"/>
                    <a:pt x="1265174" y="1353"/>
                    <a:pt x="1285240" y="1353"/>
                  </a:cubicBezTo>
                  <a:cubicBezTo>
                    <a:pt x="1305306" y="1353"/>
                    <a:pt x="1305306" y="2953"/>
                    <a:pt x="1325435" y="2953"/>
                  </a:cubicBezTo>
                  <a:cubicBezTo>
                    <a:pt x="1345502" y="2953"/>
                    <a:pt x="1345502" y="5544"/>
                    <a:pt x="1365567" y="5544"/>
                  </a:cubicBezTo>
                  <a:cubicBezTo>
                    <a:pt x="1385633" y="5544"/>
                    <a:pt x="1385633" y="2464"/>
                    <a:pt x="1405763" y="2464"/>
                  </a:cubicBezTo>
                  <a:cubicBezTo>
                    <a:pt x="1425829" y="2464"/>
                    <a:pt x="1425829" y="5664"/>
                    <a:pt x="1445895" y="5664"/>
                  </a:cubicBezTo>
                  <a:cubicBezTo>
                    <a:pt x="1465961" y="5664"/>
                    <a:pt x="1465961" y="2096"/>
                    <a:pt x="1486217" y="2096"/>
                  </a:cubicBezTo>
                  <a:cubicBezTo>
                    <a:pt x="1506410" y="2096"/>
                    <a:pt x="1506283" y="2216"/>
                    <a:pt x="1526477" y="2216"/>
                  </a:cubicBezTo>
                  <a:cubicBezTo>
                    <a:pt x="1546669" y="2216"/>
                    <a:pt x="1546542" y="4185"/>
                    <a:pt x="1566672" y="4185"/>
                  </a:cubicBezTo>
                  <a:cubicBezTo>
                    <a:pt x="1586738" y="4185"/>
                    <a:pt x="1586738" y="1105"/>
                    <a:pt x="1606804" y="1105"/>
                  </a:cubicBezTo>
                  <a:cubicBezTo>
                    <a:pt x="1626870" y="1105"/>
                    <a:pt x="1626870" y="3327"/>
                    <a:pt x="1647063" y="3327"/>
                  </a:cubicBezTo>
                  <a:cubicBezTo>
                    <a:pt x="1667319" y="3327"/>
                    <a:pt x="1667192" y="0"/>
                    <a:pt x="1687385" y="0"/>
                  </a:cubicBezTo>
                  <a:cubicBezTo>
                    <a:pt x="1707579" y="0"/>
                    <a:pt x="1707579" y="5912"/>
                    <a:pt x="1727644" y="5912"/>
                  </a:cubicBezTo>
                  <a:cubicBezTo>
                    <a:pt x="1747774" y="5912"/>
                    <a:pt x="1747838" y="737"/>
                    <a:pt x="1767967" y="737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4FED2FB-F59E-1128-EEE8-F902A5258A09}"/>
                </a:ext>
              </a:extLst>
            </p:cNvPr>
            <p:cNvSpPr/>
            <p:nvPr/>
          </p:nvSpPr>
          <p:spPr>
            <a:xfrm>
              <a:off x="7475664" y="757631"/>
              <a:ext cx="856360" cy="861421"/>
            </a:xfrm>
            <a:custGeom>
              <a:avLst/>
              <a:gdLst>
                <a:gd name="connsiteX0" fmla="*/ 0 w 856360"/>
                <a:gd name="connsiteY0" fmla="*/ 861422 h 861421"/>
                <a:gd name="connsiteX1" fmla="*/ 26860 w 856360"/>
                <a:gd name="connsiteY1" fmla="*/ 830986 h 861421"/>
                <a:gd name="connsiteX2" fmla="*/ 55943 w 856360"/>
                <a:gd name="connsiteY2" fmla="*/ 802780 h 861421"/>
                <a:gd name="connsiteX3" fmla="*/ 82423 w 856360"/>
                <a:gd name="connsiteY3" fmla="*/ 772103 h 861421"/>
                <a:gd name="connsiteX4" fmla="*/ 113982 w 856360"/>
                <a:gd name="connsiteY4" fmla="*/ 746474 h 861421"/>
                <a:gd name="connsiteX5" fmla="*/ 142304 w 856360"/>
                <a:gd name="connsiteY5" fmla="*/ 717645 h 861421"/>
                <a:gd name="connsiteX6" fmla="*/ 171514 w 856360"/>
                <a:gd name="connsiteY6" fmla="*/ 689680 h 861421"/>
                <a:gd name="connsiteX7" fmla="*/ 197485 w 856360"/>
                <a:gd name="connsiteY7" fmla="*/ 658387 h 861421"/>
                <a:gd name="connsiteX8" fmla="*/ 228791 w 856360"/>
                <a:gd name="connsiteY8" fmla="*/ 632511 h 861421"/>
                <a:gd name="connsiteX9" fmla="*/ 254317 w 856360"/>
                <a:gd name="connsiteY9" fmla="*/ 600850 h 861421"/>
                <a:gd name="connsiteX10" fmla="*/ 282892 w 856360"/>
                <a:gd name="connsiteY10" fmla="*/ 572268 h 861421"/>
                <a:gd name="connsiteX11" fmla="*/ 311467 w 856360"/>
                <a:gd name="connsiteY11" fmla="*/ 543687 h 861421"/>
                <a:gd name="connsiteX12" fmla="*/ 342900 w 856360"/>
                <a:gd name="connsiteY12" fmla="*/ 517817 h 861421"/>
                <a:gd name="connsiteX13" fmla="*/ 368364 w 856360"/>
                <a:gd name="connsiteY13" fmla="*/ 486150 h 861421"/>
                <a:gd name="connsiteX14" fmla="*/ 400558 w 856360"/>
                <a:gd name="connsiteY14" fmla="*/ 461143 h 861421"/>
                <a:gd name="connsiteX15" fmla="*/ 426783 w 856360"/>
                <a:gd name="connsiteY15" fmla="*/ 430098 h 861421"/>
                <a:gd name="connsiteX16" fmla="*/ 456247 w 856360"/>
                <a:gd name="connsiteY16" fmla="*/ 402253 h 861421"/>
                <a:gd name="connsiteX17" fmla="*/ 483362 w 856360"/>
                <a:gd name="connsiteY17" fmla="*/ 372193 h 861421"/>
                <a:gd name="connsiteX18" fmla="*/ 512635 w 856360"/>
                <a:gd name="connsiteY18" fmla="*/ 344227 h 861421"/>
                <a:gd name="connsiteX19" fmla="*/ 543687 w 856360"/>
                <a:gd name="connsiteY19" fmla="*/ 317983 h 861421"/>
                <a:gd name="connsiteX20" fmla="*/ 570929 w 856360"/>
                <a:gd name="connsiteY20" fmla="*/ 287922 h 861421"/>
                <a:gd name="connsiteX21" fmla="*/ 599630 w 856360"/>
                <a:gd name="connsiteY21" fmla="*/ 259340 h 861421"/>
                <a:gd name="connsiteX22" fmla="*/ 626237 w 856360"/>
                <a:gd name="connsiteY22" fmla="*/ 228664 h 861421"/>
                <a:gd name="connsiteX23" fmla="*/ 656654 w 856360"/>
                <a:gd name="connsiteY23" fmla="*/ 201803 h 861421"/>
                <a:gd name="connsiteX24" fmla="*/ 684784 w 856360"/>
                <a:gd name="connsiteY24" fmla="*/ 172733 h 861421"/>
                <a:gd name="connsiteX25" fmla="*/ 714248 w 856360"/>
                <a:gd name="connsiteY25" fmla="*/ 144888 h 861421"/>
                <a:gd name="connsiteX26" fmla="*/ 742188 w 856360"/>
                <a:gd name="connsiteY26" fmla="*/ 115564 h 861421"/>
                <a:gd name="connsiteX27" fmla="*/ 771525 w 856360"/>
                <a:gd name="connsiteY27" fmla="*/ 87478 h 861421"/>
                <a:gd name="connsiteX28" fmla="*/ 800481 w 856360"/>
                <a:gd name="connsiteY28" fmla="*/ 59017 h 861421"/>
                <a:gd name="connsiteX29" fmla="*/ 827088 w 856360"/>
                <a:gd name="connsiteY29" fmla="*/ 28213 h 861421"/>
                <a:gd name="connsiteX30" fmla="*/ 856361 w 856360"/>
                <a:gd name="connsiteY30" fmla="*/ 0 h 86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6360" h="861421">
                  <a:moveTo>
                    <a:pt x="0" y="861422"/>
                  </a:moveTo>
                  <a:cubicBezTo>
                    <a:pt x="14288" y="847128"/>
                    <a:pt x="12446" y="845280"/>
                    <a:pt x="26860" y="830986"/>
                  </a:cubicBezTo>
                  <a:cubicBezTo>
                    <a:pt x="41275" y="816699"/>
                    <a:pt x="41529" y="817067"/>
                    <a:pt x="55943" y="802780"/>
                  </a:cubicBezTo>
                  <a:cubicBezTo>
                    <a:pt x="70358" y="788486"/>
                    <a:pt x="68135" y="786390"/>
                    <a:pt x="82423" y="772103"/>
                  </a:cubicBezTo>
                  <a:cubicBezTo>
                    <a:pt x="96710" y="757809"/>
                    <a:pt x="99695" y="760768"/>
                    <a:pt x="113982" y="746474"/>
                  </a:cubicBezTo>
                  <a:cubicBezTo>
                    <a:pt x="128270" y="732180"/>
                    <a:pt x="128016" y="731939"/>
                    <a:pt x="142304" y="717645"/>
                  </a:cubicBezTo>
                  <a:cubicBezTo>
                    <a:pt x="156591" y="703351"/>
                    <a:pt x="157226" y="703967"/>
                    <a:pt x="171514" y="689680"/>
                  </a:cubicBezTo>
                  <a:cubicBezTo>
                    <a:pt x="185801" y="675386"/>
                    <a:pt x="183070" y="672675"/>
                    <a:pt x="197485" y="658387"/>
                  </a:cubicBezTo>
                  <a:cubicBezTo>
                    <a:pt x="211899" y="644093"/>
                    <a:pt x="214503" y="646805"/>
                    <a:pt x="228791" y="632511"/>
                  </a:cubicBezTo>
                  <a:cubicBezTo>
                    <a:pt x="243078" y="618223"/>
                    <a:pt x="240030" y="615144"/>
                    <a:pt x="254317" y="600850"/>
                  </a:cubicBezTo>
                  <a:cubicBezTo>
                    <a:pt x="268605" y="586562"/>
                    <a:pt x="268605" y="586562"/>
                    <a:pt x="282892" y="572268"/>
                  </a:cubicBezTo>
                  <a:cubicBezTo>
                    <a:pt x="297180" y="557975"/>
                    <a:pt x="297180" y="557975"/>
                    <a:pt x="311467" y="543687"/>
                  </a:cubicBezTo>
                  <a:cubicBezTo>
                    <a:pt x="325755" y="529393"/>
                    <a:pt x="328613" y="532105"/>
                    <a:pt x="342900" y="517817"/>
                  </a:cubicBezTo>
                  <a:cubicBezTo>
                    <a:pt x="357188" y="503523"/>
                    <a:pt x="354076" y="500444"/>
                    <a:pt x="368364" y="486150"/>
                  </a:cubicBezTo>
                  <a:cubicBezTo>
                    <a:pt x="382715" y="471862"/>
                    <a:pt x="386270" y="475431"/>
                    <a:pt x="400558" y="461143"/>
                  </a:cubicBezTo>
                  <a:cubicBezTo>
                    <a:pt x="414845" y="446850"/>
                    <a:pt x="412496" y="444386"/>
                    <a:pt x="426783" y="430098"/>
                  </a:cubicBezTo>
                  <a:cubicBezTo>
                    <a:pt x="441071" y="415804"/>
                    <a:pt x="441833" y="416541"/>
                    <a:pt x="456247" y="402253"/>
                  </a:cubicBezTo>
                  <a:cubicBezTo>
                    <a:pt x="470662" y="387960"/>
                    <a:pt x="469074" y="386480"/>
                    <a:pt x="483362" y="372193"/>
                  </a:cubicBezTo>
                  <a:cubicBezTo>
                    <a:pt x="497649" y="357899"/>
                    <a:pt x="498348" y="358515"/>
                    <a:pt x="512635" y="344227"/>
                  </a:cubicBezTo>
                  <a:cubicBezTo>
                    <a:pt x="526923" y="329933"/>
                    <a:pt x="529400" y="332397"/>
                    <a:pt x="543687" y="317983"/>
                  </a:cubicBezTo>
                  <a:cubicBezTo>
                    <a:pt x="557975" y="303568"/>
                    <a:pt x="556641" y="302336"/>
                    <a:pt x="570929" y="287922"/>
                  </a:cubicBezTo>
                  <a:cubicBezTo>
                    <a:pt x="585216" y="273507"/>
                    <a:pt x="585343" y="273634"/>
                    <a:pt x="599630" y="259340"/>
                  </a:cubicBezTo>
                  <a:cubicBezTo>
                    <a:pt x="613918" y="245046"/>
                    <a:pt x="611950" y="242957"/>
                    <a:pt x="626237" y="228664"/>
                  </a:cubicBezTo>
                  <a:cubicBezTo>
                    <a:pt x="640525" y="214370"/>
                    <a:pt x="642366" y="216097"/>
                    <a:pt x="656654" y="201803"/>
                  </a:cubicBezTo>
                  <a:cubicBezTo>
                    <a:pt x="671004" y="187516"/>
                    <a:pt x="670496" y="187020"/>
                    <a:pt x="684784" y="172733"/>
                  </a:cubicBezTo>
                  <a:cubicBezTo>
                    <a:pt x="699071" y="158439"/>
                    <a:pt x="699897" y="159175"/>
                    <a:pt x="714248" y="144888"/>
                  </a:cubicBezTo>
                  <a:cubicBezTo>
                    <a:pt x="728535" y="130594"/>
                    <a:pt x="727901" y="129857"/>
                    <a:pt x="742188" y="115564"/>
                  </a:cubicBezTo>
                  <a:cubicBezTo>
                    <a:pt x="756476" y="101276"/>
                    <a:pt x="757110" y="101765"/>
                    <a:pt x="771525" y="87478"/>
                  </a:cubicBezTo>
                  <a:cubicBezTo>
                    <a:pt x="785940" y="73184"/>
                    <a:pt x="786193" y="73431"/>
                    <a:pt x="800481" y="59017"/>
                  </a:cubicBezTo>
                  <a:cubicBezTo>
                    <a:pt x="814768" y="44602"/>
                    <a:pt x="812800" y="42507"/>
                    <a:pt x="827088" y="28213"/>
                  </a:cubicBezTo>
                  <a:cubicBezTo>
                    <a:pt x="841375" y="13926"/>
                    <a:pt x="841946" y="14415"/>
                    <a:pt x="856361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CCF98E0-31E9-9A8B-7C86-8E973108B716}"/>
                </a:ext>
              </a:extLst>
            </p:cNvPr>
            <p:cNvSpPr/>
            <p:nvPr/>
          </p:nvSpPr>
          <p:spPr>
            <a:xfrm>
              <a:off x="7933118" y="756659"/>
              <a:ext cx="857948" cy="859942"/>
            </a:xfrm>
            <a:custGeom>
              <a:avLst/>
              <a:gdLst>
                <a:gd name="connsiteX0" fmla="*/ 0 w 857948"/>
                <a:gd name="connsiteY0" fmla="*/ 859942 h 859942"/>
                <a:gd name="connsiteX1" fmla="*/ 28321 w 857948"/>
                <a:gd name="connsiteY1" fmla="*/ 830986 h 859942"/>
                <a:gd name="connsiteX2" fmla="*/ 57150 w 857948"/>
                <a:gd name="connsiteY2" fmla="*/ 802526 h 859942"/>
                <a:gd name="connsiteX3" fmla="*/ 87502 w 857948"/>
                <a:gd name="connsiteY3" fmla="*/ 775545 h 859942"/>
                <a:gd name="connsiteX4" fmla="*/ 114617 w 857948"/>
                <a:gd name="connsiteY4" fmla="*/ 745484 h 859942"/>
                <a:gd name="connsiteX5" fmla="*/ 142938 w 857948"/>
                <a:gd name="connsiteY5" fmla="*/ 716534 h 859942"/>
                <a:gd name="connsiteX6" fmla="*/ 171386 w 857948"/>
                <a:gd name="connsiteY6" fmla="*/ 687826 h 859942"/>
                <a:gd name="connsiteX7" fmla="*/ 198755 w 857948"/>
                <a:gd name="connsiteY7" fmla="*/ 657892 h 859942"/>
                <a:gd name="connsiteX8" fmla="*/ 230250 w 857948"/>
                <a:gd name="connsiteY8" fmla="*/ 632143 h 859942"/>
                <a:gd name="connsiteX9" fmla="*/ 259461 w 857948"/>
                <a:gd name="connsiteY9" fmla="*/ 604177 h 859942"/>
                <a:gd name="connsiteX10" fmla="*/ 284987 w 857948"/>
                <a:gd name="connsiteY10" fmla="*/ 572516 h 859942"/>
                <a:gd name="connsiteX11" fmla="*/ 314325 w 857948"/>
                <a:gd name="connsiteY11" fmla="*/ 544792 h 859942"/>
                <a:gd name="connsiteX12" fmla="*/ 344614 w 857948"/>
                <a:gd name="connsiteY12" fmla="*/ 517811 h 859942"/>
                <a:gd name="connsiteX13" fmla="*/ 374078 w 857948"/>
                <a:gd name="connsiteY13" fmla="*/ 490093 h 859942"/>
                <a:gd name="connsiteX14" fmla="*/ 399669 w 857948"/>
                <a:gd name="connsiteY14" fmla="*/ 458553 h 859942"/>
                <a:gd name="connsiteX15" fmla="*/ 431482 w 857948"/>
                <a:gd name="connsiteY15" fmla="*/ 433172 h 859942"/>
                <a:gd name="connsiteX16" fmla="*/ 456946 w 857948"/>
                <a:gd name="connsiteY16" fmla="*/ 401390 h 859942"/>
                <a:gd name="connsiteX17" fmla="*/ 485076 w 857948"/>
                <a:gd name="connsiteY17" fmla="*/ 372313 h 859942"/>
                <a:gd name="connsiteX18" fmla="*/ 514731 w 857948"/>
                <a:gd name="connsiteY18" fmla="*/ 344716 h 859942"/>
                <a:gd name="connsiteX19" fmla="*/ 542353 w 857948"/>
                <a:gd name="connsiteY19" fmla="*/ 315151 h 859942"/>
                <a:gd name="connsiteX20" fmla="*/ 574484 w 857948"/>
                <a:gd name="connsiteY20" fmla="*/ 290017 h 859942"/>
                <a:gd name="connsiteX21" fmla="*/ 602805 w 857948"/>
                <a:gd name="connsiteY21" fmla="*/ 261061 h 859942"/>
                <a:gd name="connsiteX22" fmla="*/ 628205 w 857948"/>
                <a:gd name="connsiteY22" fmla="*/ 229152 h 859942"/>
                <a:gd name="connsiteX23" fmla="*/ 658622 w 857948"/>
                <a:gd name="connsiteY23" fmla="*/ 202298 h 859942"/>
                <a:gd name="connsiteX24" fmla="*/ 686879 w 857948"/>
                <a:gd name="connsiteY24" fmla="*/ 173222 h 859942"/>
                <a:gd name="connsiteX25" fmla="*/ 715454 w 857948"/>
                <a:gd name="connsiteY25" fmla="*/ 144513 h 859942"/>
                <a:gd name="connsiteX26" fmla="*/ 744538 w 857948"/>
                <a:gd name="connsiteY26" fmla="*/ 116180 h 859942"/>
                <a:gd name="connsiteX27" fmla="*/ 771715 w 857948"/>
                <a:gd name="connsiteY27" fmla="*/ 86119 h 859942"/>
                <a:gd name="connsiteX28" fmla="*/ 802512 w 857948"/>
                <a:gd name="connsiteY28" fmla="*/ 59506 h 859942"/>
                <a:gd name="connsiteX29" fmla="*/ 830643 w 857948"/>
                <a:gd name="connsiteY29" fmla="*/ 30061 h 859942"/>
                <a:gd name="connsiteX30" fmla="*/ 857948 w 857948"/>
                <a:gd name="connsiteY30" fmla="*/ 0 h 8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7948" h="859942">
                  <a:moveTo>
                    <a:pt x="0" y="859942"/>
                  </a:moveTo>
                  <a:cubicBezTo>
                    <a:pt x="14288" y="845649"/>
                    <a:pt x="14033" y="845401"/>
                    <a:pt x="28321" y="830986"/>
                  </a:cubicBezTo>
                  <a:cubicBezTo>
                    <a:pt x="42608" y="816572"/>
                    <a:pt x="42863" y="816940"/>
                    <a:pt x="57150" y="802526"/>
                  </a:cubicBezTo>
                  <a:cubicBezTo>
                    <a:pt x="71438" y="788111"/>
                    <a:pt x="73215" y="789838"/>
                    <a:pt x="87502" y="775545"/>
                  </a:cubicBezTo>
                  <a:cubicBezTo>
                    <a:pt x="101790" y="761257"/>
                    <a:pt x="100266" y="759778"/>
                    <a:pt x="114617" y="745484"/>
                  </a:cubicBezTo>
                  <a:cubicBezTo>
                    <a:pt x="128905" y="731196"/>
                    <a:pt x="128524" y="730828"/>
                    <a:pt x="142938" y="716534"/>
                  </a:cubicBezTo>
                  <a:cubicBezTo>
                    <a:pt x="157352" y="702240"/>
                    <a:pt x="157099" y="702120"/>
                    <a:pt x="171386" y="687826"/>
                  </a:cubicBezTo>
                  <a:cubicBezTo>
                    <a:pt x="185674" y="673538"/>
                    <a:pt x="184467" y="672306"/>
                    <a:pt x="198755" y="657892"/>
                  </a:cubicBezTo>
                  <a:cubicBezTo>
                    <a:pt x="213042" y="643477"/>
                    <a:pt x="215963" y="646557"/>
                    <a:pt x="230250" y="632143"/>
                  </a:cubicBezTo>
                  <a:cubicBezTo>
                    <a:pt x="244538" y="617728"/>
                    <a:pt x="245173" y="618465"/>
                    <a:pt x="259461" y="604177"/>
                  </a:cubicBezTo>
                  <a:cubicBezTo>
                    <a:pt x="273748" y="589883"/>
                    <a:pt x="270700" y="586804"/>
                    <a:pt x="284987" y="572516"/>
                  </a:cubicBezTo>
                  <a:cubicBezTo>
                    <a:pt x="299275" y="558222"/>
                    <a:pt x="299974" y="559086"/>
                    <a:pt x="314325" y="544792"/>
                  </a:cubicBezTo>
                  <a:cubicBezTo>
                    <a:pt x="328613" y="530504"/>
                    <a:pt x="330326" y="532225"/>
                    <a:pt x="344614" y="517811"/>
                  </a:cubicBezTo>
                  <a:cubicBezTo>
                    <a:pt x="358901" y="503396"/>
                    <a:pt x="359727" y="504381"/>
                    <a:pt x="374078" y="490093"/>
                  </a:cubicBezTo>
                  <a:cubicBezTo>
                    <a:pt x="388365" y="475799"/>
                    <a:pt x="385381" y="472846"/>
                    <a:pt x="399669" y="458553"/>
                  </a:cubicBezTo>
                  <a:cubicBezTo>
                    <a:pt x="413956" y="444259"/>
                    <a:pt x="417195" y="447466"/>
                    <a:pt x="431482" y="433172"/>
                  </a:cubicBezTo>
                  <a:cubicBezTo>
                    <a:pt x="445770" y="418884"/>
                    <a:pt x="442658" y="415677"/>
                    <a:pt x="456946" y="401390"/>
                  </a:cubicBezTo>
                  <a:cubicBezTo>
                    <a:pt x="471233" y="387096"/>
                    <a:pt x="470788" y="386601"/>
                    <a:pt x="485076" y="372313"/>
                  </a:cubicBezTo>
                  <a:cubicBezTo>
                    <a:pt x="499363" y="358019"/>
                    <a:pt x="500316" y="359010"/>
                    <a:pt x="514731" y="344716"/>
                  </a:cubicBezTo>
                  <a:cubicBezTo>
                    <a:pt x="529145" y="330422"/>
                    <a:pt x="528065" y="329438"/>
                    <a:pt x="542353" y="315151"/>
                  </a:cubicBezTo>
                  <a:cubicBezTo>
                    <a:pt x="556640" y="300857"/>
                    <a:pt x="560197" y="304305"/>
                    <a:pt x="574484" y="290017"/>
                  </a:cubicBezTo>
                  <a:cubicBezTo>
                    <a:pt x="588772" y="275723"/>
                    <a:pt x="588518" y="275355"/>
                    <a:pt x="602805" y="261061"/>
                  </a:cubicBezTo>
                  <a:cubicBezTo>
                    <a:pt x="617093" y="246774"/>
                    <a:pt x="613790" y="243446"/>
                    <a:pt x="628205" y="229152"/>
                  </a:cubicBezTo>
                  <a:cubicBezTo>
                    <a:pt x="642620" y="214865"/>
                    <a:pt x="644334" y="216586"/>
                    <a:pt x="658622" y="202298"/>
                  </a:cubicBezTo>
                  <a:cubicBezTo>
                    <a:pt x="672909" y="188005"/>
                    <a:pt x="672592" y="187636"/>
                    <a:pt x="686879" y="173222"/>
                  </a:cubicBezTo>
                  <a:cubicBezTo>
                    <a:pt x="701167" y="158807"/>
                    <a:pt x="701039" y="158807"/>
                    <a:pt x="715454" y="144513"/>
                  </a:cubicBezTo>
                  <a:cubicBezTo>
                    <a:pt x="729869" y="130226"/>
                    <a:pt x="730123" y="130594"/>
                    <a:pt x="744538" y="116180"/>
                  </a:cubicBezTo>
                  <a:cubicBezTo>
                    <a:pt x="758951" y="101765"/>
                    <a:pt x="757427" y="100413"/>
                    <a:pt x="771715" y="86119"/>
                  </a:cubicBezTo>
                  <a:cubicBezTo>
                    <a:pt x="786002" y="71825"/>
                    <a:pt x="788098" y="73800"/>
                    <a:pt x="802512" y="59506"/>
                  </a:cubicBezTo>
                  <a:cubicBezTo>
                    <a:pt x="816927" y="45218"/>
                    <a:pt x="816229" y="44475"/>
                    <a:pt x="830643" y="30061"/>
                  </a:cubicBezTo>
                  <a:cubicBezTo>
                    <a:pt x="845058" y="15646"/>
                    <a:pt x="843534" y="14294"/>
                    <a:pt x="857948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000674-6D60-8104-B3FB-C33B33D778C0}"/>
                </a:ext>
              </a:extLst>
            </p:cNvPr>
            <p:cNvSpPr/>
            <p:nvPr/>
          </p:nvSpPr>
          <p:spPr>
            <a:xfrm>
              <a:off x="8354694" y="762196"/>
              <a:ext cx="855536" cy="855129"/>
            </a:xfrm>
            <a:custGeom>
              <a:avLst/>
              <a:gdLst>
                <a:gd name="connsiteX0" fmla="*/ 0 w 855536"/>
                <a:gd name="connsiteY0" fmla="*/ 855129 h 855129"/>
                <a:gd name="connsiteX1" fmla="*/ 28004 w 855536"/>
                <a:gd name="connsiteY1" fmla="*/ 826179 h 855129"/>
                <a:gd name="connsiteX2" fmla="*/ 58548 w 855536"/>
                <a:gd name="connsiteY2" fmla="*/ 799814 h 855129"/>
                <a:gd name="connsiteX3" fmla="*/ 85661 w 855536"/>
                <a:gd name="connsiteY3" fmla="*/ 769880 h 855129"/>
                <a:gd name="connsiteX4" fmla="*/ 114110 w 855536"/>
                <a:gd name="connsiteY4" fmla="*/ 741420 h 855129"/>
                <a:gd name="connsiteX5" fmla="*/ 140462 w 855536"/>
                <a:gd name="connsiteY5" fmla="*/ 710863 h 855129"/>
                <a:gd name="connsiteX6" fmla="*/ 169291 w 855536"/>
                <a:gd name="connsiteY6" fmla="*/ 682777 h 855129"/>
                <a:gd name="connsiteX7" fmla="*/ 200216 w 855536"/>
                <a:gd name="connsiteY7" fmla="*/ 656654 h 855129"/>
                <a:gd name="connsiteX8" fmla="*/ 226695 w 855536"/>
                <a:gd name="connsiteY8" fmla="*/ 626104 h 855129"/>
                <a:gd name="connsiteX9" fmla="*/ 257747 w 855536"/>
                <a:gd name="connsiteY9" fmla="*/ 600234 h 855129"/>
                <a:gd name="connsiteX10" fmla="*/ 284353 w 855536"/>
                <a:gd name="connsiteY10" fmla="*/ 569925 h 855129"/>
                <a:gd name="connsiteX11" fmla="*/ 313817 w 855536"/>
                <a:gd name="connsiteY11" fmla="*/ 542449 h 855129"/>
                <a:gd name="connsiteX12" fmla="*/ 339344 w 855536"/>
                <a:gd name="connsiteY12" fmla="*/ 510908 h 855129"/>
                <a:gd name="connsiteX13" fmla="*/ 370269 w 855536"/>
                <a:gd name="connsiteY13" fmla="*/ 484791 h 855129"/>
                <a:gd name="connsiteX14" fmla="*/ 399162 w 855536"/>
                <a:gd name="connsiteY14" fmla="*/ 456825 h 855129"/>
                <a:gd name="connsiteX15" fmla="*/ 427990 w 855536"/>
                <a:gd name="connsiteY15" fmla="*/ 428733 h 855129"/>
                <a:gd name="connsiteX16" fmla="*/ 453390 w 855536"/>
                <a:gd name="connsiteY16" fmla="*/ 397072 h 855129"/>
                <a:gd name="connsiteX17" fmla="*/ 483362 w 855536"/>
                <a:gd name="connsiteY17" fmla="*/ 369970 h 855129"/>
                <a:gd name="connsiteX18" fmla="*/ 513398 w 855536"/>
                <a:gd name="connsiteY18" fmla="*/ 342989 h 855129"/>
                <a:gd name="connsiteX19" fmla="*/ 542227 w 855536"/>
                <a:gd name="connsiteY19" fmla="*/ 314776 h 855129"/>
                <a:gd name="connsiteX20" fmla="*/ 570421 w 855536"/>
                <a:gd name="connsiteY20" fmla="*/ 285947 h 855129"/>
                <a:gd name="connsiteX21" fmla="*/ 599631 w 855536"/>
                <a:gd name="connsiteY21" fmla="*/ 258229 h 855129"/>
                <a:gd name="connsiteX22" fmla="*/ 626237 w 855536"/>
                <a:gd name="connsiteY22" fmla="*/ 227794 h 855129"/>
                <a:gd name="connsiteX23" fmla="*/ 656527 w 855536"/>
                <a:gd name="connsiteY23" fmla="*/ 201060 h 855129"/>
                <a:gd name="connsiteX24" fmla="*/ 684023 w 855536"/>
                <a:gd name="connsiteY24" fmla="*/ 171615 h 855129"/>
                <a:gd name="connsiteX25" fmla="*/ 711899 w 855536"/>
                <a:gd name="connsiteY25" fmla="*/ 142418 h 855129"/>
                <a:gd name="connsiteX26" fmla="*/ 739839 w 855536"/>
                <a:gd name="connsiteY26" fmla="*/ 113220 h 855129"/>
                <a:gd name="connsiteX27" fmla="*/ 769176 w 855536"/>
                <a:gd name="connsiteY27" fmla="*/ 85376 h 855129"/>
                <a:gd name="connsiteX28" fmla="*/ 797116 w 855536"/>
                <a:gd name="connsiteY28" fmla="*/ 56179 h 855129"/>
                <a:gd name="connsiteX29" fmla="*/ 825564 w 855536"/>
                <a:gd name="connsiteY29" fmla="*/ 27349 h 855129"/>
                <a:gd name="connsiteX30" fmla="*/ 855536 w 855536"/>
                <a:gd name="connsiteY30" fmla="*/ 0 h 85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5536" h="855129">
                  <a:moveTo>
                    <a:pt x="0" y="855129"/>
                  </a:moveTo>
                  <a:cubicBezTo>
                    <a:pt x="14288" y="840842"/>
                    <a:pt x="13843" y="840346"/>
                    <a:pt x="28004" y="826179"/>
                  </a:cubicBezTo>
                  <a:cubicBezTo>
                    <a:pt x="42164" y="812013"/>
                    <a:pt x="44386" y="813981"/>
                    <a:pt x="58548" y="799814"/>
                  </a:cubicBezTo>
                  <a:cubicBezTo>
                    <a:pt x="72708" y="785647"/>
                    <a:pt x="71374" y="784168"/>
                    <a:pt x="85661" y="769880"/>
                  </a:cubicBezTo>
                  <a:cubicBezTo>
                    <a:pt x="99949" y="755587"/>
                    <a:pt x="99949" y="755587"/>
                    <a:pt x="114110" y="741420"/>
                  </a:cubicBezTo>
                  <a:cubicBezTo>
                    <a:pt x="128270" y="727253"/>
                    <a:pt x="126302" y="725030"/>
                    <a:pt x="140462" y="710863"/>
                  </a:cubicBezTo>
                  <a:cubicBezTo>
                    <a:pt x="154623" y="696697"/>
                    <a:pt x="155131" y="697065"/>
                    <a:pt x="169291" y="682777"/>
                  </a:cubicBezTo>
                  <a:cubicBezTo>
                    <a:pt x="183452" y="668484"/>
                    <a:pt x="185928" y="670947"/>
                    <a:pt x="200216" y="656654"/>
                  </a:cubicBezTo>
                  <a:cubicBezTo>
                    <a:pt x="214503" y="642366"/>
                    <a:pt x="212408" y="640391"/>
                    <a:pt x="226695" y="626104"/>
                  </a:cubicBezTo>
                  <a:cubicBezTo>
                    <a:pt x="240983" y="611810"/>
                    <a:pt x="243587" y="614521"/>
                    <a:pt x="257747" y="600234"/>
                  </a:cubicBezTo>
                  <a:cubicBezTo>
                    <a:pt x="271907" y="585940"/>
                    <a:pt x="270066" y="584213"/>
                    <a:pt x="284353" y="569925"/>
                  </a:cubicBezTo>
                  <a:cubicBezTo>
                    <a:pt x="298641" y="555631"/>
                    <a:pt x="299530" y="556616"/>
                    <a:pt x="313817" y="542449"/>
                  </a:cubicBezTo>
                  <a:cubicBezTo>
                    <a:pt x="328105" y="528282"/>
                    <a:pt x="325057" y="525202"/>
                    <a:pt x="339344" y="510908"/>
                  </a:cubicBezTo>
                  <a:cubicBezTo>
                    <a:pt x="353632" y="496621"/>
                    <a:pt x="355918" y="499085"/>
                    <a:pt x="370269" y="484791"/>
                  </a:cubicBezTo>
                  <a:cubicBezTo>
                    <a:pt x="384556" y="470503"/>
                    <a:pt x="385001" y="471119"/>
                    <a:pt x="399162" y="456825"/>
                  </a:cubicBezTo>
                  <a:cubicBezTo>
                    <a:pt x="413386" y="442531"/>
                    <a:pt x="413703" y="442906"/>
                    <a:pt x="427990" y="428733"/>
                  </a:cubicBezTo>
                  <a:cubicBezTo>
                    <a:pt x="442341" y="414566"/>
                    <a:pt x="439103" y="411239"/>
                    <a:pt x="453390" y="397072"/>
                  </a:cubicBezTo>
                  <a:cubicBezTo>
                    <a:pt x="467678" y="382905"/>
                    <a:pt x="469074" y="384258"/>
                    <a:pt x="483362" y="369970"/>
                  </a:cubicBezTo>
                  <a:cubicBezTo>
                    <a:pt x="497649" y="355676"/>
                    <a:pt x="499111" y="357276"/>
                    <a:pt x="513398" y="342989"/>
                  </a:cubicBezTo>
                  <a:cubicBezTo>
                    <a:pt x="527686" y="328695"/>
                    <a:pt x="527939" y="329070"/>
                    <a:pt x="542227" y="314776"/>
                  </a:cubicBezTo>
                  <a:cubicBezTo>
                    <a:pt x="556514" y="300482"/>
                    <a:pt x="556134" y="300241"/>
                    <a:pt x="570421" y="285947"/>
                  </a:cubicBezTo>
                  <a:cubicBezTo>
                    <a:pt x="584709" y="271653"/>
                    <a:pt x="585470" y="272396"/>
                    <a:pt x="599631" y="258229"/>
                  </a:cubicBezTo>
                  <a:cubicBezTo>
                    <a:pt x="613791" y="244056"/>
                    <a:pt x="611950" y="242087"/>
                    <a:pt x="626237" y="227794"/>
                  </a:cubicBezTo>
                  <a:cubicBezTo>
                    <a:pt x="640525" y="213506"/>
                    <a:pt x="642239" y="215227"/>
                    <a:pt x="656527" y="201060"/>
                  </a:cubicBezTo>
                  <a:cubicBezTo>
                    <a:pt x="670878" y="186893"/>
                    <a:pt x="669735" y="185782"/>
                    <a:pt x="684023" y="171615"/>
                  </a:cubicBezTo>
                  <a:cubicBezTo>
                    <a:pt x="698310" y="157448"/>
                    <a:pt x="697612" y="156712"/>
                    <a:pt x="711899" y="142418"/>
                  </a:cubicBezTo>
                  <a:cubicBezTo>
                    <a:pt x="726187" y="128124"/>
                    <a:pt x="725551" y="127508"/>
                    <a:pt x="739839" y="113220"/>
                  </a:cubicBezTo>
                  <a:cubicBezTo>
                    <a:pt x="754126" y="98927"/>
                    <a:pt x="754888" y="99670"/>
                    <a:pt x="769176" y="85376"/>
                  </a:cubicBezTo>
                  <a:cubicBezTo>
                    <a:pt x="783463" y="71088"/>
                    <a:pt x="782828" y="70466"/>
                    <a:pt x="797116" y="56179"/>
                  </a:cubicBezTo>
                  <a:cubicBezTo>
                    <a:pt x="811403" y="41885"/>
                    <a:pt x="811276" y="41643"/>
                    <a:pt x="825564" y="27349"/>
                  </a:cubicBezTo>
                  <a:cubicBezTo>
                    <a:pt x="839851" y="13056"/>
                    <a:pt x="841249" y="14288"/>
                    <a:pt x="855536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8D37C6B-AB6C-FE80-FD60-433283FC7485}"/>
                </a:ext>
              </a:extLst>
            </p:cNvPr>
            <p:cNvSpPr/>
            <p:nvPr/>
          </p:nvSpPr>
          <p:spPr>
            <a:xfrm>
              <a:off x="9271317" y="1088618"/>
              <a:ext cx="1151220" cy="533109"/>
            </a:xfrm>
            <a:custGeom>
              <a:avLst/>
              <a:gdLst>
                <a:gd name="connsiteX0" fmla="*/ 0 w 1151220"/>
                <a:gd name="connsiteY0" fmla="*/ 510356 h 533109"/>
                <a:gd name="connsiteX1" fmla="*/ 29463 w 1151220"/>
                <a:gd name="connsiteY1" fmla="*/ 483871 h 533109"/>
                <a:gd name="connsiteX2" fmla="*/ 55308 w 1151220"/>
                <a:gd name="connsiteY2" fmla="*/ 453810 h 533109"/>
                <a:gd name="connsiteX3" fmla="*/ 85280 w 1151220"/>
                <a:gd name="connsiteY3" fmla="*/ 427813 h 533109"/>
                <a:gd name="connsiteX4" fmla="*/ 114364 w 1151220"/>
                <a:gd name="connsiteY4" fmla="*/ 400832 h 533109"/>
                <a:gd name="connsiteX5" fmla="*/ 138874 w 1151220"/>
                <a:gd name="connsiteY5" fmla="*/ 369418 h 533109"/>
                <a:gd name="connsiteX6" fmla="*/ 170624 w 1151220"/>
                <a:gd name="connsiteY6" fmla="*/ 345142 h 533109"/>
                <a:gd name="connsiteX7" fmla="*/ 197231 w 1151220"/>
                <a:gd name="connsiteY7" fmla="*/ 315824 h 533109"/>
                <a:gd name="connsiteX8" fmla="*/ 223265 w 1151220"/>
                <a:gd name="connsiteY8" fmla="*/ 285763 h 533109"/>
                <a:gd name="connsiteX9" fmla="*/ 252476 w 1151220"/>
                <a:gd name="connsiteY9" fmla="*/ 259030 h 533109"/>
                <a:gd name="connsiteX10" fmla="*/ 282765 w 1151220"/>
                <a:gd name="connsiteY10" fmla="*/ 233280 h 533109"/>
                <a:gd name="connsiteX11" fmla="*/ 310959 w 1151220"/>
                <a:gd name="connsiteY11" fmla="*/ 205436 h 533109"/>
                <a:gd name="connsiteX12" fmla="*/ 337565 w 1151220"/>
                <a:gd name="connsiteY12" fmla="*/ 176111 h 533109"/>
                <a:gd name="connsiteX13" fmla="*/ 366140 w 1151220"/>
                <a:gd name="connsiteY13" fmla="*/ 148641 h 533109"/>
                <a:gd name="connsiteX14" fmla="*/ 393382 w 1151220"/>
                <a:gd name="connsiteY14" fmla="*/ 119812 h 533109"/>
                <a:gd name="connsiteX15" fmla="*/ 422211 w 1151220"/>
                <a:gd name="connsiteY15" fmla="*/ 92584 h 533109"/>
                <a:gd name="connsiteX16" fmla="*/ 449961 w 1151220"/>
                <a:gd name="connsiteY16" fmla="*/ 64123 h 533109"/>
                <a:gd name="connsiteX17" fmla="*/ 479298 w 1151220"/>
                <a:gd name="connsiteY17" fmla="*/ 37269 h 533109"/>
                <a:gd name="connsiteX18" fmla="*/ 504380 w 1151220"/>
                <a:gd name="connsiteY18" fmla="*/ 4744 h 533109"/>
                <a:gd name="connsiteX19" fmla="*/ 545782 w 1151220"/>
                <a:gd name="connsiteY19" fmla="*/ 7208 h 533109"/>
                <a:gd name="connsiteX20" fmla="*/ 586232 w 1151220"/>
                <a:gd name="connsiteY20" fmla="*/ 6096 h 533109"/>
                <a:gd name="connsiteX21" fmla="*/ 626490 w 1151220"/>
                <a:gd name="connsiteY21" fmla="*/ 4992 h 533109"/>
                <a:gd name="connsiteX22" fmla="*/ 666876 w 1151220"/>
                <a:gd name="connsiteY22" fmla="*/ 6839 h 533109"/>
                <a:gd name="connsiteX23" fmla="*/ 707326 w 1151220"/>
                <a:gd name="connsiteY23" fmla="*/ 5976 h 533109"/>
                <a:gd name="connsiteX24" fmla="*/ 747713 w 1151220"/>
                <a:gd name="connsiteY24" fmla="*/ 5728 h 533109"/>
                <a:gd name="connsiteX25" fmla="*/ 788098 w 1151220"/>
                <a:gd name="connsiteY25" fmla="*/ 8687 h 533109"/>
                <a:gd name="connsiteX26" fmla="*/ 828548 w 1151220"/>
                <a:gd name="connsiteY26" fmla="*/ 8192 h 533109"/>
                <a:gd name="connsiteX27" fmla="*/ 868934 w 1151220"/>
                <a:gd name="connsiteY27" fmla="*/ 8440 h 533109"/>
                <a:gd name="connsiteX28" fmla="*/ 909383 w 1151220"/>
                <a:gd name="connsiteY28" fmla="*/ 5728 h 533109"/>
                <a:gd name="connsiteX29" fmla="*/ 949769 w 1151220"/>
                <a:gd name="connsiteY29" fmla="*/ 8192 h 533109"/>
                <a:gd name="connsiteX30" fmla="*/ 990155 w 1151220"/>
                <a:gd name="connsiteY30" fmla="*/ 9792 h 533109"/>
                <a:gd name="connsiteX31" fmla="*/ 1030605 w 1151220"/>
                <a:gd name="connsiteY31" fmla="*/ 5728 h 533109"/>
                <a:gd name="connsiteX32" fmla="*/ 1070991 w 1151220"/>
                <a:gd name="connsiteY32" fmla="*/ 6096 h 533109"/>
                <a:gd name="connsiteX33" fmla="*/ 1111504 w 1151220"/>
                <a:gd name="connsiteY33" fmla="*/ 8560 h 533109"/>
                <a:gd name="connsiteX34" fmla="*/ 1149476 w 1151220"/>
                <a:gd name="connsiteY34" fmla="*/ 8313 h 533109"/>
                <a:gd name="connsiteX35" fmla="*/ 1124966 w 1151220"/>
                <a:gd name="connsiteY35" fmla="*/ 38132 h 533109"/>
                <a:gd name="connsiteX36" fmla="*/ 1095248 w 1151220"/>
                <a:gd name="connsiteY36" fmla="*/ 66218 h 533109"/>
                <a:gd name="connsiteX37" fmla="*/ 1064323 w 1151220"/>
                <a:gd name="connsiteY37" fmla="*/ 93079 h 533109"/>
                <a:gd name="connsiteX38" fmla="*/ 1037717 w 1151220"/>
                <a:gd name="connsiteY38" fmla="*/ 124492 h 533109"/>
                <a:gd name="connsiteX39" fmla="*/ 1005586 w 1151220"/>
                <a:gd name="connsiteY39" fmla="*/ 150121 h 533109"/>
                <a:gd name="connsiteX40" fmla="*/ 979805 w 1151220"/>
                <a:gd name="connsiteY40" fmla="*/ 182271 h 533109"/>
                <a:gd name="connsiteX41" fmla="*/ 947547 w 1151220"/>
                <a:gd name="connsiteY41" fmla="*/ 207899 h 533109"/>
                <a:gd name="connsiteX42" fmla="*/ 921194 w 1151220"/>
                <a:gd name="connsiteY42" fmla="*/ 239440 h 533109"/>
                <a:gd name="connsiteX43" fmla="*/ 893318 w 1151220"/>
                <a:gd name="connsiteY43" fmla="*/ 269622 h 533109"/>
                <a:gd name="connsiteX44" fmla="*/ 863917 w 1151220"/>
                <a:gd name="connsiteY44" fmla="*/ 298203 h 533109"/>
                <a:gd name="connsiteX45" fmla="*/ 834200 w 1151220"/>
                <a:gd name="connsiteY45" fmla="*/ 326416 h 533109"/>
                <a:gd name="connsiteX46" fmla="*/ 805243 w 1151220"/>
                <a:gd name="connsiteY46" fmla="*/ 355372 h 533109"/>
                <a:gd name="connsiteX47" fmla="*/ 776668 w 1151220"/>
                <a:gd name="connsiteY47" fmla="*/ 384690 h 533109"/>
                <a:gd name="connsiteX48" fmla="*/ 745744 w 1151220"/>
                <a:gd name="connsiteY48" fmla="*/ 411671 h 533109"/>
                <a:gd name="connsiteX49" fmla="*/ 717931 w 1151220"/>
                <a:gd name="connsiteY49" fmla="*/ 441859 h 533109"/>
                <a:gd name="connsiteX50" fmla="*/ 690689 w 1151220"/>
                <a:gd name="connsiteY50" fmla="*/ 472656 h 533109"/>
                <a:gd name="connsiteX51" fmla="*/ 661098 w 1151220"/>
                <a:gd name="connsiteY51" fmla="*/ 501238 h 533109"/>
                <a:gd name="connsiteX52" fmla="*/ 630555 w 1151220"/>
                <a:gd name="connsiteY52" fmla="*/ 529083 h 533109"/>
                <a:gd name="connsiteX53" fmla="*/ 591121 w 1151220"/>
                <a:gd name="connsiteY53" fmla="*/ 530683 h 533109"/>
                <a:gd name="connsiteX54" fmla="*/ 551814 w 1151220"/>
                <a:gd name="connsiteY54" fmla="*/ 528098 h 533109"/>
                <a:gd name="connsiteX55" fmla="*/ 512508 w 1151220"/>
                <a:gd name="connsiteY55" fmla="*/ 527971 h 533109"/>
                <a:gd name="connsiteX56" fmla="*/ 473201 w 1151220"/>
                <a:gd name="connsiteY56" fmla="*/ 528219 h 533109"/>
                <a:gd name="connsiteX57" fmla="*/ 433959 w 1151220"/>
                <a:gd name="connsiteY57" fmla="*/ 528714 h 533109"/>
                <a:gd name="connsiteX58" fmla="*/ 394652 w 1151220"/>
                <a:gd name="connsiteY58" fmla="*/ 528714 h 533109"/>
                <a:gd name="connsiteX59" fmla="*/ 355346 w 1151220"/>
                <a:gd name="connsiteY59" fmla="*/ 530194 h 533109"/>
                <a:gd name="connsiteX60" fmla="*/ 316039 w 1151220"/>
                <a:gd name="connsiteY60" fmla="*/ 528835 h 533109"/>
                <a:gd name="connsiteX61" fmla="*/ 276733 w 1151220"/>
                <a:gd name="connsiteY61" fmla="*/ 531051 h 533109"/>
                <a:gd name="connsiteX62" fmla="*/ 237426 w 1151220"/>
                <a:gd name="connsiteY62" fmla="*/ 530810 h 533109"/>
                <a:gd name="connsiteX63" fmla="*/ 198120 w 1151220"/>
                <a:gd name="connsiteY63" fmla="*/ 531299 h 533109"/>
                <a:gd name="connsiteX64" fmla="*/ 158814 w 1151220"/>
                <a:gd name="connsiteY64" fmla="*/ 527235 h 533109"/>
                <a:gd name="connsiteX65" fmla="*/ 119507 w 1151220"/>
                <a:gd name="connsiteY65" fmla="*/ 530194 h 533109"/>
                <a:gd name="connsiteX66" fmla="*/ 80201 w 1151220"/>
                <a:gd name="connsiteY66" fmla="*/ 526250 h 533109"/>
                <a:gd name="connsiteX67" fmla="*/ 40767 w 1151220"/>
                <a:gd name="connsiteY67" fmla="*/ 527851 h 533109"/>
                <a:gd name="connsiteX68" fmla="*/ 1397 w 1151220"/>
                <a:gd name="connsiteY68" fmla="*/ 526987 h 5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51220" h="533109">
                  <a:moveTo>
                    <a:pt x="0" y="510356"/>
                  </a:moveTo>
                  <a:cubicBezTo>
                    <a:pt x="14033" y="496310"/>
                    <a:pt x="15557" y="497790"/>
                    <a:pt x="29463" y="483871"/>
                  </a:cubicBezTo>
                  <a:cubicBezTo>
                    <a:pt x="43370" y="469945"/>
                    <a:pt x="41401" y="467850"/>
                    <a:pt x="55308" y="453810"/>
                  </a:cubicBezTo>
                  <a:cubicBezTo>
                    <a:pt x="69278" y="439763"/>
                    <a:pt x="71374" y="441859"/>
                    <a:pt x="85280" y="427813"/>
                  </a:cubicBezTo>
                  <a:cubicBezTo>
                    <a:pt x="99187" y="413766"/>
                    <a:pt x="100330" y="414878"/>
                    <a:pt x="114364" y="400832"/>
                  </a:cubicBezTo>
                  <a:cubicBezTo>
                    <a:pt x="128397" y="386785"/>
                    <a:pt x="124968" y="383458"/>
                    <a:pt x="138874" y="369418"/>
                  </a:cubicBezTo>
                  <a:cubicBezTo>
                    <a:pt x="152781" y="355372"/>
                    <a:pt x="156590" y="359188"/>
                    <a:pt x="170624" y="345142"/>
                  </a:cubicBezTo>
                  <a:cubicBezTo>
                    <a:pt x="184721" y="331102"/>
                    <a:pt x="183324" y="329743"/>
                    <a:pt x="197231" y="315824"/>
                  </a:cubicBezTo>
                  <a:cubicBezTo>
                    <a:pt x="211201" y="301899"/>
                    <a:pt x="209232" y="299682"/>
                    <a:pt x="223265" y="285763"/>
                  </a:cubicBezTo>
                  <a:cubicBezTo>
                    <a:pt x="237299" y="271838"/>
                    <a:pt x="238506" y="272949"/>
                    <a:pt x="252476" y="259030"/>
                  </a:cubicBezTo>
                  <a:cubicBezTo>
                    <a:pt x="266382" y="245104"/>
                    <a:pt x="268732" y="247200"/>
                    <a:pt x="282765" y="233280"/>
                  </a:cubicBezTo>
                  <a:cubicBezTo>
                    <a:pt x="296799" y="219355"/>
                    <a:pt x="296926" y="219482"/>
                    <a:pt x="310959" y="205436"/>
                  </a:cubicBezTo>
                  <a:cubicBezTo>
                    <a:pt x="324993" y="191390"/>
                    <a:pt x="323659" y="190158"/>
                    <a:pt x="337565" y="176111"/>
                  </a:cubicBezTo>
                  <a:cubicBezTo>
                    <a:pt x="351536" y="162072"/>
                    <a:pt x="352234" y="162688"/>
                    <a:pt x="366140" y="148641"/>
                  </a:cubicBezTo>
                  <a:cubicBezTo>
                    <a:pt x="380111" y="134595"/>
                    <a:pt x="379349" y="133859"/>
                    <a:pt x="393382" y="119812"/>
                  </a:cubicBezTo>
                  <a:cubicBezTo>
                    <a:pt x="407415" y="105766"/>
                    <a:pt x="408177" y="106503"/>
                    <a:pt x="422211" y="92584"/>
                  </a:cubicBezTo>
                  <a:cubicBezTo>
                    <a:pt x="436245" y="78664"/>
                    <a:pt x="435927" y="78169"/>
                    <a:pt x="449961" y="64123"/>
                  </a:cubicBezTo>
                  <a:cubicBezTo>
                    <a:pt x="463994" y="50083"/>
                    <a:pt x="465201" y="51315"/>
                    <a:pt x="479298" y="37269"/>
                  </a:cubicBezTo>
                  <a:cubicBezTo>
                    <a:pt x="493331" y="23222"/>
                    <a:pt x="486028" y="12256"/>
                    <a:pt x="504380" y="4744"/>
                  </a:cubicBezTo>
                  <a:cubicBezTo>
                    <a:pt x="522732" y="-2774"/>
                    <a:pt x="525589" y="7208"/>
                    <a:pt x="545782" y="7208"/>
                  </a:cubicBezTo>
                  <a:cubicBezTo>
                    <a:pt x="565976" y="7208"/>
                    <a:pt x="565976" y="6096"/>
                    <a:pt x="586232" y="6096"/>
                  </a:cubicBezTo>
                  <a:cubicBezTo>
                    <a:pt x="606425" y="6096"/>
                    <a:pt x="606425" y="4992"/>
                    <a:pt x="626490" y="4992"/>
                  </a:cubicBezTo>
                  <a:cubicBezTo>
                    <a:pt x="646557" y="4992"/>
                    <a:pt x="646684" y="6839"/>
                    <a:pt x="666876" y="6839"/>
                  </a:cubicBezTo>
                  <a:cubicBezTo>
                    <a:pt x="687133" y="6839"/>
                    <a:pt x="687133" y="5976"/>
                    <a:pt x="707326" y="5976"/>
                  </a:cubicBezTo>
                  <a:cubicBezTo>
                    <a:pt x="727519" y="5976"/>
                    <a:pt x="727519" y="5728"/>
                    <a:pt x="747713" y="5728"/>
                  </a:cubicBezTo>
                  <a:cubicBezTo>
                    <a:pt x="767905" y="5728"/>
                    <a:pt x="767905" y="8687"/>
                    <a:pt x="788098" y="8687"/>
                  </a:cubicBezTo>
                  <a:cubicBezTo>
                    <a:pt x="808355" y="8687"/>
                    <a:pt x="808355" y="8192"/>
                    <a:pt x="828548" y="8192"/>
                  </a:cubicBezTo>
                  <a:cubicBezTo>
                    <a:pt x="848740" y="8192"/>
                    <a:pt x="848740" y="8440"/>
                    <a:pt x="868934" y="8440"/>
                  </a:cubicBezTo>
                  <a:cubicBezTo>
                    <a:pt x="889126" y="8440"/>
                    <a:pt x="889126" y="5728"/>
                    <a:pt x="909383" y="5728"/>
                  </a:cubicBezTo>
                  <a:cubicBezTo>
                    <a:pt x="929576" y="5728"/>
                    <a:pt x="929576" y="8192"/>
                    <a:pt x="949769" y="8192"/>
                  </a:cubicBezTo>
                  <a:cubicBezTo>
                    <a:pt x="969963" y="8192"/>
                    <a:pt x="969963" y="9792"/>
                    <a:pt x="990155" y="9792"/>
                  </a:cubicBezTo>
                  <a:cubicBezTo>
                    <a:pt x="1010412" y="9792"/>
                    <a:pt x="1010412" y="5728"/>
                    <a:pt x="1030605" y="5728"/>
                  </a:cubicBezTo>
                  <a:cubicBezTo>
                    <a:pt x="1050798" y="5728"/>
                    <a:pt x="1050798" y="6096"/>
                    <a:pt x="1070991" y="6096"/>
                  </a:cubicBezTo>
                  <a:cubicBezTo>
                    <a:pt x="1091184" y="6096"/>
                    <a:pt x="1091184" y="8560"/>
                    <a:pt x="1111504" y="8560"/>
                  </a:cubicBezTo>
                  <a:cubicBezTo>
                    <a:pt x="1131888" y="8560"/>
                    <a:pt x="1142111" y="-10534"/>
                    <a:pt x="1149476" y="8313"/>
                  </a:cubicBezTo>
                  <a:cubicBezTo>
                    <a:pt x="1156843" y="27166"/>
                    <a:pt x="1139380" y="23718"/>
                    <a:pt x="1124966" y="38132"/>
                  </a:cubicBezTo>
                  <a:cubicBezTo>
                    <a:pt x="1110551" y="52547"/>
                    <a:pt x="1109663" y="51804"/>
                    <a:pt x="1095248" y="66218"/>
                  </a:cubicBezTo>
                  <a:cubicBezTo>
                    <a:pt x="1080833" y="80633"/>
                    <a:pt x="1078738" y="78664"/>
                    <a:pt x="1064323" y="93079"/>
                  </a:cubicBezTo>
                  <a:cubicBezTo>
                    <a:pt x="1049909" y="107493"/>
                    <a:pt x="1052258" y="109957"/>
                    <a:pt x="1037717" y="124492"/>
                  </a:cubicBezTo>
                  <a:cubicBezTo>
                    <a:pt x="1023176" y="139027"/>
                    <a:pt x="1020001" y="135706"/>
                    <a:pt x="1005586" y="150121"/>
                  </a:cubicBezTo>
                  <a:cubicBezTo>
                    <a:pt x="991171" y="164535"/>
                    <a:pt x="994346" y="167856"/>
                    <a:pt x="979805" y="182271"/>
                  </a:cubicBezTo>
                  <a:cubicBezTo>
                    <a:pt x="965264" y="196685"/>
                    <a:pt x="962089" y="193485"/>
                    <a:pt x="947547" y="207899"/>
                  </a:cubicBezTo>
                  <a:cubicBezTo>
                    <a:pt x="933005" y="222314"/>
                    <a:pt x="935609" y="225025"/>
                    <a:pt x="921194" y="239440"/>
                  </a:cubicBezTo>
                  <a:cubicBezTo>
                    <a:pt x="906780" y="253854"/>
                    <a:pt x="907859" y="255086"/>
                    <a:pt x="893318" y="269622"/>
                  </a:cubicBezTo>
                  <a:cubicBezTo>
                    <a:pt x="878776" y="284163"/>
                    <a:pt x="878459" y="283668"/>
                    <a:pt x="863917" y="298203"/>
                  </a:cubicBezTo>
                  <a:cubicBezTo>
                    <a:pt x="849376" y="312744"/>
                    <a:pt x="848740" y="312001"/>
                    <a:pt x="834200" y="326416"/>
                  </a:cubicBezTo>
                  <a:cubicBezTo>
                    <a:pt x="819658" y="340830"/>
                    <a:pt x="819658" y="340830"/>
                    <a:pt x="805243" y="355372"/>
                  </a:cubicBezTo>
                  <a:cubicBezTo>
                    <a:pt x="790829" y="369907"/>
                    <a:pt x="791210" y="370275"/>
                    <a:pt x="776668" y="384690"/>
                  </a:cubicBezTo>
                  <a:cubicBezTo>
                    <a:pt x="762126" y="399104"/>
                    <a:pt x="760158" y="397257"/>
                    <a:pt x="745744" y="411671"/>
                  </a:cubicBezTo>
                  <a:cubicBezTo>
                    <a:pt x="731329" y="426086"/>
                    <a:pt x="732472" y="427317"/>
                    <a:pt x="717931" y="441859"/>
                  </a:cubicBezTo>
                  <a:cubicBezTo>
                    <a:pt x="703389" y="456394"/>
                    <a:pt x="705231" y="458121"/>
                    <a:pt x="690689" y="472656"/>
                  </a:cubicBezTo>
                  <a:cubicBezTo>
                    <a:pt x="676148" y="487198"/>
                    <a:pt x="675639" y="486703"/>
                    <a:pt x="661098" y="501238"/>
                  </a:cubicBezTo>
                  <a:cubicBezTo>
                    <a:pt x="646557" y="515779"/>
                    <a:pt x="649541" y="521075"/>
                    <a:pt x="630555" y="529083"/>
                  </a:cubicBezTo>
                  <a:cubicBezTo>
                    <a:pt x="611568" y="537090"/>
                    <a:pt x="610743" y="530683"/>
                    <a:pt x="591121" y="530683"/>
                  </a:cubicBezTo>
                  <a:cubicBezTo>
                    <a:pt x="571564" y="530683"/>
                    <a:pt x="571436" y="528098"/>
                    <a:pt x="551814" y="528098"/>
                  </a:cubicBezTo>
                  <a:cubicBezTo>
                    <a:pt x="532257" y="528098"/>
                    <a:pt x="532257" y="527971"/>
                    <a:pt x="512508" y="527971"/>
                  </a:cubicBezTo>
                  <a:cubicBezTo>
                    <a:pt x="492823" y="527971"/>
                    <a:pt x="492823" y="528219"/>
                    <a:pt x="473201" y="528219"/>
                  </a:cubicBezTo>
                  <a:cubicBezTo>
                    <a:pt x="453644" y="528219"/>
                    <a:pt x="453644" y="528714"/>
                    <a:pt x="433959" y="528714"/>
                  </a:cubicBezTo>
                  <a:cubicBezTo>
                    <a:pt x="414210" y="528714"/>
                    <a:pt x="414210" y="528714"/>
                    <a:pt x="394652" y="528714"/>
                  </a:cubicBezTo>
                  <a:cubicBezTo>
                    <a:pt x="375031" y="528714"/>
                    <a:pt x="375031" y="530194"/>
                    <a:pt x="355346" y="530194"/>
                  </a:cubicBezTo>
                  <a:cubicBezTo>
                    <a:pt x="335597" y="530194"/>
                    <a:pt x="335597" y="528835"/>
                    <a:pt x="316039" y="528835"/>
                  </a:cubicBezTo>
                  <a:cubicBezTo>
                    <a:pt x="296418" y="528835"/>
                    <a:pt x="296290" y="531051"/>
                    <a:pt x="276733" y="531051"/>
                  </a:cubicBezTo>
                  <a:cubicBezTo>
                    <a:pt x="257111" y="531051"/>
                    <a:pt x="256984" y="530810"/>
                    <a:pt x="237426" y="530810"/>
                  </a:cubicBezTo>
                  <a:cubicBezTo>
                    <a:pt x="217805" y="530810"/>
                    <a:pt x="217805" y="531299"/>
                    <a:pt x="198120" y="531299"/>
                  </a:cubicBezTo>
                  <a:cubicBezTo>
                    <a:pt x="178435" y="531299"/>
                    <a:pt x="178435" y="527235"/>
                    <a:pt x="158814" y="527235"/>
                  </a:cubicBezTo>
                  <a:cubicBezTo>
                    <a:pt x="139255" y="527235"/>
                    <a:pt x="139128" y="530194"/>
                    <a:pt x="119507" y="530194"/>
                  </a:cubicBezTo>
                  <a:cubicBezTo>
                    <a:pt x="99949" y="530194"/>
                    <a:pt x="99822" y="526250"/>
                    <a:pt x="80201" y="526250"/>
                  </a:cubicBezTo>
                  <a:cubicBezTo>
                    <a:pt x="60642" y="526250"/>
                    <a:pt x="60515" y="527851"/>
                    <a:pt x="40767" y="527851"/>
                  </a:cubicBezTo>
                  <a:cubicBezTo>
                    <a:pt x="21082" y="527851"/>
                    <a:pt x="21082" y="526987"/>
                    <a:pt x="1397" y="526987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DF02F57-CCE6-BEC4-9B7A-532D4213162B}"/>
                </a:ext>
              </a:extLst>
            </p:cNvPr>
            <p:cNvSpPr/>
            <p:nvPr/>
          </p:nvSpPr>
          <p:spPr>
            <a:xfrm>
              <a:off x="9422892" y="1446574"/>
              <a:ext cx="640968" cy="5791"/>
            </a:xfrm>
            <a:custGeom>
              <a:avLst/>
              <a:gdLst>
                <a:gd name="connsiteX0" fmla="*/ 0 w 640968"/>
                <a:gd name="connsiteY0" fmla="*/ 4680 h 5791"/>
                <a:gd name="connsiteX1" fmla="*/ 40005 w 640968"/>
                <a:gd name="connsiteY1" fmla="*/ 5791 h 5791"/>
                <a:gd name="connsiteX2" fmla="*/ 80073 w 640968"/>
                <a:gd name="connsiteY2" fmla="*/ 1473 h 5791"/>
                <a:gd name="connsiteX3" fmla="*/ 120078 w 640968"/>
                <a:gd name="connsiteY3" fmla="*/ 737 h 5791"/>
                <a:gd name="connsiteX4" fmla="*/ 160147 w 640968"/>
                <a:gd name="connsiteY4" fmla="*/ 368 h 5791"/>
                <a:gd name="connsiteX5" fmla="*/ 200151 w 640968"/>
                <a:gd name="connsiteY5" fmla="*/ 368 h 5791"/>
                <a:gd name="connsiteX6" fmla="*/ 240220 w 640968"/>
                <a:gd name="connsiteY6" fmla="*/ 2953 h 5791"/>
                <a:gd name="connsiteX7" fmla="*/ 280226 w 640968"/>
                <a:gd name="connsiteY7" fmla="*/ 4801 h 5791"/>
                <a:gd name="connsiteX8" fmla="*/ 320294 w 640968"/>
                <a:gd name="connsiteY8" fmla="*/ 1721 h 5791"/>
                <a:gd name="connsiteX9" fmla="*/ 360363 w 640968"/>
                <a:gd name="connsiteY9" fmla="*/ 1968 h 5791"/>
                <a:gd name="connsiteX10" fmla="*/ 400367 w 640968"/>
                <a:gd name="connsiteY10" fmla="*/ 3937 h 5791"/>
                <a:gd name="connsiteX11" fmla="*/ 440436 w 640968"/>
                <a:gd name="connsiteY11" fmla="*/ 1353 h 5791"/>
                <a:gd name="connsiteX12" fmla="*/ 480440 w 640968"/>
                <a:gd name="connsiteY12" fmla="*/ 5175 h 5791"/>
                <a:gd name="connsiteX13" fmla="*/ 520509 w 640968"/>
                <a:gd name="connsiteY13" fmla="*/ 1232 h 5791"/>
                <a:gd name="connsiteX14" fmla="*/ 560641 w 640968"/>
                <a:gd name="connsiteY14" fmla="*/ 0 h 5791"/>
                <a:gd name="connsiteX15" fmla="*/ 600837 w 640968"/>
                <a:gd name="connsiteY15" fmla="*/ 1848 h 5791"/>
                <a:gd name="connsiteX16" fmla="*/ 640969 w 640968"/>
                <a:gd name="connsiteY16" fmla="*/ 5175 h 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40968" h="5791">
                  <a:moveTo>
                    <a:pt x="0" y="4680"/>
                  </a:moveTo>
                  <a:cubicBezTo>
                    <a:pt x="19939" y="4680"/>
                    <a:pt x="19939" y="5791"/>
                    <a:pt x="40005" y="5791"/>
                  </a:cubicBezTo>
                  <a:cubicBezTo>
                    <a:pt x="60071" y="5791"/>
                    <a:pt x="60071" y="1473"/>
                    <a:pt x="80073" y="1473"/>
                  </a:cubicBezTo>
                  <a:cubicBezTo>
                    <a:pt x="100013" y="1473"/>
                    <a:pt x="100013" y="737"/>
                    <a:pt x="120078" y="737"/>
                  </a:cubicBezTo>
                  <a:cubicBezTo>
                    <a:pt x="140208" y="737"/>
                    <a:pt x="140208" y="368"/>
                    <a:pt x="160147" y="368"/>
                  </a:cubicBezTo>
                  <a:cubicBezTo>
                    <a:pt x="180086" y="368"/>
                    <a:pt x="180086" y="368"/>
                    <a:pt x="200151" y="368"/>
                  </a:cubicBezTo>
                  <a:cubicBezTo>
                    <a:pt x="220281" y="368"/>
                    <a:pt x="220281" y="2953"/>
                    <a:pt x="240220" y="2953"/>
                  </a:cubicBezTo>
                  <a:cubicBezTo>
                    <a:pt x="260159" y="2953"/>
                    <a:pt x="260286" y="4801"/>
                    <a:pt x="280226" y="4801"/>
                  </a:cubicBezTo>
                  <a:cubicBezTo>
                    <a:pt x="300227" y="4801"/>
                    <a:pt x="300355" y="1721"/>
                    <a:pt x="320294" y="1721"/>
                  </a:cubicBezTo>
                  <a:cubicBezTo>
                    <a:pt x="340233" y="1721"/>
                    <a:pt x="340360" y="1968"/>
                    <a:pt x="360363" y="1968"/>
                  </a:cubicBezTo>
                  <a:cubicBezTo>
                    <a:pt x="380302" y="1968"/>
                    <a:pt x="380428" y="3937"/>
                    <a:pt x="400367" y="3937"/>
                  </a:cubicBezTo>
                  <a:cubicBezTo>
                    <a:pt x="420306" y="3937"/>
                    <a:pt x="420433" y="1353"/>
                    <a:pt x="440436" y="1353"/>
                  </a:cubicBezTo>
                  <a:cubicBezTo>
                    <a:pt x="460375" y="1353"/>
                    <a:pt x="460501" y="5175"/>
                    <a:pt x="480440" y="5175"/>
                  </a:cubicBezTo>
                  <a:cubicBezTo>
                    <a:pt x="500443" y="5175"/>
                    <a:pt x="500507" y="1232"/>
                    <a:pt x="520509" y="1232"/>
                  </a:cubicBezTo>
                  <a:cubicBezTo>
                    <a:pt x="540448" y="1232"/>
                    <a:pt x="540576" y="0"/>
                    <a:pt x="560641" y="0"/>
                  </a:cubicBezTo>
                  <a:cubicBezTo>
                    <a:pt x="580771" y="0"/>
                    <a:pt x="580771" y="1848"/>
                    <a:pt x="600837" y="1848"/>
                  </a:cubicBezTo>
                  <a:cubicBezTo>
                    <a:pt x="620902" y="1848"/>
                    <a:pt x="620902" y="5175"/>
                    <a:pt x="640969" y="5175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E59EBE5-F243-0780-CB8A-7DFB04CC99A7}"/>
                </a:ext>
              </a:extLst>
            </p:cNvPr>
            <p:cNvSpPr/>
            <p:nvPr/>
          </p:nvSpPr>
          <p:spPr>
            <a:xfrm>
              <a:off x="9625647" y="1244161"/>
              <a:ext cx="635000" cy="5295"/>
            </a:xfrm>
            <a:custGeom>
              <a:avLst/>
              <a:gdLst>
                <a:gd name="connsiteX0" fmla="*/ 0 w 635000"/>
                <a:gd name="connsiteY0" fmla="*/ 857 h 5295"/>
                <a:gd name="connsiteX1" fmla="*/ 39688 w 635000"/>
                <a:gd name="connsiteY1" fmla="*/ 1721 h 5295"/>
                <a:gd name="connsiteX2" fmla="*/ 79375 w 635000"/>
                <a:gd name="connsiteY2" fmla="*/ 1105 h 5295"/>
                <a:gd name="connsiteX3" fmla="*/ 118999 w 635000"/>
                <a:gd name="connsiteY3" fmla="*/ 1721 h 5295"/>
                <a:gd name="connsiteX4" fmla="*/ 158686 w 635000"/>
                <a:gd name="connsiteY4" fmla="*/ 3816 h 5295"/>
                <a:gd name="connsiteX5" fmla="*/ 198374 w 635000"/>
                <a:gd name="connsiteY5" fmla="*/ 0 h 5295"/>
                <a:gd name="connsiteX6" fmla="*/ 238061 w 635000"/>
                <a:gd name="connsiteY6" fmla="*/ 4064 h 5295"/>
                <a:gd name="connsiteX7" fmla="*/ 277685 w 635000"/>
                <a:gd name="connsiteY7" fmla="*/ 4432 h 5295"/>
                <a:gd name="connsiteX8" fmla="*/ 317373 w 635000"/>
                <a:gd name="connsiteY8" fmla="*/ 2464 h 5295"/>
                <a:gd name="connsiteX9" fmla="*/ 357060 w 635000"/>
                <a:gd name="connsiteY9" fmla="*/ 2464 h 5295"/>
                <a:gd name="connsiteX10" fmla="*/ 396684 w 635000"/>
                <a:gd name="connsiteY10" fmla="*/ 616 h 5295"/>
                <a:gd name="connsiteX11" fmla="*/ 436372 w 635000"/>
                <a:gd name="connsiteY11" fmla="*/ 2089 h 5295"/>
                <a:gd name="connsiteX12" fmla="*/ 476059 w 635000"/>
                <a:gd name="connsiteY12" fmla="*/ 5296 h 5295"/>
                <a:gd name="connsiteX13" fmla="*/ 515747 w 635000"/>
                <a:gd name="connsiteY13" fmla="*/ 3696 h 5295"/>
                <a:gd name="connsiteX14" fmla="*/ 555372 w 635000"/>
                <a:gd name="connsiteY14" fmla="*/ 1721 h 5295"/>
                <a:gd name="connsiteX15" fmla="*/ 595185 w 635000"/>
                <a:gd name="connsiteY15" fmla="*/ 857 h 5295"/>
                <a:gd name="connsiteX16" fmla="*/ 635000 w 635000"/>
                <a:gd name="connsiteY16" fmla="*/ 3080 h 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5000" h="5295">
                  <a:moveTo>
                    <a:pt x="0" y="857"/>
                  </a:moveTo>
                  <a:cubicBezTo>
                    <a:pt x="19812" y="857"/>
                    <a:pt x="19812" y="1721"/>
                    <a:pt x="39688" y="1721"/>
                  </a:cubicBezTo>
                  <a:cubicBezTo>
                    <a:pt x="59499" y="1721"/>
                    <a:pt x="59499" y="1105"/>
                    <a:pt x="79375" y="1105"/>
                  </a:cubicBezTo>
                  <a:cubicBezTo>
                    <a:pt x="99187" y="1105"/>
                    <a:pt x="99187" y="1721"/>
                    <a:pt x="118999" y="1721"/>
                  </a:cubicBezTo>
                  <a:cubicBezTo>
                    <a:pt x="138874" y="1721"/>
                    <a:pt x="138874" y="3816"/>
                    <a:pt x="158686" y="3816"/>
                  </a:cubicBezTo>
                  <a:cubicBezTo>
                    <a:pt x="178498" y="3816"/>
                    <a:pt x="178498" y="0"/>
                    <a:pt x="198374" y="0"/>
                  </a:cubicBezTo>
                  <a:cubicBezTo>
                    <a:pt x="218186" y="0"/>
                    <a:pt x="218186" y="4064"/>
                    <a:pt x="238061" y="4064"/>
                  </a:cubicBezTo>
                  <a:cubicBezTo>
                    <a:pt x="257873" y="4064"/>
                    <a:pt x="257873" y="4432"/>
                    <a:pt x="277685" y="4432"/>
                  </a:cubicBezTo>
                  <a:cubicBezTo>
                    <a:pt x="297561" y="4432"/>
                    <a:pt x="297561" y="2464"/>
                    <a:pt x="317373" y="2464"/>
                  </a:cubicBezTo>
                  <a:cubicBezTo>
                    <a:pt x="337185" y="2464"/>
                    <a:pt x="337185" y="2464"/>
                    <a:pt x="357060" y="2464"/>
                  </a:cubicBezTo>
                  <a:cubicBezTo>
                    <a:pt x="376872" y="2464"/>
                    <a:pt x="376872" y="616"/>
                    <a:pt x="396684" y="616"/>
                  </a:cubicBezTo>
                  <a:cubicBezTo>
                    <a:pt x="416560" y="616"/>
                    <a:pt x="416560" y="2089"/>
                    <a:pt x="436372" y="2089"/>
                  </a:cubicBezTo>
                  <a:cubicBezTo>
                    <a:pt x="456247" y="2089"/>
                    <a:pt x="456247" y="5296"/>
                    <a:pt x="476059" y="5296"/>
                  </a:cubicBezTo>
                  <a:cubicBezTo>
                    <a:pt x="495871" y="5296"/>
                    <a:pt x="495871" y="3696"/>
                    <a:pt x="515747" y="3696"/>
                  </a:cubicBezTo>
                  <a:cubicBezTo>
                    <a:pt x="535559" y="3696"/>
                    <a:pt x="535559" y="1721"/>
                    <a:pt x="555372" y="1721"/>
                  </a:cubicBezTo>
                  <a:cubicBezTo>
                    <a:pt x="575246" y="1721"/>
                    <a:pt x="575246" y="857"/>
                    <a:pt x="595185" y="857"/>
                  </a:cubicBezTo>
                  <a:cubicBezTo>
                    <a:pt x="615125" y="857"/>
                    <a:pt x="614997" y="3080"/>
                    <a:pt x="635000" y="308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1076EA0-B5C3-5BA0-F940-4EFE0366F801}"/>
                </a:ext>
              </a:extLst>
            </p:cNvPr>
            <p:cNvSpPr/>
            <p:nvPr/>
          </p:nvSpPr>
          <p:spPr>
            <a:xfrm>
              <a:off x="9573323" y="1097667"/>
              <a:ext cx="522605" cy="520769"/>
            </a:xfrm>
            <a:custGeom>
              <a:avLst/>
              <a:gdLst>
                <a:gd name="connsiteX0" fmla="*/ 0 w 522605"/>
                <a:gd name="connsiteY0" fmla="*/ 520770 h 520769"/>
                <a:gd name="connsiteX1" fmla="*/ 28893 w 522605"/>
                <a:gd name="connsiteY1" fmla="*/ 491814 h 520769"/>
                <a:gd name="connsiteX2" fmla="*/ 56896 w 522605"/>
                <a:gd name="connsiteY2" fmla="*/ 462001 h 520769"/>
                <a:gd name="connsiteX3" fmla="*/ 87058 w 522605"/>
                <a:gd name="connsiteY3" fmla="*/ 434283 h 520769"/>
                <a:gd name="connsiteX4" fmla="*/ 115760 w 522605"/>
                <a:gd name="connsiteY4" fmla="*/ 405079 h 520769"/>
                <a:gd name="connsiteX5" fmla="*/ 142748 w 522605"/>
                <a:gd name="connsiteY5" fmla="*/ 374161 h 520769"/>
                <a:gd name="connsiteX6" fmla="*/ 173545 w 522605"/>
                <a:gd name="connsiteY6" fmla="*/ 347053 h 520769"/>
                <a:gd name="connsiteX7" fmla="*/ 199199 w 522605"/>
                <a:gd name="connsiteY7" fmla="*/ 314776 h 520769"/>
                <a:gd name="connsiteX8" fmla="*/ 230822 w 522605"/>
                <a:gd name="connsiteY8" fmla="*/ 288411 h 520769"/>
                <a:gd name="connsiteX9" fmla="*/ 261048 w 522605"/>
                <a:gd name="connsiteY9" fmla="*/ 260566 h 520769"/>
                <a:gd name="connsiteX10" fmla="*/ 290385 w 522605"/>
                <a:gd name="connsiteY10" fmla="*/ 231985 h 520769"/>
                <a:gd name="connsiteX11" fmla="*/ 316357 w 522605"/>
                <a:gd name="connsiteY11" fmla="*/ 199955 h 520769"/>
                <a:gd name="connsiteX12" fmla="*/ 344170 w 522605"/>
                <a:gd name="connsiteY12" fmla="*/ 169894 h 520769"/>
                <a:gd name="connsiteX13" fmla="*/ 374968 w 522605"/>
                <a:gd name="connsiteY13" fmla="*/ 142786 h 520769"/>
                <a:gd name="connsiteX14" fmla="*/ 402463 w 522605"/>
                <a:gd name="connsiteY14" fmla="*/ 112236 h 520769"/>
                <a:gd name="connsiteX15" fmla="*/ 431927 w 522605"/>
                <a:gd name="connsiteY15" fmla="*/ 83655 h 520769"/>
                <a:gd name="connsiteX16" fmla="*/ 464566 w 522605"/>
                <a:gd name="connsiteY16" fmla="*/ 58274 h 520769"/>
                <a:gd name="connsiteX17" fmla="*/ 491554 w 522605"/>
                <a:gd name="connsiteY17" fmla="*/ 27102 h 520769"/>
                <a:gd name="connsiteX18" fmla="*/ 522605 w 522605"/>
                <a:gd name="connsiteY18" fmla="*/ 0 h 52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22605" h="520769">
                  <a:moveTo>
                    <a:pt x="0" y="520770"/>
                  </a:moveTo>
                  <a:cubicBezTo>
                    <a:pt x="9589" y="511156"/>
                    <a:pt x="19241" y="501504"/>
                    <a:pt x="28893" y="491814"/>
                  </a:cubicBezTo>
                  <a:cubicBezTo>
                    <a:pt x="43307" y="477399"/>
                    <a:pt x="42482" y="476415"/>
                    <a:pt x="56896" y="462001"/>
                  </a:cubicBezTo>
                  <a:cubicBezTo>
                    <a:pt x="71310" y="447586"/>
                    <a:pt x="72644" y="448818"/>
                    <a:pt x="87058" y="434283"/>
                  </a:cubicBezTo>
                  <a:cubicBezTo>
                    <a:pt x="101473" y="419741"/>
                    <a:pt x="101219" y="419494"/>
                    <a:pt x="115760" y="405079"/>
                  </a:cubicBezTo>
                  <a:cubicBezTo>
                    <a:pt x="130302" y="390665"/>
                    <a:pt x="128207" y="388576"/>
                    <a:pt x="142748" y="374161"/>
                  </a:cubicBezTo>
                  <a:cubicBezTo>
                    <a:pt x="157290" y="359747"/>
                    <a:pt x="159004" y="361467"/>
                    <a:pt x="173545" y="347053"/>
                  </a:cubicBezTo>
                  <a:cubicBezTo>
                    <a:pt x="188087" y="332638"/>
                    <a:pt x="184658" y="329190"/>
                    <a:pt x="199199" y="314776"/>
                  </a:cubicBezTo>
                  <a:cubicBezTo>
                    <a:pt x="213741" y="300361"/>
                    <a:pt x="216281" y="302946"/>
                    <a:pt x="230822" y="288411"/>
                  </a:cubicBezTo>
                  <a:cubicBezTo>
                    <a:pt x="245364" y="273876"/>
                    <a:pt x="246507" y="275107"/>
                    <a:pt x="261048" y="260566"/>
                  </a:cubicBezTo>
                  <a:cubicBezTo>
                    <a:pt x="275590" y="246031"/>
                    <a:pt x="275844" y="246399"/>
                    <a:pt x="290385" y="231985"/>
                  </a:cubicBezTo>
                  <a:cubicBezTo>
                    <a:pt x="304864" y="217570"/>
                    <a:pt x="301816" y="214490"/>
                    <a:pt x="316357" y="199955"/>
                  </a:cubicBezTo>
                  <a:cubicBezTo>
                    <a:pt x="330898" y="185414"/>
                    <a:pt x="329629" y="184309"/>
                    <a:pt x="344170" y="169894"/>
                  </a:cubicBezTo>
                  <a:cubicBezTo>
                    <a:pt x="358711" y="155480"/>
                    <a:pt x="360426" y="157201"/>
                    <a:pt x="374968" y="142786"/>
                  </a:cubicBezTo>
                  <a:cubicBezTo>
                    <a:pt x="389509" y="128372"/>
                    <a:pt x="387921" y="126651"/>
                    <a:pt x="402463" y="112236"/>
                  </a:cubicBezTo>
                  <a:cubicBezTo>
                    <a:pt x="417005" y="97822"/>
                    <a:pt x="417385" y="98190"/>
                    <a:pt x="431927" y="83655"/>
                  </a:cubicBezTo>
                  <a:cubicBezTo>
                    <a:pt x="446469" y="69113"/>
                    <a:pt x="450024" y="72688"/>
                    <a:pt x="464566" y="58274"/>
                  </a:cubicBezTo>
                  <a:cubicBezTo>
                    <a:pt x="479108" y="43860"/>
                    <a:pt x="477012" y="41643"/>
                    <a:pt x="491554" y="27102"/>
                  </a:cubicBezTo>
                  <a:cubicBezTo>
                    <a:pt x="506095" y="12567"/>
                    <a:pt x="508064" y="14535"/>
                    <a:pt x="522605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8AF10E6-FD76-A90A-BCC8-288E6220A42D}"/>
                </a:ext>
              </a:extLst>
            </p:cNvPr>
            <p:cNvSpPr/>
            <p:nvPr/>
          </p:nvSpPr>
          <p:spPr>
            <a:xfrm>
              <a:off x="11237086" y="575676"/>
              <a:ext cx="3547364" cy="6160"/>
            </a:xfrm>
            <a:custGeom>
              <a:avLst/>
              <a:gdLst>
                <a:gd name="connsiteX0" fmla="*/ 0 w 3547364"/>
                <a:gd name="connsiteY0" fmla="*/ 3696 h 6160"/>
                <a:gd name="connsiteX1" fmla="*/ 40322 w 3547364"/>
                <a:gd name="connsiteY1" fmla="*/ 1601 h 6160"/>
                <a:gd name="connsiteX2" fmla="*/ 80582 w 3547364"/>
                <a:gd name="connsiteY2" fmla="*/ 5175 h 6160"/>
                <a:gd name="connsiteX3" fmla="*/ 120904 w 3547364"/>
                <a:gd name="connsiteY3" fmla="*/ 5175 h 6160"/>
                <a:gd name="connsiteX4" fmla="*/ 161163 w 3547364"/>
                <a:gd name="connsiteY4" fmla="*/ 4435 h 6160"/>
                <a:gd name="connsiteX5" fmla="*/ 201485 w 3547364"/>
                <a:gd name="connsiteY5" fmla="*/ 4435 h 6160"/>
                <a:gd name="connsiteX6" fmla="*/ 241744 w 3547364"/>
                <a:gd name="connsiteY6" fmla="*/ 5051 h 6160"/>
                <a:gd name="connsiteX7" fmla="*/ 282004 w 3547364"/>
                <a:gd name="connsiteY7" fmla="*/ 3820 h 6160"/>
                <a:gd name="connsiteX8" fmla="*/ 322326 w 3547364"/>
                <a:gd name="connsiteY8" fmla="*/ 1355 h 6160"/>
                <a:gd name="connsiteX9" fmla="*/ 362585 w 3547364"/>
                <a:gd name="connsiteY9" fmla="*/ 5051 h 6160"/>
                <a:gd name="connsiteX10" fmla="*/ 402907 w 3547364"/>
                <a:gd name="connsiteY10" fmla="*/ 3204 h 6160"/>
                <a:gd name="connsiteX11" fmla="*/ 443167 w 3547364"/>
                <a:gd name="connsiteY11" fmla="*/ 1109 h 6160"/>
                <a:gd name="connsiteX12" fmla="*/ 483489 w 3547364"/>
                <a:gd name="connsiteY12" fmla="*/ 3820 h 6160"/>
                <a:gd name="connsiteX13" fmla="*/ 523748 w 3547364"/>
                <a:gd name="connsiteY13" fmla="*/ 2711 h 6160"/>
                <a:gd name="connsiteX14" fmla="*/ 564007 w 3547364"/>
                <a:gd name="connsiteY14" fmla="*/ 1601 h 6160"/>
                <a:gd name="connsiteX15" fmla="*/ 604330 w 3547364"/>
                <a:gd name="connsiteY15" fmla="*/ 0 h 6160"/>
                <a:gd name="connsiteX16" fmla="*/ 644589 w 3547364"/>
                <a:gd name="connsiteY16" fmla="*/ 0 h 6160"/>
                <a:gd name="connsiteX17" fmla="*/ 684911 w 3547364"/>
                <a:gd name="connsiteY17" fmla="*/ 4435 h 6160"/>
                <a:gd name="connsiteX18" fmla="*/ 725170 w 3547364"/>
                <a:gd name="connsiteY18" fmla="*/ 1109 h 6160"/>
                <a:gd name="connsiteX19" fmla="*/ 765493 w 3547364"/>
                <a:gd name="connsiteY19" fmla="*/ 4805 h 6160"/>
                <a:gd name="connsiteX20" fmla="*/ 805752 w 3547364"/>
                <a:gd name="connsiteY20" fmla="*/ 2464 h 6160"/>
                <a:gd name="connsiteX21" fmla="*/ 846074 w 3547364"/>
                <a:gd name="connsiteY21" fmla="*/ 2957 h 6160"/>
                <a:gd name="connsiteX22" fmla="*/ 886333 w 3547364"/>
                <a:gd name="connsiteY22" fmla="*/ 1478 h 6160"/>
                <a:gd name="connsiteX23" fmla="*/ 926592 w 3547364"/>
                <a:gd name="connsiteY23" fmla="*/ 739 h 6160"/>
                <a:gd name="connsiteX24" fmla="*/ 966915 w 3547364"/>
                <a:gd name="connsiteY24" fmla="*/ 2094 h 6160"/>
                <a:gd name="connsiteX25" fmla="*/ 1007173 w 3547364"/>
                <a:gd name="connsiteY25" fmla="*/ 4805 h 6160"/>
                <a:gd name="connsiteX26" fmla="*/ 1047496 w 3547364"/>
                <a:gd name="connsiteY26" fmla="*/ 4805 h 6160"/>
                <a:gd name="connsiteX27" fmla="*/ 1087755 w 3547364"/>
                <a:gd name="connsiteY27" fmla="*/ 5175 h 6160"/>
                <a:gd name="connsiteX28" fmla="*/ 1128078 w 3547364"/>
                <a:gd name="connsiteY28" fmla="*/ 2464 h 6160"/>
                <a:gd name="connsiteX29" fmla="*/ 1168337 w 3547364"/>
                <a:gd name="connsiteY29" fmla="*/ 4066 h 6160"/>
                <a:gd name="connsiteX30" fmla="*/ 1208595 w 3547364"/>
                <a:gd name="connsiteY30" fmla="*/ 370 h 6160"/>
                <a:gd name="connsiteX31" fmla="*/ 1248918 w 3547364"/>
                <a:gd name="connsiteY31" fmla="*/ 3327 h 6160"/>
                <a:gd name="connsiteX32" fmla="*/ 1289177 w 3547364"/>
                <a:gd name="connsiteY32" fmla="*/ 2957 h 6160"/>
                <a:gd name="connsiteX33" fmla="*/ 1329500 w 3547364"/>
                <a:gd name="connsiteY33" fmla="*/ 5667 h 6160"/>
                <a:gd name="connsiteX34" fmla="*/ 1369758 w 3547364"/>
                <a:gd name="connsiteY34" fmla="*/ 1601 h 6160"/>
                <a:gd name="connsiteX35" fmla="*/ 1410081 w 3547364"/>
                <a:gd name="connsiteY35" fmla="*/ 246 h 6160"/>
                <a:gd name="connsiteX36" fmla="*/ 1450340 w 3547364"/>
                <a:gd name="connsiteY36" fmla="*/ 2711 h 6160"/>
                <a:gd name="connsiteX37" fmla="*/ 1490599 w 3547364"/>
                <a:gd name="connsiteY37" fmla="*/ 3696 h 6160"/>
                <a:gd name="connsiteX38" fmla="*/ 1530921 w 3547364"/>
                <a:gd name="connsiteY38" fmla="*/ 2834 h 6160"/>
                <a:gd name="connsiteX39" fmla="*/ 1571181 w 3547364"/>
                <a:gd name="connsiteY39" fmla="*/ 493 h 6160"/>
                <a:gd name="connsiteX40" fmla="*/ 1611503 w 3547364"/>
                <a:gd name="connsiteY40" fmla="*/ 4682 h 6160"/>
                <a:gd name="connsiteX41" fmla="*/ 1651762 w 3547364"/>
                <a:gd name="connsiteY41" fmla="*/ 1232 h 6160"/>
                <a:gd name="connsiteX42" fmla="*/ 1692084 w 3547364"/>
                <a:gd name="connsiteY42" fmla="*/ 1232 h 6160"/>
                <a:gd name="connsiteX43" fmla="*/ 1732344 w 3547364"/>
                <a:gd name="connsiteY43" fmla="*/ 2587 h 6160"/>
                <a:gd name="connsiteX44" fmla="*/ 1772603 w 3547364"/>
                <a:gd name="connsiteY44" fmla="*/ 2094 h 6160"/>
                <a:gd name="connsiteX45" fmla="*/ 1812926 w 3547364"/>
                <a:gd name="connsiteY45" fmla="*/ 2711 h 6160"/>
                <a:gd name="connsiteX46" fmla="*/ 1853184 w 3547364"/>
                <a:gd name="connsiteY46" fmla="*/ 3080 h 6160"/>
                <a:gd name="connsiteX47" fmla="*/ 1893507 w 3547364"/>
                <a:gd name="connsiteY47" fmla="*/ 5914 h 6160"/>
                <a:gd name="connsiteX48" fmla="*/ 1933765 w 3547364"/>
                <a:gd name="connsiteY48" fmla="*/ 2464 h 6160"/>
                <a:gd name="connsiteX49" fmla="*/ 1974088 w 3547364"/>
                <a:gd name="connsiteY49" fmla="*/ 1232 h 6160"/>
                <a:gd name="connsiteX50" fmla="*/ 2014348 w 3547364"/>
                <a:gd name="connsiteY50" fmla="*/ 4928 h 6160"/>
                <a:gd name="connsiteX51" fmla="*/ 2054669 w 3547364"/>
                <a:gd name="connsiteY51" fmla="*/ 4805 h 6160"/>
                <a:gd name="connsiteX52" fmla="*/ 2094929 w 3547364"/>
                <a:gd name="connsiteY52" fmla="*/ 1355 h 6160"/>
                <a:gd name="connsiteX53" fmla="*/ 2135188 w 3547364"/>
                <a:gd name="connsiteY53" fmla="*/ 5421 h 6160"/>
                <a:gd name="connsiteX54" fmla="*/ 2175510 w 3547364"/>
                <a:gd name="connsiteY54" fmla="*/ 1109 h 6160"/>
                <a:gd name="connsiteX55" fmla="*/ 2215770 w 3547364"/>
                <a:gd name="connsiteY55" fmla="*/ 1601 h 6160"/>
                <a:gd name="connsiteX56" fmla="*/ 2256091 w 3547364"/>
                <a:gd name="connsiteY56" fmla="*/ 1601 h 6160"/>
                <a:gd name="connsiteX57" fmla="*/ 2296351 w 3547364"/>
                <a:gd name="connsiteY57" fmla="*/ 3820 h 6160"/>
                <a:gd name="connsiteX58" fmla="*/ 2336674 w 3547364"/>
                <a:gd name="connsiteY58" fmla="*/ 1971 h 6160"/>
                <a:gd name="connsiteX59" fmla="*/ 2377059 w 3547364"/>
                <a:gd name="connsiteY59" fmla="*/ 1725 h 6160"/>
                <a:gd name="connsiteX60" fmla="*/ 2417318 w 3547364"/>
                <a:gd name="connsiteY60" fmla="*/ 4066 h 6160"/>
                <a:gd name="connsiteX61" fmla="*/ 2457640 w 3547364"/>
                <a:gd name="connsiteY61" fmla="*/ 3450 h 6160"/>
                <a:gd name="connsiteX62" fmla="*/ 2497900 w 3547364"/>
                <a:gd name="connsiteY62" fmla="*/ 6160 h 6160"/>
                <a:gd name="connsiteX63" fmla="*/ 2538223 w 3547364"/>
                <a:gd name="connsiteY63" fmla="*/ 5298 h 6160"/>
                <a:gd name="connsiteX64" fmla="*/ 2578481 w 3547364"/>
                <a:gd name="connsiteY64" fmla="*/ 3450 h 6160"/>
                <a:gd name="connsiteX65" fmla="*/ 2618804 w 3547364"/>
                <a:gd name="connsiteY65" fmla="*/ 3696 h 6160"/>
                <a:gd name="connsiteX66" fmla="*/ 2659189 w 3547364"/>
                <a:gd name="connsiteY66" fmla="*/ 4682 h 6160"/>
                <a:gd name="connsiteX67" fmla="*/ 2699449 w 3547364"/>
                <a:gd name="connsiteY67" fmla="*/ 4312 h 6160"/>
                <a:gd name="connsiteX68" fmla="*/ 2739899 w 3547364"/>
                <a:gd name="connsiteY68" fmla="*/ 6160 h 6160"/>
                <a:gd name="connsiteX69" fmla="*/ 2780157 w 3547364"/>
                <a:gd name="connsiteY69" fmla="*/ 5914 h 6160"/>
                <a:gd name="connsiteX70" fmla="*/ 2820543 w 3547364"/>
                <a:gd name="connsiteY70" fmla="*/ 2957 h 6160"/>
                <a:gd name="connsiteX71" fmla="*/ 2860992 w 3547364"/>
                <a:gd name="connsiteY71" fmla="*/ 4559 h 6160"/>
                <a:gd name="connsiteX72" fmla="*/ 2901252 w 3547364"/>
                <a:gd name="connsiteY72" fmla="*/ 2464 h 6160"/>
                <a:gd name="connsiteX73" fmla="*/ 2941575 w 3547364"/>
                <a:gd name="connsiteY73" fmla="*/ 6037 h 6160"/>
                <a:gd name="connsiteX74" fmla="*/ 2981960 w 3547364"/>
                <a:gd name="connsiteY74" fmla="*/ 6037 h 6160"/>
                <a:gd name="connsiteX75" fmla="*/ 3022283 w 3547364"/>
                <a:gd name="connsiteY75" fmla="*/ 3820 h 6160"/>
                <a:gd name="connsiteX76" fmla="*/ 3062668 w 3547364"/>
                <a:gd name="connsiteY76" fmla="*/ 5914 h 6160"/>
                <a:gd name="connsiteX77" fmla="*/ 3102928 w 3547364"/>
                <a:gd name="connsiteY77" fmla="*/ 2094 h 6160"/>
                <a:gd name="connsiteX78" fmla="*/ 3143376 w 3547364"/>
                <a:gd name="connsiteY78" fmla="*/ 1848 h 6160"/>
                <a:gd name="connsiteX79" fmla="*/ 3183763 w 3547364"/>
                <a:gd name="connsiteY79" fmla="*/ 2711 h 6160"/>
                <a:gd name="connsiteX80" fmla="*/ 3224150 w 3547364"/>
                <a:gd name="connsiteY80" fmla="*/ 246 h 6160"/>
                <a:gd name="connsiteX81" fmla="*/ 3264599 w 3547364"/>
                <a:gd name="connsiteY81" fmla="*/ 1478 h 6160"/>
                <a:gd name="connsiteX82" fmla="*/ 3304985 w 3547364"/>
                <a:gd name="connsiteY82" fmla="*/ 862 h 6160"/>
                <a:gd name="connsiteX83" fmla="*/ 3345307 w 3547364"/>
                <a:gd name="connsiteY83" fmla="*/ 2834 h 6160"/>
                <a:gd name="connsiteX84" fmla="*/ 3385693 w 3547364"/>
                <a:gd name="connsiteY84" fmla="*/ 4928 h 6160"/>
                <a:gd name="connsiteX85" fmla="*/ 3426079 w 3547364"/>
                <a:gd name="connsiteY85" fmla="*/ 3450 h 6160"/>
                <a:gd name="connsiteX86" fmla="*/ 3466529 w 3547364"/>
                <a:gd name="connsiteY86" fmla="*/ 4312 h 6160"/>
                <a:gd name="connsiteX87" fmla="*/ 3506914 w 3547364"/>
                <a:gd name="connsiteY87" fmla="*/ 1971 h 6160"/>
                <a:gd name="connsiteX88" fmla="*/ 3547364 w 3547364"/>
                <a:gd name="connsiteY88" fmla="*/ 2464 h 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3547364" h="6160">
                  <a:moveTo>
                    <a:pt x="0" y="3696"/>
                  </a:moveTo>
                  <a:cubicBezTo>
                    <a:pt x="20257" y="3696"/>
                    <a:pt x="20257" y="1601"/>
                    <a:pt x="40322" y="1601"/>
                  </a:cubicBezTo>
                  <a:cubicBezTo>
                    <a:pt x="60389" y="1601"/>
                    <a:pt x="60516" y="5175"/>
                    <a:pt x="80582" y="5175"/>
                  </a:cubicBezTo>
                  <a:cubicBezTo>
                    <a:pt x="100711" y="5175"/>
                    <a:pt x="100774" y="5175"/>
                    <a:pt x="120904" y="5175"/>
                  </a:cubicBezTo>
                  <a:cubicBezTo>
                    <a:pt x="140970" y="5175"/>
                    <a:pt x="141097" y="4435"/>
                    <a:pt x="161163" y="4435"/>
                  </a:cubicBezTo>
                  <a:cubicBezTo>
                    <a:pt x="181229" y="4435"/>
                    <a:pt x="181356" y="4435"/>
                    <a:pt x="201485" y="4435"/>
                  </a:cubicBezTo>
                  <a:cubicBezTo>
                    <a:pt x="221552" y="4435"/>
                    <a:pt x="221679" y="5051"/>
                    <a:pt x="241744" y="5051"/>
                  </a:cubicBezTo>
                  <a:cubicBezTo>
                    <a:pt x="261810" y="5051"/>
                    <a:pt x="261938" y="3820"/>
                    <a:pt x="282004" y="3820"/>
                  </a:cubicBezTo>
                  <a:cubicBezTo>
                    <a:pt x="302133" y="3820"/>
                    <a:pt x="302260" y="1355"/>
                    <a:pt x="322326" y="1355"/>
                  </a:cubicBezTo>
                  <a:cubicBezTo>
                    <a:pt x="342392" y="1355"/>
                    <a:pt x="342519" y="5051"/>
                    <a:pt x="362585" y="5051"/>
                  </a:cubicBezTo>
                  <a:cubicBezTo>
                    <a:pt x="382715" y="5051"/>
                    <a:pt x="382778" y="3204"/>
                    <a:pt x="402907" y="3204"/>
                  </a:cubicBezTo>
                  <a:cubicBezTo>
                    <a:pt x="422973" y="3204"/>
                    <a:pt x="423101" y="1109"/>
                    <a:pt x="443167" y="1109"/>
                  </a:cubicBezTo>
                  <a:cubicBezTo>
                    <a:pt x="463232" y="1109"/>
                    <a:pt x="463359" y="3820"/>
                    <a:pt x="483489" y="3820"/>
                  </a:cubicBezTo>
                  <a:cubicBezTo>
                    <a:pt x="503555" y="3820"/>
                    <a:pt x="503682" y="2711"/>
                    <a:pt x="523748" y="2711"/>
                  </a:cubicBezTo>
                  <a:cubicBezTo>
                    <a:pt x="543814" y="2711"/>
                    <a:pt x="543941" y="1601"/>
                    <a:pt x="564007" y="1601"/>
                  </a:cubicBezTo>
                  <a:cubicBezTo>
                    <a:pt x="584136" y="1601"/>
                    <a:pt x="584264" y="0"/>
                    <a:pt x="604330" y="0"/>
                  </a:cubicBezTo>
                  <a:cubicBezTo>
                    <a:pt x="624395" y="0"/>
                    <a:pt x="624522" y="0"/>
                    <a:pt x="644589" y="0"/>
                  </a:cubicBezTo>
                  <a:cubicBezTo>
                    <a:pt x="664718" y="0"/>
                    <a:pt x="664845" y="4435"/>
                    <a:pt x="684911" y="4435"/>
                  </a:cubicBezTo>
                  <a:cubicBezTo>
                    <a:pt x="704977" y="4435"/>
                    <a:pt x="705104" y="1109"/>
                    <a:pt x="725170" y="1109"/>
                  </a:cubicBezTo>
                  <a:cubicBezTo>
                    <a:pt x="745236" y="1109"/>
                    <a:pt x="745363" y="4805"/>
                    <a:pt x="765493" y="4805"/>
                  </a:cubicBezTo>
                  <a:cubicBezTo>
                    <a:pt x="785558" y="4805"/>
                    <a:pt x="785685" y="2464"/>
                    <a:pt x="805752" y="2464"/>
                  </a:cubicBezTo>
                  <a:cubicBezTo>
                    <a:pt x="825818" y="2464"/>
                    <a:pt x="825944" y="2957"/>
                    <a:pt x="846074" y="2957"/>
                  </a:cubicBezTo>
                  <a:cubicBezTo>
                    <a:pt x="866140" y="2957"/>
                    <a:pt x="866267" y="1478"/>
                    <a:pt x="886333" y="1478"/>
                  </a:cubicBezTo>
                  <a:cubicBezTo>
                    <a:pt x="906399" y="1478"/>
                    <a:pt x="906526" y="739"/>
                    <a:pt x="926592" y="739"/>
                  </a:cubicBezTo>
                  <a:cubicBezTo>
                    <a:pt x="946721" y="739"/>
                    <a:pt x="946848" y="2094"/>
                    <a:pt x="966915" y="2094"/>
                  </a:cubicBezTo>
                  <a:cubicBezTo>
                    <a:pt x="986981" y="2094"/>
                    <a:pt x="987107" y="4805"/>
                    <a:pt x="1007173" y="4805"/>
                  </a:cubicBezTo>
                  <a:cubicBezTo>
                    <a:pt x="1027240" y="4805"/>
                    <a:pt x="1027367" y="4805"/>
                    <a:pt x="1047496" y="4805"/>
                  </a:cubicBezTo>
                  <a:cubicBezTo>
                    <a:pt x="1067562" y="4805"/>
                    <a:pt x="1067689" y="5175"/>
                    <a:pt x="1087755" y="5175"/>
                  </a:cubicBezTo>
                  <a:cubicBezTo>
                    <a:pt x="1107821" y="5175"/>
                    <a:pt x="1107948" y="2464"/>
                    <a:pt x="1128078" y="2464"/>
                  </a:cubicBezTo>
                  <a:cubicBezTo>
                    <a:pt x="1148144" y="2464"/>
                    <a:pt x="1148270" y="4066"/>
                    <a:pt x="1168337" y="4066"/>
                  </a:cubicBezTo>
                  <a:cubicBezTo>
                    <a:pt x="1188403" y="4066"/>
                    <a:pt x="1188530" y="370"/>
                    <a:pt x="1208595" y="370"/>
                  </a:cubicBezTo>
                  <a:cubicBezTo>
                    <a:pt x="1228725" y="370"/>
                    <a:pt x="1228852" y="3327"/>
                    <a:pt x="1248918" y="3327"/>
                  </a:cubicBezTo>
                  <a:cubicBezTo>
                    <a:pt x="1268984" y="3327"/>
                    <a:pt x="1269111" y="2957"/>
                    <a:pt x="1289177" y="2957"/>
                  </a:cubicBezTo>
                  <a:cubicBezTo>
                    <a:pt x="1309307" y="2957"/>
                    <a:pt x="1309370" y="5667"/>
                    <a:pt x="1329500" y="5667"/>
                  </a:cubicBezTo>
                  <a:cubicBezTo>
                    <a:pt x="1349566" y="5667"/>
                    <a:pt x="1349566" y="1601"/>
                    <a:pt x="1369758" y="1601"/>
                  </a:cubicBezTo>
                  <a:cubicBezTo>
                    <a:pt x="1389952" y="1601"/>
                    <a:pt x="1389825" y="246"/>
                    <a:pt x="1410081" y="246"/>
                  </a:cubicBezTo>
                  <a:cubicBezTo>
                    <a:pt x="1430274" y="246"/>
                    <a:pt x="1430147" y="2711"/>
                    <a:pt x="1450340" y="2711"/>
                  </a:cubicBezTo>
                  <a:cubicBezTo>
                    <a:pt x="1470533" y="2711"/>
                    <a:pt x="1470406" y="3696"/>
                    <a:pt x="1490599" y="3696"/>
                  </a:cubicBezTo>
                  <a:cubicBezTo>
                    <a:pt x="1510856" y="3696"/>
                    <a:pt x="1510729" y="2834"/>
                    <a:pt x="1530921" y="2834"/>
                  </a:cubicBezTo>
                  <a:cubicBezTo>
                    <a:pt x="1551115" y="2834"/>
                    <a:pt x="1550988" y="493"/>
                    <a:pt x="1571181" y="493"/>
                  </a:cubicBezTo>
                  <a:cubicBezTo>
                    <a:pt x="1591373" y="493"/>
                    <a:pt x="1591373" y="4682"/>
                    <a:pt x="1611503" y="4682"/>
                  </a:cubicBezTo>
                  <a:cubicBezTo>
                    <a:pt x="1631569" y="4682"/>
                    <a:pt x="1631696" y="1232"/>
                    <a:pt x="1651762" y="1232"/>
                  </a:cubicBezTo>
                  <a:cubicBezTo>
                    <a:pt x="1671828" y="1232"/>
                    <a:pt x="1671955" y="1232"/>
                    <a:pt x="1692084" y="1232"/>
                  </a:cubicBezTo>
                  <a:cubicBezTo>
                    <a:pt x="1712151" y="1232"/>
                    <a:pt x="1712278" y="2587"/>
                    <a:pt x="1732344" y="2587"/>
                  </a:cubicBezTo>
                  <a:cubicBezTo>
                    <a:pt x="1752409" y="2587"/>
                    <a:pt x="1752409" y="2094"/>
                    <a:pt x="1772603" y="2094"/>
                  </a:cubicBezTo>
                  <a:cubicBezTo>
                    <a:pt x="1792859" y="2094"/>
                    <a:pt x="1792732" y="2711"/>
                    <a:pt x="1812926" y="2711"/>
                  </a:cubicBezTo>
                  <a:cubicBezTo>
                    <a:pt x="1833118" y="2711"/>
                    <a:pt x="1832991" y="3080"/>
                    <a:pt x="1853184" y="3080"/>
                  </a:cubicBezTo>
                  <a:cubicBezTo>
                    <a:pt x="1873440" y="3080"/>
                    <a:pt x="1873440" y="5914"/>
                    <a:pt x="1893507" y="5914"/>
                  </a:cubicBezTo>
                  <a:cubicBezTo>
                    <a:pt x="1913572" y="5914"/>
                    <a:pt x="1913700" y="2464"/>
                    <a:pt x="1933765" y="2464"/>
                  </a:cubicBezTo>
                  <a:cubicBezTo>
                    <a:pt x="1953832" y="2464"/>
                    <a:pt x="1953959" y="1232"/>
                    <a:pt x="1974088" y="1232"/>
                  </a:cubicBezTo>
                  <a:cubicBezTo>
                    <a:pt x="1994154" y="1232"/>
                    <a:pt x="1994281" y="4928"/>
                    <a:pt x="2014348" y="4928"/>
                  </a:cubicBezTo>
                  <a:cubicBezTo>
                    <a:pt x="2034413" y="4928"/>
                    <a:pt x="2034540" y="4805"/>
                    <a:pt x="2054669" y="4805"/>
                  </a:cubicBezTo>
                  <a:cubicBezTo>
                    <a:pt x="2074736" y="4805"/>
                    <a:pt x="2074863" y="1355"/>
                    <a:pt x="2094929" y="1355"/>
                  </a:cubicBezTo>
                  <a:cubicBezTo>
                    <a:pt x="2114994" y="1355"/>
                    <a:pt x="2115121" y="5421"/>
                    <a:pt x="2135188" y="5421"/>
                  </a:cubicBezTo>
                  <a:cubicBezTo>
                    <a:pt x="2155317" y="5421"/>
                    <a:pt x="2155445" y="1109"/>
                    <a:pt x="2175510" y="1109"/>
                  </a:cubicBezTo>
                  <a:cubicBezTo>
                    <a:pt x="2195575" y="1109"/>
                    <a:pt x="2195703" y="1601"/>
                    <a:pt x="2215770" y="1601"/>
                  </a:cubicBezTo>
                  <a:cubicBezTo>
                    <a:pt x="2235835" y="1601"/>
                    <a:pt x="2235962" y="1601"/>
                    <a:pt x="2256091" y="1601"/>
                  </a:cubicBezTo>
                  <a:cubicBezTo>
                    <a:pt x="2276158" y="1601"/>
                    <a:pt x="2276285" y="3820"/>
                    <a:pt x="2296351" y="3820"/>
                  </a:cubicBezTo>
                  <a:cubicBezTo>
                    <a:pt x="2316416" y="3820"/>
                    <a:pt x="2316543" y="1971"/>
                    <a:pt x="2336674" y="1971"/>
                  </a:cubicBezTo>
                  <a:cubicBezTo>
                    <a:pt x="2356739" y="1971"/>
                    <a:pt x="2356866" y="1725"/>
                    <a:pt x="2377059" y="1725"/>
                  </a:cubicBezTo>
                  <a:cubicBezTo>
                    <a:pt x="2397251" y="1725"/>
                    <a:pt x="2397251" y="4066"/>
                    <a:pt x="2417318" y="4066"/>
                  </a:cubicBezTo>
                  <a:cubicBezTo>
                    <a:pt x="2437447" y="4066"/>
                    <a:pt x="2437575" y="3450"/>
                    <a:pt x="2457640" y="3450"/>
                  </a:cubicBezTo>
                  <a:cubicBezTo>
                    <a:pt x="2477707" y="3450"/>
                    <a:pt x="2477834" y="6160"/>
                    <a:pt x="2497900" y="6160"/>
                  </a:cubicBezTo>
                  <a:cubicBezTo>
                    <a:pt x="2517965" y="6160"/>
                    <a:pt x="2518092" y="5298"/>
                    <a:pt x="2538223" y="5298"/>
                  </a:cubicBezTo>
                  <a:cubicBezTo>
                    <a:pt x="2558288" y="5298"/>
                    <a:pt x="2558415" y="3450"/>
                    <a:pt x="2578481" y="3450"/>
                  </a:cubicBezTo>
                  <a:cubicBezTo>
                    <a:pt x="2598548" y="3450"/>
                    <a:pt x="2598675" y="3696"/>
                    <a:pt x="2618804" y="3696"/>
                  </a:cubicBezTo>
                  <a:cubicBezTo>
                    <a:pt x="2638869" y="3696"/>
                    <a:pt x="2638996" y="4682"/>
                    <a:pt x="2659189" y="4682"/>
                  </a:cubicBezTo>
                  <a:cubicBezTo>
                    <a:pt x="2679383" y="4682"/>
                    <a:pt x="2679383" y="4312"/>
                    <a:pt x="2699449" y="4312"/>
                  </a:cubicBezTo>
                  <a:cubicBezTo>
                    <a:pt x="2719578" y="4312"/>
                    <a:pt x="2719705" y="6160"/>
                    <a:pt x="2739899" y="6160"/>
                  </a:cubicBezTo>
                  <a:cubicBezTo>
                    <a:pt x="2760091" y="6160"/>
                    <a:pt x="2760091" y="5914"/>
                    <a:pt x="2780157" y="5914"/>
                  </a:cubicBezTo>
                  <a:cubicBezTo>
                    <a:pt x="2800224" y="5914"/>
                    <a:pt x="2800351" y="2957"/>
                    <a:pt x="2820543" y="2957"/>
                  </a:cubicBezTo>
                  <a:cubicBezTo>
                    <a:pt x="2840800" y="2957"/>
                    <a:pt x="2840800" y="4559"/>
                    <a:pt x="2860992" y="4559"/>
                  </a:cubicBezTo>
                  <a:cubicBezTo>
                    <a:pt x="2881186" y="4559"/>
                    <a:pt x="2881059" y="2464"/>
                    <a:pt x="2901252" y="2464"/>
                  </a:cubicBezTo>
                  <a:cubicBezTo>
                    <a:pt x="2921444" y="2464"/>
                    <a:pt x="2921444" y="6037"/>
                    <a:pt x="2941575" y="6037"/>
                  </a:cubicBezTo>
                  <a:cubicBezTo>
                    <a:pt x="2961640" y="6037"/>
                    <a:pt x="2961767" y="6037"/>
                    <a:pt x="2981960" y="6037"/>
                  </a:cubicBezTo>
                  <a:cubicBezTo>
                    <a:pt x="3002153" y="6037"/>
                    <a:pt x="3002153" y="3820"/>
                    <a:pt x="3022283" y="3820"/>
                  </a:cubicBezTo>
                  <a:cubicBezTo>
                    <a:pt x="3042349" y="3820"/>
                    <a:pt x="3042476" y="5914"/>
                    <a:pt x="3062668" y="5914"/>
                  </a:cubicBezTo>
                  <a:cubicBezTo>
                    <a:pt x="3082862" y="5914"/>
                    <a:pt x="3082862" y="2094"/>
                    <a:pt x="3102928" y="2094"/>
                  </a:cubicBezTo>
                  <a:cubicBezTo>
                    <a:pt x="3123057" y="2094"/>
                    <a:pt x="3123184" y="1848"/>
                    <a:pt x="3143376" y="1848"/>
                  </a:cubicBezTo>
                  <a:cubicBezTo>
                    <a:pt x="3163571" y="1848"/>
                    <a:pt x="3163571" y="2711"/>
                    <a:pt x="3183763" y="2711"/>
                  </a:cubicBezTo>
                  <a:cubicBezTo>
                    <a:pt x="3203956" y="2711"/>
                    <a:pt x="3203956" y="246"/>
                    <a:pt x="3224150" y="246"/>
                  </a:cubicBezTo>
                  <a:cubicBezTo>
                    <a:pt x="3244406" y="246"/>
                    <a:pt x="3244406" y="1478"/>
                    <a:pt x="3264599" y="1478"/>
                  </a:cubicBezTo>
                  <a:cubicBezTo>
                    <a:pt x="3284791" y="1478"/>
                    <a:pt x="3284791" y="862"/>
                    <a:pt x="3304985" y="862"/>
                  </a:cubicBezTo>
                  <a:cubicBezTo>
                    <a:pt x="3325178" y="862"/>
                    <a:pt x="3325178" y="2834"/>
                    <a:pt x="3345307" y="2834"/>
                  </a:cubicBezTo>
                  <a:cubicBezTo>
                    <a:pt x="3365374" y="2834"/>
                    <a:pt x="3365501" y="4928"/>
                    <a:pt x="3385693" y="4928"/>
                  </a:cubicBezTo>
                  <a:cubicBezTo>
                    <a:pt x="3405886" y="4928"/>
                    <a:pt x="3405886" y="3450"/>
                    <a:pt x="3426079" y="3450"/>
                  </a:cubicBezTo>
                  <a:cubicBezTo>
                    <a:pt x="3446336" y="3450"/>
                    <a:pt x="3446336" y="4312"/>
                    <a:pt x="3466529" y="4312"/>
                  </a:cubicBezTo>
                  <a:cubicBezTo>
                    <a:pt x="3486721" y="4312"/>
                    <a:pt x="3486721" y="1971"/>
                    <a:pt x="3506914" y="1971"/>
                  </a:cubicBezTo>
                  <a:cubicBezTo>
                    <a:pt x="3527108" y="1971"/>
                    <a:pt x="3527108" y="2464"/>
                    <a:pt x="3547364" y="246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EA4F715-8352-0C2C-F1B1-E2838B8186EA}"/>
                </a:ext>
              </a:extLst>
            </p:cNvPr>
            <p:cNvSpPr/>
            <p:nvPr/>
          </p:nvSpPr>
          <p:spPr>
            <a:xfrm>
              <a:off x="6592050" y="574786"/>
              <a:ext cx="9346640" cy="1189131"/>
            </a:xfrm>
            <a:custGeom>
              <a:avLst/>
              <a:gdLst>
                <a:gd name="connsiteX0" fmla="*/ 9346640 w 9346640"/>
                <a:gd name="connsiteY0" fmla="*/ 1155893 h 1189131"/>
                <a:gd name="connsiteX1" fmla="*/ 9316795 w 9346640"/>
                <a:gd name="connsiteY1" fmla="*/ 1128169 h 1189131"/>
                <a:gd name="connsiteX2" fmla="*/ 9288727 w 9346640"/>
                <a:gd name="connsiteY2" fmla="*/ 1098724 h 1189131"/>
                <a:gd name="connsiteX3" fmla="*/ 9260025 w 9346640"/>
                <a:gd name="connsiteY3" fmla="*/ 1069895 h 1189131"/>
                <a:gd name="connsiteX4" fmla="*/ 9232213 w 9346640"/>
                <a:gd name="connsiteY4" fmla="*/ 1040209 h 1189131"/>
                <a:gd name="connsiteX5" fmla="*/ 9202623 w 9346640"/>
                <a:gd name="connsiteY5" fmla="*/ 1012117 h 1189131"/>
                <a:gd name="connsiteX6" fmla="*/ 9174427 w 9346640"/>
                <a:gd name="connsiteY6" fmla="*/ 982792 h 1189131"/>
                <a:gd name="connsiteX7" fmla="*/ 9142487 w 9346640"/>
                <a:gd name="connsiteY7" fmla="*/ 957170 h 1189131"/>
                <a:gd name="connsiteX8" fmla="*/ 9115626 w 9346640"/>
                <a:gd name="connsiteY8" fmla="*/ 926366 h 1189131"/>
                <a:gd name="connsiteX9" fmla="*/ 9084576 w 9346640"/>
                <a:gd name="connsiteY9" fmla="*/ 899880 h 1189131"/>
                <a:gd name="connsiteX10" fmla="*/ 9057969 w 9346640"/>
                <a:gd name="connsiteY10" fmla="*/ 868956 h 1189131"/>
                <a:gd name="connsiteX11" fmla="*/ 9030410 w 9346640"/>
                <a:gd name="connsiteY11" fmla="*/ 838895 h 1189131"/>
                <a:gd name="connsiteX12" fmla="*/ 8999105 w 9346640"/>
                <a:gd name="connsiteY12" fmla="*/ 812530 h 1189131"/>
                <a:gd name="connsiteX13" fmla="*/ 8972499 w 9346640"/>
                <a:gd name="connsiteY13" fmla="*/ 781485 h 1189131"/>
                <a:gd name="connsiteX14" fmla="*/ 8940812 w 9346640"/>
                <a:gd name="connsiteY14" fmla="*/ 755488 h 1189131"/>
                <a:gd name="connsiteX15" fmla="*/ 8915665 w 9346640"/>
                <a:gd name="connsiteY15" fmla="*/ 722963 h 1189131"/>
                <a:gd name="connsiteX16" fmla="*/ 8883788 w 9346640"/>
                <a:gd name="connsiteY16" fmla="*/ 697341 h 1189131"/>
                <a:gd name="connsiteX17" fmla="*/ 8857499 w 9346640"/>
                <a:gd name="connsiteY17" fmla="*/ 666048 h 1189131"/>
                <a:gd name="connsiteX18" fmla="*/ 8827083 w 9346640"/>
                <a:gd name="connsiteY18" fmla="*/ 638940 h 1189131"/>
                <a:gd name="connsiteX19" fmla="*/ 8799016 w 9346640"/>
                <a:gd name="connsiteY19" fmla="*/ 609495 h 1189131"/>
                <a:gd name="connsiteX20" fmla="*/ 8768218 w 9346640"/>
                <a:gd name="connsiteY20" fmla="*/ 582761 h 1189131"/>
                <a:gd name="connsiteX21" fmla="*/ 8740469 w 9346640"/>
                <a:gd name="connsiteY21" fmla="*/ 552948 h 1189131"/>
                <a:gd name="connsiteX22" fmla="*/ 8710307 w 9346640"/>
                <a:gd name="connsiteY22" fmla="*/ 525478 h 1189131"/>
                <a:gd name="connsiteX23" fmla="*/ 8684462 w 9346640"/>
                <a:gd name="connsiteY23" fmla="*/ 493811 h 1189131"/>
                <a:gd name="connsiteX24" fmla="*/ 8652903 w 9346640"/>
                <a:gd name="connsiteY24" fmla="*/ 467820 h 1189131"/>
                <a:gd name="connsiteX25" fmla="*/ 8627630 w 9346640"/>
                <a:gd name="connsiteY25" fmla="*/ 435537 h 1189131"/>
                <a:gd name="connsiteX26" fmla="*/ 8598673 w 9346640"/>
                <a:gd name="connsiteY26" fmla="*/ 406835 h 1189131"/>
                <a:gd name="connsiteX27" fmla="*/ 8569463 w 9346640"/>
                <a:gd name="connsiteY27" fmla="*/ 378374 h 1189131"/>
                <a:gd name="connsiteX28" fmla="*/ 8539048 w 9346640"/>
                <a:gd name="connsiteY28" fmla="*/ 351145 h 1189131"/>
                <a:gd name="connsiteX29" fmla="*/ 8512440 w 9346640"/>
                <a:gd name="connsiteY29" fmla="*/ 320221 h 1189131"/>
                <a:gd name="connsiteX30" fmla="*/ 8481643 w 9346640"/>
                <a:gd name="connsiteY30" fmla="*/ 293366 h 1189131"/>
                <a:gd name="connsiteX31" fmla="*/ 8452051 w 9346640"/>
                <a:gd name="connsiteY31" fmla="*/ 265274 h 1189131"/>
                <a:gd name="connsiteX32" fmla="*/ 8422270 w 9346640"/>
                <a:gd name="connsiteY32" fmla="*/ 237436 h 1189131"/>
                <a:gd name="connsiteX33" fmla="*/ 8396743 w 9346640"/>
                <a:gd name="connsiteY33" fmla="*/ 205279 h 1189131"/>
                <a:gd name="connsiteX34" fmla="*/ 8364739 w 9346640"/>
                <a:gd name="connsiteY34" fmla="*/ 179778 h 1189131"/>
                <a:gd name="connsiteX35" fmla="*/ 8336736 w 9346640"/>
                <a:gd name="connsiteY35" fmla="*/ 150085 h 1189131"/>
                <a:gd name="connsiteX36" fmla="*/ 8306955 w 9346640"/>
                <a:gd name="connsiteY36" fmla="*/ 122240 h 1189131"/>
                <a:gd name="connsiteX37" fmla="*/ 8278951 w 9346640"/>
                <a:gd name="connsiteY37" fmla="*/ 92427 h 1189131"/>
                <a:gd name="connsiteX38" fmla="*/ 8249932 w 9346640"/>
                <a:gd name="connsiteY38" fmla="*/ 63719 h 1189131"/>
                <a:gd name="connsiteX39" fmla="*/ 8223897 w 9346640"/>
                <a:gd name="connsiteY39" fmla="*/ 31934 h 1189131"/>
                <a:gd name="connsiteX40" fmla="*/ 8193480 w 9346640"/>
                <a:gd name="connsiteY40" fmla="*/ 5200 h 1189131"/>
                <a:gd name="connsiteX41" fmla="*/ 8165985 w 9346640"/>
                <a:gd name="connsiteY41" fmla="*/ 34398 h 1189131"/>
                <a:gd name="connsiteX42" fmla="*/ 8135569 w 9346640"/>
                <a:gd name="connsiteY42" fmla="*/ 61382 h 1189131"/>
                <a:gd name="connsiteX43" fmla="*/ 8105660 w 9346640"/>
                <a:gd name="connsiteY43" fmla="*/ 88852 h 1189131"/>
                <a:gd name="connsiteX44" fmla="*/ 8080133 w 9346640"/>
                <a:gd name="connsiteY44" fmla="*/ 120640 h 1189131"/>
                <a:gd name="connsiteX45" fmla="*/ 8051177 w 9346640"/>
                <a:gd name="connsiteY45" fmla="*/ 148974 h 1189131"/>
                <a:gd name="connsiteX46" fmla="*/ 8019300 w 9346640"/>
                <a:gd name="connsiteY46" fmla="*/ 174475 h 1189131"/>
                <a:gd name="connsiteX47" fmla="*/ 7990661 w 9346640"/>
                <a:gd name="connsiteY47" fmla="*/ 203431 h 1189131"/>
                <a:gd name="connsiteX48" fmla="*/ 7963928 w 9346640"/>
                <a:gd name="connsiteY48" fmla="*/ 234108 h 1189131"/>
                <a:gd name="connsiteX49" fmla="*/ 7937004 w 9346640"/>
                <a:gd name="connsiteY49" fmla="*/ 264410 h 1189131"/>
                <a:gd name="connsiteX50" fmla="*/ 7904809 w 9346640"/>
                <a:gd name="connsiteY50" fmla="*/ 289544 h 1189131"/>
                <a:gd name="connsiteX51" fmla="*/ 7878330 w 9346640"/>
                <a:gd name="connsiteY51" fmla="*/ 320468 h 1189131"/>
                <a:gd name="connsiteX52" fmla="*/ 7850262 w 9346640"/>
                <a:gd name="connsiteY52" fmla="*/ 349913 h 1189131"/>
                <a:gd name="connsiteX53" fmla="*/ 7820926 w 9346640"/>
                <a:gd name="connsiteY53" fmla="*/ 378006 h 1189131"/>
                <a:gd name="connsiteX54" fmla="*/ 7791335 w 9346640"/>
                <a:gd name="connsiteY54" fmla="*/ 405850 h 1189131"/>
                <a:gd name="connsiteX55" fmla="*/ 7763267 w 9346640"/>
                <a:gd name="connsiteY55" fmla="*/ 435168 h 1189131"/>
                <a:gd name="connsiteX56" fmla="*/ 7735646 w 9346640"/>
                <a:gd name="connsiteY56" fmla="*/ 464982 h 1189131"/>
                <a:gd name="connsiteX57" fmla="*/ 7707198 w 9346640"/>
                <a:gd name="connsiteY57" fmla="*/ 493937 h 1189131"/>
                <a:gd name="connsiteX58" fmla="*/ 7676654 w 9346640"/>
                <a:gd name="connsiteY58" fmla="*/ 520792 h 1189131"/>
                <a:gd name="connsiteX59" fmla="*/ 7646364 w 9346640"/>
                <a:gd name="connsiteY59" fmla="*/ 548021 h 1189131"/>
                <a:gd name="connsiteX60" fmla="*/ 7617408 w 9346640"/>
                <a:gd name="connsiteY60" fmla="*/ 576354 h 1189131"/>
                <a:gd name="connsiteX61" fmla="*/ 7592898 w 9346640"/>
                <a:gd name="connsiteY61" fmla="*/ 609127 h 1189131"/>
                <a:gd name="connsiteX62" fmla="*/ 7563306 w 9346640"/>
                <a:gd name="connsiteY62" fmla="*/ 636971 h 1189131"/>
                <a:gd name="connsiteX63" fmla="*/ 7533715 w 9346640"/>
                <a:gd name="connsiteY63" fmla="*/ 664816 h 1189131"/>
                <a:gd name="connsiteX64" fmla="*/ 7505649 w 9346640"/>
                <a:gd name="connsiteY64" fmla="*/ 694134 h 1189131"/>
                <a:gd name="connsiteX65" fmla="*/ 7475866 w 9346640"/>
                <a:gd name="connsiteY65" fmla="*/ 721731 h 1189131"/>
                <a:gd name="connsiteX66" fmla="*/ 7447228 w 9346640"/>
                <a:gd name="connsiteY66" fmla="*/ 750560 h 1189131"/>
                <a:gd name="connsiteX67" fmla="*/ 7417701 w 9346640"/>
                <a:gd name="connsiteY67" fmla="*/ 778405 h 1189131"/>
                <a:gd name="connsiteX68" fmla="*/ 7391474 w 9346640"/>
                <a:gd name="connsiteY68" fmla="*/ 809577 h 1189131"/>
                <a:gd name="connsiteX69" fmla="*/ 7359154 w 9346640"/>
                <a:gd name="connsiteY69" fmla="*/ 834710 h 1189131"/>
                <a:gd name="connsiteX70" fmla="*/ 7331213 w 9346640"/>
                <a:gd name="connsiteY70" fmla="*/ 864155 h 1189131"/>
                <a:gd name="connsiteX71" fmla="*/ 7305687 w 9346640"/>
                <a:gd name="connsiteY71" fmla="*/ 896064 h 1189131"/>
                <a:gd name="connsiteX72" fmla="*/ 7273937 w 9346640"/>
                <a:gd name="connsiteY72" fmla="*/ 921686 h 1189131"/>
                <a:gd name="connsiteX73" fmla="*/ 7246950 w 9346640"/>
                <a:gd name="connsiteY73" fmla="*/ 952242 h 1189131"/>
                <a:gd name="connsiteX74" fmla="*/ 7218375 w 9346640"/>
                <a:gd name="connsiteY74" fmla="*/ 981192 h 1189131"/>
                <a:gd name="connsiteX75" fmla="*/ 7188910 w 9346640"/>
                <a:gd name="connsiteY75" fmla="*/ 1009158 h 1189131"/>
                <a:gd name="connsiteX76" fmla="*/ 7161034 w 9346640"/>
                <a:gd name="connsiteY76" fmla="*/ 1038729 h 1189131"/>
                <a:gd name="connsiteX77" fmla="*/ 7132712 w 9346640"/>
                <a:gd name="connsiteY77" fmla="*/ 1067927 h 1189131"/>
                <a:gd name="connsiteX78" fmla="*/ 7101280 w 9346640"/>
                <a:gd name="connsiteY78" fmla="*/ 1094044 h 1189131"/>
                <a:gd name="connsiteX79" fmla="*/ 7071499 w 9346640"/>
                <a:gd name="connsiteY79" fmla="*/ 1121762 h 1189131"/>
                <a:gd name="connsiteX80" fmla="*/ 7046987 w 9346640"/>
                <a:gd name="connsiteY80" fmla="*/ 1154782 h 1189131"/>
                <a:gd name="connsiteX81" fmla="*/ 7017015 w 9346640"/>
                <a:gd name="connsiteY81" fmla="*/ 1183979 h 1189131"/>
                <a:gd name="connsiteX82" fmla="*/ 6975740 w 9346640"/>
                <a:gd name="connsiteY82" fmla="*/ 1184227 h 1189131"/>
                <a:gd name="connsiteX83" fmla="*/ 6935482 w 9346640"/>
                <a:gd name="connsiteY83" fmla="*/ 1178931 h 1189131"/>
                <a:gd name="connsiteX84" fmla="*/ 6895223 w 9346640"/>
                <a:gd name="connsiteY84" fmla="*/ 1181884 h 1189131"/>
                <a:gd name="connsiteX85" fmla="*/ 6854899 w 9346640"/>
                <a:gd name="connsiteY85" fmla="*/ 1181884 h 1189131"/>
                <a:gd name="connsiteX86" fmla="*/ 6814641 w 9346640"/>
                <a:gd name="connsiteY86" fmla="*/ 1182131 h 1189131"/>
                <a:gd name="connsiteX87" fmla="*/ 6774318 w 9346640"/>
                <a:gd name="connsiteY87" fmla="*/ 1182627 h 1189131"/>
                <a:gd name="connsiteX88" fmla="*/ 6734060 w 9346640"/>
                <a:gd name="connsiteY88" fmla="*/ 1178931 h 1189131"/>
                <a:gd name="connsiteX89" fmla="*/ 6693737 w 9346640"/>
                <a:gd name="connsiteY89" fmla="*/ 1180531 h 1189131"/>
                <a:gd name="connsiteX90" fmla="*/ 6653478 w 9346640"/>
                <a:gd name="connsiteY90" fmla="*/ 1182500 h 1189131"/>
                <a:gd name="connsiteX91" fmla="*/ 6613220 w 9346640"/>
                <a:gd name="connsiteY91" fmla="*/ 1180163 h 1189131"/>
                <a:gd name="connsiteX92" fmla="*/ 6572897 w 9346640"/>
                <a:gd name="connsiteY92" fmla="*/ 1181147 h 1189131"/>
                <a:gd name="connsiteX93" fmla="*/ 6532637 w 9346640"/>
                <a:gd name="connsiteY93" fmla="*/ 1179795 h 1189131"/>
                <a:gd name="connsiteX94" fmla="*/ 6492315 w 9346640"/>
                <a:gd name="connsiteY94" fmla="*/ 1182748 h 1189131"/>
                <a:gd name="connsiteX95" fmla="*/ 6452056 w 9346640"/>
                <a:gd name="connsiteY95" fmla="*/ 1182259 h 1189131"/>
                <a:gd name="connsiteX96" fmla="*/ 6411733 w 9346640"/>
                <a:gd name="connsiteY96" fmla="*/ 1181268 h 1189131"/>
                <a:gd name="connsiteX97" fmla="*/ 6371475 w 9346640"/>
                <a:gd name="connsiteY97" fmla="*/ 1180036 h 1189131"/>
                <a:gd name="connsiteX98" fmla="*/ 6331152 w 9346640"/>
                <a:gd name="connsiteY98" fmla="*/ 1179547 h 1189131"/>
                <a:gd name="connsiteX99" fmla="*/ 6290894 w 9346640"/>
                <a:gd name="connsiteY99" fmla="*/ 1180284 h 1189131"/>
                <a:gd name="connsiteX100" fmla="*/ 6250634 w 9346640"/>
                <a:gd name="connsiteY100" fmla="*/ 1180411 h 1189131"/>
                <a:gd name="connsiteX101" fmla="*/ 6210312 w 9346640"/>
                <a:gd name="connsiteY101" fmla="*/ 1181643 h 1189131"/>
                <a:gd name="connsiteX102" fmla="*/ 6170053 w 9346640"/>
                <a:gd name="connsiteY102" fmla="*/ 1183363 h 1189131"/>
                <a:gd name="connsiteX103" fmla="*/ 6129731 w 9346640"/>
                <a:gd name="connsiteY103" fmla="*/ 1181395 h 1189131"/>
                <a:gd name="connsiteX104" fmla="*/ 6089471 w 9346640"/>
                <a:gd name="connsiteY104" fmla="*/ 1184227 h 1189131"/>
                <a:gd name="connsiteX105" fmla="*/ 6049149 w 9346640"/>
                <a:gd name="connsiteY105" fmla="*/ 1181763 h 1189131"/>
                <a:gd name="connsiteX106" fmla="*/ 6008890 w 9346640"/>
                <a:gd name="connsiteY106" fmla="*/ 1178563 h 1189131"/>
                <a:gd name="connsiteX107" fmla="*/ 5968631 w 9346640"/>
                <a:gd name="connsiteY107" fmla="*/ 1180163 h 1189131"/>
                <a:gd name="connsiteX108" fmla="*/ 5928308 w 9346640"/>
                <a:gd name="connsiteY108" fmla="*/ 1182500 h 1189131"/>
                <a:gd name="connsiteX109" fmla="*/ 5888049 w 9346640"/>
                <a:gd name="connsiteY109" fmla="*/ 1180652 h 1189131"/>
                <a:gd name="connsiteX110" fmla="*/ 5847727 w 9346640"/>
                <a:gd name="connsiteY110" fmla="*/ 1181395 h 1189131"/>
                <a:gd name="connsiteX111" fmla="*/ 5807468 w 9346640"/>
                <a:gd name="connsiteY111" fmla="*/ 1179179 h 1189131"/>
                <a:gd name="connsiteX112" fmla="*/ 5767145 w 9346640"/>
                <a:gd name="connsiteY112" fmla="*/ 1182011 h 1189131"/>
                <a:gd name="connsiteX113" fmla="*/ 5726886 w 9346640"/>
                <a:gd name="connsiteY113" fmla="*/ 1181027 h 1189131"/>
                <a:gd name="connsiteX114" fmla="*/ 5686627 w 9346640"/>
                <a:gd name="connsiteY114" fmla="*/ 1181027 h 1189131"/>
                <a:gd name="connsiteX115" fmla="*/ 5646305 w 9346640"/>
                <a:gd name="connsiteY115" fmla="*/ 1181027 h 1189131"/>
                <a:gd name="connsiteX116" fmla="*/ 5606045 w 9346640"/>
                <a:gd name="connsiteY116" fmla="*/ 1181395 h 1189131"/>
                <a:gd name="connsiteX117" fmla="*/ 5565723 w 9346640"/>
                <a:gd name="connsiteY117" fmla="*/ 1179547 h 1189131"/>
                <a:gd name="connsiteX118" fmla="*/ 5525464 w 9346640"/>
                <a:gd name="connsiteY118" fmla="*/ 1179795 h 1189131"/>
                <a:gd name="connsiteX119" fmla="*/ 5485142 w 9346640"/>
                <a:gd name="connsiteY119" fmla="*/ 1180284 h 1189131"/>
                <a:gd name="connsiteX120" fmla="*/ 5444882 w 9346640"/>
                <a:gd name="connsiteY120" fmla="*/ 1179795 h 1189131"/>
                <a:gd name="connsiteX121" fmla="*/ 5404624 w 9346640"/>
                <a:gd name="connsiteY121" fmla="*/ 1179052 h 1189131"/>
                <a:gd name="connsiteX122" fmla="*/ 5364301 w 9346640"/>
                <a:gd name="connsiteY122" fmla="*/ 1178188 h 1189131"/>
                <a:gd name="connsiteX123" fmla="*/ 5324043 w 9346640"/>
                <a:gd name="connsiteY123" fmla="*/ 1180652 h 1189131"/>
                <a:gd name="connsiteX124" fmla="*/ 5283719 w 9346640"/>
                <a:gd name="connsiteY124" fmla="*/ 1179915 h 1189131"/>
                <a:gd name="connsiteX125" fmla="*/ 5243461 w 9346640"/>
                <a:gd name="connsiteY125" fmla="*/ 1182379 h 1189131"/>
                <a:gd name="connsiteX126" fmla="*/ 5203138 w 9346640"/>
                <a:gd name="connsiteY126" fmla="*/ 1179052 h 1189131"/>
                <a:gd name="connsiteX127" fmla="*/ 5162879 w 9346640"/>
                <a:gd name="connsiteY127" fmla="*/ 1179052 h 1189131"/>
                <a:gd name="connsiteX128" fmla="*/ 5122620 w 9346640"/>
                <a:gd name="connsiteY128" fmla="*/ 1178315 h 1189131"/>
                <a:gd name="connsiteX129" fmla="*/ 5082298 w 9346640"/>
                <a:gd name="connsiteY129" fmla="*/ 1183363 h 1189131"/>
                <a:gd name="connsiteX130" fmla="*/ 5042039 w 9346640"/>
                <a:gd name="connsiteY130" fmla="*/ 1180411 h 1189131"/>
                <a:gd name="connsiteX131" fmla="*/ 5001716 w 9346640"/>
                <a:gd name="connsiteY131" fmla="*/ 1181516 h 1189131"/>
                <a:gd name="connsiteX132" fmla="*/ 4961457 w 9346640"/>
                <a:gd name="connsiteY132" fmla="*/ 1179299 h 1189131"/>
                <a:gd name="connsiteX133" fmla="*/ 4921135 w 9346640"/>
                <a:gd name="connsiteY133" fmla="*/ 1179547 h 1189131"/>
                <a:gd name="connsiteX134" fmla="*/ 4880876 w 9346640"/>
                <a:gd name="connsiteY134" fmla="*/ 1181884 h 1189131"/>
                <a:gd name="connsiteX135" fmla="*/ 4840553 w 9346640"/>
                <a:gd name="connsiteY135" fmla="*/ 1183859 h 1189131"/>
                <a:gd name="connsiteX136" fmla="*/ 4800294 w 9346640"/>
                <a:gd name="connsiteY136" fmla="*/ 1179299 h 1189131"/>
                <a:gd name="connsiteX137" fmla="*/ 4760035 w 9346640"/>
                <a:gd name="connsiteY137" fmla="*/ 1182500 h 1189131"/>
                <a:gd name="connsiteX138" fmla="*/ 4719713 w 9346640"/>
                <a:gd name="connsiteY138" fmla="*/ 1179547 h 1189131"/>
                <a:gd name="connsiteX139" fmla="*/ 4679454 w 9346640"/>
                <a:gd name="connsiteY139" fmla="*/ 1182995 h 1189131"/>
                <a:gd name="connsiteX140" fmla="*/ 4639131 w 9346640"/>
                <a:gd name="connsiteY140" fmla="*/ 1180411 h 1189131"/>
                <a:gd name="connsiteX141" fmla="*/ 4598872 w 9346640"/>
                <a:gd name="connsiteY141" fmla="*/ 1178931 h 1189131"/>
                <a:gd name="connsiteX142" fmla="*/ 4558550 w 9346640"/>
                <a:gd name="connsiteY142" fmla="*/ 1181027 h 1189131"/>
                <a:gd name="connsiteX143" fmla="*/ 4518291 w 9346640"/>
                <a:gd name="connsiteY143" fmla="*/ 1183611 h 1189131"/>
                <a:gd name="connsiteX144" fmla="*/ 4478031 w 9346640"/>
                <a:gd name="connsiteY144" fmla="*/ 1183116 h 1189131"/>
                <a:gd name="connsiteX145" fmla="*/ 4437709 w 9346640"/>
                <a:gd name="connsiteY145" fmla="*/ 1178068 h 1189131"/>
                <a:gd name="connsiteX146" fmla="*/ 4397450 w 9346640"/>
                <a:gd name="connsiteY146" fmla="*/ 1179299 h 1189131"/>
                <a:gd name="connsiteX147" fmla="*/ 4357128 w 9346640"/>
                <a:gd name="connsiteY147" fmla="*/ 1183859 h 1189131"/>
                <a:gd name="connsiteX148" fmla="*/ 4316868 w 9346640"/>
                <a:gd name="connsiteY148" fmla="*/ 1180284 h 1189131"/>
                <a:gd name="connsiteX149" fmla="*/ 4276546 w 9346640"/>
                <a:gd name="connsiteY149" fmla="*/ 1179299 h 1189131"/>
                <a:gd name="connsiteX150" fmla="*/ 4236287 w 9346640"/>
                <a:gd name="connsiteY150" fmla="*/ 1183611 h 1189131"/>
                <a:gd name="connsiteX151" fmla="*/ 4196028 w 9346640"/>
                <a:gd name="connsiteY151" fmla="*/ 1180411 h 1189131"/>
                <a:gd name="connsiteX152" fmla="*/ 4155706 w 9346640"/>
                <a:gd name="connsiteY152" fmla="*/ 1183732 h 1189131"/>
                <a:gd name="connsiteX153" fmla="*/ 4115446 w 9346640"/>
                <a:gd name="connsiteY153" fmla="*/ 1179795 h 1189131"/>
                <a:gd name="connsiteX154" fmla="*/ 4075124 w 9346640"/>
                <a:gd name="connsiteY154" fmla="*/ 1178188 h 1189131"/>
                <a:gd name="connsiteX155" fmla="*/ 4034865 w 9346640"/>
                <a:gd name="connsiteY155" fmla="*/ 1182627 h 1189131"/>
                <a:gd name="connsiteX156" fmla="*/ 3994543 w 9346640"/>
                <a:gd name="connsiteY156" fmla="*/ 1181516 h 1189131"/>
                <a:gd name="connsiteX157" fmla="*/ 3954283 w 9346640"/>
                <a:gd name="connsiteY157" fmla="*/ 1178563 h 1189131"/>
                <a:gd name="connsiteX158" fmla="*/ 3914025 w 9346640"/>
                <a:gd name="connsiteY158" fmla="*/ 1182379 h 1189131"/>
                <a:gd name="connsiteX159" fmla="*/ 3873702 w 9346640"/>
                <a:gd name="connsiteY159" fmla="*/ 1182379 h 1189131"/>
                <a:gd name="connsiteX160" fmla="*/ 3833443 w 9346640"/>
                <a:gd name="connsiteY160" fmla="*/ 1180779 h 1189131"/>
                <a:gd name="connsiteX161" fmla="*/ 3793120 w 9346640"/>
                <a:gd name="connsiteY161" fmla="*/ 1178188 h 1189131"/>
                <a:gd name="connsiteX162" fmla="*/ 3752862 w 9346640"/>
                <a:gd name="connsiteY162" fmla="*/ 1183116 h 1189131"/>
                <a:gd name="connsiteX163" fmla="*/ 3712539 w 9346640"/>
                <a:gd name="connsiteY163" fmla="*/ 1182131 h 1189131"/>
                <a:gd name="connsiteX164" fmla="*/ 3672280 w 9346640"/>
                <a:gd name="connsiteY164" fmla="*/ 1178068 h 1189131"/>
                <a:gd name="connsiteX165" fmla="*/ 3631957 w 9346640"/>
                <a:gd name="connsiteY165" fmla="*/ 1179795 h 1189131"/>
                <a:gd name="connsiteX166" fmla="*/ 3591699 w 9346640"/>
                <a:gd name="connsiteY166" fmla="*/ 1181643 h 1189131"/>
                <a:gd name="connsiteX167" fmla="*/ 3551440 w 9346640"/>
                <a:gd name="connsiteY167" fmla="*/ 1182500 h 1189131"/>
                <a:gd name="connsiteX168" fmla="*/ 3511117 w 9346640"/>
                <a:gd name="connsiteY168" fmla="*/ 1181643 h 1189131"/>
                <a:gd name="connsiteX169" fmla="*/ 3470858 w 9346640"/>
                <a:gd name="connsiteY169" fmla="*/ 1183243 h 1189131"/>
                <a:gd name="connsiteX170" fmla="*/ 3430535 w 9346640"/>
                <a:gd name="connsiteY170" fmla="*/ 1180652 h 1189131"/>
                <a:gd name="connsiteX171" fmla="*/ 3390277 w 9346640"/>
                <a:gd name="connsiteY171" fmla="*/ 1178683 h 1189131"/>
                <a:gd name="connsiteX172" fmla="*/ 3349954 w 9346640"/>
                <a:gd name="connsiteY172" fmla="*/ 1178188 h 1189131"/>
                <a:gd name="connsiteX173" fmla="*/ 3309695 w 9346640"/>
                <a:gd name="connsiteY173" fmla="*/ 1182500 h 1189131"/>
                <a:gd name="connsiteX174" fmla="*/ 3269436 w 9346640"/>
                <a:gd name="connsiteY174" fmla="*/ 1181643 h 1189131"/>
                <a:gd name="connsiteX175" fmla="*/ 3229114 w 9346640"/>
                <a:gd name="connsiteY175" fmla="*/ 1182995 h 1189131"/>
                <a:gd name="connsiteX176" fmla="*/ 3188855 w 9346640"/>
                <a:gd name="connsiteY176" fmla="*/ 1178315 h 1189131"/>
                <a:gd name="connsiteX177" fmla="*/ 3148532 w 9346640"/>
                <a:gd name="connsiteY177" fmla="*/ 1180779 h 1189131"/>
                <a:gd name="connsiteX178" fmla="*/ 3108273 w 9346640"/>
                <a:gd name="connsiteY178" fmla="*/ 1177820 h 1189131"/>
                <a:gd name="connsiteX179" fmla="*/ 3067951 w 9346640"/>
                <a:gd name="connsiteY179" fmla="*/ 1180163 h 1189131"/>
                <a:gd name="connsiteX180" fmla="*/ 3027692 w 9346640"/>
                <a:gd name="connsiteY180" fmla="*/ 1179668 h 1189131"/>
                <a:gd name="connsiteX181" fmla="*/ 2987432 w 9346640"/>
                <a:gd name="connsiteY181" fmla="*/ 1177699 h 1189131"/>
                <a:gd name="connsiteX182" fmla="*/ 2947110 w 9346640"/>
                <a:gd name="connsiteY182" fmla="*/ 1182627 h 1189131"/>
                <a:gd name="connsiteX183" fmla="*/ 2906851 w 9346640"/>
                <a:gd name="connsiteY183" fmla="*/ 1182379 h 1189131"/>
                <a:gd name="connsiteX184" fmla="*/ 2866529 w 9346640"/>
                <a:gd name="connsiteY184" fmla="*/ 1181643 h 1189131"/>
                <a:gd name="connsiteX185" fmla="*/ 2826269 w 9346640"/>
                <a:gd name="connsiteY185" fmla="*/ 1178683 h 1189131"/>
                <a:gd name="connsiteX186" fmla="*/ 2785947 w 9346640"/>
                <a:gd name="connsiteY186" fmla="*/ 1180652 h 1189131"/>
                <a:gd name="connsiteX187" fmla="*/ 2745688 w 9346640"/>
                <a:gd name="connsiteY187" fmla="*/ 1178683 h 1189131"/>
                <a:gd name="connsiteX188" fmla="*/ 2705429 w 9346640"/>
                <a:gd name="connsiteY188" fmla="*/ 1182259 h 1189131"/>
                <a:gd name="connsiteX189" fmla="*/ 2665106 w 9346640"/>
                <a:gd name="connsiteY189" fmla="*/ 1177572 h 1189131"/>
                <a:gd name="connsiteX190" fmla="*/ 2624847 w 9346640"/>
                <a:gd name="connsiteY190" fmla="*/ 1181884 h 1189131"/>
                <a:gd name="connsiteX191" fmla="*/ 2584525 w 9346640"/>
                <a:gd name="connsiteY191" fmla="*/ 1183243 h 1189131"/>
                <a:gd name="connsiteX192" fmla="*/ 2544266 w 9346640"/>
                <a:gd name="connsiteY192" fmla="*/ 1181516 h 1189131"/>
                <a:gd name="connsiteX193" fmla="*/ 2503943 w 9346640"/>
                <a:gd name="connsiteY193" fmla="*/ 1182995 h 1189131"/>
                <a:gd name="connsiteX194" fmla="*/ 2463684 w 9346640"/>
                <a:gd name="connsiteY194" fmla="*/ 1180531 h 1189131"/>
                <a:gd name="connsiteX195" fmla="*/ 2423362 w 9346640"/>
                <a:gd name="connsiteY195" fmla="*/ 1182500 h 1189131"/>
                <a:gd name="connsiteX196" fmla="*/ 2383103 w 9346640"/>
                <a:gd name="connsiteY196" fmla="*/ 1182131 h 1189131"/>
                <a:gd name="connsiteX197" fmla="*/ 2342844 w 9346640"/>
                <a:gd name="connsiteY197" fmla="*/ 1181516 h 1189131"/>
                <a:gd name="connsiteX198" fmla="*/ 2302521 w 9346640"/>
                <a:gd name="connsiteY198" fmla="*/ 1179795 h 1189131"/>
                <a:gd name="connsiteX199" fmla="*/ 2262263 w 9346640"/>
                <a:gd name="connsiteY199" fmla="*/ 1180163 h 1189131"/>
                <a:gd name="connsiteX200" fmla="*/ 2221940 w 9346640"/>
                <a:gd name="connsiteY200" fmla="*/ 1182131 h 1189131"/>
                <a:gd name="connsiteX201" fmla="*/ 2181681 w 9346640"/>
                <a:gd name="connsiteY201" fmla="*/ 1178188 h 1189131"/>
                <a:gd name="connsiteX202" fmla="*/ 2141358 w 9346640"/>
                <a:gd name="connsiteY202" fmla="*/ 1178188 h 1189131"/>
                <a:gd name="connsiteX203" fmla="*/ 2101100 w 9346640"/>
                <a:gd name="connsiteY203" fmla="*/ 1177452 h 1189131"/>
                <a:gd name="connsiteX204" fmla="*/ 2060841 w 9346640"/>
                <a:gd name="connsiteY204" fmla="*/ 1180284 h 1189131"/>
                <a:gd name="connsiteX205" fmla="*/ 2020518 w 9346640"/>
                <a:gd name="connsiteY205" fmla="*/ 1182500 h 1189131"/>
                <a:gd name="connsiteX206" fmla="*/ 1980259 w 9346640"/>
                <a:gd name="connsiteY206" fmla="*/ 1178683 h 1189131"/>
                <a:gd name="connsiteX207" fmla="*/ 1939936 w 9346640"/>
                <a:gd name="connsiteY207" fmla="*/ 1181763 h 1189131"/>
                <a:gd name="connsiteX208" fmla="*/ 1899551 w 9346640"/>
                <a:gd name="connsiteY208" fmla="*/ 1182995 h 1189131"/>
                <a:gd name="connsiteX209" fmla="*/ 1859228 w 9346640"/>
                <a:gd name="connsiteY209" fmla="*/ 1179179 h 1189131"/>
                <a:gd name="connsiteX210" fmla="*/ 1818969 w 9346640"/>
                <a:gd name="connsiteY210" fmla="*/ 1177699 h 1189131"/>
                <a:gd name="connsiteX211" fmla="*/ 1778710 w 9346640"/>
                <a:gd name="connsiteY211" fmla="*/ 1179668 h 1189131"/>
                <a:gd name="connsiteX212" fmla="*/ 1738388 w 9346640"/>
                <a:gd name="connsiteY212" fmla="*/ 1178563 h 1189131"/>
                <a:gd name="connsiteX213" fmla="*/ 1698129 w 9346640"/>
                <a:gd name="connsiteY213" fmla="*/ 1177820 h 1189131"/>
                <a:gd name="connsiteX214" fmla="*/ 1657806 w 9346640"/>
                <a:gd name="connsiteY214" fmla="*/ 1177572 h 1189131"/>
                <a:gd name="connsiteX215" fmla="*/ 1617547 w 9346640"/>
                <a:gd name="connsiteY215" fmla="*/ 1181395 h 1189131"/>
                <a:gd name="connsiteX216" fmla="*/ 1577225 w 9346640"/>
                <a:gd name="connsiteY216" fmla="*/ 1177947 h 1189131"/>
                <a:gd name="connsiteX217" fmla="*/ 1536966 w 9346640"/>
                <a:gd name="connsiteY217" fmla="*/ 1181147 h 1189131"/>
                <a:gd name="connsiteX218" fmla="*/ 1496706 w 9346640"/>
                <a:gd name="connsiteY218" fmla="*/ 1180411 h 1189131"/>
                <a:gd name="connsiteX219" fmla="*/ 1456384 w 9346640"/>
                <a:gd name="connsiteY219" fmla="*/ 1179179 h 1189131"/>
                <a:gd name="connsiteX220" fmla="*/ 1416125 w 9346640"/>
                <a:gd name="connsiteY220" fmla="*/ 1182995 h 1189131"/>
                <a:gd name="connsiteX221" fmla="*/ 1375676 w 9346640"/>
                <a:gd name="connsiteY221" fmla="*/ 1177331 h 1189131"/>
                <a:gd name="connsiteX222" fmla="*/ 1335417 w 9346640"/>
                <a:gd name="connsiteY222" fmla="*/ 1179299 h 1189131"/>
                <a:gd name="connsiteX223" fmla="*/ 1295094 w 9346640"/>
                <a:gd name="connsiteY223" fmla="*/ 1181147 h 1189131"/>
                <a:gd name="connsiteX224" fmla="*/ 1254835 w 9346640"/>
                <a:gd name="connsiteY224" fmla="*/ 1181395 h 1189131"/>
                <a:gd name="connsiteX225" fmla="*/ 1214576 w 9346640"/>
                <a:gd name="connsiteY225" fmla="*/ 1183491 h 1189131"/>
                <a:gd name="connsiteX226" fmla="*/ 1174127 w 9346640"/>
                <a:gd name="connsiteY226" fmla="*/ 1181516 h 1189131"/>
                <a:gd name="connsiteX227" fmla="*/ 1133868 w 9346640"/>
                <a:gd name="connsiteY227" fmla="*/ 1182627 h 1189131"/>
                <a:gd name="connsiteX228" fmla="*/ 1093545 w 9346640"/>
                <a:gd name="connsiteY228" fmla="*/ 1177452 h 1189131"/>
                <a:gd name="connsiteX229" fmla="*/ 1053159 w 9346640"/>
                <a:gd name="connsiteY229" fmla="*/ 1178683 h 1189131"/>
                <a:gd name="connsiteX230" fmla="*/ 1012773 w 9346640"/>
                <a:gd name="connsiteY230" fmla="*/ 1180284 h 1189131"/>
                <a:gd name="connsiteX231" fmla="*/ 972451 w 9346640"/>
                <a:gd name="connsiteY231" fmla="*/ 1182259 h 1189131"/>
                <a:gd name="connsiteX232" fmla="*/ 932065 w 9346640"/>
                <a:gd name="connsiteY232" fmla="*/ 1179547 h 1189131"/>
                <a:gd name="connsiteX233" fmla="*/ 891615 w 9346640"/>
                <a:gd name="connsiteY233" fmla="*/ 1177572 h 1189131"/>
                <a:gd name="connsiteX234" fmla="*/ 851229 w 9346640"/>
                <a:gd name="connsiteY234" fmla="*/ 1183491 h 1189131"/>
                <a:gd name="connsiteX235" fmla="*/ 810843 w 9346640"/>
                <a:gd name="connsiteY235" fmla="*/ 1182748 h 1189131"/>
                <a:gd name="connsiteX236" fmla="*/ 770393 w 9346640"/>
                <a:gd name="connsiteY236" fmla="*/ 1183243 h 1189131"/>
                <a:gd name="connsiteX237" fmla="*/ 730007 w 9346640"/>
                <a:gd name="connsiteY237" fmla="*/ 1182379 h 1189131"/>
                <a:gd name="connsiteX238" fmla="*/ 689621 w 9346640"/>
                <a:gd name="connsiteY238" fmla="*/ 1179052 h 1189131"/>
                <a:gd name="connsiteX239" fmla="*/ 649299 w 9346640"/>
                <a:gd name="connsiteY239" fmla="*/ 1179795 h 1189131"/>
                <a:gd name="connsiteX240" fmla="*/ 609040 w 9346640"/>
                <a:gd name="connsiteY240" fmla="*/ 1182259 h 1189131"/>
                <a:gd name="connsiteX241" fmla="*/ 568591 w 9346640"/>
                <a:gd name="connsiteY241" fmla="*/ 1178068 h 1189131"/>
                <a:gd name="connsiteX242" fmla="*/ 528331 w 9346640"/>
                <a:gd name="connsiteY242" fmla="*/ 1181516 h 1189131"/>
                <a:gd name="connsiteX243" fmla="*/ 487945 w 9346640"/>
                <a:gd name="connsiteY243" fmla="*/ 1177572 h 1189131"/>
                <a:gd name="connsiteX244" fmla="*/ 447496 w 9346640"/>
                <a:gd name="connsiteY244" fmla="*/ 1179052 h 1189131"/>
                <a:gd name="connsiteX245" fmla="*/ 407110 w 9346640"/>
                <a:gd name="connsiteY245" fmla="*/ 1181884 h 1189131"/>
                <a:gd name="connsiteX246" fmla="*/ 366660 w 9346640"/>
                <a:gd name="connsiteY246" fmla="*/ 1180284 h 1189131"/>
                <a:gd name="connsiteX247" fmla="*/ 326274 w 9346640"/>
                <a:gd name="connsiteY247" fmla="*/ 1179547 h 1189131"/>
                <a:gd name="connsiteX248" fmla="*/ 285889 w 9346640"/>
                <a:gd name="connsiteY248" fmla="*/ 1182995 h 1189131"/>
                <a:gd name="connsiteX249" fmla="*/ 245439 w 9346640"/>
                <a:gd name="connsiteY249" fmla="*/ 1182748 h 1189131"/>
                <a:gd name="connsiteX250" fmla="*/ 205053 w 9346640"/>
                <a:gd name="connsiteY250" fmla="*/ 1179795 h 1189131"/>
                <a:gd name="connsiteX251" fmla="*/ 164667 w 9346640"/>
                <a:gd name="connsiteY251" fmla="*/ 1179547 h 1189131"/>
                <a:gd name="connsiteX252" fmla="*/ 124218 w 9346640"/>
                <a:gd name="connsiteY252" fmla="*/ 1181147 h 1189131"/>
                <a:gd name="connsiteX253" fmla="*/ 83831 w 9346640"/>
                <a:gd name="connsiteY253" fmla="*/ 1180531 h 1189131"/>
                <a:gd name="connsiteX254" fmla="*/ 43255 w 9346640"/>
                <a:gd name="connsiteY254" fmla="*/ 1180163 h 1189131"/>
                <a:gd name="connsiteX255" fmla="*/ 1535 w 9346640"/>
                <a:gd name="connsiteY255" fmla="*/ 1181027 h 1189131"/>
                <a:gd name="connsiteX256" fmla="*/ 31444 w 9346640"/>
                <a:gd name="connsiteY256" fmla="*/ 1151823 h 1189131"/>
                <a:gd name="connsiteX257" fmla="*/ 61162 w 9346640"/>
                <a:gd name="connsiteY257" fmla="*/ 1124105 h 1189131"/>
                <a:gd name="connsiteX258" fmla="*/ 87133 w 9346640"/>
                <a:gd name="connsiteY258" fmla="*/ 1092813 h 1189131"/>
                <a:gd name="connsiteX259" fmla="*/ 118312 w 9346640"/>
                <a:gd name="connsiteY259" fmla="*/ 1066695 h 1189131"/>
                <a:gd name="connsiteX260" fmla="*/ 144665 w 9346640"/>
                <a:gd name="connsiteY260" fmla="*/ 1035770 h 1189131"/>
                <a:gd name="connsiteX261" fmla="*/ 173874 w 9346640"/>
                <a:gd name="connsiteY261" fmla="*/ 1007557 h 1189131"/>
                <a:gd name="connsiteX262" fmla="*/ 205434 w 9346640"/>
                <a:gd name="connsiteY262" fmla="*/ 981687 h 1189131"/>
                <a:gd name="connsiteX263" fmla="*/ 231659 w 9346640"/>
                <a:gd name="connsiteY263" fmla="*/ 950515 h 1189131"/>
                <a:gd name="connsiteX264" fmla="*/ 258774 w 9346640"/>
                <a:gd name="connsiteY264" fmla="*/ 920207 h 1189131"/>
                <a:gd name="connsiteX265" fmla="*/ 289826 w 9346640"/>
                <a:gd name="connsiteY265" fmla="*/ 893841 h 1189131"/>
                <a:gd name="connsiteX266" fmla="*/ 316178 w 9346640"/>
                <a:gd name="connsiteY266" fmla="*/ 862796 h 1189131"/>
                <a:gd name="connsiteX267" fmla="*/ 345959 w 9346640"/>
                <a:gd name="connsiteY267" fmla="*/ 835199 h 1189131"/>
                <a:gd name="connsiteX268" fmla="*/ 376693 w 9346640"/>
                <a:gd name="connsiteY268" fmla="*/ 808466 h 1189131"/>
                <a:gd name="connsiteX269" fmla="*/ 406348 w 9346640"/>
                <a:gd name="connsiteY269" fmla="*/ 780748 h 1189131"/>
                <a:gd name="connsiteX270" fmla="*/ 432828 w 9346640"/>
                <a:gd name="connsiteY270" fmla="*/ 749824 h 1189131"/>
                <a:gd name="connsiteX271" fmla="*/ 460196 w 9346640"/>
                <a:gd name="connsiteY271" fmla="*/ 719763 h 1189131"/>
                <a:gd name="connsiteX272" fmla="*/ 491502 w 9346640"/>
                <a:gd name="connsiteY272" fmla="*/ 693645 h 1189131"/>
                <a:gd name="connsiteX273" fmla="*/ 520902 w 9346640"/>
                <a:gd name="connsiteY273" fmla="*/ 665680 h 1189131"/>
                <a:gd name="connsiteX274" fmla="*/ 547572 w 9346640"/>
                <a:gd name="connsiteY274" fmla="*/ 634876 h 1189131"/>
                <a:gd name="connsiteX275" fmla="*/ 577861 w 9346640"/>
                <a:gd name="connsiteY275" fmla="*/ 607895 h 1189131"/>
                <a:gd name="connsiteX276" fmla="*/ 605802 w 9346640"/>
                <a:gd name="connsiteY276" fmla="*/ 578577 h 1189131"/>
                <a:gd name="connsiteX277" fmla="*/ 635393 w 9346640"/>
                <a:gd name="connsiteY277" fmla="*/ 550732 h 1189131"/>
                <a:gd name="connsiteX278" fmla="*/ 661872 w 9346640"/>
                <a:gd name="connsiteY278" fmla="*/ 519807 h 1189131"/>
                <a:gd name="connsiteX279" fmla="*/ 692289 w 9346640"/>
                <a:gd name="connsiteY279" fmla="*/ 492826 h 1189131"/>
                <a:gd name="connsiteX280" fmla="*/ 719022 w 9346640"/>
                <a:gd name="connsiteY280" fmla="*/ 462149 h 1189131"/>
                <a:gd name="connsiteX281" fmla="*/ 748740 w 9346640"/>
                <a:gd name="connsiteY281" fmla="*/ 434552 h 1189131"/>
                <a:gd name="connsiteX282" fmla="*/ 776299 w 9346640"/>
                <a:gd name="connsiteY282" fmla="*/ 404739 h 1189131"/>
                <a:gd name="connsiteX283" fmla="*/ 807731 w 9346640"/>
                <a:gd name="connsiteY283" fmla="*/ 378742 h 1189131"/>
                <a:gd name="connsiteX284" fmla="*/ 833258 w 9346640"/>
                <a:gd name="connsiteY284" fmla="*/ 346713 h 1189131"/>
                <a:gd name="connsiteX285" fmla="*/ 862342 w 9346640"/>
                <a:gd name="connsiteY285" fmla="*/ 318373 h 1189131"/>
                <a:gd name="connsiteX286" fmla="*/ 891170 w 9346640"/>
                <a:gd name="connsiteY286" fmla="*/ 289791 h 1189131"/>
                <a:gd name="connsiteX287" fmla="*/ 921714 w 9346640"/>
                <a:gd name="connsiteY287" fmla="*/ 262937 h 1189131"/>
                <a:gd name="connsiteX288" fmla="*/ 951051 w 9346640"/>
                <a:gd name="connsiteY288" fmla="*/ 234845 h 1189131"/>
                <a:gd name="connsiteX289" fmla="*/ 980452 w 9346640"/>
                <a:gd name="connsiteY289" fmla="*/ 206759 h 1189131"/>
                <a:gd name="connsiteX290" fmla="*/ 1005343 w 9346640"/>
                <a:gd name="connsiteY290" fmla="*/ 174228 h 1189131"/>
                <a:gd name="connsiteX291" fmla="*/ 1036903 w 9346640"/>
                <a:gd name="connsiteY291" fmla="*/ 148237 h 1189131"/>
                <a:gd name="connsiteX292" fmla="*/ 1063636 w 9346640"/>
                <a:gd name="connsiteY292" fmla="*/ 117433 h 1189131"/>
                <a:gd name="connsiteX293" fmla="*/ 1092084 w 9346640"/>
                <a:gd name="connsiteY293" fmla="*/ 88363 h 1189131"/>
                <a:gd name="connsiteX294" fmla="*/ 1123644 w 9346640"/>
                <a:gd name="connsiteY294" fmla="*/ 62366 h 1189131"/>
                <a:gd name="connsiteX295" fmla="*/ 1148981 w 9346640"/>
                <a:gd name="connsiteY295" fmla="*/ 30087 h 1189131"/>
                <a:gd name="connsiteX296" fmla="*/ 1180159 w 9346640"/>
                <a:gd name="connsiteY296" fmla="*/ 4091 h 1189131"/>
                <a:gd name="connsiteX297" fmla="*/ 1219973 w 9346640"/>
                <a:gd name="connsiteY297" fmla="*/ 1997 h 1189131"/>
                <a:gd name="connsiteX298" fmla="*/ 1260106 w 9346640"/>
                <a:gd name="connsiteY298" fmla="*/ 4091 h 1189131"/>
                <a:gd name="connsiteX299" fmla="*/ 1300301 w 9346640"/>
                <a:gd name="connsiteY299" fmla="*/ 4830 h 1189131"/>
                <a:gd name="connsiteX300" fmla="*/ 1340433 w 9346640"/>
                <a:gd name="connsiteY300" fmla="*/ 1258 h 1189131"/>
                <a:gd name="connsiteX301" fmla="*/ 1380629 w 9346640"/>
                <a:gd name="connsiteY301" fmla="*/ 1011 h 1189131"/>
                <a:gd name="connsiteX302" fmla="*/ 1420760 w 9346640"/>
                <a:gd name="connsiteY302" fmla="*/ 2120 h 1189131"/>
                <a:gd name="connsiteX303" fmla="*/ 1460956 w 9346640"/>
                <a:gd name="connsiteY303" fmla="*/ 4091 h 1189131"/>
                <a:gd name="connsiteX304" fmla="*/ 1501088 w 9346640"/>
                <a:gd name="connsiteY304" fmla="*/ 642 h 1189131"/>
                <a:gd name="connsiteX305" fmla="*/ 1541283 w 9346640"/>
                <a:gd name="connsiteY305" fmla="*/ 1381 h 1189131"/>
                <a:gd name="connsiteX306" fmla="*/ 1581416 w 9346640"/>
                <a:gd name="connsiteY306" fmla="*/ 1873 h 1189131"/>
                <a:gd name="connsiteX307" fmla="*/ 1621611 w 9346640"/>
                <a:gd name="connsiteY307" fmla="*/ 3968 h 1189131"/>
                <a:gd name="connsiteX308" fmla="*/ 1661743 w 9346640"/>
                <a:gd name="connsiteY308" fmla="*/ 1134 h 1189131"/>
                <a:gd name="connsiteX309" fmla="*/ 1701939 w 9346640"/>
                <a:gd name="connsiteY309" fmla="*/ 3105 h 1189131"/>
                <a:gd name="connsiteX310" fmla="*/ 1742070 w 9346640"/>
                <a:gd name="connsiteY310" fmla="*/ 5939 h 1189131"/>
                <a:gd name="connsiteX311" fmla="*/ 1782266 w 9346640"/>
                <a:gd name="connsiteY311" fmla="*/ 6309 h 1189131"/>
                <a:gd name="connsiteX312" fmla="*/ 1822398 w 9346640"/>
                <a:gd name="connsiteY312" fmla="*/ 4707 h 1189131"/>
                <a:gd name="connsiteX313" fmla="*/ 1862467 w 9346640"/>
                <a:gd name="connsiteY313" fmla="*/ 3229 h 1189131"/>
                <a:gd name="connsiteX314" fmla="*/ 1902471 w 9346640"/>
                <a:gd name="connsiteY314" fmla="*/ 3229 h 1189131"/>
                <a:gd name="connsiteX315" fmla="*/ 1942540 w 9346640"/>
                <a:gd name="connsiteY315" fmla="*/ 5200 h 1189131"/>
                <a:gd name="connsiteX316" fmla="*/ 1982608 w 9346640"/>
                <a:gd name="connsiteY316" fmla="*/ 4091 h 1189131"/>
                <a:gd name="connsiteX317" fmla="*/ 2022614 w 9346640"/>
                <a:gd name="connsiteY317" fmla="*/ 5692 h 1189131"/>
                <a:gd name="connsiteX318" fmla="*/ 2062682 w 9346640"/>
                <a:gd name="connsiteY318" fmla="*/ 1873 h 1189131"/>
                <a:gd name="connsiteX319" fmla="*/ 2102814 w 9346640"/>
                <a:gd name="connsiteY319" fmla="*/ 1873 h 1189131"/>
                <a:gd name="connsiteX320" fmla="*/ 2143009 w 9346640"/>
                <a:gd name="connsiteY320" fmla="*/ 888 h 1189131"/>
                <a:gd name="connsiteX321" fmla="*/ 2183142 w 9346640"/>
                <a:gd name="connsiteY321" fmla="*/ 5816 h 1189131"/>
                <a:gd name="connsiteX322" fmla="*/ 2223337 w 9346640"/>
                <a:gd name="connsiteY322" fmla="*/ 765 h 1189131"/>
                <a:gd name="connsiteX323" fmla="*/ 2263342 w 9346640"/>
                <a:gd name="connsiteY323" fmla="*/ 2489 h 1189131"/>
                <a:gd name="connsiteX324" fmla="*/ 2303410 w 9346640"/>
                <a:gd name="connsiteY324" fmla="*/ 518 h 1189131"/>
                <a:gd name="connsiteX325" fmla="*/ 2343416 w 9346640"/>
                <a:gd name="connsiteY325" fmla="*/ 5569 h 1189131"/>
                <a:gd name="connsiteX326" fmla="*/ 2383611 w 9346640"/>
                <a:gd name="connsiteY326" fmla="*/ 2613 h 1189131"/>
                <a:gd name="connsiteX327" fmla="*/ 2423743 w 9346640"/>
                <a:gd name="connsiteY327" fmla="*/ 6432 h 1189131"/>
                <a:gd name="connsiteX328" fmla="*/ 2463939 w 9346640"/>
                <a:gd name="connsiteY328" fmla="*/ 5076 h 1189131"/>
                <a:gd name="connsiteX329" fmla="*/ 2504070 w 9346640"/>
                <a:gd name="connsiteY329" fmla="*/ 2859 h 1189131"/>
                <a:gd name="connsiteX330" fmla="*/ 2544266 w 9346640"/>
                <a:gd name="connsiteY330" fmla="*/ 1750 h 1189131"/>
                <a:gd name="connsiteX331" fmla="*/ 2584398 w 9346640"/>
                <a:gd name="connsiteY331" fmla="*/ 1011 h 1189131"/>
                <a:gd name="connsiteX332" fmla="*/ 2624593 w 9346640"/>
                <a:gd name="connsiteY332" fmla="*/ 3229 h 1189131"/>
                <a:gd name="connsiteX333" fmla="*/ 2664726 w 9346640"/>
                <a:gd name="connsiteY333" fmla="*/ 3598 h 1189131"/>
                <a:gd name="connsiteX334" fmla="*/ 2704921 w 9346640"/>
                <a:gd name="connsiteY334" fmla="*/ 6063 h 1189131"/>
                <a:gd name="connsiteX335" fmla="*/ 2745053 w 9346640"/>
                <a:gd name="connsiteY335" fmla="*/ 4707 h 1189131"/>
                <a:gd name="connsiteX336" fmla="*/ 2785249 w 9346640"/>
                <a:gd name="connsiteY336" fmla="*/ 3845 h 1189131"/>
                <a:gd name="connsiteX337" fmla="*/ 2825381 w 9346640"/>
                <a:gd name="connsiteY337" fmla="*/ 5076 h 1189131"/>
                <a:gd name="connsiteX338" fmla="*/ 2865576 w 9346640"/>
                <a:gd name="connsiteY338" fmla="*/ 3968 h 1189131"/>
                <a:gd name="connsiteX339" fmla="*/ 2905708 w 9346640"/>
                <a:gd name="connsiteY339" fmla="*/ 1750 h 1189131"/>
                <a:gd name="connsiteX340" fmla="*/ 2945904 w 9346640"/>
                <a:gd name="connsiteY340" fmla="*/ 2243 h 1189131"/>
                <a:gd name="connsiteX341" fmla="*/ 2986035 w 9346640"/>
                <a:gd name="connsiteY341" fmla="*/ 765 h 1189131"/>
                <a:gd name="connsiteX342" fmla="*/ 3026231 w 9346640"/>
                <a:gd name="connsiteY342" fmla="*/ 765 h 1189131"/>
                <a:gd name="connsiteX343" fmla="*/ 3066363 w 9346640"/>
                <a:gd name="connsiteY343" fmla="*/ 3968 h 1189131"/>
                <a:gd name="connsiteX344" fmla="*/ 3106558 w 9346640"/>
                <a:gd name="connsiteY344" fmla="*/ 4214 h 1189131"/>
                <a:gd name="connsiteX345" fmla="*/ 3146691 w 9346640"/>
                <a:gd name="connsiteY345" fmla="*/ 3598 h 1189131"/>
                <a:gd name="connsiteX346" fmla="*/ 3186886 w 9346640"/>
                <a:gd name="connsiteY346" fmla="*/ 765 h 1189131"/>
                <a:gd name="connsiteX347" fmla="*/ 3227018 w 9346640"/>
                <a:gd name="connsiteY347" fmla="*/ 1504 h 1189131"/>
                <a:gd name="connsiteX348" fmla="*/ 3267214 w 9346640"/>
                <a:gd name="connsiteY348" fmla="*/ 4584 h 1189131"/>
                <a:gd name="connsiteX349" fmla="*/ 3307345 w 9346640"/>
                <a:gd name="connsiteY349" fmla="*/ 2243 h 1189131"/>
                <a:gd name="connsiteX350" fmla="*/ 3347541 w 9346640"/>
                <a:gd name="connsiteY350" fmla="*/ 1997 h 1189131"/>
                <a:gd name="connsiteX351" fmla="*/ 3387546 w 9346640"/>
                <a:gd name="connsiteY351" fmla="*/ 3721 h 1189131"/>
                <a:gd name="connsiteX352" fmla="*/ 3427742 w 9346640"/>
                <a:gd name="connsiteY352" fmla="*/ 1627 h 1189131"/>
                <a:gd name="connsiteX353" fmla="*/ 3467874 w 9346640"/>
                <a:gd name="connsiteY353" fmla="*/ 2366 h 1189131"/>
                <a:gd name="connsiteX354" fmla="*/ 3508069 w 9346640"/>
                <a:gd name="connsiteY354" fmla="*/ 4337 h 1189131"/>
                <a:gd name="connsiteX355" fmla="*/ 3548201 w 9346640"/>
                <a:gd name="connsiteY355" fmla="*/ 888 h 1189131"/>
                <a:gd name="connsiteX356" fmla="*/ 3588396 w 9346640"/>
                <a:gd name="connsiteY356" fmla="*/ 5323 h 1189131"/>
                <a:gd name="connsiteX357" fmla="*/ 3628529 w 9346640"/>
                <a:gd name="connsiteY357" fmla="*/ 4953 h 1189131"/>
                <a:gd name="connsiteX358" fmla="*/ 3668724 w 9346640"/>
                <a:gd name="connsiteY358" fmla="*/ 6309 h 1189131"/>
                <a:gd name="connsiteX359" fmla="*/ 3708856 w 9346640"/>
                <a:gd name="connsiteY359" fmla="*/ 5569 h 1189131"/>
                <a:gd name="connsiteX360" fmla="*/ 3749052 w 9346640"/>
                <a:gd name="connsiteY360" fmla="*/ 3968 h 1189131"/>
                <a:gd name="connsiteX361" fmla="*/ 3789183 w 9346640"/>
                <a:gd name="connsiteY361" fmla="*/ 4953 h 1189131"/>
                <a:gd name="connsiteX362" fmla="*/ 3829379 w 9346640"/>
                <a:gd name="connsiteY362" fmla="*/ 6432 h 1189131"/>
                <a:gd name="connsiteX363" fmla="*/ 3869511 w 9346640"/>
                <a:gd name="connsiteY363" fmla="*/ 2613 h 1189131"/>
                <a:gd name="connsiteX364" fmla="*/ 3909706 w 9346640"/>
                <a:gd name="connsiteY364" fmla="*/ 1504 h 1189131"/>
                <a:gd name="connsiteX365" fmla="*/ 3949839 w 9346640"/>
                <a:gd name="connsiteY365" fmla="*/ 518 h 1189131"/>
                <a:gd name="connsiteX366" fmla="*/ 3990161 w 9346640"/>
                <a:gd name="connsiteY366" fmla="*/ 1258 h 1189131"/>
                <a:gd name="connsiteX367" fmla="*/ 4030420 w 9346640"/>
                <a:gd name="connsiteY367" fmla="*/ 5939 h 118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</a:cxnLst>
              <a:rect l="l" t="t" r="r" b="b"/>
              <a:pathLst>
                <a:path w="9346640" h="1189131">
                  <a:moveTo>
                    <a:pt x="9346640" y="1155893"/>
                  </a:moveTo>
                  <a:cubicBezTo>
                    <a:pt x="9332226" y="1141479"/>
                    <a:pt x="9331210" y="1142584"/>
                    <a:pt x="9316795" y="1128169"/>
                  </a:cubicBezTo>
                  <a:cubicBezTo>
                    <a:pt x="9302381" y="1113755"/>
                    <a:pt x="9303142" y="1113018"/>
                    <a:pt x="9288727" y="1098724"/>
                  </a:cubicBezTo>
                  <a:cubicBezTo>
                    <a:pt x="9274313" y="1084437"/>
                    <a:pt x="9274440" y="1084310"/>
                    <a:pt x="9260025" y="1069895"/>
                  </a:cubicBezTo>
                  <a:cubicBezTo>
                    <a:pt x="9245612" y="1055481"/>
                    <a:pt x="9246628" y="1054624"/>
                    <a:pt x="9232213" y="1040209"/>
                  </a:cubicBezTo>
                  <a:cubicBezTo>
                    <a:pt x="9217798" y="1025794"/>
                    <a:pt x="9217037" y="1026531"/>
                    <a:pt x="9202623" y="1012117"/>
                  </a:cubicBezTo>
                  <a:cubicBezTo>
                    <a:pt x="9188208" y="997702"/>
                    <a:pt x="9188842" y="997207"/>
                    <a:pt x="9174427" y="982792"/>
                  </a:cubicBezTo>
                  <a:cubicBezTo>
                    <a:pt x="9160013" y="968378"/>
                    <a:pt x="9156901" y="971585"/>
                    <a:pt x="9142487" y="957170"/>
                  </a:cubicBezTo>
                  <a:cubicBezTo>
                    <a:pt x="9128074" y="942756"/>
                    <a:pt x="9130041" y="940781"/>
                    <a:pt x="9115626" y="926366"/>
                  </a:cubicBezTo>
                  <a:cubicBezTo>
                    <a:pt x="9101212" y="911952"/>
                    <a:pt x="9098990" y="914174"/>
                    <a:pt x="9084576" y="899880"/>
                  </a:cubicBezTo>
                  <a:cubicBezTo>
                    <a:pt x="9070161" y="885586"/>
                    <a:pt x="9072384" y="883370"/>
                    <a:pt x="9057969" y="868956"/>
                  </a:cubicBezTo>
                  <a:cubicBezTo>
                    <a:pt x="9043555" y="854541"/>
                    <a:pt x="9044824" y="853309"/>
                    <a:pt x="9030410" y="838895"/>
                  </a:cubicBezTo>
                  <a:cubicBezTo>
                    <a:pt x="9015995" y="824480"/>
                    <a:pt x="9013519" y="826944"/>
                    <a:pt x="8999105" y="812530"/>
                  </a:cubicBezTo>
                  <a:cubicBezTo>
                    <a:pt x="8984690" y="798115"/>
                    <a:pt x="8986912" y="795899"/>
                    <a:pt x="8972499" y="781485"/>
                  </a:cubicBezTo>
                  <a:cubicBezTo>
                    <a:pt x="8958084" y="767070"/>
                    <a:pt x="8955225" y="769902"/>
                    <a:pt x="8940812" y="755488"/>
                  </a:cubicBezTo>
                  <a:cubicBezTo>
                    <a:pt x="8926398" y="741073"/>
                    <a:pt x="8930080" y="737377"/>
                    <a:pt x="8915665" y="722963"/>
                  </a:cubicBezTo>
                  <a:cubicBezTo>
                    <a:pt x="8901250" y="708549"/>
                    <a:pt x="8898202" y="711755"/>
                    <a:pt x="8883788" y="697341"/>
                  </a:cubicBezTo>
                  <a:cubicBezTo>
                    <a:pt x="8869375" y="682926"/>
                    <a:pt x="8871914" y="680462"/>
                    <a:pt x="8857499" y="666048"/>
                  </a:cubicBezTo>
                  <a:cubicBezTo>
                    <a:pt x="8843085" y="651633"/>
                    <a:pt x="8841370" y="653354"/>
                    <a:pt x="8827083" y="638940"/>
                  </a:cubicBezTo>
                  <a:cubicBezTo>
                    <a:pt x="8812795" y="624525"/>
                    <a:pt x="8813431" y="623909"/>
                    <a:pt x="8799016" y="609495"/>
                  </a:cubicBezTo>
                  <a:cubicBezTo>
                    <a:pt x="8784602" y="595080"/>
                    <a:pt x="8782506" y="597176"/>
                    <a:pt x="8768218" y="582761"/>
                  </a:cubicBezTo>
                  <a:cubicBezTo>
                    <a:pt x="8753931" y="568347"/>
                    <a:pt x="8754884" y="567363"/>
                    <a:pt x="8740469" y="552948"/>
                  </a:cubicBezTo>
                  <a:cubicBezTo>
                    <a:pt x="8726055" y="538534"/>
                    <a:pt x="8724722" y="539892"/>
                    <a:pt x="8710307" y="525478"/>
                  </a:cubicBezTo>
                  <a:cubicBezTo>
                    <a:pt x="8695892" y="511063"/>
                    <a:pt x="8698877" y="508225"/>
                    <a:pt x="8684462" y="493811"/>
                  </a:cubicBezTo>
                  <a:cubicBezTo>
                    <a:pt x="8670047" y="479396"/>
                    <a:pt x="8667317" y="482235"/>
                    <a:pt x="8652903" y="467820"/>
                  </a:cubicBezTo>
                  <a:cubicBezTo>
                    <a:pt x="8638488" y="453405"/>
                    <a:pt x="8642044" y="449951"/>
                    <a:pt x="8627630" y="435537"/>
                  </a:cubicBezTo>
                  <a:cubicBezTo>
                    <a:pt x="8613215" y="421122"/>
                    <a:pt x="8613088" y="421249"/>
                    <a:pt x="8598673" y="406835"/>
                  </a:cubicBezTo>
                  <a:cubicBezTo>
                    <a:pt x="8584259" y="392420"/>
                    <a:pt x="8583877" y="392788"/>
                    <a:pt x="8569463" y="378374"/>
                  </a:cubicBezTo>
                  <a:cubicBezTo>
                    <a:pt x="8555050" y="363959"/>
                    <a:pt x="8553462" y="365560"/>
                    <a:pt x="8539048" y="351145"/>
                  </a:cubicBezTo>
                  <a:cubicBezTo>
                    <a:pt x="8524633" y="336731"/>
                    <a:pt x="8526727" y="334635"/>
                    <a:pt x="8512440" y="320221"/>
                  </a:cubicBezTo>
                  <a:cubicBezTo>
                    <a:pt x="8498152" y="305806"/>
                    <a:pt x="8496058" y="307781"/>
                    <a:pt x="8481643" y="293366"/>
                  </a:cubicBezTo>
                  <a:cubicBezTo>
                    <a:pt x="8467229" y="278952"/>
                    <a:pt x="8466466" y="279689"/>
                    <a:pt x="8452051" y="265274"/>
                  </a:cubicBezTo>
                  <a:cubicBezTo>
                    <a:pt x="8437637" y="250859"/>
                    <a:pt x="8436685" y="251850"/>
                    <a:pt x="8422270" y="237436"/>
                  </a:cubicBezTo>
                  <a:cubicBezTo>
                    <a:pt x="8407856" y="223021"/>
                    <a:pt x="8411158" y="219694"/>
                    <a:pt x="8396743" y="205279"/>
                  </a:cubicBezTo>
                  <a:cubicBezTo>
                    <a:pt x="8382329" y="190865"/>
                    <a:pt x="8379154" y="194065"/>
                    <a:pt x="8364739" y="179778"/>
                  </a:cubicBezTo>
                  <a:cubicBezTo>
                    <a:pt x="8350324" y="165484"/>
                    <a:pt x="8351151" y="164500"/>
                    <a:pt x="8336736" y="150085"/>
                  </a:cubicBezTo>
                  <a:cubicBezTo>
                    <a:pt x="8322322" y="135671"/>
                    <a:pt x="8321370" y="136655"/>
                    <a:pt x="8306955" y="122240"/>
                  </a:cubicBezTo>
                  <a:cubicBezTo>
                    <a:pt x="8292540" y="107826"/>
                    <a:pt x="8293365" y="106842"/>
                    <a:pt x="8278951" y="92427"/>
                  </a:cubicBezTo>
                  <a:cubicBezTo>
                    <a:pt x="8264537" y="78013"/>
                    <a:pt x="8264347" y="78260"/>
                    <a:pt x="8249932" y="63719"/>
                  </a:cubicBezTo>
                  <a:cubicBezTo>
                    <a:pt x="8235518" y="49182"/>
                    <a:pt x="8238311" y="46349"/>
                    <a:pt x="8223897" y="31934"/>
                  </a:cubicBezTo>
                  <a:cubicBezTo>
                    <a:pt x="8209482" y="17520"/>
                    <a:pt x="8213927" y="5323"/>
                    <a:pt x="8193480" y="5200"/>
                  </a:cubicBezTo>
                  <a:cubicBezTo>
                    <a:pt x="8173033" y="5076"/>
                    <a:pt x="8180400" y="20107"/>
                    <a:pt x="8165985" y="34398"/>
                  </a:cubicBezTo>
                  <a:cubicBezTo>
                    <a:pt x="8151571" y="48690"/>
                    <a:pt x="8149983" y="47088"/>
                    <a:pt x="8135569" y="61382"/>
                  </a:cubicBezTo>
                  <a:cubicBezTo>
                    <a:pt x="8121154" y="75669"/>
                    <a:pt x="8120075" y="74437"/>
                    <a:pt x="8105660" y="88852"/>
                  </a:cubicBezTo>
                  <a:cubicBezTo>
                    <a:pt x="8091246" y="103266"/>
                    <a:pt x="8094421" y="106346"/>
                    <a:pt x="8080133" y="120640"/>
                  </a:cubicBezTo>
                  <a:cubicBezTo>
                    <a:pt x="8065846" y="134928"/>
                    <a:pt x="8065464" y="134686"/>
                    <a:pt x="8051177" y="148974"/>
                  </a:cubicBezTo>
                  <a:cubicBezTo>
                    <a:pt x="8036889" y="163268"/>
                    <a:pt x="8033714" y="160061"/>
                    <a:pt x="8019300" y="174475"/>
                  </a:cubicBezTo>
                  <a:cubicBezTo>
                    <a:pt x="8004885" y="188890"/>
                    <a:pt x="8005076" y="189017"/>
                    <a:pt x="7990661" y="203431"/>
                  </a:cubicBezTo>
                  <a:cubicBezTo>
                    <a:pt x="7976247" y="217846"/>
                    <a:pt x="7978279" y="219694"/>
                    <a:pt x="7963928" y="234108"/>
                  </a:cubicBezTo>
                  <a:cubicBezTo>
                    <a:pt x="7949640" y="248523"/>
                    <a:pt x="7951291" y="250123"/>
                    <a:pt x="7937004" y="264410"/>
                  </a:cubicBezTo>
                  <a:cubicBezTo>
                    <a:pt x="7922716" y="278704"/>
                    <a:pt x="7919097" y="275256"/>
                    <a:pt x="7904809" y="289544"/>
                  </a:cubicBezTo>
                  <a:cubicBezTo>
                    <a:pt x="7890522" y="303838"/>
                    <a:pt x="7892745" y="306181"/>
                    <a:pt x="7878330" y="320468"/>
                  </a:cubicBezTo>
                  <a:cubicBezTo>
                    <a:pt x="7863915" y="334762"/>
                    <a:pt x="7864677" y="335499"/>
                    <a:pt x="7850262" y="349913"/>
                  </a:cubicBezTo>
                  <a:cubicBezTo>
                    <a:pt x="7835849" y="364328"/>
                    <a:pt x="7835340" y="363712"/>
                    <a:pt x="7820926" y="378006"/>
                  </a:cubicBezTo>
                  <a:cubicBezTo>
                    <a:pt x="7806511" y="392293"/>
                    <a:pt x="7805750" y="391556"/>
                    <a:pt x="7791335" y="405850"/>
                  </a:cubicBezTo>
                  <a:cubicBezTo>
                    <a:pt x="7776921" y="420138"/>
                    <a:pt x="7777682" y="420881"/>
                    <a:pt x="7763267" y="435168"/>
                  </a:cubicBezTo>
                  <a:cubicBezTo>
                    <a:pt x="7748853" y="449462"/>
                    <a:pt x="7749933" y="450694"/>
                    <a:pt x="7735646" y="464982"/>
                  </a:cubicBezTo>
                  <a:cubicBezTo>
                    <a:pt x="7721358" y="479275"/>
                    <a:pt x="7721485" y="479523"/>
                    <a:pt x="7707198" y="493937"/>
                  </a:cubicBezTo>
                  <a:cubicBezTo>
                    <a:pt x="7692910" y="508352"/>
                    <a:pt x="7691069" y="506504"/>
                    <a:pt x="7676654" y="520792"/>
                  </a:cubicBezTo>
                  <a:cubicBezTo>
                    <a:pt x="7662239" y="535086"/>
                    <a:pt x="7660779" y="533606"/>
                    <a:pt x="7646364" y="548021"/>
                  </a:cubicBezTo>
                  <a:cubicBezTo>
                    <a:pt x="7631950" y="562435"/>
                    <a:pt x="7631695" y="562067"/>
                    <a:pt x="7617408" y="576354"/>
                  </a:cubicBezTo>
                  <a:cubicBezTo>
                    <a:pt x="7603120" y="590648"/>
                    <a:pt x="7607185" y="594839"/>
                    <a:pt x="7592898" y="609127"/>
                  </a:cubicBezTo>
                  <a:cubicBezTo>
                    <a:pt x="7578610" y="623420"/>
                    <a:pt x="7577720" y="622557"/>
                    <a:pt x="7563306" y="636971"/>
                  </a:cubicBezTo>
                  <a:cubicBezTo>
                    <a:pt x="7548891" y="651386"/>
                    <a:pt x="7548130" y="650522"/>
                    <a:pt x="7533715" y="664816"/>
                  </a:cubicBezTo>
                  <a:cubicBezTo>
                    <a:pt x="7519301" y="679104"/>
                    <a:pt x="7520062" y="679847"/>
                    <a:pt x="7505649" y="694134"/>
                  </a:cubicBezTo>
                  <a:cubicBezTo>
                    <a:pt x="7491234" y="708428"/>
                    <a:pt x="7490281" y="707317"/>
                    <a:pt x="7475866" y="721731"/>
                  </a:cubicBezTo>
                  <a:cubicBezTo>
                    <a:pt x="7461452" y="736146"/>
                    <a:pt x="7461642" y="736146"/>
                    <a:pt x="7447228" y="750560"/>
                  </a:cubicBezTo>
                  <a:cubicBezTo>
                    <a:pt x="7432813" y="764975"/>
                    <a:pt x="7432115" y="764111"/>
                    <a:pt x="7417701" y="778405"/>
                  </a:cubicBezTo>
                  <a:cubicBezTo>
                    <a:pt x="7403286" y="792699"/>
                    <a:pt x="7405889" y="795283"/>
                    <a:pt x="7391474" y="809577"/>
                  </a:cubicBezTo>
                  <a:cubicBezTo>
                    <a:pt x="7377061" y="823864"/>
                    <a:pt x="7373441" y="820416"/>
                    <a:pt x="7359154" y="834710"/>
                  </a:cubicBezTo>
                  <a:cubicBezTo>
                    <a:pt x="7344866" y="848998"/>
                    <a:pt x="7345501" y="849741"/>
                    <a:pt x="7331213" y="864155"/>
                  </a:cubicBezTo>
                  <a:cubicBezTo>
                    <a:pt x="7316926" y="878570"/>
                    <a:pt x="7319975" y="881770"/>
                    <a:pt x="7305687" y="896064"/>
                  </a:cubicBezTo>
                  <a:cubicBezTo>
                    <a:pt x="7291400" y="910352"/>
                    <a:pt x="7288225" y="907272"/>
                    <a:pt x="7273937" y="921686"/>
                  </a:cubicBezTo>
                  <a:cubicBezTo>
                    <a:pt x="7259650" y="936101"/>
                    <a:pt x="7261363" y="937828"/>
                    <a:pt x="7246950" y="952242"/>
                  </a:cubicBezTo>
                  <a:cubicBezTo>
                    <a:pt x="7232535" y="966657"/>
                    <a:pt x="7232788" y="966778"/>
                    <a:pt x="7218375" y="981192"/>
                  </a:cubicBezTo>
                  <a:cubicBezTo>
                    <a:pt x="7203960" y="995607"/>
                    <a:pt x="7203325" y="994870"/>
                    <a:pt x="7188910" y="1009158"/>
                  </a:cubicBezTo>
                  <a:cubicBezTo>
                    <a:pt x="7174495" y="1023451"/>
                    <a:pt x="7175385" y="1024436"/>
                    <a:pt x="7161034" y="1038729"/>
                  </a:cubicBezTo>
                  <a:cubicBezTo>
                    <a:pt x="7146747" y="1053017"/>
                    <a:pt x="7147127" y="1053512"/>
                    <a:pt x="7132712" y="1067927"/>
                  </a:cubicBezTo>
                  <a:cubicBezTo>
                    <a:pt x="7118299" y="1082341"/>
                    <a:pt x="7115694" y="1079630"/>
                    <a:pt x="7101280" y="1094044"/>
                  </a:cubicBezTo>
                  <a:cubicBezTo>
                    <a:pt x="7086865" y="1108459"/>
                    <a:pt x="7085786" y="1107348"/>
                    <a:pt x="7071499" y="1121762"/>
                  </a:cubicBezTo>
                  <a:cubicBezTo>
                    <a:pt x="7057211" y="1136177"/>
                    <a:pt x="7061402" y="1140368"/>
                    <a:pt x="7046987" y="1154782"/>
                  </a:cubicBezTo>
                  <a:cubicBezTo>
                    <a:pt x="7032574" y="1169197"/>
                    <a:pt x="7035874" y="1176099"/>
                    <a:pt x="7017015" y="1183979"/>
                  </a:cubicBezTo>
                  <a:cubicBezTo>
                    <a:pt x="6998219" y="1191866"/>
                    <a:pt x="6995871" y="1184227"/>
                    <a:pt x="6975740" y="1184227"/>
                  </a:cubicBezTo>
                  <a:cubicBezTo>
                    <a:pt x="6955675" y="1184227"/>
                    <a:pt x="6955675" y="1178931"/>
                    <a:pt x="6935482" y="1178931"/>
                  </a:cubicBezTo>
                  <a:cubicBezTo>
                    <a:pt x="6915288" y="1178931"/>
                    <a:pt x="6915415" y="1181884"/>
                    <a:pt x="6895223" y="1181884"/>
                  </a:cubicBezTo>
                  <a:cubicBezTo>
                    <a:pt x="6874966" y="1181884"/>
                    <a:pt x="6875094" y="1181884"/>
                    <a:pt x="6854899" y="1181884"/>
                  </a:cubicBezTo>
                  <a:cubicBezTo>
                    <a:pt x="6834707" y="1181884"/>
                    <a:pt x="6834834" y="1182131"/>
                    <a:pt x="6814641" y="1182131"/>
                  </a:cubicBezTo>
                  <a:cubicBezTo>
                    <a:pt x="6794449" y="1182131"/>
                    <a:pt x="6794512" y="1182627"/>
                    <a:pt x="6774318" y="1182627"/>
                  </a:cubicBezTo>
                  <a:cubicBezTo>
                    <a:pt x="6754126" y="1182627"/>
                    <a:pt x="6754253" y="1178931"/>
                    <a:pt x="6734060" y="1178931"/>
                  </a:cubicBezTo>
                  <a:cubicBezTo>
                    <a:pt x="6713866" y="1178931"/>
                    <a:pt x="6713993" y="1180531"/>
                    <a:pt x="6693737" y="1180531"/>
                  </a:cubicBezTo>
                  <a:cubicBezTo>
                    <a:pt x="6673545" y="1180531"/>
                    <a:pt x="6673672" y="1182500"/>
                    <a:pt x="6653478" y="1182500"/>
                  </a:cubicBezTo>
                  <a:cubicBezTo>
                    <a:pt x="6633285" y="1182500"/>
                    <a:pt x="6633412" y="1180163"/>
                    <a:pt x="6613220" y="1180163"/>
                  </a:cubicBezTo>
                  <a:cubicBezTo>
                    <a:pt x="6592962" y="1180163"/>
                    <a:pt x="6593089" y="1181147"/>
                    <a:pt x="6572897" y="1181147"/>
                  </a:cubicBezTo>
                  <a:cubicBezTo>
                    <a:pt x="6552704" y="1181147"/>
                    <a:pt x="6552831" y="1179795"/>
                    <a:pt x="6532637" y="1179795"/>
                  </a:cubicBezTo>
                  <a:cubicBezTo>
                    <a:pt x="6512381" y="1179795"/>
                    <a:pt x="6512508" y="1182748"/>
                    <a:pt x="6492315" y="1182748"/>
                  </a:cubicBezTo>
                  <a:cubicBezTo>
                    <a:pt x="6472123" y="1182748"/>
                    <a:pt x="6472250" y="1182259"/>
                    <a:pt x="6452056" y="1182259"/>
                  </a:cubicBezTo>
                  <a:cubicBezTo>
                    <a:pt x="6431863" y="1182259"/>
                    <a:pt x="6431990" y="1181268"/>
                    <a:pt x="6411733" y="1181268"/>
                  </a:cubicBezTo>
                  <a:cubicBezTo>
                    <a:pt x="6391541" y="1181268"/>
                    <a:pt x="6391541" y="1180036"/>
                    <a:pt x="6371475" y="1180036"/>
                  </a:cubicBezTo>
                  <a:cubicBezTo>
                    <a:pt x="6351408" y="1180036"/>
                    <a:pt x="6351281" y="1179547"/>
                    <a:pt x="6331152" y="1179547"/>
                  </a:cubicBezTo>
                  <a:cubicBezTo>
                    <a:pt x="6311086" y="1179547"/>
                    <a:pt x="6310959" y="1180284"/>
                    <a:pt x="6290894" y="1180284"/>
                  </a:cubicBezTo>
                  <a:cubicBezTo>
                    <a:pt x="6270827" y="1180284"/>
                    <a:pt x="6270700" y="1180411"/>
                    <a:pt x="6250634" y="1180411"/>
                  </a:cubicBezTo>
                  <a:cubicBezTo>
                    <a:pt x="6230505" y="1180411"/>
                    <a:pt x="6230378" y="1181643"/>
                    <a:pt x="6210312" y="1181643"/>
                  </a:cubicBezTo>
                  <a:cubicBezTo>
                    <a:pt x="6190245" y="1181643"/>
                    <a:pt x="6190118" y="1183363"/>
                    <a:pt x="6170053" y="1183363"/>
                  </a:cubicBezTo>
                  <a:cubicBezTo>
                    <a:pt x="6149987" y="1183363"/>
                    <a:pt x="6149860" y="1181395"/>
                    <a:pt x="6129731" y="1181395"/>
                  </a:cubicBezTo>
                  <a:cubicBezTo>
                    <a:pt x="6109664" y="1181395"/>
                    <a:pt x="6109664" y="1184227"/>
                    <a:pt x="6089471" y="1184227"/>
                  </a:cubicBezTo>
                  <a:cubicBezTo>
                    <a:pt x="6069278" y="1184227"/>
                    <a:pt x="6069406" y="1181763"/>
                    <a:pt x="6049149" y="1181763"/>
                  </a:cubicBezTo>
                  <a:cubicBezTo>
                    <a:pt x="6028956" y="1181763"/>
                    <a:pt x="6029082" y="1178563"/>
                    <a:pt x="6008890" y="1178563"/>
                  </a:cubicBezTo>
                  <a:cubicBezTo>
                    <a:pt x="5988697" y="1178563"/>
                    <a:pt x="5988824" y="1180163"/>
                    <a:pt x="5968631" y="1180163"/>
                  </a:cubicBezTo>
                  <a:cubicBezTo>
                    <a:pt x="5948374" y="1180163"/>
                    <a:pt x="5948501" y="1182500"/>
                    <a:pt x="5928308" y="1182500"/>
                  </a:cubicBezTo>
                  <a:cubicBezTo>
                    <a:pt x="5908115" y="1182500"/>
                    <a:pt x="5908243" y="1180652"/>
                    <a:pt x="5888049" y="1180652"/>
                  </a:cubicBezTo>
                  <a:cubicBezTo>
                    <a:pt x="5867856" y="1180652"/>
                    <a:pt x="5867919" y="1181395"/>
                    <a:pt x="5847727" y="1181395"/>
                  </a:cubicBezTo>
                  <a:cubicBezTo>
                    <a:pt x="5827533" y="1181395"/>
                    <a:pt x="5827661" y="1179179"/>
                    <a:pt x="5807468" y="1179179"/>
                  </a:cubicBezTo>
                  <a:cubicBezTo>
                    <a:pt x="5787275" y="1179179"/>
                    <a:pt x="5787402" y="1182011"/>
                    <a:pt x="5767145" y="1182011"/>
                  </a:cubicBezTo>
                  <a:cubicBezTo>
                    <a:pt x="5746952" y="1182011"/>
                    <a:pt x="5747079" y="1181027"/>
                    <a:pt x="5726886" y="1181027"/>
                  </a:cubicBezTo>
                  <a:cubicBezTo>
                    <a:pt x="5706694" y="1181027"/>
                    <a:pt x="5706820" y="1181027"/>
                    <a:pt x="5686627" y="1181027"/>
                  </a:cubicBezTo>
                  <a:cubicBezTo>
                    <a:pt x="5666370" y="1181027"/>
                    <a:pt x="5666498" y="1181027"/>
                    <a:pt x="5646305" y="1181027"/>
                  </a:cubicBezTo>
                  <a:cubicBezTo>
                    <a:pt x="5626112" y="1181027"/>
                    <a:pt x="5626239" y="1181395"/>
                    <a:pt x="5606045" y="1181395"/>
                  </a:cubicBezTo>
                  <a:cubicBezTo>
                    <a:pt x="5585853" y="1181395"/>
                    <a:pt x="5585916" y="1179547"/>
                    <a:pt x="5565723" y="1179547"/>
                  </a:cubicBezTo>
                  <a:cubicBezTo>
                    <a:pt x="5545531" y="1179547"/>
                    <a:pt x="5545657" y="1179795"/>
                    <a:pt x="5525464" y="1179795"/>
                  </a:cubicBezTo>
                  <a:cubicBezTo>
                    <a:pt x="5505271" y="1179795"/>
                    <a:pt x="5505271" y="1180284"/>
                    <a:pt x="5485142" y="1180284"/>
                  </a:cubicBezTo>
                  <a:cubicBezTo>
                    <a:pt x="5465076" y="1180284"/>
                    <a:pt x="5464949" y="1179795"/>
                    <a:pt x="5444882" y="1179795"/>
                  </a:cubicBezTo>
                  <a:cubicBezTo>
                    <a:pt x="5424817" y="1179795"/>
                    <a:pt x="5424690" y="1179052"/>
                    <a:pt x="5404624" y="1179052"/>
                  </a:cubicBezTo>
                  <a:cubicBezTo>
                    <a:pt x="5384494" y="1179052"/>
                    <a:pt x="5384368" y="1178188"/>
                    <a:pt x="5364301" y="1178188"/>
                  </a:cubicBezTo>
                  <a:cubicBezTo>
                    <a:pt x="5344235" y="1178188"/>
                    <a:pt x="5344108" y="1180652"/>
                    <a:pt x="5324043" y="1180652"/>
                  </a:cubicBezTo>
                  <a:cubicBezTo>
                    <a:pt x="5303913" y="1180652"/>
                    <a:pt x="5303786" y="1179915"/>
                    <a:pt x="5283719" y="1179915"/>
                  </a:cubicBezTo>
                  <a:cubicBezTo>
                    <a:pt x="5263654" y="1179915"/>
                    <a:pt x="5263527" y="1182379"/>
                    <a:pt x="5243461" y="1182379"/>
                  </a:cubicBezTo>
                  <a:cubicBezTo>
                    <a:pt x="5223394" y="1182379"/>
                    <a:pt x="5223268" y="1179052"/>
                    <a:pt x="5203138" y="1179052"/>
                  </a:cubicBezTo>
                  <a:cubicBezTo>
                    <a:pt x="5183072" y="1179052"/>
                    <a:pt x="5183072" y="1179052"/>
                    <a:pt x="5162879" y="1179052"/>
                  </a:cubicBezTo>
                  <a:cubicBezTo>
                    <a:pt x="5142686" y="1179052"/>
                    <a:pt x="5142813" y="1178315"/>
                    <a:pt x="5122620" y="1178315"/>
                  </a:cubicBezTo>
                  <a:cubicBezTo>
                    <a:pt x="5102364" y="1178315"/>
                    <a:pt x="5102491" y="1183363"/>
                    <a:pt x="5082298" y="1183363"/>
                  </a:cubicBezTo>
                  <a:cubicBezTo>
                    <a:pt x="5062105" y="1183363"/>
                    <a:pt x="5062231" y="1180411"/>
                    <a:pt x="5042039" y="1180411"/>
                  </a:cubicBezTo>
                  <a:cubicBezTo>
                    <a:pt x="5021782" y="1180411"/>
                    <a:pt x="5021909" y="1181516"/>
                    <a:pt x="5001716" y="1181516"/>
                  </a:cubicBezTo>
                  <a:cubicBezTo>
                    <a:pt x="4981523" y="1181516"/>
                    <a:pt x="4981650" y="1179299"/>
                    <a:pt x="4961457" y="1179299"/>
                  </a:cubicBezTo>
                  <a:cubicBezTo>
                    <a:pt x="4941264" y="1179299"/>
                    <a:pt x="4941391" y="1179547"/>
                    <a:pt x="4921135" y="1179547"/>
                  </a:cubicBezTo>
                  <a:cubicBezTo>
                    <a:pt x="4900942" y="1179547"/>
                    <a:pt x="4901068" y="1181884"/>
                    <a:pt x="4880876" y="1181884"/>
                  </a:cubicBezTo>
                  <a:cubicBezTo>
                    <a:pt x="4860682" y="1181884"/>
                    <a:pt x="4860810" y="1183859"/>
                    <a:pt x="4840553" y="1183859"/>
                  </a:cubicBezTo>
                  <a:cubicBezTo>
                    <a:pt x="4820360" y="1183859"/>
                    <a:pt x="4820360" y="1179299"/>
                    <a:pt x="4800294" y="1179299"/>
                  </a:cubicBezTo>
                  <a:cubicBezTo>
                    <a:pt x="4780228" y="1179299"/>
                    <a:pt x="4780101" y="1182500"/>
                    <a:pt x="4760035" y="1182500"/>
                  </a:cubicBezTo>
                  <a:cubicBezTo>
                    <a:pt x="4739906" y="1182500"/>
                    <a:pt x="4739779" y="1179547"/>
                    <a:pt x="4719713" y="1179547"/>
                  </a:cubicBezTo>
                  <a:cubicBezTo>
                    <a:pt x="4699647" y="1179547"/>
                    <a:pt x="4699519" y="1182995"/>
                    <a:pt x="4679454" y="1182995"/>
                  </a:cubicBezTo>
                  <a:cubicBezTo>
                    <a:pt x="4659324" y="1182995"/>
                    <a:pt x="4659261" y="1180411"/>
                    <a:pt x="4639131" y="1180411"/>
                  </a:cubicBezTo>
                  <a:cubicBezTo>
                    <a:pt x="4619065" y="1180411"/>
                    <a:pt x="4618938" y="1178931"/>
                    <a:pt x="4598872" y="1178931"/>
                  </a:cubicBezTo>
                  <a:cubicBezTo>
                    <a:pt x="4578806" y="1178931"/>
                    <a:pt x="4578679" y="1181027"/>
                    <a:pt x="4558550" y="1181027"/>
                  </a:cubicBezTo>
                  <a:cubicBezTo>
                    <a:pt x="4538483" y="1181027"/>
                    <a:pt x="4538356" y="1183611"/>
                    <a:pt x="4518291" y="1183611"/>
                  </a:cubicBezTo>
                  <a:cubicBezTo>
                    <a:pt x="4498225" y="1183611"/>
                    <a:pt x="4498098" y="1183116"/>
                    <a:pt x="4478031" y="1183116"/>
                  </a:cubicBezTo>
                  <a:cubicBezTo>
                    <a:pt x="4457902" y="1183116"/>
                    <a:pt x="4457775" y="1178068"/>
                    <a:pt x="4437709" y="1178068"/>
                  </a:cubicBezTo>
                  <a:cubicBezTo>
                    <a:pt x="4417644" y="1178068"/>
                    <a:pt x="4417516" y="1179299"/>
                    <a:pt x="4397450" y="1179299"/>
                  </a:cubicBezTo>
                  <a:cubicBezTo>
                    <a:pt x="4377320" y="1179299"/>
                    <a:pt x="4377320" y="1183859"/>
                    <a:pt x="4357128" y="1183859"/>
                  </a:cubicBezTo>
                  <a:cubicBezTo>
                    <a:pt x="4336935" y="1183859"/>
                    <a:pt x="4337062" y="1180284"/>
                    <a:pt x="4316868" y="1180284"/>
                  </a:cubicBezTo>
                  <a:cubicBezTo>
                    <a:pt x="4296676" y="1180284"/>
                    <a:pt x="4296676" y="1179299"/>
                    <a:pt x="4276546" y="1179299"/>
                  </a:cubicBezTo>
                  <a:cubicBezTo>
                    <a:pt x="4256481" y="1179299"/>
                    <a:pt x="4256353" y="1183611"/>
                    <a:pt x="4236287" y="1183611"/>
                  </a:cubicBezTo>
                  <a:cubicBezTo>
                    <a:pt x="4216221" y="1183611"/>
                    <a:pt x="4216094" y="1180411"/>
                    <a:pt x="4196028" y="1180411"/>
                  </a:cubicBezTo>
                  <a:cubicBezTo>
                    <a:pt x="4175899" y="1180411"/>
                    <a:pt x="4175771" y="1183732"/>
                    <a:pt x="4155706" y="1183732"/>
                  </a:cubicBezTo>
                  <a:cubicBezTo>
                    <a:pt x="4135640" y="1183732"/>
                    <a:pt x="4135513" y="1179795"/>
                    <a:pt x="4115446" y="1179795"/>
                  </a:cubicBezTo>
                  <a:cubicBezTo>
                    <a:pt x="4095317" y="1179795"/>
                    <a:pt x="4095190" y="1178188"/>
                    <a:pt x="4075124" y="1178188"/>
                  </a:cubicBezTo>
                  <a:cubicBezTo>
                    <a:pt x="4055058" y="1178188"/>
                    <a:pt x="4054931" y="1182627"/>
                    <a:pt x="4034865" y="1182627"/>
                  </a:cubicBezTo>
                  <a:cubicBezTo>
                    <a:pt x="4014799" y="1182627"/>
                    <a:pt x="4014672" y="1181516"/>
                    <a:pt x="3994543" y="1181516"/>
                  </a:cubicBezTo>
                  <a:cubicBezTo>
                    <a:pt x="3974477" y="1181516"/>
                    <a:pt x="3974350" y="1178563"/>
                    <a:pt x="3954283" y="1178563"/>
                  </a:cubicBezTo>
                  <a:cubicBezTo>
                    <a:pt x="3934218" y="1178563"/>
                    <a:pt x="3934091" y="1182379"/>
                    <a:pt x="3914025" y="1182379"/>
                  </a:cubicBezTo>
                  <a:cubicBezTo>
                    <a:pt x="3893895" y="1182379"/>
                    <a:pt x="3893768" y="1182379"/>
                    <a:pt x="3873702" y="1182379"/>
                  </a:cubicBezTo>
                  <a:cubicBezTo>
                    <a:pt x="3853636" y="1182379"/>
                    <a:pt x="3853509" y="1180779"/>
                    <a:pt x="3833443" y="1180779"/>
                  </a:cubicBezTo>
                  <a:cubicBezTo>
                    <a:pt x="3813314" y="1180779"/>
                    <a:pt x="3813187" y="1178188"/>
                    <a:pt x="3793120" y="1178188"/>
                  </a:cubicBezTo>
                  <a:cubicBezTo>
                    <a:pt x="3773055" y="1178188"/>
                    <a:pt x="3772928" y="1183116"/>
                    <a:pt x="3752862" y="1183116"/>
                  </a:cubicBezTo>
                  <a:cubicBezTo>
                    <a:pt x="3732795" y="1183116"/>
                    <a:pt x="3732668" y="1182131"/>
                    <a:pt x="3712539" y="1182131"/>
                  </a:cubicBezTo>
                  <a:cubicBezTo>
                    <a:pt x="3692473" y="1182131"/>
                    <a:pt x="3692346" y="1178068"/>
                    <a:pt x="3672280" y="1178068"/>
                  </a:cubicBezTo>
                  <a:cubicBezTo>
                    <a:pt x="3652214" y="1178068"/>
                    <a:pt x="3652087" y="1179795"/>
                    <a:pt x="3631957" y="1179795"/>
                  </a:cubicBezTo>
                  <a:cubicBezTo>
                    <a:pt x="3611892" y="1179795"/>
                    <a:pt x="3611765" y="1181643"/>
                    <a:pt x="3591699" y="1181643"/>
                  </a:cubicBezTo>
                  <a:cubicBezTo>
                    <a:pt x="3571632" y="1181643"/>
                    <a:pt x="3571506" y="1182500"/>
                    <a:pt x="3551440" y="1182500"/>
                  </a:cubicBezTo>
                  <a:cubicBezTo>
                    <a:pt x="3531310" y="1182500"/>
                    <a:pt x="3531183" y="1181643"/>
                    <a:pt x="3511117" y="1181643"/>
                  </a:cubicBezTo>
                  <a:cubicBezTo>
                    <a:pt x="3491051" y="1181643"/>
                    <a:pt x="3490924" y="1183243"/>
                    <a:pt x="3470858" y="1183243"/>
                  </a:cubicBezTo>
                  <a:cubicBezTo>
                    <a:pt x="3450729" y="1183243"/>
                    <a:pt x="3450665" y="1180652"/>
                    <a:pt x="3430535" y="1180652"/>
                  </a:cubicBezTo>
                  <a:cubicBezTo>
                    <a:pt x="3410469" y="1180652"/>
                    <a:pt x="3410343" y="1178683"/>
                    <a:pt x="3390277" y="1178683"/>
                  </a:cubicBezTo>
                  <a:cubicBezTo>
                    <a:pt x="3370210" y="1178683"/>
                    <a:pt x="3370083" y="1178188"/>
                    <a:pt x="3349954" y="1178188"/>
                  </a:cubicBezTo>
                  <a:cubicBezTo>
                    <a:pt x="3329888" y="1178188"/>
                    <a:pt x="3329761" y="1182500"/>
                    <a:pt x="3309695" y="1182500"/>
                  </a:cubicBezTo>
                  <a:cubicBezTo>
                    <a:pt x="3289629" y="1182500"/>
                    <a:pt x="3289502" y="1181643"/>
                    <a:pt x="3269436" y="1181643"/>
                  </a:cubicBezTo>
                  <a:cubicBezTo>
                    <a:pt x="3249306" y="1181643"/>
                    <a:pt x="3249180" y="1182995"/>
                    <a:pt x="3229114" y="1182995"/>
                  </a:cubicBezTo>
                  <a:cubicBezTo>
                    <a:pt x="3209047" y="1182995"/>
                    <a:pt x="3208920" y="1178315"/>
                    <a:pt x="3188855" y="1178315"/>
                  </a:cubicBezTo>
                  <a:cubicBezTo>
                    <a:pt x="3168725" y="1178315"/>
                    <a:pt x="3168662" y="1180779"/>
                    <a:pt x="3148532" y="1180779"/>
                  </a:cubicBezTo>
                  <a:cubicBezTo>
                    <a:pt x="3128466" y="1180779"/>
                    <a:pt x="3128339" y="1177820"/>
                    <a:pt x="3108273" y="1177820"/>
                  </a:cubicBezTo>
                  <a:cubicBezTo>
                    <a:pt x="3088207" y="1177820"/>
                    <a:pt x="3088080" y="1180163"/>
                    <a:pt x="3067951" y="1180163"/>
                  </a:cubicBezTo>
                  <a:cubicBezTo>
                    <a:pt x="3047884" y="1180163"/>
                    <a:pt x="3047757" y="1179668"/>
                    <a:pt x="3027692" y="1179668"/>
                  </a:cubicBezTo>
                  <a:cubicBezTo>
                    <a:pt x="3007626" y="1179668"/>
                    <a:pt x="3007499" y="1177699"/>
                    <a:pt x="2987432" y="1177699"/>
                  </a:cubicBezTo>
                  <a:cubicBezTo>
                    <a:pt x="2967303" y="1177699"/>
                    <a:pt x="2967176" y="1182627"/>
                    <a:pt x="2947110" y="1182627"/>
                  </a:cubicBezTo>
                  <a:cubicBezTo>
                    <a:pt x="2927044" y="1182627"/>
                    <a:pt x="2926917" y="1182379"/>
                    <a:pt x="2906851" y="1182379"/>
                  </a:cubicBezTo>
                  <a:cubicBezTo>
                    <a:pt x="2886721" y="1182379"/>
                    <a:pt x="2886594" y="1181643"/>
                    <a:pt x="2866529" y="1181643"/>
                  </a:cubicBezTo>
                  <a:cubicBezTo>
                    <a:pt x="2846463" y="1181643"/>
                    <a:pt x="2846335" y="1178683"/>
                    <a:pt x="2826269" y="1178683"/>
                  </a:cubicBezTo>
                  <a:cubicBezTo>
                    <a:pt x="2806204" y="1178683"/>
                    <a:pt x="2806077" y="1180652"/>
                    <a:pt x="2785947" y="1180652"/>
                  </a:cubicBezTo>
                  <a:cubicBezTo>
                    <a:pt x="2765881" y="1180652"/>
                    <a:pt x="2765754" y="1178683"/>
                    <a:pt x="2745688" y="1178683"/>
                  </a:cubicBezTo>
                  <a:cubicBezTo>
                    <a:pt x="2725622" y="1178683"/>
                    <a:pt x="2725495" y="1182259"/>
                    <a:pt x="2705429" y="1182259"/>
                  </a:cubicBezTo>
                  <a:cubicBezTo>
                    <a:pt x="2685300" y="1182259"/>
                    <a:pt x="2685172" y="1177572"/>
                    <a:pt x="2665106" y="1177572"/>
                  </a:cubicBezTo>
                  <a:cubicBezTo>
                    <a:pt x="2645041" y="1177572"/>
                    <a:pt x="2644914" y="1181884"/>
                    <a:pt x="2624847" y="1181884"/>
                  </a:cubicBezTo>
                  <a:cubicBezTo>
                    <a:pt x="2604718" y="1181884"/>
                    <a:pt x="2604591" y="1183243"/>
                    <a:pt x="2584525" y="1183243"/>
                  </a:cubicBezTo>
                  <a:cubicBezTo>
                    <a:pt x="2564459" y="1183243"/>
                    <a:pt x="2564332" y="1181516"/>
                    <a:pt x="2544266" y="1181516"/>
                  </a:cubicBezTo>
                  <a:cubicBezTo>
                    <a:pt x="2524200" y="1181516"/>
                    <a:pt x="2524073" y="1182995"/>
                    <a:pt x="2503943" y="1182995"/>
                  </a:cubicBezTo>
                  <a:cubicBezTo>
                    <a:pt x="2483878" y="1182995"/>
                    <a:pt x="2483751" y="1180531"/>
                    <a:pt x="2463684" y="1180531"/>
                  </a:cubicBezTo>
                  <a:cubicBezTo>
                    <a:pt x="2443618" y="1180531"/>
                    <a:pt x="2443492" y="1182500"/>
                    <a:pt x="2423362" y="1182500"/>
                  </a:cubicBezTo>
                  <a:cubicBezTo>
                    <a:pt x="2403296" y="1182500"/>
                    <a:pt x="2403169" y="1182131"/>
                    <a:pt x="2383103" y="1182131"/>
                  </a:cubicBezTo>
                  <a:cubicBezTo>
                    <a:pt x="2363037" y="1182131"/>
                    <a:pt x="2362910" y="1181516"/>
                    <a:pt x="2342844" y="1181516"/>
                  </a:cubicBezTo>
                  <a:cubicBezTo>
                    <a:pt x="2322715" y="1181516"/>
                    <a:pt x="2322588" y="1179795"/>
                    <a:pt x="2302521" y="1179795"/>
                  </a:cubicBezTo>
                  <a:cubicBezTo>
                    <a:pt x="2282456" y="1179795"/>
                    <a:pt x="2282329" y="1180163"/>
                    <a:pt x="2262263" y="1180163"/>
                  </a:cubicBezTo>
                  <a:cubicBezTo>
                    <a:pt x="2242133" y="1180163"/>
                    <a:pt x="2242069" y="1182131"/>
                    <a:pt x="2221940" y="1182131"/>
                  </a:cubicBezTo>
                  <a:cubicBezTo>
                    <a:pt x="2201874" y="1182131"/>
                    <a:pt x="2201874" y="1178188"/>
                    <a:pt x="2181681" y="1178188"/>
                  </a:cubicBezTo>
                  <a:cubicBezTo>
                    <a:pt x="2161488" y="1178188"/>
                    <a:pt x="2161615" y="1178188"/>
                    <a:pt x="2141358" y="1178188"/>
                  </a:cubicBezTo>
                  <a:cubicBezTo>
                    <a:pt x="2121166" y="1178188"/>
                    <a:pt x="2121293" y="1177452"/>
                    <a:pt x="2101100" y="1177452"/>
                  </a:cubicBezTo>
                  <a:cubicBezTo>
                    <a:pt x="2080906" y="1177452"/>
                    <a:pt x="2081033" y="1180284"/>
                    <a:pt x="2060841" y="1180284"/>
                  </a:cubicBezTo>
                  <a:cubicBezTo>
                    <a:pt x="2040584" y="1180284"/>
                    <a:pt x="2040711" y="1182500"/>
                    <a:pt x="2020518" y="1182500"/>
                  </a:cubicBezTo>
                  <a:cubicBezTo>
                    <a:pt x="2000325" y="1182500"/>
                    <a:pt x="2000325" y="1178683"/>
                    <a:pt x="1980259" y="1178683"/>
                  </a:cubicBezTo>
                  <a:cubicBezTo>
                    <a:pt x="1960130" y="1178683"/>
                    <a:pt x="1960066" y="1181763"/>
                    <a:pt x="1939936" y="1181763"/>
                  </a:cubicBezTo>
                  <a:cubicBezTo>
                    <a:pt x="1919870" y="1181763"/>
                    <a:pt x="1919743" y="1182995"/>
                    <a:pt x="1899551" y="1182995"/>
                  </a:cubicBezTo>
                  <a:cubicBezTo>
                    <a:pt x="1879357" y="1182995"/>
                    <a:pt x="1879357" y="1179179"/>
                    <a:pt x="1859228" y="1179179"/>
                  </a:cubicBezTo>
                  <a:cubicBezTo>
                    <a:pt x="1839162" y="1179179"/>
                    <a:pt x="1839035" y="1177699"/>
                    <a:pt x="1818969" y="1177699"/>
                  </a:cubicBezTo>
                  <a:cubicBezTo>
                    <a:pt x="1798903" y="1177699"/>
                    <a:pt x="1798776" y="1179668"/>
                    <a:pt x="1778710" y="1179668"/>
                  </a:cubicBezTo>
                  <a:cubicBezTo>
                    <a:pt x="1758581" y="1179668"/>
                    <a:pt x="1758454" y="1178563"/>
                    <a:pt x="1738388" y="1178563"/>
                  </a:cubicBezTo>
                  <a:cubicBezTo>
                    <a:pt x="1718321" y="1178563"/>
                    <a:pt x="1718194" y="1177820"/>
                    <a:pt x="1698129" y="1177820"/>
                  </a:cubicBezTo>
                  <a:cubicBezTo>
                    <a:pt x="1677999" y="1177820"/>
                    <a:pt x="1677935" y="1177572"/>
                    <a:pt x="1657806" y="1177572"/>
                  </a:cubicBezTo>
                  <a:cubicBezTo>
                    <a:pt x="1637740" y="1177572"/>
                    <a:pt x="1637613" y="1181395"/>
                    <a:pt x="1617547" y="1181395"/>
                  </a:cubicBezTo>
                  <a:cubicBezTo>
                    <a:pt x="1597481" y="1181395"/>
                    <a:pt x="1597354" y="1177947"/>
                    <a:pt x="1577225" y="1177947"/>
                  </a:cubicBezTo>
                  <a:cubicBezTo>
                    <a:pt x="1557158" y="1177947"/>
                    <a:pt x="1557031" y="1181147"/>
                    <a:pt x="1536966" y="1181147"/>
                  </a:cubicBezTo>
                  <a:cubicBezTo>
                    <a:pt x="1516900" y="1181147"/>
                    <a:pt x="1516772" y="1180411"/>
                    <a:pt x="1496706" y="1180411"/>
                  </a:cubicBezTo>
                  <a:cubicBezTo>
                    <a:pt x="1476577" y="1180411"/>
                    <a:pt x="1476450" y="1179179"/>
                    <a:pt x="1456384" y="1179179"/>
                  </a:cubicBezTo>
                  <a:cubicBezTo>
                    <a:pt x="1436318" y="1179179"/>
                    <a:pt x="1436191" y="1182995"/>
                    <a:pt x="1416125" y="1182995"/>
                  </a:cubicBezTo>
                  <a:cubicBezTo>
                    <a:pt x="1395995" y="1182995"/>
                    <a:pt x="1395932" y="1177331"/>
                    <a:pt x="1375676" y="1177331"/>
                  </a:cubicBezTo>
                  <a:cubicBezTo>
                    <a:pt x="1355482" y="1177331"/>
                    <a:pt x="1355482" y="1179299"/>
                    <a:pt x="1335417" y="1179299"/>
                  </a:cubicBezTo>
                  <a:cubicBezTo>
                    <a:pt x="1315351" y="1179299"/>
                    <a:pt x="1315223" y="1181147"/>
                    <a:pt x="1295094" y="1181147"/>
                  </a:cubicBezTo>
                  <a:cubicBezTo>
                    <a:pt x="1275028" y="1181147"/>
                    <a:pt x="1274901" y="1181395"/>
                    <a:pt x="1254835" y="1181395"/>
                  </a:cubicBezTo>
                  <a:cubicBezTo>
                    <a:pt x="1234769" y="1181395"/>
                    <a:pt x="1234642" y="1183491"/>
                    <a:pt x="1214576" y="1183491"/>
                  </a:cubicBezTo>
                  <a:cubicBezTo>
                    <a:pt x="1194446" y="1183491"/>
                    <a:pt x="1194319" y="1181516"/>
                    <a:pt x="1174127" y="1181516"/>
                  </a:cubicBezTo>
                  <a:cubicBezTo>
                    <a:pt x="1153933" y="1181516"/>
                    <a:pt x="1153933" y="1182627"/>
                    <a:pt x="1133868" y="1182627"/>
                  </a:cubicBezTo>
                  <a:cubicBezTo>
                    <a:pt x="1113802" y="1182627"/>
                    <a:pt x="1113675" y="1177452"/>
                    <a:pt x="1093545" y="1177452"/>
                  </a:cubicBezTo>
                  <a:cubicBezTo>
                    <a:pt x="1073479" y="1177452"/>
                    <a:pt x="1073352" y="1178683"/>
                    <a:pt x="1053159" y="1178683"/>
                  </a:cubicBezTo>
                  <a:cubicBezTo>
                    <a:pt x="1032966" y="1178683"/>
                    <a:pt x="1032966" y="1180284"/>
                    <a:pt x="1012773" y="1180284"/>
                  </a:cubicBezTo>
                  <a:cubicBezTo>
                    <a:pt x="992517" y="1180284"/>
                    <a:pt x="992517" y="1182259"/>
                    <a:pt x="972451" y="1182259"/>
                  </a:cubicBezTo>
                  <a:cubicBezTo>
                    <a:pt x="952384" y="1182259"/>
                    <a:pt x="952257" y="1179547"/>
                    <a:pt x="932065" y="1179547"/>
                  </a:cubicBezTo>
                  <a:cubicBezTo>
                    <a:pt x="911871" y="1179547"/>
                    <a:pt x="911871" y="1177572"/>
                    <a:pt x="891615" y="1177572"/>
                  </a:cubicBezTo>
                  <a:cubicBezTo>
                    <a:pt x="871422" y="1177572"/>
                    <a:pt x="871422" y="1183491"/>
                    <a:pt x="851229" y="1183491"/>
                  </a:cubicBezTo>
                  <a:cubicBezTo>
                    <a:pt x="831036" y="1183491"/>
                    <a:pt x="831036" y="1182748"/>
                    <a:pt x="810843" y="1182748"/>
                  </a:cubicBezTo>
                  <a:cubicBezTo>
                    <a:pt x="790586" y="1182748"/>
                    <a:pt x="790586" y="1183243"/>
                    <a:pt x="770393" y="1183243"/>
                  </a:cubicBezTo>
                  <a:cubicBezTo>
                    <a:pt x="750201" y="1183243"/>
                    <a:pt x="750201" y="1182379"/>
                    <a:pt x="730007" y="1182379"/>
                  </a:cubicBezTo>
                  <a:cubicBezTo>
                    <a:pt x="709815" y="1182379"/>
                    <a:pt x="709815" y="1179052"/>
                    <a:pt x="689621" y="1179052"/>
                  </a:cubicBezTo>
                  <a:cubicBezTo>
                    <a:pt x="669365" y="1179052"/>
                    <a:pt x="669365" y="1179795"/>
                    <a:pt x="649299" y="1179795"/>
                  </a:cubicBezTo>
                  <a:cubicBezTo>
                    <a:pt x="629233" y="1179795"/>
                    <a:pt x="629106" y="1182259"/>
                    <a:pt x="609040" y="1182259"/>
                  </a:cubicBezTo>
                  <a:cubicBezTo>
                    <a:pt x="588910" y="1182259"/>
                    <a:pt x="588847" y="1178068"/>
                    <a:pt x="568591" y="1178068"/>
                  </a:cubicBezTo>
                  <a:cubicBezTo>
                    <a:pt x="548397" y="1178068"/>
                    <a:pt x="548397" y="1181516"/>
                    <a:pt x="528331" y="1181516"/>
                  </a:cubicBezTo>
                  <a:cubicBezTo>
                    <a:pt x="508266" y="1181516"/>
                    <a:pt x="508139" y="1177572"/>
                    <a:pt x="487945" y="1177572"/>
                  </a:cubicBezTo>
                  <a:cubicBezTo>
                    <a:pt x="467689" y="1177572"/>
                    <a:pt x="467689" y="1179052"/>
                    <a:pt x="447496" y="1179052"/>
                  </a:cubicBezTo>
                  <a:cubicBezTo>
                    <a:pt x="427303" y="1179052"/>
                    <a:pt x="427303" y="1181884"/>
                    <a:pt x="407110" y="1181884"/>
                  </a:cubicBezTo>
                  <a:cubicBezTo>
                    <a:pt x="386917" y="1181884"/>
                    <a:pt x="386917" y="1180284"/>
                    <a:pt x="366660" y="1180284"/>
                  </a:cubicBezTo>
                  <a:cubicBezTo>
                    <a:pt x="346468" y="1180284"/>
                    <a:pt x="346468" y="1179547"/>
                    <a:pt x="326274" y="1179547"/>
                  </a:cubicBezTo>
                  <a:cubicBezTo>
                    <a:pt x="306081" y="1179547"/>
                    <a:pt x="306081" y="1182995"/>
                    <a:pt x="285889" y="1182995"/>
                  </a:cubicBezTo>
                  <a:cubicBezTo>
                    <a:pt x="265632" y="1182995"/>
                    <a:pt x="265632" y="1182748"/>
                    <a:pt x="245439" y="1182748"/>
                  </a:cubicBezTo>
                  <a:cubicBezTo>
                    <a:pt x="225246" y="1182748"/>
                    <a:pt x="225246" y="1179795"/>
                    <a:pt x="205053" y="1179795"/>
                  </a:cubicBezTo>
                  <a:cubicBezTo>
                    <a:pt x="184860" y="1179795"/>
                    <a:pt x="184860" y="1179547"/>
                    <a:pt x="164667" y="1179547"/>
                  </a:cubicBezTo>
                  <a:cubicBezTo>
                    <a:pt x="144410" y="1179547"/>
                    <a:pt x="144410" y="1181147"/>
                    <a:pt x="124218" y="1181147"/>
                  </a:cubicBezTo>
                  <a:cubicBezTo>
                    <a:pt x="104024" y="1181147"/>
                    <a:pt x="104024" y="1180531"/>
                    <a:pt x="83831" y="1180531"/>
                  </a:cubicBezTo>
                  <a:cubicBezTo>
                    <a:pt x="63639" y="1180531"/>
                    <a:pt x="63639" y="1180163"/>
                    <a:pt x="43255" y="1180163"/>
                  </a:cubicBezTo>
                  <a:cubicBezTo>
                    <a:pt x="22935" y="1180163"/>
                    <a:pt x="9282" y="1199753"/>
                    <a:pt x="1535" y="1181027"/>
                  </a:cubicBezTo>
                  <a:cubicBezTo>
                    <a:pt x="-6211" y="1162301"/>
                    <a:pt x="17156" y="1166237"/>
                    <a:pt x="31444" y="1151823"/>
                  </a:cubicBezTo>
                  <a:cubicBezTo>
                    <a:pt x="45731" y="1137408"/>
                    <a:pt x="46874" y="1138520"/>
                    <a:pt x="61162" y="1124105"/>
                  </a:cubicBezTo>
                  <a:cubicBezTo>
                    <a:pt x="75449" y="1109691"/>
                    <a:pt x="72846" y="1107106"/>
                    <a:pt x="87133" y="1092813"/>
                  </a:cubicBezTo>
                  <a:cubicBezTo>
                    <a:pt x="101421" y="1078519"/>
                    <a:pt x="104024" y="1080982"/>
                    <a:pt x="118312" y="1066695"/>
                  </a:cubicBezTo>
                  <a:cubicBezTo>
                    <a:pt x="132599" y="1052401"/>
                    <a:pt x="130377" y="1050064"/>
                    <a:pt x="144665" y="1035770"/>
                  </a:cubicBezTo>
                  <a:cubicBezTo>
                    <a:pt x="158952" y="1021477"/>
                    <a:pt x="159460" y="1021851"/>
                    <a:pt x="173874" y="1007557"/>
                  </a:cubicBezTo>
                  <a:cubicBezTo>
                    <a:pt x="188289" y="993270"/>
                    <a:pt x="191019" y="995975"/>
                    <a:pt x="205434" y="981687"/>
                  </a:cubicBezTo>
                  <a:cubicBezTo>
                    <a:pt x="219848" y="967394"/>
                    <a:pt x="217372" y="964930"/>
                    <a:pt x="231659" y="950515"/>
                  </a:cubicBezTo>
                  <a:cubicBezTo>
                    <a:pt x="245947" y="936101"/>
                    <a:pt x="244486" y="934621"/>
                    <a:pt x="258774" y="920207"/>
                  </a:cubicBezTo>
                  <a:cubicBezTo>
                    <a:pt x="273061" y="905792"/>
                    <a:pt x="275411" y="908135"/>
                    <a:pt x="289826" y="893841"/>
                  </a:cubicBezTo>
                  <a:cubicBezTo>
                    <a:pt x="304240" y="879554"/>
                    <a:pt x="301891" y="877211"/>
                    <a:pt x="316178" y="862796"/>
                  </a:cubicBezTo>
                  <a:cubicBezTo>
                    <a:pt x="330466" y="848382"/>
                    <a:pt x="331672" y="849493"/>
                    <a:pt x="345959" y="835199"/>
                  </a:cubicBezTo>
                  <a:cubicBezTo>
                    <a:pt x="360310" y="820912"/>
                    <a:pt x="362279" y="822760"/>
                    <a:pt x="376693" y="808466"/>
                  </a:cubicBezTo>
                  <a:cubicBezTo>
                    <a:pt x="391108" y="794172"/>
                    <a:pt x="391933" y="795036"/>
                    <a:pt x="406348" y="780748"/>
                  </a:cubicBezTo>
                  <a:cubicBezTo>
                    <a:pt x="420762" y="766454"/>
                    <a:pt x="418540" y="764238"/>
                    <a:pt x="432828" y="749824"/>
                  </a:cubicBezTo>
                  <a:cubicBezTo>
                    <a:pt x="447115" y="735409"/>
                    <a:pt x="445781" y="734050"/>
                    <a:pt x="460196" y="719763"/>
                  </a:cubicBezTo>
                  <a:cubicBezTo>
                    <a:pt x="474610" y="705469"/>
                    <a:pt x="477214" y="708060"/>
                    <a:pt x="491502" y="693645"/>
                  </a:cubicBezTo>
                  <a:cubicBezTo>
                    <a:pt x="505789" y="679231"/>
                    <a:pt x="506615" y="680094"/>
                    <a:pt x="520902" y="665680"/>
                  </a:cubicBezTo>
                  <a:cubicBezTo>
                    <a:pt x="535253" y="651265"/>
                    <a:pt x="533157" y="649170"/>
                    <a:pt x="547572" y="634876"/>
                  </a:cubicBezTo>
                  <a:cubicBezTo>
                    <a:pt x="561986" y="620588"/>
                    <a:pt x="563574" y="622189"/>
                    <a:pt x="577861" y="607895"/>
                  </a:cubicBezTo>
                  <a:cubicBezTo>
                    <a:pt x="592149" y="593607"/>
                    <a:pt x="591514" y="592864"/>
                    <a:pt x="605802" y="578577"/>
                  </a:cubicBezTo>
                  <a:cubicBezTo>
                    <a:pt x="620089" y="564283"/>
                    <a:pt x="620978" y="565146"/>
                    <a:pt x="635393" y="550732"/>
                  </a:cubicBezTo>
                  <a:cubicBezTo>
                    <a:pt x="649807" y="536317"/>
                    <a:pt x="647584" y="534222"/>
                    <a:pt x="661872" y="519807"/>
                  </a:cubicBezTo>
                  <a:cubicBezTo>
                    <a:pt x="676159" y="505393"/>
                    <a:pt x="678001" y="507241"/>
                    <a:pt x="692289" y="492826"/>
                  </a:cubicBezTo>
                  <a:cubicBezTo>
                    <a:pt x="706576" y="478412"/>
                    <a:pt x="704607" y="476443"/>
                    <a:pt x="719022" y="462149"/>
                  </a:cubicBezTo>
                  <a:cubicBezTo>
                    <a:pt x="733436" y="447856"/>
                    <a:pt x="734453" y="448846"/>
                    <a:pt x="748740" y="434552"/>
                  </a:cubicBezTo>
                  <a:cubicBezTo>
                    <a:pt x="763028" y="420265"/>
                    <a:pt x="761884" y="419033"/>
                    <a:pt x="776299" y="404739"/>
                  </a:cubicBezTo>
                  <a:cubicBezTo>
                    <a:pt x="790714" y="390445"/>
                    <a:pt x="793317" y="393036"/>
                    <a:pt x="807731" y="378742"/>
                  </a:cubicBezTo>
                  <a:cubicBezTo>
                    <a:pt x="822146" y="364455"/>
                    <a:pt x="818844" y="361127"/>
                    <a:pt x="833258" y="346713"/>
                  </a:cubicBezTo>
                  <a:cubicBezTo>
                    <a:pt x="847673" y="332298"/>
                    <a:pt x="848054" y="332787"/>
                    <a:pt x="862342" y="318373"/>
                  </a:cubicBezTo>
                  <a:cubicBezTo>
                    <a:pt x="876629" y="303958"/>
                    <a:pt x="876883" y="304085"/>
                    <a:pt x="891170" y="289791"/>
                  </a:cubicBezTo>
                  <a:cubicBezTo>
                    <a:pt x="905458" y="275504"/>
                    <a:pt x="907299" y="277225"/>
                    <a:pt x="921714" y="262937"/>
                  </a:cubicBezTo>
                  <a:cubicBezTo>
                    <a:pt x="936129" y="248643"/>
                    <a:pt x="936636" y="249139"/>
                    <a:pt x="951051" y="234845"/>
                  </a:cubicBezTo>
                  <a:cubicBezTo>
                    <a:pt x="965466" y="220551"/>
                    <a:pt x="966037" y="221167"/>
                    <a:pt x="980452" y="206759"/>
                  </a:cubicBezTo>
                  <a:cubicBezTo>
                    <a:pt x="994866" y="192344"/>
                    <a:pt x="991056" y="188642"/>
                    <a:pt x="1005343" y="174228"/>
                  </a:cubicBezTo>
                  <a:cubicBezTo>
                    <a:pt x="1019631" y="159813"/>
                    <a:pt x="1022489" y="162652"/>
                    <a:pt x="1036903" y="148237"/>
                  </a:cubicBezTo>
                  <a:cubicBezTo>
                    <a:pt x="1051318" y="133823"/>
                    <a:pt x="1049222" y="131848"/>
                    <a:pt x="1063636" y="117433"/>
                  </a:cubicBezTo>
                  <a:cubicBezTo>
                    <a:pt x="1078051" y="103019"/>
                    <a:pt x="1077670" y="102778"/>
                    <a:pt x="1092084" y="88363"/>
                  </a:cubicBezTo>
                  <a:cubicBezTo>
                    <a:pt x="1106499" y="73949"/>
                    <a:pt x="1109230" y="76781"/>
                    <a:pt x="1123644" y="62366"/>
                  </a:cubicBezTo>
                  <a:cubicBezTo>
                    <a:pt x="1138058" y="47950"/>
                    <a:pt x="1134566" y="44501"/>
                    <a:pt x="1148981" y="30087"/>
                  </a:cubicBezTo>
                  <a:cubicBezTo>
                    <a:pt x="1163395" y="15672"/>
                    <a:pt x="1161427" y="11853"/>
                    <a:pt x="1180159" y="4091"/>
                  </a:cubicBezTo>
                  <a:cubicBezTo>
                    <a:pt x="1198892" y="-3671"/>
                    <a:pt x="1199907" y="1997"/>
                    <a:pt x="1219973" y="1997"/>
                  </a:cubicBezTo>
                  <a:cubicBezTo>
                    <a:pt x="1240040" y="1997"/>
                    <a:pt x="1240040" y="4091"/>
                    <a:pt x="1260106" y="4091"/>
                  </a:cubicBezTo>
                  <a:cubicBezTo>
                    <a:pt x="1280235" y="4091"/>
                    <a:pt x="1280235" y="4830"/>
                    <a:pt x="1300301" y="4830"/>
                  </a:cubicBezTo>
                  <a:cubicBezTo>
                    <a:pt x="1320367" y="4830"/>
                    <a:pt x="1320367" y="1258"/>
                    <a:pt x="1340433" y="1258"/>
                  </a:cubicBezTo>
                  <a:cubicBezTo>
                    <a:pt x="1360563" y="1258"/>
                    <a:pt x="1360563" y="1011"/>
                    <a:pt x="1380629" y="1011"/>
                  </a:cubicBezTo>
                  <a:cubicBezTo>
                    <a:pt x="1400694" y="1011"/>
                    <a:pt x="1400694" y="2120"/>
                    <a:pt x="1420760" y="2120"/>
                  </a:cubicBezTo>
                  <a:cubicBezTo>
                    <a:pt x="1440890" y="2120"/>
                    <a:pt x="1440890" y="4091"/>
                    <a:pt x="1460956" y="4091"/>
                  </a:cubicBezTo>
                  <a:cubicBezTo>
                    <a:pt x="1481022" y="4091"/>
                    <a:pt x="1481022" y="642"/>
                    <a:pt x="1501088" y="642"/>
                  </a:cubicBezTo>
                  <a:cubicBezTo>
                    <a:pt x="1521218" y="642"/>
                    <a:pt x="1521218" y="1381"/>
                    <a:pt x="1541283" y="1381"/>
                  </a:cubicBezTo>
                  <a:cubicBezTo>
                    <a:pt x="1561350" y="1381"/>
                    <a:pt x="1561350" y="1873"/>
                    <a:pt x="1581416" y="1873"/>
                  </a:cubicBezTo>
                  <a:cubicBezTo>
                    <a:pt x="1601545" y="1873"/>
                    <a:pt x="1601545" y="3968"/>
                    <a:pt x="1621611" y="3968"/>
                  </a:cubicBezTo>
                  <a:cubicBezTo>
                    <a:pt x="1641677" y="3968"/>
                    <a:pt x="1641677" y="1134"/>
                    <a:pt x="1661743" y="1134"/>
                  </a:cubicBezTo>
                  <a:cubicBezTo>
                    <a:pt x="1681872" y="1134"/>
                    <a:pt x="1681872" y="3105"/>
                    <a:pt x="1701939" y="3105"/>
                  </a:cubicBezTo>
                  <a:cubicBezTo>
                    <a:pt x="1722005" y="3105"/>
                    <a:pt x="1722005" y="5939"/>
                    <a:pt x="1742070" y="5939"/>
                  </a:cubicBezTo>
                  <a:cubicBezTo>
                    <a:pt x="1762200" y="5939"/>
                    <a:pt x="1762200" y="6309"/>
                    <a:pt x="1782266" y="6309"/>
                  </a:cubicBezTo>
                  <a:cubicBezTo>
                    <a:pt x="1802332" y="6309"/>
                    <a:pt x="1802332" y="4707"/>
                    <a:pt x="1822398" y="4707"/>
                  </a:cubicBezTo>
                  <a:cubicBezTo>
                    <a:pt x="1842528" y="4707"/>
                    <a:pt x="1842528" y="3229"/>
                    <a:pt x="1862467" y="3229"/>
                  </a:cubicBezTo>
                  <a:cubicBezTo>
                    <a:pt x="1882406" y="3229"/>
                    <a:pt x="1882532" y="3229"/>
                    <a:pt x="1902471" y="3229"/>
                  </a:cubicBezTo>
                  <a:cubicBezTo>
                    <a:pt x="1922474" y="3229"/>
                    <a:pt x="1922601" y="5200"/>
                    <a:pt x="1942540" y="5200"/>
                  </a:cubicBezTo>
                  <a:cubicBezTo>
                    <a:pt x="1962479" y="5200"/>
                    <a:pt x="1962606" y="4091"/>
                    <a:pt x="1982608" y="4091"/>
                  </a:cubicBezTo>
                  <a:cubicBezTo>
                    <a:pt x="2002547" y="4091"/>
                    <a:pt x="2002675" y="5692"/>
                    <a:pt x="2022614" y="5692"/>
                  </a:cubicBezTo>
                  <a:cubicBezTo>
                    <a:pt x="2042553" y="5692"/>
                    <a:pt x="2042680" y="1873"/>
                    <a:pt x="2062682" y="1873"/>
                  </a:cubicBezTo>
                  <a:cubicBezTo>
                    <a:pt x="2082621" y="1873"/>
                    <a:pt x="2082748" y="1873"/>
                    <a:pt x="2102814" y="1873"/>
                  </a:cubicBezTo>
                  <a:cubicBezTo>
                    <a:pt x="2122880" y="1873"/>
                    <a:pt x="2122880" y="888"/>
                    <a:pt x="2143009" y="888"/>
                  </a:cubicBezTo>
                  <a:cubicBezTo>
                    <a:pt x="2163076" y="888"/>
                    <a:pt x="2163076" y="5816"/>
                    <a:pt x="2183142" y="5816"/>
                  </a:cubicBezTo>
                  <a:cubicBezTo>
                    <a:pt x="2203207" y="5816"/>
                    <a:pt x="2203207" y="765"/>
                    <a:pt x="2223337" y="765"/>
                  </a:cubicBezTo>
                  <a:cubicBezTo>
                    <a:pt x="2243403" y="765"/>
                    <a:pt x="2243403" y="2489"/>
                    <a:pt x="2263342" y="2489"/>
                  </a:cubicBezTo>
                  <a:cubicBezTo>
                    <a:pt x="2283344" y="2489"/>
                    <a:pt x="2283408" y="518"/>
                    <a:pt x="2303410" y="518"/>
                  </a:cubicBezTo>
                  <a:cubicBezTo>
                    <a:pt x="2323350" y="518"/>
                    <a:pt x="2323477" y="5569"/>
                    <a:pt x="2343416" y="5569"/>
                  </a:cubicBezTo>
                  <a:cubicBezTo>
                    <a:pt x="2363418" y="5569"/>
                    <a:pt x="2363545" y="2613"/>
                    <a:pt x="2383611" y="2613"/>
                  </a:cubicBezTo>
                  <a:cubicBezTo>
                    <a:pt x="2403677" y="2613"/>
                    <a:pt x="2403677" y="6432"/>
                    <a:pt x="2423743" y="6432"/>
                  </a:cubicBezTo>
                  <a:cubicBezTo>
                    <a:pt x="2443872" y="6432"/>
                    <a:pt x="2443872" y="5076"/>
                    <a:pt x="2463939" y="5076"/>
                  </a:cubicBezTo>
                  <a:cubicBezTo>
                    <a:pt x="2484005" y="5076"/>
                    <a:pt x="2484005" y="2859"/>
                    <a:pt x="2504070" y="2859"/>
                  </a:cubicBezTo>
                  <a:cubicBezTo>
                    <a:pt x="2524200" y="2859"/>
                    <a:pt x="2524200" y="1750"/>
                    <a:pt x="2544266" y="1750"/>
                  </a:cubicBezTo>
                  <a:cubicBezTo>
                    <a:pt x="2564332" y="1750"/>
                    <a:pt x="2564332" y="1011"/>
                    <a:pt x="2584398" y="1011"/>
                  </a:cubicBezTo>
                  <a:cubicBezTo>
                    <a:pt x="2604528" y="1011"/>
                    <a:pt x="2604528" y="3229"/>
                    <a:pt x="2624593" y="3229"/>
                  </a:cubicBezTo>
                  <a:cubicBezTo>
                    <a:pt x="2644659" y="3229"/>
                    <a:pt x="2644659" y="3598"/>
                    <a:pt x="2664726" y="3598"/>
                  </a:cubicBezTo>
                  <a:cubicBezTo>
                    <a:pt x="2684855" y="3598"/>
                    <a:pt x="2684855" y="6063"/>
                    <a:pt x="2704921" y="6063"/>
                  </a:cubicBezTo>
                  <a:cubicBezTo>
                    <a:pt x="2724987" y="6063"/>
                    <a:pt x="2724987" y="4707"/>
                    <a:pt x="2745053" y="4707"/>
                  </a:cubicBezTo>
                  <a:cubicBezTo>
                    <a:pt x="2765119" y="4707"/>
                    <a:pt x="2765119" y="3845"/>
                    <a:pt x="2785249" y="3845"/>
                  </a:cubicBezTo>
                  <a:cubicBezTo>
                    <a:pt x="2805315" y="3845"/>
                    <a:pt x="2805315" y="5076"/>
                    <a:pt x="2825381" y="5076"/>
                  </a:cubicBezTo>
                  <a:cubicBezTo>
                    <a:pt x="2845446" y="5076"/>
                    <a:pt x="2845446" y="3968"/>
                    <a:pt x="2865576" y="3968"/>
                  </a:cubicBezTo>
                  <a:cubicBezTo>
                    <a:pt x="2885642" y="3968"/>
                    <a:pt x="2885642" y="1750"/>
                    <a:pt x="2905708" y="1750"/>
                  </a:cubicBezTo>
                  <a:cubicBezTo>
                    <a:pt x="2925774" y="1750"/>
                    <a:pt x="2925774" y="2243"/>
                    <a:pt x="2945904" y="2243"/>
                  </a:cubicBezTo>
                  <a:cubicBezTo>
                    <a:pt x="2965969" y="2243"/>
                    <a:pt x="2965969" y="765"/>
                    <a:pt x="2986035" y="765"/>
                  </a:cubicBezTo>
                  <a:cubicBezTo>
                    <a:pt x="3006102" y="765"/>
                    <a:pt x="3006102" y="765"/>
                    <a:pt x="3026231" y="765"/>
                  </a:cubicBezTo>
                  <a:cubicBezTo>
                    <a:pt x="3046297" y="765"/>
                    <a:pt x="3046297" y="3968"/>
                    <a:pt x="3066363" y="3968"/>
                  </a:cubicBezTo>
                  <a:cubicBezTo>
                    <a:pt x="3086429" y="3968"/>
                    <a:pt x="3086429" y="4214"/>
                    <a:pt x="3106558" y="4214"/>
                  </a:cubicBezTo>
                  <a:cubicBezTo>
                    <a:pt x="3126625" y="4214"/>
                    <a:pt x="3126625" y="3598"/>
                    <a:pt x="3146691" y="3598"/>
                  </a:cubicBezTo>
                  <a:cubicBezTo>
                    <a:pt x="3166756" y="3598"/>
                    <a:pt x="3166756" y="765"/>
                    <a:pt x="3186886" y="765"/>
                  </a:cubicBezTo>
                  <a:cubicBezTo>
                    <a:pt x="3206952" y="765"/>
                    <a:pt x="3206952" y="1504"/>
                    <a:pt x="3227018" y="1504"/>
                  </a:cubicBezTo>
                  <a:cubicBezTo>
                    <a:pt x="3247084" y="1504"/>
                    <a:pt x="3247084" y="4584"/>
                    <a:pt x="3267214" y="4584"/>
                  </a:cubicBezTo>
                  <a:cubicBezTo>
                    <a:pt x="3287280" y="4584"/>
                    <a:pt x="3287280" y="2243"/>
                    <a:pt x="3307345" y="2243"/>
                  </a:cubicBezTo>
                  <a:cubicBezTo>
                    <a:pt x="3327412" y="2243"/>
                    <a:pt x="3327412" y="1997"/>
                    <a:pt x="3347541" y="1997"/>
                  </a:cubicBezTo>
                  <a:cubicBezTo>
                    <a:pt x="3367607" y="1997"/>
                    <a:pt x="3367607" y="3721"/>
                    <a:pt x="3387546" y="3721"/>
                  </a:cubicBezTo>
                  <a:cubicBezTo>
                    <a:pt x="3407549" y="3721"/>
                    <a:pt x="3407612" y="1627"/>
                    <a:pt x="3427742" y="1627"/>
                  </a:cubicBezTo>
                  <a:cubicBezTo>
                    <a:pt x="3447807" y="1627"/>
                    <a:pt x="3447807" y="2366"/>
                    <a:pt x="3467874" y="2366"/>
                  </a:cubicBezTo>
                  <a:cubicBezTo>
                    <a:pt x="3487940" y="2366"/>
                    <a:pt x="3487940" y="4337"/>
                    <a:pt x="3508069" y="4337"/>
                  </a:cubicBezTo>
                  <a:cubicBezTo>
                    <a:pt x="3528135" y="4337"/>
                    <a:pt x="3528135" y="888"/>
                    <a:pt x="3548201" y="888"/>
                  </a:cubicBezTo>
                  <a:cubicBezTo>
                    <a:pt x="3568267" y="888"/>
                    <a:pt x="3568267" y="5323"/>
                    <a:pt x="3588396" y="5323"/>
                  </a:cubicBezTo>
                  <a:cubicBezTo>
                    <a:pt x="3608463" y="5323"/>
                    <a:pt x="3608463" y="4953"/>
                    <a:pt x="3628529" y="4953"/>
                  </a:cubicBezTo>
                  <a:cubicBezTo>
                    <a:pt x="3648594" y="4953"/>
                    <a:pt x="3648594" y="6309"/>
                    <a:pt x="3668724" y="6309"/>
                  </a:cubicBezTo>
                  <a:cubicBezTo>
                    <a:pt x="3688790" y="6309"/>
                    <a:pt x="3688790" y="5569"/>
                    <a:pt x="3708856" y="5569"/>
                  </a:cubicBezTo>
                  <a:cubicBezTo>
                    <a:pt x="3728922" y="5569"/>
                    <a:pt x="3728922" y="3968"/>
                    <a:pt x="3749052" y="3968"/>
                  </a:cubicBezTo>
                  <a:cubicBezTo>
                    <a:pt x="3769118" y="3968"/>
                    <a:pt x="3769118" y="4953"/>
                    <a:pt x="3789183" y="4953"/>
                  </a:cubicBezTo>
                  <a:cubicBezTo>
                    <a:pt x="3809250" y="4953"/>
                    <a:pt x="3809250" y="6432"/>
                    <a:pt x="3829379" y="6432"/>
                  </a:cubicBezTo>
                  <a:cubicBezTo>
                    <a:pt x="3849445" y="6432"/>
                    <a:pt x="3849445" y="2613"/>
                    <a:pt x="3869511" y="2613"/>
                  </a:cubicBezTo>
                  <a:cubicBezTo>
                    <a:pt x="3889577" y="2613"/>
                    <a:pt x="3889577" y="1504"/>
                    <a:pt x="3909706" y="1504"/>
                  </a:cubicBezTo>
                  <a:cubicBezTo>
                    <a:pt x="3929772" y="1504"/>
                    <a:pt x="3929772" y="518"/>
                    <a:pt x="3949839" y="518"/>
                  </a:cubicBezTo>
                  <a:cubicBezTo>
                    <a:pt x="3969905" y="518"/>
                    <a:pt x="3969905" y="1258"/>
                    <a:pt x="3990161" y="1258"/>
                  </a:cubicBezTo>
                  <a:cubicBezTo>
                    <a:pt x="4010354" y="1258"/>
                    <a:pt x="4010227" y="5939"/>
                    <a:pt x="4030420" y="5939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BD7D473-AEFA-A44F-8F98-097CBF52B140}"/>
                </a:ext>
              </a:extLst>
            </p:cNvPr>
            <p:cNvSpPr/>
            <p:nvPr/>
          </p:nvSpPr>
          <p:spPr>
            <a:xfrm>
              <a:off x="10613863" y="412483"/>
              <a:ext cx="575460" cy="607786"/>
            </a:xfrm>
            <a:custGeom>
              <a:avLst/>
              <a:gdLst>
                <a:gd name="connsiteX0" fmla="*/ 324837 w 575460"/>
                <a:gd name="connsiteY0" fmla="*/ 6723 h 607786"/>
                <a:gd name="connsiteX1" fmla="*/ 285213 w 575460"/>
                <a:gd name="connsiteY1" fmla="*/ 9310 h 607786"/>
                <a:gd name="connsiteX2" fmla="*/ 245526 w 575460"/>
                <a:gd name="connsiteY2" fmla="*/ 5491 h 607786"/>
                <a:gd name="connsiteX3" fmla="*/ 205838 w 575460"/>
                <a:gd name="connsiteY3" fmla="*/ 9433 h 607786"/>
                <a:gd name="connsiteX4" fmla="*/ 166151 w 575460"/>
                <a:gd name="connsiteY4" fmla="*/ 10665 h 607786"/>
                <a:gd name="connsiteX5" fmla="*/ 126527 w 575460"/>
                <a:gd name="connsiteY5" fmla="*/ 8818 h 607786"/>
                <a:gd name="connsiteX6" fmla="*/ 86839 w 575460"/>
                <a:gd name="connsiteY6" fmla="*/ 5491 h 607786"/>
                <a:gd name="connsiteX7" fmla="*/ 47025 w 575460"/>
                <a:gd name="connsiteY7" fmla="*/ 9187 h 607786"/>
                <a:gd name="connsiteX8" fmla="*/ 6893 w 575460"/>
                <a:gd name="connsiteY8" fmla="*/ 7216 h 607786"/>
                <a:gd name="connsiteX9" fmla="*/ 9687 w 575460"/>
                <a:gd name="connsiteY9" fmla="*/ 47010 h 607786"/>
                <a:gd name="connsiteX10" fmla="*/ 6893 w 575460"/>
                <a:gd name="connsiteY10" fmla="*/ 86434 h 607786"/>
                <a:gd name="connsiteX11" fmla="*/ 5432 w 575460"/>
                <a:gd name="connsiteY11" fmla="*/ 125981 h 607786"/>
                <a:gd name="connsiteX12" fmla="*/ 10194 w 575460"/>
                <a:gd name="connsiteY12" fmla="*/ 165405 h 607786"/>
                <a:gd name="connsiteX13" fmla="*/ 4924 w 575460"/>
                <a:gd name="connsiteY13" fmla="*/ 204953 h 607786"/>
                <a:gd name="connsiteX14" fmla="*/ 6893 w 575460"/>
                <a:gd name="connsiteY14" fmla="*/ 244500 h 607786"/>
                <a:gd name="connsiteX15" fmla="*/ 9814 w 575460"/>
                <a:gd name="connsiteY15" fmla="*/ 284048 h 607786"/>
                <a:gd name="connsiteX16" fmla="*/ 8099 w 575460"/>
                <a:gd name="connsiteY16" fmla="*/ 323596 h 607786"/>
                <a:gd name="connsiteX17" fmla="*/ 4924 w 575460"/>
                <a:gd name="connsiteY17" fmla="*/ 363144 h 607786"/>
                <a:gd name="connsiteX18" fmla="*/ 4670 w 575460"/>
                <a:gd name="connsiteY18" fmla="*/ 402565 h 607786"/>
                <a:gd name="connsiteX19" fmla="*/ 6512 w 575460"/>
                <a:gd name="connsiteY19" fmla="*/ 442112 h 607786"/>
                <a:gd name="connsiteX20" fmla="*/ 5622 w 575460"/>
                <a:gd name="connsiteY20" fmla="*/ 481660 h 607786"/>
                <a:gd name="connsiteX21" fmla="*/ 6766 w 575460"/>
                <a:gd name="connsiteY21" fmla="*/ 521208 h 607786"/>
                <a:gd name="connsiteX22" fmla="*/ 5622 w 575460"/>
                <a:gd name="connsiteY22" fmla="*/ 560756 h 607786"/>
                <a:gd name="connsiteX23" fmla="*/ 6384 w 575460"/>
                <a:gd name="connsiteY23" fmla="*/ 601040 h 607786"/>
                <a:gd name="connsiteX24" fmla="*/ 46770 w 575460"/>
                <a:gd name="connsiteY24" fmla="*/ 603015 h 607786"/>
                <a:gd name="connsiteX25" fmla="*/ 86458 w 575460"/>
                <a:gd name="connsiteY25" fmla="*/ 597592 h 607786"/>
                <a:gd name="connsiteX26" fmla="*/ 126145 w 575460"/>
                <a:gd name="connsiteY26" fmla="*/ 600304 h 607786"/>
                <a:gd name="connsiteX27" fmla="*/ 165833 w 575460"/>
                <a:gd name="connsiteY27" fmla="*/ 599192 h 607786"/>
                <a:gd name="connsiteX28" fmla="*/ 205457 w 575460"/>
                <a:gd name="connsiteY28" fmla="*/ 598087 h 607786"/>
                <a:gd name="connsiteX29" fmla="*/ 245144 w 575460"/>
                <a:gd name="connsiteY29" fmla="*/ 599935 h 607786"/>
                <a:gd name="connsiteX30" fmla="*/ 284959 w 575460"/>
                <a:gd name="connsiteY30" fmla="*/ 599072 h 607786"/>
                <a:gd name="connsiteX31" fmla="*/ 323630 w 575460"/>
                <a:gd name="connsiteY31" fmla="*/ 599319 h 607786"/>
                <a:gd name="connsiteX32" fmla="*/ 326107 w 575460"/>
                <a:gd name="connsiteY32" fmla="*/ 560876 h 607786"/>
                <a:gd name="connsiteX33" fmla="*/ 325599 w 575460"/>
                <a:gd name="connsiteY33" fmla="*/ 521456 h 607786"/>
                <a:gd name="connsiteX34" fmla="*/ 325853 w 575460"/>
                <a:gd name="connsiteY34" fmla="*/ 481908 h 607786"/>
                <a:gd name="connsiteX35" fmla="*/ 323122 w 575460"/>
                <a:gd name="connsiteY35" fmla="*/ 442481 h 607786"/>
                <a:gd name="connsiteX36" fmla="*/ 325599 w 575460"/>
                <a:gd name="connsiteY36" fmla="*/ 402933 h 607786"/>
                <a:gd name="connsiteX37" fmla="*/ 327187 w 575460"/>
                <a:gd name="connsiteY37" fmla="*/ 363385 h 607786"/>
                <a:gd name="connsiteX38" fmla="*/ 323122 w 575460"/>
                <a:gd name="connsiteY38" fmla="*/ 323844 h 607786"/>
                <a:gd name="connsiteX39" fmla="*/ 323504 w 575460"/>
                <a:gd name="connsiteY39" fmla="*/ 284296 h 607786"/>
                <a:gd name="connsiteX40" fmla="*/ 325980 w 575460"/>
                <a:gd name="connsiteY40" fmla="*/ 244748 h 607786"/>
                <a:gd name="connsiteX41" fmla="*/ 327441 w 575460"/>
                <a:gd name="connsiteY41" fmla="*/ 205322 h 607786"/>
                <a:gd name="connsiteX42" fmla="*/ 322043 w 575460"/>
                <a:gd name="connsiteY42" fmla="*/ 165775 h 607786"/>
                <a:gd name="connsiteX43" fmla="*/ 323122 w 575460"/>
                <a:gd name="connsiteY43" fmla="*/ 126227 h 607786"/>
                <a:gd name="connsiteX44" fmla="*/ 325980 w 575460"/>
                <a:gd name="connsiteY44" fmla="*/ 86680 h 607786"/>
                <a:gd name="connsiteX45" fmla="*/ 322551 w 575460"/>
                <a:gd name="connsiteY45" fmla="*/ 47133 h 607786"/>
                <a:gd name="connsiteX46" fmla="*/ 326361 w 575460"/>
                <a:gd name="connsiteY46" fmla="*/ 9310 h 607786"/>
                <a:gd name="connsiteX47" fmla="*/ 365159 w 575460"/>
                <a:gd name="connsiteY47" fmla="*/ 5491 h 607786"/>
                <a:gd name="connsiteX48" fmla="*/ 405672 w 575460"/>
                <a:gd name="connsiteY48" fmla="*/ 10173 h 607786"/>
                <a:gd name="connsiteX49" fmla="*/ 446186 w 575460"/>
                <a:gd name="connsiteY49" fmla="*/ 6477 h 607786"/>
                <a:gd name="connsiteX50" fmla="*/ 486889 w 575460"/>
                <a:gd name="connsiteY50" fmla="*/ 4752 h 607786"/>
                <a:gd name="connsiteX51" fmla="*/ 527529 w 575460"/>
                <a:gd name="connsiteY51" fmla="*/ 5368 h 607786"/>
                <a:gd name="connsiteX52" fmla="*/ 568931 w 575460"/>
                <a:gd name="connsiteY52" fmla="*/ 6723 h 607786"/>
                <a:gd name="connsiteX53" fmla="*/ 569185 w 575460"/>
                <a:gd name="connsiteY53" fmla="*/ 47256 h 607786"/>
                <a:gd name="connsiteX54" fmla="*/ 569756 w 575460"/>
                <a:gd name="connsiteY54" fmla="*/ 86926 h 607786"/>
                <a:gd name="connsiteX55" fmla="*/ 566963 w 575460"/>
                <a:gd name="connsiteY55" fmla="*/ 126721 h 607786"/>
                <a:gd name="connsiteX56" fmla="*/ 568550 w 575460"/>
                <a:gd name="connsiteY56" fmla="*/ 166514 h 607786"/>
                <a:gd name="connsiteX57" fmla="*/ 571154 w 575460"/>
                <a:gd name="connsiteY57" fmla="*/ 206308 h 607786"/>
                <a:gd name="connsiteX58" fmla="*/ 570392 w 575460"/>
                <a:gd name="connsiteY58" fmla="*/ 246100 h 607786"/>
                <a:gd name="connsiteX59" fmla="*/ 568550 w 575460"/>
                <a:gd name="connsiteY59" fmla="*/ 285896 h 6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75460" h="607786">
                  <a:moveTo>
                    <a:pt x="324837" y="6723"/>
                  </a:moveTo>
                  <a:cubicBezTo>
                    <a:pt x="305025" y="6723"/>
                    <a:pt x="305025" y="9310"/>
                    <a:pt x="285213" y="9310"/>
                  </a:cubicBezTo>
                  <a:cubicBezTo>
                    <a:pt x="265338" y="9310"/>
                    <a:pt x="265338" y="5491"/>
                    <a:pt x="245526" y="5491"/>
                  </a:cubicBezTo>
                  <a:cubicBezTo>
                    <a:pt x="225714" y="5491"/>
                    <a:pt x="225714" y="9433"/>
                    <a:pt x="205838" y="9433"/>
                  </a:cubicBezTo>
                  <a:cubicBezTo>
                    <a:pt x="186026" y="9433"/>
                    <a:pt x="186026" y="10665"/>
                    <a:pt x="166151" y="10665"/>
                  </a:cubicBezTo>
                  <a:cubicBezTo>
                    <a:pt x="146339" y="10665"/>
                    <a:pt x="146339" y="8818"/>
                    <a:pt x="126527" y="8818"/>
                  </a:cubicBezTo>
                  <a:cubicBezTo>
                    <a:pt x="106651" y="8818"/>
                    <a:pt x="106651" y="5491"/>
                    <a:pt x="86839" y="5491"/>
                  </a:cubicBezTo>
                  <a:cubicBezTo>
                    <a:pt x="67027" y="5491"/>
                    <a:pt x="67027" y="9187"/>
                    <a:pt x="47025" y="9187"/>
                  </a:cubicBezTo>
                  <a:cubicBezTo>
                    <a:pt x="27085" y="9187"/>
                    <a:pt x="21053" y="-6706"/>
                    <a:pt x="6893" y="7216"/>
                  </a:cubicBezTo>
                  <a:cubicBezTo>
                    <a:pt x="-7268" y="21138"/>
                    <a:pt x="9687" y="27297"/>
                    <a:pt x="9687" y="47010"/>
                  </a:cubicBezTo>
                  <a:cubicBezTo>
                    <a:pt x="9687" y="66722"/>
                    <a:pt x="6893" y="66722"/>
                    <a:pt x="6893" y="86434"/>
                  </a:cubicBezTo>
                  <a:cubicBezTo>
                    <a:pt x="6893" y="106146"/>
                    <a:pt x="5432" y="106146"/>
                    <a:pt x="5432" y="125981"/>
                  </a:cubicBezTo>
                  <a:cubicBezTo>
                    <a:pt x="5432" y="145816"/>
                    <a:pt x="10194" y="145693"/>
                    <a:pt x="10194" y="165405"/>
                  </a:cubicBezTo>
                  <a:cubicBezTo>
                    <a:pt x="10194" y="185117"/>
                    <a:pt x="4924" y="185117"/>
                    <a:pt x="4924" y="204953"/>
                  </a:cubicBezTo>
                  <a:cubicBezTo>
                    <a:pt x="4924" y="224790"/>
                    <a:pt x="6893" y="224663"/>
                    <a:pt x="6893" y="244500"/>
                  </a:cubicBezTo>
                  <a:cubicBezTo>
                    <a:pt x="6893" y="264338"/>
                    <a:pt x="9814" y="264211"/>
                    <a:pt x="9814" y="284048"/>
                  </a:cubicBezTo>
                  <a:cubicBezTo>
                    <a:pt x="9814" y="303879"/>
                    <a:pt x="8099" y="303759"/>
                    <a:pt x="8099" y="323596"/>
                  </a:cubicBezTo>
                  <a:cubicBezTo>
                    <a:pt x="8099" y="343427"/>
                    <a:pt x="4924" y="343306"/>
                    <a:pt x="4924" y="363144"/>
                  </a:cubicBezTo>
                  <a:cubicBezTo>
                    <a:pt x="4924" y="382975"/>
                    <a:pt x="4670" y="382854"/>
                    <a:pt x="4670" y="402565"/>
                  </a:cubicBezTo>
                  <a:cubicBezTo>
                    <a:pt x="4670" y="422275"/>
                    <a:pt x="6512" y="422275"/>
                    <a:pt x="6512" y="442112"/>
                  </a:cubicBezTo>
                  <a:cubicBezTo>
                    <a:pt x="6512" y="461950"/>
                    <a:pt x="5622" y="461823"/>
                    <a:pt x="5622" y="481660"/>
                  </a:cubicBezTo>
                  <a:cubicBezTo>
                    <a:pt x="5622" y="501498"/>
                    <a:pt x="6766" y="501371"/>
                    <a:pt x="6766" y="521208"/>
                  </a:cubicBezTo>
                  <a:cubicBezTo>
                    <a:pt x="6766" y="541045"/>
                    <a:pt x="5622" y="541045"/>
                    <a:pt x="5622" y="560756"/>
                  </a:cubicBezTo>
                  <a:cubicBezTo>
                    <a:pt x="5622" y="580466"/>
                    <a:pt x="-7522" y="587121"/>
                    <a:pt x="6384" y="601040"/>
                  </a:cubicBezTo>
                  <a:cubicBezTo>
                    <a:pt x="20291" y="614966"/>
                    <a:pt x="26958" y="603015"/>
                    <a:pt x="46770" y="603015"/>
                  </a:cubicBezTo>
                  <a:cubicBezTo>
                    <a:pt x="66646" y="603015"/>
                    <a:pt x="66646" y="597592"/>
                    <a:pt x="86458" y="597592"/>
                  </a:cubicBezTo>
                  <a:cubicBezTo>
                    <a:pt x="106333" y="597592"/>
                    <a:pt x="106333" y="600304"/>
                    <a:pt x="126145" y="600304"/>
                  </a:cubicBezTo>
                  <a:cubicBezTo>
                    <a:pt x="145957" y="600304"/>
                    <a:pt x="145957" y="599192"/>
                    <a:pt x="165833" y="599192"/>
                  </a:cubicBezTo>
                  <a:cubicBezTo>
                    <a:pt x="185645" y="599192"/>
                    <a:pt x="185645" y="598087"/>
                    <a:pt x="205457" y="598087"/>
                  </a:cubicBezTo>
                  <a:cubicBezTo>
                    <a:pt x="225332" y="598087"/>
                    <a:pt x="225332" y="599935"/>
                    <a:pt x="245144" y="599935"/>
                  </a:cubicBezTo>
                  <a:cubicBezTo>
                    <a:pt x="264956" y="599935"/>
                    <a:pt x="264956" y="599072"/>
                    <a:pt x="284959" y="599072"/>
                  </a:cubicBezTo>
                  <a:cubicBezTo>
                    <a:pt x="304898" y="599072"/>
                    <a:pt x="309470" y="613359"/>
                    <a:pt x="323630" y="599319"/>
                  </a:cubicBezTo>
                  <a:cubicBezTo>
                    <a:pt x="337791" y="585273"/>
                    <a:pt x="326107" y="580714"/>
                    <a:pt x="326107" y="560876"/>
                  </a:cubicBezTo>
                  <a:cubicBezTo>
                    <a:pt x="326107" y="541045"/>
                    <a:pt x="325599" y="541166"/>
                    <a:pt x="325599" y="521456"/>
                  </a:cubicBezTo>
                  <a:cubicBezTo>
                    <a:pt x="325599" y="501745"/>
                    <a:pt x="325853" y="501745"/>
                    <a:pt x="325853" y="481908"/>
                  </a:cubicBezTo>
                  <a:cubicBezTo>
                    <a:pt x="325853" y="462070"/>
                    <a:pt x="323122" y="462197"/>
                    <a:pt x="323122" y="442481"/>
                  </a:cubicBezTo>
                  <a:cubicBezTo>
                    <a:pt x="323122" y="422770"/>
                    <a:pt x="325599" y="422770"/>
                    <a:pt x="325599" y="402933"/>
                  </a:cubicBezTo>
                  <a:cubicBezTo>
                    <a:pt x="325599" y="383102"/>
                    <a:pt x="327187" y="383222"/>
                    <a:pt x="327187" y="363385"/>
                  </a:cubicBezTo>
                  <a:cubicBezTo>
                    <a:pt x="327187" y="343554"/>
                    <a:pt x="323122" y="343675"/>
                    <a:pt x="323122" y="323844"/>
                  </a:cubicBezTo>
                  <a:cubicBezTo>
                    <a:pt x="323122" y="304006"/>
                    <a:pt x="323504" y="304127"/>
                    <a:pt x="323504" y="284296"/>
                  </a:cubicBezTo>
                  <a:cubicBezTo>
                    <a:pt x="323504" y="264458"/>
                    <a:pt x="325980" y="264579"/>
                    <a:pt x="325980" y="244748"/>
                  </a:cubicBezTo>
                  <a:cubicBezTo>
                    <a:pt x="325980" y="224911"/>
                    <a:pt x="327441" y="225031"/>
                    <a:pt x="327441" y="205322"/>
                  </a:cubicBezTo>
                  <a:cubicBezTo>
                    <a:pt x="327441" y="185610"/>
                    <a:pt x="322043" y="185610"/>
                    <a:pt x="322043" y="165775"/>
                  </a:cubicBezTo>
                  <a:cubicBezTo>
                    <a:pt x="322043" y="145939"/>
                    <a:pt x="323122" y="146063"/>
                    <a:pt x="323122" y="126227"/>
                  </a:cubicBezTo>
                  <a:cubicBezTo>
                    <a:pt x="323122" y="106392"/>
                    <a:pt x="325980" y="106515"/>
                    <a:pt x="325980" y="86680"/>
                  </a:cubicBezTo>
                  <a:cubicBezTo>
                    <a:pt x="325980" y="66845"/>
                    <a:pt x="322551" y="66845"/>
                    <a:pt x="322551" y="47133"/>
                  </a:cubicBezTo>
                  <a:cubicBezTo>
                    <a:pt x="322551" y="27420"/>
                    <a:pt x="312201" y="23232"/>
                    <a:pt x="326361" y="9310"/>
                  </a:cubicBezTo>
                  <a:cubicBezTo>
                    <a:pt x="340521" y="-4611"/>
                    <a:pt x="344840" y="5491"/>
                    <a:pt x="365159" y="5491"/>
                  </a:cubicBezTo>
                  <a:cubicBezTo>
                    <a:pt x="385480" y="5491"/>
                    <a:pt x="385480" y="10173"/>
                    <a:pt x="405672" y="10173"/>
                  </a:cubicBezTo>
                  <a:cubicBezTo>
                    <a:pt x="425866" y="10173"/>
                    <a:pt x="425993" y="6477"/>
                    <a:pt x="446186" y="6477"/>
                  </a:cubicBezTo>
                  <a:cubicBezTo>
                    <a:pt x="466442" y="6477"/>
                    <a:pt x="466569" y="4752"/>
                    <a:pt x="486889" y="4752"/>
                  </a:cubicBezTo>
                  <a:cubicBezTo>
                    <a:pt x="507209" y="4752"/>
                    <a:pt x="507209" y="5368"/>
                    <a:pt x="527529" y="5368"/>
                  </a:cubicBezTo>
                  <a:cubicBezTo>
                    <a:pt x="547849" y="5368"/>
                    <a:pt x="554390" y="-7568"/>
                    <a:pt x="568931" y="6723"/>
                  </a:cubicBezTo>
                  <a:cubicBezTo>
                    <a:pt x="583472" y="21015"/>
                    <a:pt x="569185" y="27420"/>
                    <a:pt x="569185" y="47256"/>
                  </a:cubicBezTo>
                  <a:cubicBezTo>
                    <a:pt x="569185" y="67091"/>
                    <a:pt x="569756" y="67091"/>
                    <a:pt x="569756" y="86926"/>
                  </a:cubicBezTo>
                  <a:cubicBezTo>
                    <a:pt x="569756" y="106762"/>
                    <a:pt x="566963" y="106762"/>
                    <a:pt x="566963" y="126721"/>
                  </a:cubicBezTo>
                  <a:cubicBezTo>
                    <a:pt x="566963" y="146679"/>
                    <a:pt x="568550" y="146555"/>
                    <a:pt x="568550" y="166514"/>
                  </a:cubicBezTo>
                  <a:cubicBezTo>
                    <a:pt x="568550" y="186472"/>
                    <a:pt x="571154" y="186349"/>
                    <a:pt x="571154" y="206308"/>
                  </a:cubicBezTo>
                  <a:cubicBezTo>
                    <a:pt x="571154" y="226263"/>
                    <a:pt x="570392" y="226263"/>
                    <a:pt x="570392" y="246100"/>
                  </a:cubicBezTo>
                  <a:cubicBezTo>
                    <a:pt x="570392" y="265938"/>
                    <a:pt x="568550" y="266059"/>
                    <a:pt x="568550" y="285896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9C29659-8FA2-209E-C44C-4B181B79EF01}"/>
                </a:ext>
              </a:extLst>
            </p:cNvPr>
            <p:cNvSpPr/>
            <p:nvPr/>
          </p:nvSpPr>
          <p:spPr>
            <a:xfrm>
              <a:off x="11658345" y="580224"/>
              <a:ext cx="1177544" cy="1176934"/>
            </a:xfrm>
            <a:custGeom>
              <a:avLst/>
              <a:gdLst>
                <a:gd name="connsiteX0" fmla="*/ 0 w 1177544"/>
                <a:gd name="connsiteY0" fmla="*/ 1176934 h 1176934"/>
                <a:gd name="connsiteX1" fmla="*/ 26226 w 1177544"/>
                <a:gd name="connsiteY1" fmla="*/ 1145762 h 1176934"/>
                <a:gd name="connsiteX2" fmla="*/ 57912 w 1177544"/>
                <a:gd name="connsiteY2" fmla="*/ 1120013 h 1176934"/>
                <a:gd name="connsiteX3" fmla="*/ 83503 w 1177544"/>
                <a:gd name="connsiteY3" fmla="*/ 1088231 h 1176934"/>
                <a:gd name="connsiteX4" fmla="*/ 112585 w 1177544"/>
                <a:gd name="connsiteY4" fmla="*/ 1059891 h 1176934"/>
                <a:gd name="connsiteX5" fmla="*/ 141288 w 1177544"/>
                <a:gd name="connsiteY5" fmla="*/ 1031189 h 1176934"/>
                <a:gd name="connsiteX6" fmla="*/ 171641 w 1177544"/>
                <a:gd name="connsiteY6" fmla="*/ 1004081 h 1176934"/>
                <a:gd name="connsiteX7" fmla="*/ 199073 w 1177544"/>
                <a:gd name="connsiteY7" fmla="*/ 974147 h 1176934"/>
                <a:gd name="connsiteX8" fmla="*/ 227521 w 1177544"/>
                <a:gd name="connsiteY8" fmla="*/ 945191 h 1176934"/>
                <a:gd name="connsiteX9" fmla="*/ 257873 w 1177544"/>
                <a:gd name="connsiteY9" fmla="*/ 918210 h 1176934"/>
                <a:gd name="connsiteX10" fmla="*/ 286068 w 1177544"/>
                <a:gd name="connsiteY10" fmla="*/ 889013 h 1176934"/>
                <a:gd name="connsiteX11" fmla="*/ 316611 w 1177544"/>
                <a:gd name="connsiteY11" fmla="*/ 862159 h 1176934"/>
                <a:gd name="connsiteX12" fmla="*/ 344678 w 1177544"/>
                <a:gd name="connsiteY12" fmla="*/ 832834 h 1176934"/>
                <a:gd name="connsiteX13" fmla="*/ 372047 w 1177544"/>
                <a:gd name="connsiteY13" fmla="*/ 802894 h 1176934"/>
                <a:gd name="connsiteX14" fmla="*/ 400876 w 1177544"/>
                <a:gd name="connsiteY14" fmla="*/ 774313 h 1176934"/>
                <a:gd name="connsiteX15" fmla="*/ 430340 w 1177544"/>
                <a:gd name="connsiteY15" fmla="*/ 746347 h 1176934"/>
                <a:gd name="connsiteX16" fmla="*/ 458788 w 1177544"/>
                <a:gd name="connsiteY16" fmla="*/ 717398 h 1176934"/>
                <a:gd name="connsiteX17" fmla="*/ 488760 w 1177544"/>
                <a:gd name="connsiteY17" fmla="*/ 689921 h 1176934"/>
                <a:gd name="connsiteX18" fmla="*/ 517208 w 1177544"/>
                <a:gd name="connsiteY18" fmla="*/ 660972 h 1176934"/>
                <a:gd name="connsiteX19" fmla="*/ 543814 w 1177544"/>
                <a:gd name="connsiteY19" fmla="*/ 630168 h 1176934"/>
                <a:gd name="connsiteX20" fmla="*/ 573596 w 1177544"/>
                <a:gd name="connsiteY20" fmla="*/ 602571 h 1176934"/>
                <a:gd name="connsiteX21" fmla="*/ 600837 w 1177544"/>
                <a:gd name="connsiteY21" fmla="*/ 572510 h 1176934"/>
                <a:gd name="connsiteX22" fmla="*/ 632016 w 1177544"/>
                <a:gd name="connsiteY22" fmla="*/ 546392 h 1176934"/>
                <a:gd name="connsiteX23" fmla="*/ 660718 w 1177544"/>
                <a:gd name="connsiteY23" fmla="*/ 517690 h 1176934"/>
                <a:gd name="connsiteX24" fmla="*/ 687960 w 1177544"/>
                <a:gd name="connsiteY24" fmla="*/ 487502 h 1176934"/>
                <a:gd name="connsiteX25" fmla="*/ 718122 w 1177544"/>
                <a:gd name="connsiteY25" fmla="*/ 460280 h 1176934"/>
                <a:gd name="connsiteX26" fmla="*/ 744093 w 1177544"/>
                <a:gd name="connsiteY26" fmla="*/ 428860 h 1176934"/>
                <a:gd name="connsiteX27" fmla="*/ 772732 w 1177544"/>
                <a:gd name="connsiteY27" fmla="*/ 400031 h 1176934"/>
                <a:gd name="connsiteX28" fmla="*/ 802005 w 1177544"/>
                <a:gd name="connsiteY28" fmla="*/ 371945 h 1176934"/>
                <a:gd name="connsiteX29" fmla="*/ 828993 w 1177544"/>
                <a:gd name="connsiteY29" fmla="*/ 341509 h 1176934"/>
                <a:gd name="connsiteX30" fmla="*/ 858584 w 1177544"/>
                <a:gd name="connsiteY30" fmla="*/ 313671 h 1176934"/>
                <a:gd name="connsiteX31" fmla="*/ 886905 w 1177544"/>
                <a:gd name="connsiteY31" fmla="*/ 284467 h 1176934"/>
                <a:gd name="connsiteX32" fmla="*/ 917004 w 1177544"/>
                <a:gd name="connsiteY32" fmla="*/ 257118 h 1176934"/>
                <a:gd name="connsiteX33" fmla="*/ 947293 w 1177544"/>
                <a:gd name="connsiteY33" fmla="*/ 229889 h 1176934"/>
                <a:gd name="connsiteX34" fmla="*/ 974852 w 1177544"/>
                <a:gd name="connsiteY34" fmla="*/ 200076 h 1176934"/>
                <a:gd name="connsiteX35" fmla="*/ 1004189 w 1177544"/>
                <a:gd name="connsiteY35" fmla="*/ 171990 h 1176934"/>
                <a:gd name="connsiteX36" fmla="*/ 1031304 w 1177544"/>
                <a:gd name="connsiteY36" fmla="*/ 141554 h 1176934"/>
                <a:gd name="connsiteX37" fmla="*/ 1060387 w 1177544"/>
                <a:gd name="connsiteY37" fmla="*/ 113100 h 1176934"/>
                <a:gd name="connsiteX38" fmla="*/ 1090930 w 1177544"/>
                <a:gd name="connsiteY38" fmla="*/ 86119 h 1176934"/>
                <a:gd name="connsiteX39" fmla="*/ 1119632 w 1177544"/>
                <a:gd name="connsiteY39" fmla="*/ 57290 h 1176934"/>
                <a:gd name="connsiteX40" fmla="*/ 1147509 w 1177544"/>
                <a:gd name="connsiteY40" fmla="*/ 27597 h 1176934"/>
                <a:gd name="connsiteX41" fmla="*/ 1177544 w 1177544"/>
                <a:gd name="connsiteY41" fmla="*/ 0 h 117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7544" h="1176934">
                  <a:moveTo>
                    <a:pt x="0" y="1176934"/>
                  </a:moveTo>
                  <a:cubicBezTo>
                    <a:pt x="14288" y="1162641"/>
                    <a:pt x="11938" y="1160177"/>
                    <a:pt x="26226" y="1145762"/>
                  </a:cubicBezTo>
                  <a:cubicBezTo>
                    <a:pt x="40513" y="1131348"/>
                    <a:pt x="43498" y="1134307"/>
                    <a:pt x="57912" y="1120013"/>
                  </a:cubicBezTo>
                  <a:cubicBezTo>
                    <a:pt x="72327" y="1105726"/>
                    <a:pt x="69215" y="1102646"/>
                    <a:pt x="83503" y="1088231"/>
                  </a:cubicBezTo>
                  <a:cubicBezTo>
                    <a:pt x="97790" y="1073817"/>
                    <a:pt x="98172" y="1074185"/>
                    <a:pt x="112585" y="1059891"/>
                  </a:cubicBezTo>
                  <a:cubicBezTo>
                    <a:pt x="127000" y="1045604"/>
                    <a:pt x="127000" y="1045604"/>
                    <a:pt x="141288" y="1031189"/>
                  </a:cubicBezTo>
                  <a:cubicBezTo>
                    <a:pt x="155575" y="1016775"/>
                    <a:pt x="157226" y="1018496"/>
                    <a:pt x="171641" y="1004081"/>
                  </a:cubicBezTo>
                  <a:cubicBezTo>
                    <a:pt x="186055" y="989667"/>
                    <a:pt x="184659" y="988435"/>
                    <a:pt x="199073" y="974147"/>
                  </a:cubicBezTo>
                  <a:cubicBezTo>
                    <a:pt x="213487" y="959853"/>
                    <a:pt x="213234" y="959606"/>
                    <a:pt x="227521" y="945191"/>
                  </a:cubicBezTo>
                  <a:cubicBezTo>
                    <a:pt x="241809" y="930777"/>
                    <a:pt x="243586" y="932504"/>
                    <a:pt x="257873" y="918210"/>
                  </a:cubicBezTo>
                  <a:cubicBezTo>
                    <a:pt x="272161" y="903923"/>
                    <a:pt x="271780" y="903427"/>
                    <a:pt x="286068" y="889013"/>
                  </a:cubicBezTo>
                  <a:cubicBezTo>
                    <a:pt x="300355" y="874598"/>
                    <a:pt x="302323" y="876573"/>
                    <a:pt x="316611" y="862159"/>
                  </a:cubicBezTo>
                  <a:cubicBezTo>
                    <a:pt x="330898" y="847744"/>
                    <a:pt x="330391" y="847249"/>
                    <a:pt x="344678" y="832834"/>
                  </a:cubicBezTo>
                  <a:cubicBezTo>
                    <a:pt x="359029" y="818420"/>
                    <a:pt x="357760" y="817188"/>
                    <a:pt x="372047" y="802894"/>
                  </a:cubicBezTo>
                  <a:cubicBezTo>
                    <a:pt x="386335" y="788606"/>
                    <a:pt x="386588" y="788727"/>
                    <a:pt x="400876" y="774313"/>
                  </a:cubicBezTo>
                  <a:cubicBezTo>
                    <a:pt x="415163" y="759898"/>
                    <a:pt x="415925" y="760641"/>
                    <a:pt x="430340" y="746347"/>
                  </a:cubicBezTo>
                  <a:cubicBezTo>
                    <a:pt x="444754" y="732060"/>
                    <a:pt x="444373" y="731685"/>
                    <a:pt x="458788" y="717398"/>
                  </a:cubicBezTo>
                  <a:cubicBezTo>
                    <a:pt x="473202" y="703104"/>
                    <a:pt x="474409" y="704336"/>
                    <a:pt x="488760" y="689921"/>
                  </a:cubicBezTo>
                  <a:cubicBezTo>
                    <a:pt x="503048" y="675507"/>
                    <a:pt x="502920" y="675386"/>
                    <a:pt x="517208" y="660972"/>
                  </a:cubicBezTo>
                  <a:cubicBezTo>
                    <a:pt x="531495" y="646557"/>
                    <a:pt x="529527" y="644582"/>
                    <a:pt x="543814" y="630168"/>
                  </a:cubicBezTo>
                  <a:cubicBezTo>
                    <a:pt x="558102" y="615753"/>
                    <a:pt x="559181" y="616985"/>
                    <a:pt x="573596" y="602571"/>
                  </a:cubicBezTo>
                  <a:cubicBezTo>
                    <a:pt x="588011" y="588156"/>
                    <a:pt x="586550" y="586804"/>
                    <a:pt x="600837" y="572510"/>
                  </a:cubicBezTo>
                  <a:cubicBezTo>
                    <a:pt x="615125" y="558222"/>
                    <a:pt x="617728" y="560686"/>
                    <a:pt x="632016" y="546392"/>
                  </a:cubicBezTo>
                  <a:cubicBezTo>
                    <a:pt x="646303" y="532105"/>
                    <a:pt x="646430" y="532105"/>
                    <a:pt x="660718" y="517690"/>
                  </a:cubicBezTo>
                  <a:cubicBezTo>
                    <a:pt x="675005" y="503276"/>
                    <a:pt x="673545" y="501796"/>
                    <a:pt x="687960" y="487502"/>
                  </a:cubicBezTo>
                  <a:cubicBezTo>
                    <a:pt x="702373" y="473215"/>
                    <a:pt x="703835" y="474694"/>
                    <a:pt x="718122" y="460280"/>
                  </a:cubicBezTo>
                  <a:cubicBezTo>
                    <a:pt x="732410" y="445865"/>
                    <a:pt x="729679" y="443154"/>
                    <a:pt x="744093" y="428860"/>
                  </a:cubicBezTo>
                  <a:cubicBezTo>
                    <a:pt x="758508" y="414572"/>
                    <a:pt x="758444" y="414325"/>
                    <a:pt x="772732" y="400031"/>
                  </a:cubicBezTo>
                  <a:cubicBezTo>
                    <a:pt x="787019" y="385743"/>
                    <a:pt x="787591" y="386232"/>
                    <a:pt x="802005" y="371945"/>
                  </a:cubicBezTo>
                  <a:cubicBezTo>
                    <a:pt x="816420" y="357651"/>
                    <a:pt x="814705" y="355924"/>
                    <a:pt x="828993" y="341509"/>
                  </a:cubicBezTo>
                  <a:cubicBezTo>
                    <a:pt x="843280" y="327095"/>
                    <a:pt x="844169" y="327958"/>
                    <a:pt x="858584" y="313671"/>
                  </a:cubicBezTo>
                  <a:cubicBezTo>
                    <a:pt x="872998" y="299377"/>
                    <a:pt x="872490" y="298882"/>
                    <a:pt x="886905" y="284467"/>
                  </a:cubicBezTo>
                  <a:cubicBezTo>
                    <a:pt x="901319" y="270053"/>
                    <a:pt x="902653" y="271532"/>
                    <a:pt x="917004" y="257118"/>
                  </a:cubicBezTo>
                  <a:cubicBezTo>
                    <a:pt x="931291" y="242703"/>
                    <a:pt x="932879" y="244304"/>
                    <a:pt x="947293" y="229889"/>
                  </a:cubicBezTo>
                  <a:cubicBezTo>
                    <a:pt x="961708" y="215475"/>
                    <a:pt x="960565" y="214490"/>
                    <a:pt x="974852" y="200076"/>
                  </a:cubicBezTo>
                  <a:cubicBezTo>
                    <a:pt x="989140" y="185661"/>
                    <a:pt x="989902" y="186404"/>
                    <a:pt x="1004189" y="171990"/>
                  </a:cubicBezTo>
                  <a:cubicBezTo>
                    <a:pt x="1018477" y="157575"/>
                    <a:pt x="1016889" y="155969"/>
                    <a:pt x="1031304" y="141554"/>
                  </a:cubicBezTo>
                  <a:cubicBezTo>
                    <a:pt x="1045718" y="127146"/>
                    <a:pt x="1046099" y="127514"/>
                    <a:pt x="1060387" y="113100"/>
                  </a:cubicBezTo>
                  <a:cubicBezTo>
                    <a:pt x="1074674" y="98685"/>
                    <a:pt x="1076643" y="100533"/>
                    <a:pt x="1090930" y="86119"/>
                  </a:cubicBezTo>
                  <a:cubicBezTo>
                    <a:pt x="1105218" y="71704"/>
                    <a:pt x="1105218" y="71704"/>
                    <a:pt x="1119632" y="57290"/>
                  </a:cubicBezTo>
                  <a:cubicBezTo>
                    <a:pt x="1134047" y="42874"/>
                    <a:pt x="1133222" y="42012"/>
                    <a:pt x="1147509" y="27597"/>
                  </a:cubicBezTo>
                  <a:cubicBezTo>
                    <a:pt x="1161797" y="13183"/>
                    <a:pt x="1163130" y="14414"/>
                    <a:pt x="1177544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64B72EF-53BB-BF88-72F5-E9E2E50FE441}"/>
                </a:ext>
              </a:extLst>
            </p:cNvPr>
            <p:cNvSpPr/>
            <p:nvPr/>
          </p:nvSpPr>
          <p:spPr>
            <a:xfrm>
              <a:off x="10704004" y="580224"/>
              <a:ext cx="1177099" cy="1177302"/>
            </a:xfrm>
            <a:custGeom>
              <a:avLst/>
              <a:gdLst>
                <a:gd name="connsiteX0" fmla="*/ 0 w 1177099"/>
                <a:gd name="connsiteY0" fmla="*/ 1177303 h 1177302"/>
                <a:gd name="connsiteX1" fmla="*/ 27495 w 1177099"/>
                <a:gd name="connsiteY1" fmla="*/ 1147363 h 1177302"/>
                <a:gd name="connsiteX2" fmla="*/ 54737 w 1177099"/>
                <a:gd name="connsiteY2" fmla="*/ 1117181 h 1177302"/>
                <a:gd name="connsiteX3" fmla="*/ 85280 w 1177099"/>
                <a:gd name="connsiteY3" fmla="*/ 1090447 h 1177302"/>
                <a:gd name="connsiteX4" fmla="*/ 113093 w 1177099"/>
                <a:gd name="connsiteY4" fmla="*/ 1061002 h 1177302"/>
                <a:gd name="connsiteX5" fmla="*/ 140970 w 1177099"/>
                <a:gd name="connsiteY5" fmla="*/ 1031558 h 1177302"/>
                <a:gd name="connsiteX6" fmla="*/ 168528 w 1177099"/>
                <a:gd name="connsiteY6" fmla="*/ 1001744 h 1177302"/>
                <a:gd name="connsiteX7" fmla="*/ 197231 w 1177099"/>
                <a:gd name="connsiteY7" fmla="*/ 973036 h 1177302"/>
                <a:gd name="connsiteX8" fmla="*/ 229044 w 1177099"/>
                <a:gd name="connsiteY8" fmla="*/ 947414 h 1177302"/>
                <a:gd name="connsiteX9" fmla="*/ 255397 w 1177099"/>
                <a:gd name="connsiteY9" fmla="*/ 916362 h 1177302"/>
                <a:gd name="connsiteX10" fmla="*/ 286702 w 1177099"/>
                <a:gd name="connsiteY10" fmla="*/ 890372 h 1177302"/>
                <a:gd name="connsiteX11" fmla="*/ 313817 w 1177099"/>
                <a:gd name="connsiteY11" fmla="*/ 860063 h 1177302"/>
                <a:gd name="connsiteX12" fmla="*/ 342900 w 1177099"/>
                <a:gd name="connsiteY12" fmla="*/ 831723 h 1177302"/>
                <a:gd name="connsiteX13" fmla="*/ 370459 w 1177099"/>
                <a:gd name="connsiteY13" fmla="*/ 801910 h 1177302"/>
                <a:gd name="connsiteX14" fmla="*/ 398589 w 1177099"/>
                <a:gd name="connsiteY14" fmla="*/ 772713 h 1177302"/>
                <a:gd name="connsiteX15" fmla="*/ 428117 w 1177099"/>
                <a:gd name="connsiteY15" fmla="*/ 744868 h 1177302"/>
                <a:gd name="connsiteX16" fmla="*/ 458788 w 1177099"/>
                <a:gd name="connsiteY16" fmla="*/ 718134 h 1177302"/>
                <a:gd name="connsiteX17" fmla="*/ 487616 w 1177099"/>
                <a:gd name="connsiteY17" fmla="*/ 689553 h 1177302"/>
                <a:gd name="connsiteX18" fmla="*/ 516572 w 1177099"/>
                <a:gd name="connsiteY18" fmla="*/ 661092 h 1177302"/>
                <a:gd name="connsiteX19" fmla="*/ 543306 w 1177099"/>
                <a:gd name="connsiteY19" fmla="*/ 630415 h 1177302"/>
                <a:gd name="connsiteX20" fmla="*/ 573151 w 1177099"/>
                <a:gd name="connsiteY20" fmla="*/ 602945 h 1177302"/>
                <a:gd name="connsiteX21" fmla="*/ 599122 w 1177099"/>
                <a:gd name="connsiteY21" fmla="*/ 571652 h 1177302"/>
                <a:gd name="connsiteX22" fmla="*/ 629920 w 1177099"/>
                <a:gd name="connsiteY22" fmla="*/ 545040 h 1177302"/>
                <a:gd name="connsiteX23" fmla="*/ 658431 w 1177099"/>
                <a:gd name="connsiteY23" fmla="*/ 516084 h 1177302"/>
                <a:gd name="connsiteX24" fmla="*/ 688975 w 1177099"/>
                <a:gd name="connsiteY24" fmla="*/ 489229 h 1177302"/>
                <a:gd name="connsiteX25" fmla="*/ 714692 w 1177099"/>
                <a:gd name="connsiteY25" fmla="*/ 457689 h 1177302"/>
                <a:gd name="connsiteX26" fmla="*/ 742442 w 1177099"/>
                <a:gd name="connsiteY26" fmla="*/ 427996 h 1177302"/>
                <a:gd name="connsiteX27" fmla="*/ 772858 w 1177099"/>
                <a:gd name="connsiteY27" fmla="*/ 401015 h 1177302"/>
                <a:gd name="connsiteX28" fmla="*/ 802322 w 1177099"/>
                <a:gd name="connsiteY28" fmla="*/ 373050 h 1177302"/>
                <a:gd name="connsiteX29" fmla="*/ 830516 w 1177099"/>
                <a:gd name="connsiteY29" fmla="*/ 343732 h 1177302"/>
                <a:gd name="connsiteX30" fmla="*/ 857631 w 1177099"/>
                <a:gd name="connsiteY30" fmla="*/ 313296 h 1177302"/>
                <a:gd name="connsiteX31" fmla="*/ 889254 w 1177099"/>
                <a:gd name="connsiteY31" fmla="*/ 287547 h 1177302"/>
                <a:gd name="connsiteX32" fmla="*/ 915543 w 1177099"/>
                <a:gd name="connsiteY32" fmla="*/ 256381 h 1177302"/>
                <a:gd name="connsiteX33" fmla="*/ 944245 w 1177099"/>
                <a:gd name="connsiteY33" fmla="*/ 227552 h 1177302"/>
                <a:gd name="connsiteX34" fmla="*/ 973900 w 1177099"/>
                <a:gd name="connsiteY34" fmla="*/ 199707 h 1177302"/>
                <a:gd name="connsiteX35" fmla="*/ 1002284 w 1177099"/>
                <a:gd name="connsiteY35" fmla="*/ 170631 h 1177302"/>
                <a:gd name="connsiteX36" fmla="*/ 1031430 w 1177099"/>
                <a:gd name="connsiteY36" fmla="*/ 142297 h 1177302"/>
                <a:gd name="connsiteX37" fmla="*/ 1060514 w 1177099"/>
                <a:gd name="connsiteY37" fmla="*/ 113836 h 1177302"/>
                <a:gd name="connsiteX38" fmla="*/ 1091311 w 1177099"/>
                <a:gd name="connsiteY38" fmla="*/ 87103 h 1177302"/>
                <a:gd name="connsiteX39" fmla="*/ 1117664 w 1177099"/>
                <a:gd name="connsiteY39" fmla="*/ 55931 h 1177302"/>
                <a:gd name="connsiteX40" fmla="*/ 1145667 w 1177099"/>
                <a:gd name="connsiteY40" fmla="*/ 26242 h 1177302"/>
                <a:gd name="connsiteX41" fmla="*/ 1177100 w 1177099"/>
                <a:gd name="connsiteY41" fmla="*/ 0 h 117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7099" h="1177302">
                  <a:moveTo>
                    <a:pt x="0" y="1177303"/>
                  </a:moveTo>
                  <a:cubicBezTo>
                    <a:pt x="14288" y="1163009"/>
                    <a:pt x="13081" y="1161656"/>
                    <a:pt x="27495" y="1147363"/>
                  </a:cubicBezTo>
                  <a:cubicBezTo>
                    <a:pt x="41910" y="1133075"/>
                    <a:pt x="40449" y="1131595"/>
                    <a:pt x="54737" y="1117181"/>
                  </a:cubicBezTo>
                  <a:cubicBezTo>
                    <a:pt x="69024" y="1102766"/>
                    <a:pt x="70993" y="1104735"/>
                    <a:pt x="85280" y="1090447"/>
                  </a:cubicBezTo>
                  <a:cubicBezTo>
                    <a:pt x="99568" y="1076154"/>
                    <a:pt x="98806" y="1075290"/>
                    <a:pt x="113093" y="1061002"/>
                  </a:cubicBezTo>
                  <a:cubicBezTo>
                    <a:pt x="127381" y="1046709"/>
                    <a:pt x="126682" y="1045845"/>
                    <a:pt x="140970" y="1031558"/>
                  </a:cubicBezTo>
                  <a:cubicBezTo>
                    <a:pt x="155257" y="1017264"/>
                    <a:pt x="154114" y="1016032"/>
                    <a:pt x="168528" y="1001744"/>
                  </a:cubicBezTo>
                  <a:cubicBezTo>
                    <a:pt x="182943" y="987450"/>
                    <a:pt x="182943" y="987450"/>
                    <a:pt x="197231" y="973036"/>
                  </a:cubicBezTo>
                  <a:cubicBezTo>
                    <a:pt x="211582" y="958621"/>
                    <a:pt x="214757" y="961828"/>
                    <a:pt x="229044" y="947414"/>
                  </a:cubicBezTo>
                  <a:cubicBezTo>
                    <a:pt x="243332" y="932999"/>
                    <a:pt x="240982" y="930656"/>
                    <a:pt x="255397" y="916362"/>
                  </a:cubicBezTo>
                  <a:cubicBezTo>
                    <a:pt x="269811" y="902075"/>
                    <a:pt x="272414" y="904659"/>
                    <a:pt x="286702" y="890372"/>
                  </a:cubicBezTo>
                  <a:cubicBezTo>
                    <a:pt x="300989" y="876078"/>
                    <a:pt x="299402" y="874351"/>
                    <a:pt x="313817" y="860063"/>
                  </a:cubicBezTo>
                  <a:cubicBezTo>
                    <a:pt x="328231" y="845769"/>
                    <a:pt x="328485" y="846017"/>
                    <a:pt x="342900" y="831723"/>
                  </a:cubicBezTo>
                  <a:cubicBezTo>
                    <a:pt x="357314" y="817436"/>
                    <a:pt x="356171" y="816324"/>
                    <a:pt x="370459" y="801910"/>
                  </a:cubicBezTo>
                  <a:cubicBezTo>
                    <a:pt x="384746" y="787495"/>
                    <a:pt x="384301" y="787006"/>
                    <a:pt x="398589" y="772713"/>
                  </a:cubicBezTo>
                  <a:cubicBezTo>
                    <a:pt x="412876" y="758419"/>
                    <a:pt x="413829" y="759282"/>
                    <a:pt x="428117" y="744868"/>
                  </a:cubicBezTo>
                  <a:cubicBezTo>
                    <a:pt x="442404" y="730453"/>
                    <a:pt x="444373" y="732428"/>
                    <a:pt x="458788" y="718134"/>
                  </a:cubicBezTo>
                  <a:cubicBezTo>
                    <a:pt x="473201" y="703847"/>
                    <a:pt x="473201" y="703847"/>
                    <a:pt x="487616" y="689553"/>
                  </a:cubicBezTo>
                  <a:cubicBezTo>
                    <a:pt x="502031" y="675259"/>
                    <a:pt x="502158" y="675386"/>
                    <a:pt x="516572" y="661092"/>
                  </a:cubicBezTo>
                  <a:cubicBezTo>
                    <a:pt x="530987" y="646805"/>
                    <a:pt x="529018" y="644830"/>
                    <a:pt x="543306" y="630415"/>
                  </a:cubicBezTo>
                  <a:cubicBezTo>
                    <a:pt x="557593" y="616001"/>
                    <a:pt x="558864" y="617233"/>
                    <a:pt x="573151" y="602945"/>
                  </a:cubicBezTo>
                  <a:cubicBezTo>
                    <a:pt x="587439" y="588651"/>
                    <a:pt x="584835" y="585940"/>
                    <a:pt x="599122" y="571652"/>
                  </a:cubicBezTo>
                  <a:cubicBezTo>
                    <a:pt x="613410" y="557359"/>
                    <a:pt x="615505" y="559454"/>
                    <a:pt x="629920" y="545040"/>
                  </a:cubicBezTo>
                  <a:cubicBezTo>
                    <a:pt x="644334" y="530625"/>
                    <a:pt x="644017" y="530377"/>
                    <a:pt x="658431" y="516084"/>
                  </a:cubicBezTo>
                  <a:cubicBezTo>
                    <a:pt x="672846" y="501796"/>
                    <a:pt x="674688" y="503644"/>
                    <a:pt x="688975" y="489229"/>
                  </a:cubicBezTo>
                  <a:cubicBezTo>
                    <a:pt x="703263" y="474815"/>
                    <a:pt x="700405" y="471983"/>
                    <a:pt x="714692" y="457689"/>
                  </a:cubicBezTo>
                  <a:cubicBezTo>
                    <a:pt x="728980" y="443395"/>
                    <a:pt x="728154" y="442411"/>
                    <a:pt x="742442" y="427996"/>
                  </a:cubicBezTo>
                  <a:cubicBezTo>
                    <a:pt x="756729" y="413582"/>
                    <a:pt x="758571" y="415430"/>
                    <a:pt x="772858" y="401015"/>
                  </a:cubicBezTo>
                  <a:cubicBezTo>
                    <a:pt x="787146" y="386601"/>
                    <a:pt x="787908" y="387344"/>
                    <a:pt x="802322" y="373050"/>
                  </a:cubicBezTo>
                  <a:cubicBezTo>
                    <a:pt x="816737" y="358762"/>
                    <a:pt x="816101" y="358146"/>
                    <a:pt x="830516" y="343732"/>
                  </a:cubicBezTo>
                  <a:cubicBezTo>
                    <a:pt x="844931" y="329317"/>
                    <a:pt x="843216" y="327711"/>
                    <a:pt x="857631" y="313296"/>
                  </a:cubicBezTo>
                  <a:cubicBezTo>
                    <a:pt x="872045" y="298882"/>
                    <a:pt x="874839" y="301841"/>
                    <a:pt x="889254" y="287547"/>
                  </a:cubicBezTo>
                  <a:cubicBezTo>
                    <a:pt x="903668" y="273260"/>
                    <a:pt x="901255" y="270796"/>
                    <a:pt x="915543" y="256381"/>
                  </a:cubicBezTo>
                  <a:cubicBezTo>
                    <a:pt x="929830" y="241967"/>
                    <a:pt x="929830" y="241967"/>
                    <a:pt x="944245" y="227552"/>
                  </a:cubicBezTo>
                  <a:cubicBezTo>
                    <a:pt x="958659" y="213138"/>
                    <a:pt x="959485" y="214122"/>
                    <a:pt x="973900" y="199707"/>
                  </a:cubicBezTo>
                  <a:cubicBezTo>
                    <a:pt x="988314" y="185293"/>
                    <a:pt x="987933" y="185045"/>
                    <a:pt x="1002284" y="170631"/>
                  </a:cubicBezTo>
                  <a:cubicBezTo>
                    <a:pt x="1016571" y="156216"/>
                    <a:pt x="1017015" y="156712"/>
                    <a:pt x="1031430" y="142297"/>
                  </a:cubicBezTo>
                  <a:cubicBezTo>
                    <a:pt x="1045845" y="127883"/>
                    <a:pt x="1046099" y="128251"/>
                    <a:pt x="1060514" y="113836"/>
                  </a:cubicBezTo>
                  <a:cubicBezTo>
                    <a:pt x="1074927" y="99422"/>
                    <a:pt x="1076896" y="101397"/>
                    <a:pt x="1091311" y="87103"/>
                  </a:cubicBezTo>
                  <a:cubicBezTo>
                    <a:pt x="1105726" y="72809"/>
                    <a:pt x="1103249" y="70225"/>
                    <a:pt x="1117664" y="55931"/>
                  </a:cubicBezTo>
                  <a:cubicBezTo>
                    <a:pt x="1132077" y="41642"/>
                    <a:pt x="1131252" y="40657"/>
                    <a:pt x="1145667" y="26242"/>
                  </a:cubicBezTo>
                  <a:cubicBezTo>
                    <a:pt x="1160081" y="11828"/>
                    <a:pt x="1162685" y="14414"/>
                    <a:pt x="1177100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F48644-14C5-3884-6BFB-C3F59C843FC2}"/>
                </a:ext>
              </a:extLst>
            </p:cNvPr>
            <p:cNvSpPr/>
            <p:nvPr/>
          </p:nvSpPr>
          <p:spPr>
            <a:xfrm>
              <a:off x="10939843" y="789051"/>
              <a:ext cx="221868" cy="224840"/>
            </a:xfrm>
            <a:custGeom>
              <a:avLst/>
              <a:gdLst>
                <a:gd name="connsiteX0" fmla="*/ 221869 w 221868"/>
                <a:gd name="connsiteY0" fmla="*/ 0 h 224840"/>
                <a:gd name="connsiteX1" fmla="*/ 195389 w 221868"/>
                <a:gd name="connsiteY1" fmla="*/ 29318 h 224840"/>
                <a:gd name="connsiteX2" fmla="*/ 164973 w 221868"/>
                <a:gd name="connsiteY2" fmla="*/ 54699 h 224840"/>
                <a:gd name="connsiteX3" fmla="*/ 136969 w 221868"/>
                <a:gd name="connsiteY3" fmla="*/ 82544 h 224840"/>
                <a:gd name="connsiteX4" fmla="*/ 109664 w 221868"/>
                <a:gd name="connsiteY4" fmla="*/ 111004 h 224840"/>
                <a:gd name="connsiteX5" fmla="*/ 81661 w 221868"/>
                <a:gd name="connsiteY5" fmla="*/ 138843 h 224840"/>
                <a:gd name="connsiteX6" fmla="*/ 53339 w 221868"/>
                <a:gd name="connsiteY6" fmla="*/ 166319 h 224840"/>
                <a:gd name="connsiteX7" fmla="*/ 26225 w 221868"/>
                <a:gd name="connsiteY7" fmla="*/ 195148 h 224840"/>
                <a:gd name="connsiteX8" fmla="*/ 0 w 221868"/>
                <a:gd name="connsiteY8" fmla="*/ 224841 h 224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868" h="224840">
                  <a:moveTo>
                    <a:pt x="221869" y="0"/>
                  </a:moveTo>
                  <a:cubicBezTo>
                    <a:pt x="207963" y="13919"/>
                    <a:pt x="209296" y="15399"/>
                    <a:pt x="195389" y="29318"/>
                  </a:cubicBezTo>
                  <a:cubicBezTo>
                    <a:pt x="181483" y="43244"/>
                    <a:pt x="178879" y="40780"/>
                    <a:pt x="164973" y="54699"/>
                  </a:cubicBezTo>
                  <a:cubicBezTo>
                    <a:pt x="151002" y="68618"/>
                    <a:pt x="150939" y="68618"/>
                    <a:pt x="136969" y="82544"/>
                  </a:cubicBezTo>
                  <a:cubicBezTo>
                    <a:pt x="123062" y="96463"/>
                    <a:pt x="123571" y="97079"/>
                    <a:pt x="109664" y="111004"/>
                  </a:cubicBezTo>
                  <a:cubicBezTo>
                    <a:pt x="95694" y="124924"/>
                    <a:pt x="95567" y="124924"/>
                    <a:pt x="81661" y="138843"/>
                  </a:cubicBezTo>
                  <a:cubicBezTo>
                    <a:pt x="67754" y="152768"/>
                    <a:pt x="67246" y="152400"/>
                    <a:pt x="53339" y="166319"/>
                  </a:cubicBezTo>
                  <a:cubicBezTo>
                    <a:pt x="39433" y="180238"/>
                    <a:pt x="40132" y="181102"/>
                    <a:pt x="26225" y="195148"/>
                  </a:cubicBezTo>
                  <a:cubicBezTo>
                    <a:pt x="12319" y="209194"/>
                    <a:pt x="14033" y="210915"/>
                    <a:pt x="0" y="224841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7BB81FFF-1A67-36F3-54F0-A6F10FB6FE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43502" y="4927214"/>
            <a:ext cx="1604188" cy="118119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C9069FC-638C-8501-12F4-EA92709ED8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497379" y="2889199"/>
            <a:ext cx="2335600" cy="2881419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979094B-0469-5781-AE1A-2B18B92862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188191" y="1858761"/>
            <a:ext cx="1413139" cy="947445"/>
          </a:xfrm>
          <a:prstGeom prst="rect">
            <a:avLst/>
          </a:prstGeom>
        </p:spPr>
      </p:pic>
      <p:grpSp>
        <p:nvGrpSpPr>
          <p:cNvPr id="48" name="Graphic 7">
            <a:extLst>
              <a:ext uri="{FF2B5EF4-FFF2-40B4-BE49-F238E27FC236}">
                <a16:creationId xmlns:a16="http://schemas.microsoft.com/office/drawing/2014/main" id="{860576DC-561D-BC39-8F9D-3B9C27A9ECAF}"/>
              </a:ext>
            </a:extLst>
          </p:cNvPr>
          <p:cNvGrpSpPr/>
          <p:nvPr/>
        </p:nvGrpSpPr>
        <p:grpSpPr>
          <a:xfrm>
            <a:off x="5049587" y="2725308"/>
            <a:ext cx="1475545" cy="3325114"/>
            <a:chOff x="5791524" y="1498676"/>
            <a:chExt cx="1802287" cy="4061421"/>
          </a:xfrm>
          <a:noFill/>
        </p:grpSpPr>
        <p:sp>
          <p:nvSpPr>
            <p:cNvPr id="49" name="Freeform: Shape 60">
              <a:extLst>
                <a:ext uri="{FF2B5EF4-FFF2-40B4-BE49-F238E27FC236}">
                  <a16:creationId xmlns:a16="http://schemas.microsoft.com/office/drawing/2014/main" id="{529C53F9-95FC-677A-D582-0C3FB7BF167B}"/>
                </a:ext>
              </a:extLst>
            </p:cNvPr>
            <p:cNvSpPr/>
            <p:nvPr/>
          </p:nvSpPr>
          <p:spPr>
            <a:xfrm>
              <a:off x="6195677" y="2863136"/>
              <a:ext cx="340213" cy="220266"/>
            </a:xfrm>
            <a:custGeom>
              <a:avLst/>
              <a:gdLst>
                <a:gd name="connsiteX0" fmla="*/ 335869 w 340213"/>
                <a:gd name="connsiteY0" fmla="*/ 6530 h 220266"/>
                <a:gd name="connsiteX1" fmla="*/ 292244 w 340213"/>
                <a:gd name="connsiteY1" fmla="*/ 9863 h 220266"/>
                <a:gd name="connsiteX2" fmla="*/ 250017 w 340213"/>
                <a:gd name="connsiteY2" fmla="*/ 9368 h 220266"/>
                <a:gd name="connsiteX3" fmla="*/ 207789 w 340213"/>
                <a:gd name="connsiteY3" fmla="*/ 6282 h 220266"/>
                <a:gd name="connsiteX4" fmla="*/ 165435 w 340213"/>
                <a:gd name="connsiteY4" fmla="*/ 7266 h 220266"/>
                <a:gd name="connsiteX5" fmla="*/ 122420 w 340213"/>
                <a:gd name="connsiteY5" fmla="*/ 6530 h 220266"/>
                <a:gd name="connsiteX6" fmla="*/ 103027 w 340213"/>
                <a:gd name="connsiteY6" fmla="*/ 41607 h 220266"/>
                <a:gd name="connsiteX7" fmla="*/ 84377 w 340213"/>
                <a:gd name="connsiteY7" fmla="*/ 76316 h 220266"/>
                <a:gd name="connsiteX8" fmla="*/ 63130 w 340213"/>
                <a:gd name="connsiteY8" fmla="*/ 109425 h 220266"/>
                <a:gd name="connsiteX9" fmla="*/ 45960 w 340213"/>
                <a:gd name="connsiteY9" fmla="*/ 144998 h 220266"/>
                <a:gd name="connsiteX10" fmla="*/ 23849 w 340213"/>
                <a:gd name="connsiteY10" fmla="*/ 177732 h 220266"/>
                <a:gd name="connsiteX11" fmla="*/ 2602 w 340213"/>
                <a:gd name="connsiteY11" fmla="*/ 213673 h 220266"/>
                <a:gd name="connsiteX12" fmla="*/ 44849 w 340213"/>
                <a:gd name="connsiteY12" fmla="*/ 209603 h 220266"/>
                <a:gd name="connsiteX13" fmla="*/ 84872 w 340213"/>
                <a:gd name="connsiteY13" fmla="*/ 211330 h 220266"/>
                <a:gd name="connsiteX14" fmla="*/ 124890 w 340213"/>
                <a:gd name="connsiteY14" fmla="*/ 213552 h 220266"/>
                <a:gd name="connsiteX15" fmla="*/ 164927 w 340213"/>
                <a:gd name="connsiteY15" fmla="*/ 214911 h 220266"/>
                <a:gd name="connsiteX16" fmla="*/ 205059 w 340213"/>
                <a:gd name="connsiteY16" fmla="*/ 213432 h 220266"/>
                <a:gd name="connsiteX17" fmla="*/ 244810 w 340213"/>
                <a:gd name="connsiteY17" fmla="*/ 211825 h 220266"/>
                <a:gd name="connsiteX18" fmla="*/ 260876 w 340213"/>
                <a:gd name="connsiteY18" fmla="*/ 178716 h 220266"/>
                <a:gd name="connsiteX19" fmla="*/ 276306 w 340213"/>
                <a:gd name="connsiteY19" fmla="*/ 144871 h 220266"/>
                <a:gd name="connsiteX20" fmla="*/ 291292 w 340213"/>
                <a:gd name="connsiteY20" fmla="*/ 110784 h 220266"/>
                <a:gd name="connsiteX21" fmla="*/ 305833 w 340213"/>
                <a:gd name="connsiteY21" fmla="*/ 76564 h 220266"/>
                <a:gd name="connsiteX22" fmla="*/ 320946 w 340213"/>
                <a:gd name="connsiteY22" fmla="*/ 42966 h 220266"/>
                <a:gd name="connsiteX23" fmla="*/ 335742 w 340213"/>
                <a:gd name="connsiteY23" fmla="*/ 6650 h 220266"/>
                <a:gd name="connsiteX24" fmla="*/ 335869 w 340213"/>
                <a:gd name="connsiteY24" fmla="*/ 6530 h 220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40213" h="220266">
                  <a:moveTo>
                    <a:pt x="335869" y="6530"/>
                  </a:moveTo>
                  <a:cubicBezTo>
                    <a:pt x="322661" y="-9904"/>
                    <a:pt x="313390" y="9863"/>
                    <a:pt x="292244" y="9863"/>
                  </a:cubicBezTo>
                  <a:cubicBezTo>
                    <a:pt x="271163" y="9863"/>
                    <a:pt x="271163" y="9368"/>
                    <a:pt x="250017" y="9368"/>
                  </a:cubicBezTo>
                  <a:cubicBezTo>
                    <a:pt x="228871" y="9368"/>
                    <a:pt x="228871" y="6282"/>
                    <a:pt x="207789" y="6282"/>
                  </a:cubicBezTo>
                  <a:cubicBezTo>
                    <a:pt x="186644" y="6282"/>
                    <a:pt x="186644" y="7266"/>
                    <a:pt x="165435" y="7266"/>
                  </a:cubicBezTo>
                  <a:cubicBezTo>
                    <a:pt x="144163" y="7266"/>
                    <a:pt x="140949" y="-3726"/>
                    <a:pt x="122420" y="6530"/>
                  </a:cubicBezTo>
                  <a:cubicBezTo>
                    <a:pt x="105129" y="16036"/>
                    <a:pt x="112908" y="24564"/>
                    <a:pt x="103027" y="41607"/>
                  </a:cubicBezTo>
                  <a:cubicBezTo>
                    <a:pt x="93147" y="58657"/>
                    <a:pt x="94137" y="59273"/>
                    <a:pt x="84377" y="76316"/>
                  </a:cubicBezTo>
                  <a:cubicBezTo>
                    <a:pt x="74617" y="93366"/>
                    <a:pt x="72890" y="92502"/>
                    <a:pt x="63130" y="109425"/>
                  </a:cubicBezTo>
                  <a:cubicBezTo>
                    <a:pt x="53370" y="126348"/>
                    <a:pt x="55840" y="127948"/>
                    <a:pt x="45960" y="144998"/>
                  </a:cubicBezTo>
                  <a:cubicBezTo>
                    <a:pt x="36079" y="162041"/>
                    <a:pt x="33729" y="160682"/>
                    <a:pt x="23849" y="177732"/>
                  </a:cubicBezTo>
                  <a:cubicBezTo>
                    <a:pt x="13968" y="194775"/>
                    <a:pt x="-7399" y="196750"/>
                    <a:pt x="2602" y="213673"/>
                  </a:cubicBezTo>
                  <a:cubicBezTo>
                    <a:pt x="12609" y="230596"/>
                    <a:pt x="24840" y="209603"/>
                    <a:pt x="44849" y="209603"/>
                  </a:cubicBezTo>
                  <a:cubicBezTo>
                    <a:pt x="64857" y="209603"/>
                    <a:pt x="64857" y="211330"/>
                    <a:pt x="84872" y="211330"/>
                  </a:cubicBezTo>
                  <a:cubicBezTo>
                    <a:pt x="104881" y="211330"/>
                    <a:pt x="104881" y="213552"/>
                    <a:pt x="124890" y="213552"/>
                  </a:cubicBezTo>
                  <a:cubicBezTo>
                    <a:pt x="144906" y="213552"/>
                    <a:pt x="144906" y="214911"/>
                    <a:pt x="164927" y="214911"/>
                  </a:cubicBezTo>
                  <a:cubicBezTo>
                    <a:pt x="184930" y="214911"/>
                    <a:pt x="184930" y="213432"/>
                    <a:pt x="205059" y="213432"/>
                  </a:cubicBezTo>
                  <a:cubicBezTo>
                    <a:pt x="225188" y="213432"/>
                    <a:pt x="227792" y="222449"/>
                    <a:pt x="244810" y="211825"/>
                  </a:cubicBezTo>
                  <a:cubicBezTo>
                    <a:pt x="260621" y="202065"/>
                    <a:pt x="253509" y="195766"/>
                    <a:pt x="260876" y="178716"/>
                  </a:cubicBezTo>
                  <a:cubicBezTo>
                    <a:pt x="268305" y="161673"/>
                    <a:pt x="268940" y="161920"/>
                    <a:pt x="276306" y="144871"/>
                  </a:cubicBezTo>
                  <a:cubicBezTo>
                    <a:pt x="283736" y="127827"/>
                    <a:pt x="283863" y="127827"/>
                    <a:pt x="291292" y="110784"/>
                  </a:cubicBezTo>
                  <a:cubicBezTo>
                    <a:pt x="298721" y="93734"/>
                    <a:pt x="298468" y="93614"/>
                    <a:pt x="305833" y="76564"/>
                  </a:cubicBezTo>
                  <a:cubicBezTo>
                    <a:pt x="313263" y="59520"/>
                    <a:pt x="309453" y="57666"/>
                    <a:pt x="320946" y="42966"/>
                  </a:cubicBezTo>
                  <a:cubicBezTo>
                    <a:pt x="334154" y="26043"/>
                    <a:pt x="347363" y="21103"/>
                    <a:pt x="335742" y="6650"/>
                  </a:cubicBezTo>
                  <a:lnTo>
                    <a:pt x="335869" y="6530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61">
              <a:extLst>
                <a:ext uri="{FF2B5EF4-FFF2-40B4-BE49-F238E27FC236}">
                  <a16:creationId xmlns:a16="http://schemas.microsoft.com/office/drawing/2014/main" id="{16DCECB5-4E9E-D39B-FEF8-9BA2898314A4}"/>
                </a:ext>
              </a:extLst>
            </p:cNvPr>
            <p:cNvSpPr/>
            <p:nvPr/>
          </p:nvSpPr>
          <p:spPr>
            <a:xfrm>
              <a:off x="6621843" y="3021723"/>
              <a:ext cx="4317" cy="161937"/>
            </a:xfrm>
            <a:custGeom>
              <a:avLst/>
              <a:gdLst>
                <a:gd name="connsiteX0" fmla="*/ 508 w 4317"/>
                <a:gd name="connsiteY0" fmla="*/ 161938 h 161937"/>
                <a:gd name="connsiteX1" fmla="*/ 4318 w 4317"/>
                <a:gd name="connsiteY1" fmla="*/ 121545 h 161937"/>
                <a:gd name="connsiteX2" fmla="*/ 0 w 4317"/>
                <a:gd name="connsiteY2" fmla="*/ 81026 h 161937"/>
                <a:gd name="connsiteX3" fmla="*/ 1143 w 4317"/>
                <a:gd name="connsiteY3" fmla="*/ 40513 h 161937"/>
                <a:gd name="connsiteX4" fmla="*/ 3873 w 4317"/>
                <a:gd name="connsiteY4" fmla="*/ 0 h 16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7" h="161937">
                  <a:moveTo>
                    <a:pt x="508" y="161938"/>
                  </a:moveTo>
                  <a:cubicBezTo>
                    <a:pt x="508" y="141681"/>
                    <a:pt x="4318" y="141681"/>
                    <a:pt x="4318" y="121545"/>
                  </a:cubicBezTo>
                  <a:cubicBezTo>
                    <a:pt x="4318" y="101410"/>
                    <a:pt x="0" y="101289"/>
                    <a:pt x="0" y="81026"/>
                  </a:cubicBezTo>
                  <a:cubicBezTo>
                    <a:pt x="0" y="60770"/>
                    <a:pt x="1143" y="60770"/>
                    <a:pt x="1143" y="40513"/>
                  </a:cubicBezTo>
                  <a:cubicBezTo>
                    <a:pt x="1143" y="20257"/>
                    <a:pt x="3873" y="20257"/>
                    <a:pt x="3873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62">
              <a:extLst>
                <a:ext uri="{FF2B5EF4-FFF2-40B4-BE49-F238E27FC236}">
                  <a16:creationId xmlns:a16="http://schemas.microsoft.com/office/drawing/2014/main" id="{9DEB2210-B835-2B2C-DAF5-A95DCC59DAA4}"/>
                </a:ext>
              </a:extLst>
            </p:cNvPr>
            <p:cNvSpPr/>
            <p:nvPr/>
          </p:nvSpPr>
          <p:spPr>
            <a:xfrm>
              <a:off x="6461759" y="3244684"/>
              <a:ext cx="168470" cy="170860"/>
            </a:xfrm>
            <a:custGeom>
              <a:avLst/>
              <a:gdLst>
                <a:gd name="connsiteX0" fmla="*/ 0 w 168470"/>
                <a:gd name="connsiteY0" fmla="*/ 168237 h 170860"/>
                <a:gd name="connsiteX1" fmla="*/ 40513 w 168470"/>
                <a:gd name="connsiteY1" fmla="*/ 166631 h 170860"/>
                <a:gd name="connsiteX2" fmla="*/ 81026 w 168470"/>
                <a:gd name="connsiteY2" fmla="*/ 166631 h 170860"/>
                <a:gd name="connsiteX3" fmla="*/ 121666 w 168470"/>
                <a:gd name="connsiteY3" fmla="*/ 164160 h 170860"/>
                <a:gd name="connsiteX4" fmla="*/ 160972 w 168470"/>
                <a:gd name="connsiteY4" fmla="*/ 164528 h 170860"/>
                <a:gd name="connsiteX5" fmla="*/ 165036 w 168470"/>
                <a:gd name="connsiteY5" fmla="*/ 124384 h 170860"/>
                <a:gd name="connsiteX6" fmla="*/ 161099 w 168470"/>
                <a:gd name="connsiteY6" fmla="*/ 83007 h 170860"/>
                <a:gd name="connsiteX7" fmla="*/ 164274 w 168470"/>
                <a:gd name="connsiteY7" fmla="*/ 41504 h 170860"/>
                <a:gd name="connsiteX8" fmla="*/ 161290 w 168470"/>
                <a:gd name="connsiteY8" fmla="*/ 0 h 17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470" h="170860">
                  <a:moveTo>
                    <a:pt x="0" y="168237"/>
                  </a:moveTo>
                  <a:cubicBezTo>
                    <a:pt x="20257" y="167989"/>
                    <a:pt x="20257" y="166878"/>
                    <a:pt x="40513" y="166631"/>
                  </a:cubicBezTo>
                  <a:cubicBezTo>
                    <a:pt x="60770" y="166383"/>
                    <a:pt x="60770" y="166878"/>
                    <a:pt x="81026" y="166631"/>
                  </a:cubicBezTo>
                  <a:cubicBezTo>
                    <a:pt x="101283" y="166383"/>
                    <a:pt x="101283" y="164408"/>
                    <a:pt x="121666" y="164160"/>
                  </a:cubicBezTo>
                  <a:cubicBezTo>
                    <a:pt x="142049" y="163912"/>
                    <a:pt x="146876" y="179108"/>
                    <a:pt x="160972" y="164528"/>
                  </a:cubicBezTo>
                  <a:cubicBezTo>
                    <a:pt x="175006" y="149955"/>
                    <a:pt x="165036" y="145136"/>
                    <a:pt x="165036" y="124384"/>
                  </a:cubicBezTo>
                  <a:cubicBezTo>
                    <a:pt x="165036" y="103632"/>
                    <a:pt x="161099" y="103632"/>
                    <a:pt x="161099" y="83007"/>
                  </a:cubicBezTo>
                  <a:cubicBezTo>
                    <a:pt x="161099" y="62376"/>
                    <a:pt x="164274" y="62256"/>
                    <a:pt x="164274" y="41504"/>
                  </a:cubicBezTo>
                  <a:cubicBezTo>
                    <a:pt x="164274" y="20752"/>
                    <a:pt x="161290" y="20752"/>
                    <a:pt x="16129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63">
              <a:extLst>
                <a:ext uri="{FF2B5EF4-FFF2-40B4-BE49-F238E27FC236}">
                  <a16:creationId xmlns:a16="http://schemas.microsoft.com/office/drawing/2014/main" id="{12104DB9-4981-D458-3089-474649CCB705}"/>
                </a:ext>
              </a:extLst>
            </p:cNvPr>
            <p:cNvSpPr/>
            <p:nvPr/>
          </p:nvSpPr>
          <p:spPr>
            <a:xfrm>
              <a:off x="6236592" y="3076936"/>
              <a:ext cx="182304" cy="343470"/>
            </a:xfrm>
            <a:custGeom>
              <a:avLst/>
              <a:gdLst>
                <a:gd name="connsiteX0" fmla="*/ 7280 w 182304"/>
                <a:gd name="connsiteY0" fmla="*/ 0 h 343470"/>
                <a:gd name="connsiteX1" fmla="*/ 11236 w 182304"/>
                <a:gd name="connsiteY1" fmla="*/ 41872 h 343470"/>
                <a:gd name="connsiteX2" fmla="*/ 7032 w 182304"/>
                <a:gd name="connsiteY2" fmla="*/ 83750 h 343470"/>
                <a:gd name="connsiteX3" fmla="*/ 11357 w 182304"/>
                <a:gd name="connsiteY3" fmla="*/ 125622 h 343470"/>
                <a:gd name="connsiteX4" fmla="*/ 11236 w 182304"/>
                <a:gd name="connsiteY4" fmla="*/ 167500 h 343470"/>
                <a:gd name="connsiteX5" fmla="*/ 8391 w 182304"/>
                <a:gd name="connsiteY5" fmla="*/ 209372 h 343470"/>
                <a:gd name="connsiteX6" fmla="*/ 10124 w 182304"/>
                <a:gd name="connsiteY6" fmla="*/ 251244 h 343470"/>
                <a:gd name="connsiteX7" fmla="*/ 5800 w 182304"/>
                <a:gd name="connsiteY7" fmla="*/ 293243 h 343470"/>
                <a:gd name="connsiteX8" fmla="*/ 7032 w 182304"/>
                <a:gd name="connsiteY8" fmla="*/ 336728 h 343470"/>
                <a:gd name="connsiteX9" fmla="*/ 51876 w 182304"/>
                <a:gd name="connsiteY9" fmla="*/ 337712 h 343470"/>
                <a:gd name="connsiteX10" fmla="*/ 95354 w 182304"/>
                <a:gd name="connsiteY10" fmla="*/ 332403 h 343470"/>
                <a:gd name="connsiteX11" fmla="*/ 138807 w 182304"/>
                <a:gd name="connsiteY11" fmla="*/ 332772 h 343470"/>
                <a:gd name="connsiteX12" fmla="*/ 182305 w 182304"/>
                <a:gd name="connsiteY12" fmla="*/ 332772 h 34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2304" h="343470">
                  <a:moveTo>
                    <a:pt x="7280" y="0"/>
                  </a:moveTo>
                  <a:cubicBezTo>
                    <a:pt x="7280" y="20999"/>
                    <a:pt x="11236" y="20999"/>
                    <a:pt x="11236" y="41872"/>
                  </a:cubicBezTo>
                  <a:cubicBezTo>
                    <a:pt x="11236" y="62751"/>
                    <a:pt x="7032" y="62871"/>
                    <a:pt x="7032" y="83750"/>
                  </a:cubicBezTo>
                  <a:cubicBezTo>
                    <a:pt x="7032" y="104622"/>
                    <a:pt x="11357" y="104622"/>
                    <a:pt x="11357" y="125622"/>
                  </a:cubicBezTo>
                  <a:cubicBezTo>
                    <a:pt x="11357" y="146621"/>
                    <a:pt x="11236" y="146621"/>
                    <a:pt x="11236" y="167500"/>
                  </a:cubicBezTo>
                  <a:cubicBezTo>
                    <a:pt x="11236" y="188373"/>
                    <a:pt x="8391" y="188494"/>
                    <a:pt x="8391" y="209372"/>
                  </a:cubicBezTo>
                  <a:cubicBezTo>
                    <a:pt x="8391" y="230244"/>
                    <a:pt x="10124" y="230372"/>
                    <a:pt x="10124" y="251244"/>
                  </a:cubicBezTo>
                  <a:cubicBezTo>
                    <a:pt x="10124" y="272123"/>
                    <a:pt x="5800" y="272243"/>
                    <a:pt x="5800" y="293243"/>
                  </a:cubicBezTo>
                  <a:cubicBezTo>
                    <a:pt x="5800" y="314242"/>
                    <a:pt x="-8036" y="322148"/>
                    <a:pt x="7032" y="336728"/>
                  </a:cubicBezTo>
                  <a:cubicBezTo>
                    <a:pt x="22107" y="351301"/>
                    <a:pt x="30133" y="337712"/>
                    <a:pt x="51876" y="337712"/>
                  </a:cubicBezTo>
                  <a:cubicBezTo>
                    <a:pt x="73612" y="337712"/>
                    <a:pt x="73612" y="332403"/>
                    <a:pt x="95354" y="332403"/>
                  </a:cubicBezTo>
                  <a:cubicBezTo>
                    <a:pt x="117090" y="332403"/>
                    <a:pt x="117090" y="332772"/>
                    <a:pt x="138807" y="332772"/>
                  </a:cubicBezTo>
                  <a:cubicBezTo>
                    <a:pt x="160588" y="332772"/>
                    <a:pt x="160588" y="332772"/>
                    <a:pt x="182305" y="33277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FD57754-B265-B813-CB1B-26F7B12B2BE4}"/>
                </a:ext>
              </a:extLst>
            </p:cNvPr>
            <p:cNvSpPr/>
            <p:nvPr/>
          </p:nvSpPr>
          <p:spPr>
            <a:xfrm>
              <a:off x="6530593" y="2870530"/>
              <a:ext cx="120396" cy="180835"/>
            </a:xfrm>
            <a:custGeom>
              <a:avLst/>
              <a:gdLst>
                <a:gd name="connsiteX0" fmla="*/ 0 w 120396"/>
                <a:gd name="connsiteY0" fmla="*/ 0 h 180835"/>
                <a:gd name="connsiteX1" fmla="*/ 25147 w 120396"/>
                <a:gd name="connsiteY1" fmla="*/ 35325 h 180835"/>
                <a:gd name="connsiteX2" fmla="*/ 47499 w 120396"/>
                <a:gd name="connsiteY2" fmla="*/ 72631 h 180835"/>
                <a:gd name="connsiteX3" fmla="*/ 70866 w 120396"/>
                <a:gd name="connsiteY3" fmla="*/ 109315 h 180835"/>
                <a:gd name="connsiteX4" fmla="*/ 95441 w 120396"/>
                <a:gd name="connsiteY4" fmla="*/ 145263 h 180835"/>
                <a:gd name="connsiteX5" fmla="*/ 120397 w 120396"/>
                <a:gd name="connsiteY5" fmla="*/ 180835 h 18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396" h="180835">
                  <a:moveTo>
                    <a:pt x="0" y="0"/>
                  </a:moveTo>
                  <a:cubicBezTo>
                    <a:pt x="12065" y="18034"/>
                    <a:pt x="13208" y="17291"/>
                    <a:pt x="25147" y="35325"/>
                  </a:cubicBezTo>
                  <a:cubicBezTo>
                    <a:pt x="37148" y="53359"/>
                    <a:pt x="35433" y="54597"/>
                    <a:pt x="47499" y="72631"/>
                  </a:cubicBezTo>
                  <a:cubicBezTo>
                    <a:pt x="59627" y="90665"/>
                    <a:pt x="58738" y="91281"/>
                    <a:pt x="70866" y="109315"/>
                  </a:cubicBezTo>
                  <a:cubicBezTo>
                    <a:pt x="82995" y="127349"/>
                    <a:pt x="83376" y="127102"/>
                    <a:pt x="95441" y="145263"/>
                  </a:cubicBezTo>
                  <a:cubicBezTo>
                    <a:pt x="107569" y="163417"/>
                    <a:pt x="108331" y="162801"/>
                    <a:pt x="120397" y="18083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F54FCB7-793E-C14C-787A-F058AE38DB2E}"/>
                </a:ext>
              </a:extLst>
            </p:cNvPr>
            <p:cNvSpPr/>
            <p:nvPr/>
          </p:nvSpPr>
          <p:spPr>
            <a:xfrm>
              <a:off x="6459156" y="3037408"/>
              <a:ext cx="5207" cy="374897"/>
            </a:xfrm>
            <a:custGeom>
              <a:avLst/>
              <a:gdLst>
                <a:gd name="connsiteX0" fmla="*/ 4699 w 5207"/>
                <a:gd name="connsiteY0" fmla="*/ 374897 h 374897"/>
                <a:gd name="connsiteX1" fmla="*/ 4001 w 5207"/>
                <a:gd name="connsiteY1" fmla="*/ 333267 h 374897"/>
                <a:gd name="connsiteX2" fmla="*/ 2984 w 5207"/>
                <a:gd name="connsiteY2" fmla="*/ 291636 h 374897"/>
                <a:gd name="connsiteX3" fmla="*/ 1905 w 5207"/>
                <a:gd name="connsiteY3" fmla="*/ 250012 h 374897"/>
                <a:gd name="connsiteX4" fmla="*/ 1270 w 5207"/>
                <a:gd name="connsiteY4" fmla="*/ 208382 h 374897"/>
                <a:gd name="connsiteX5" fmla="*/ 1397 w 5207"/>
                <a:gd name="connsiteY5" fmla="*/ 166757 h 374897"/>
                <a:gd name="connsiteX6" fmla="*/ 2858 w 5207"/>
                <a:gd name="connsiteY6" fmla="*/ 125127 h 374897"/>
                <a:gd name="connsiteX7" fmla="*/ 5207 w 5207"/>
                <a:gd name="connsiteY7" fmla="*/ 83502 h 374897"/>
                <a:gd name="connsiteX8" fmla="*/ 3239 w 5207"/>
                <a:gd name="connsiteY8" fmla="*/ 41751 h 374897"/>
                <a:gd name="connsiteX9" fmla="*/ 0 w 5207"/>
                <a:gd name="connsiteY9" fmla="*/ 0 h 37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07" h="374897">
                  <a:moveTo>
                    <a:pt x="4699" y="374897"/>
                  </a:moveTo>
                  <a:cubicBezTo>
                    <a:pt x="4699" y="354019"/>
                    <a:pt x="4001" y="354019"/>
                    <a:pt x="4001" y="333267"/>
                  </a:cubicBezTo>
                  <a:cubicBezTo>
                    <a:pt x="4001" y="312515"/>
                    <a:pt x="2984" y="312395"/>
                    <a:pt x="2984" y="291636"/>
                  </a:cubicBezTo>
                  <a:cubicBezTo>
                    <a:pt x="2984" y="270885"/>
                    <a:pt x="1905" y="270764"/>
                    <a:pt x="1905" y="250012"/>
                  </a:cubicBezTo>
                  <a:cubicBezTo>
                    <a:pt x="1905" y="229260"/>
                    <a:pt x="1270" y="229260"/>
                    <a:pt x="1270" y="208382"/>
                  </a:cubicBezTo>
                  <a:cubicBezTo>
                    <a:pt x="1270" y="187509"/>
                    <a:pt x="1397" y="187509"/>
                    <a:pt x="1397" y="166757"/>
                  </a:cubicBezTo>
                  <a:cubicBezTo>
                    <a:pt x="1397" y="146006"/>
                    <a:pt x="2858" y="145879"/>
                    <a:pt x="2858" y="125127"/>
                  </a:cubicBezTo>
                  <a:cubicBezTo>
                    <a:pt x="2858" y="104375"/>
                    <a:pt x="5207" y="104254"/>
                    <a:pt x="5207" y="83502"/>
                  </a:cubicBezTo>
                  <a:cubicBezTo>
                    <a:pt x="5207" y="62751"/>
                    <a:pt x="3239" y="62624"/>
                    <a:pt x="3239" y="41751"/>
                  </a:cubicBezTo>
                  <a:cubicBezTo>
                    <a:pt x="3239" y="20879"/>
                    <a:pt x="0" y="20879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80127B7-C73A-9E89-18F9-5F9C9C7E88D6}"/>
                </a:ext>
              </a:extLst>
            </p:cNvPr>
            <p:cNvSpPr/>
            <p:nvPr/>
          </p:nvSpPr>
          <p:spPr>
            <a:xfrm>
              <a:off x="6535054" y="3206140"/>
              <a:ext cx="186150" cy="41256"/>
            </a:xfrm>
            <a:custGeom>
              <a:avLst/>
              <a:gdLst>
                <a:gd name="connsiteX0" fmla="*/ 177721 w 186150"/>
                <a:gd name="connsiteY0" fmla="*/ 40272 h 41256"/>
                <a:gd name="connsiteX1" fmla="*/ 135366 w 186150"/>
                <a:gd name="connsiteY1" fmla="*/ 41256 h 41256"/>
                <a:gd name="connsiteX2" fmla="*/ 92885 w 186150"/>
                <a:gd name="connsiteY2" fmla="*/ 39033 h 41256"/>
                <a:gd name="connsiteX3" fmla="*/ 50339 w 186150"/>
                <a:gd name="connsiteY3" fmla="*/ 39529 h 41256"/>
                <a:gd name="connsiteX4" fmla="*/ 7858 w 186150"/>
                <a:gd name="connsiteY4" fmla="*/ 40392 h 41256"/>
                <a:gd name="connsiteX5" fmla="*/ 7858 w 186150"/>
                <a:gd name="connsiteY5" fmla="*/ 2718 h 41256"/>
                <a:gd name="connsiteX6" fmla="*/ 50213 w 186150"/>
                <a:gd name="connsiteY6" fmla="*/ 1975 h 41256"/>
                <a:gd name="connsiteX7" fmla="*/ 92758 w 186150"/>
                <a:gd name="connsiteY7" fmla="*/ 864 h 41256"/>
                <a:gd name="connsiteX8" fmla="*/ 135239 w 186150"/>
                <a:gd name="connsiteY8" fmla="*/ 1238 h 41256"/>
                <a:gd name="connsiteX9" fmla="*/ 177721 w 186150"/>
                <a:gd name="connsiteY9" fmla="*/ 0 h 41256"/>
                <a:gd name="connsiteX10" fmla="*/ 177721 w 186150"/>
                <a:gd name="connsiteY10" fmla="*/ 40392 h 41256"/>
                <a:gd name="connsiteX11" fmla="*/ 177721 w 186150"/>
                <a:gd name="connsiteY11" fmla="*/ 40272 h 4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150" h="41256">
                  <a:moveTo>
                    <a:pt x="177721" y="40272"/>
                  </a:moveTo>
                  <a:cubicBezTo>
                    <a:pt x="156448" y="40272"/>
                    <a:pt x="156448" y="41256"/>
                    <a:pt x="135366" y="41256"/>
                  </a:cubicBezTo>
                  <a:cubicBezTo>
                    <a:pt x="114221" y="41256"/>
                    <a:pt x="114094" y="39033"/>
                    <a:pt x="92885" y="39033"/>
                  </a:cubicBezTo>
                  <a:cubicBezTo>
                    <a:pt x="71612" y="39033"/>
                    <a:pt x="71612" y="39529"/>
                    <a:pt x="50339" y="39529"/>
                  </a:cubicBezTo>
                  <a:cubicBezTo>
                    <a:pt x="29131" y="39529"/>
                    <a:pt x="29131" y="40392"/>
                    <a:pt x="7858" y="40392"/>
                  </a:cubicBezTo>
                  <a:cubicBezTo>
                    <a:pt x="-2619" y="40392"/>
                    <a:pt x="-2619" y="2718"/>
                    <a:pt x="7858" y="2718"/>
                  </a:cubicBezTo>
                  <a:cubicBezTo>
                    <a:pt x="29131" y="2718"/>
                    <a:pt x="29131" y="1975"/>
                    <a:pt x="50213" y="1975"/>
                  </a:cubicBezTo>
                  <a:cubicBezTo>
                    <a:pt x="71358" y="1975"/>
                    <a:pt x="71485" y="864"/>
                    <a:pt x="92758" y="864"/>
                  </a:cubicBezTo>
                  <a:cubicBezTo>
                    <a:pt x="113966" y="864"/>
                    <a:pt x="113966" y="1238"/>
                    <a:pt x="135239" y="1238"/>
                  </a:cubicBezTo>
                  <a:cubicBezTo>
                    <a:pt x="156448" y="1238"/>
                    <a:pt x="156448" y="0"/>
                    <a:pt x="177721" y="0"/>
                  </a:cubicBezTo>
                  <a:cubicBezTo>
                    <a:pt x="188960" y="0"/>
                    <a:pt x="188960" y="40392"/>
                    <a:pt x="177721" y="40392"/>
                  </a:cubicBezTo>
                  <a:lnTo>
                    <a:pt x="177721" y="40272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D712076-4967-E201-DCEB-C4410A8A458E}"/>
                </a:ext>
              </a:extLst>
            </p:cNvPr>
            <p:cNvSpPr/>
            <p:nvPr/>
          </p:nvSpPr>
          <p:spPr>
            <a:xfrm>
              <a:off x="6525709" y="3054331"/>
              <a:ext cx="39483" cy="122656"/>
            </a:xfrm>
            <a:custGeom>
              <a:avLst/>
              <a:gdLst>
                <a:gd name="connsiteX0" fmla="*/ 38921 w 39483"/>
                <a:gd name="connsiteY0" fmla="*/ 62751 h 122656"/>
                <a:gd name="connsiteX1" fmla="*/ 38476 w 39483"/>
                <a:gd name="connsiteY1" fmla="*/ 97460 h 122656"/>
                <a:gd name="connsiteX2" fmla="*/ 20569 w 39483"/>
                <a:gd name="connsiteY2" fmla="*/ 122656 h 122656"/>
                <a:gd name="connsiteX3" fmla="*/ 3742 w 39483"/>
                <a:gd name="connsiteY3" fmla="*/ 97212 h 122656"/>
                <a:gd name="connsiteX4" fmla="*/ 59 w 39483"/>
                <a:gd name="connsiteY4" fmla="*/ 62751 h 122656"/>
                <a:gd name="connsiteX5" fmla="*/ 1519 w 39483"/>
                <a:gd name="connsiteY5" fmla="*/ 27794 h 122656"/>
                <a:gd name="connsiteX6" fmla="*/ 20569 w 39483"/>
                <a:gd name="connsiteY6" fmla="*/ 0 h 122656"/>
                <a:gd name="connsiteX7" fmla="*/ 37079 w 39483"/>
                <a:gd name="connsiteY7" fmla="*/ 28283 h 122656"/>
                <a:gd name="connsiteX8" fmla="*/ 39047 w 39483"/>
                <a:gd name="connsiteY8" fmla="*/ 62751 h 122656"/>
                <a:gd name="connsiteX9" fmla="*/ 38921 w 39483"/>
                <a:gd name="connsiteY9" fmla="*/ 62751 h 12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483" h="122656">
                  <a:moveTo>
                    <a:pt x="38921" y="62751"/>
                  </a:moveTo>
                  <a:cubicBezTo>
                    <a:pt x="38921" y="75470"/>
                    <a:pt x="40445" y="87579"/>
                    <a:pt x="38476" y="97460"/>
                  </a:cubicBezTo>
                  <a:cubicBezTo>
                    <a:pt x="34984" y="114630"/>
                    <a:pt x="27236" y="122656"/>
                    <a:pt x="20569" y="122656"/>
                  </a:cubicBezTo>
                  <a:cubicBezTo>
                    <a:pt x="13902" y="122656"/>
                    <a:pt x="7171" y="114383"/>
                    <a:pt x="3742" y="97212"/>
                  </a:cubicBezTo>
                  <a:cubicBezTo>
                    <a:pt x="1773" y="87331"/>
                    <a:pt x="59" y="75470"/>
                    <a:pt x="59" y="62751"/>
                  </a:cubicBezTo>
                  <a:cubicBezTo>
                    <a:pt x="59" y="50025"/>
                    <a:pt x="-450" y="37674"/>
                    <a:pt x="1519" y="27794"/>
                  </a:cubicBezTo>
                  <a:cubicBezTo>
                    <a:pt x="4948" y="10624"/>
                    <a:pt x="13902" y="0"/>
                    <a:pt x="20569" y="0"/>
                  </a:cubicBezTo>
                  <a:cubicBezTo>
                    <a:pt x="27236" y="0"/>
                    <a:pt x="33650" y="11119"/>
                    <a:pt x="37079" y="28283"/>
                  </a:cubicBezTo>
                  <a:cubicBezTo>
                    <a:pt x="39047" y="38170"/>
                    <a:pt x="39047" y="50025"/>
                    <a:pt x="39047" y="62751"/>
                  </a:cubicBezTo>
                  <a:lnTo>
                    <a:pt x="38921" y="62751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99320BC-63A2-45D0-58B3-63633A11730D}"/>
                </a:ext>
              </a:extLst>
            </p:cNvPr>
            <p:cNvSpPr/>
            <p:nvPr/>
          </p:nvSpPr>
          <p:spPr>
            <a:xfrm>
              <a:off x="6087490" y="2505017"/>
              <a:ext cx="3581" cy="198507"/>
            </a:xfrm>
            <a:custGeom>
              <a:avLst/>
              <a:gdLst>
                <a:gd name="connsiteX0" fmla="*/ 3086 w 3581"/>
                <a:gd name="connsiteY0" fmla="*/ 198507 h 198507"/>
                <a:gd name="connsiteX1" fmla="*/ 0 w 3581"/>
                <a:gd name="connsiteY1" fmla="*/ 158852 h 198507"/>
                <a:gd name="connsiteX2" fmla="*/ 3582 w 3581"/>
                <a:gd name="connsiteY2" fmla="*/ 119202 h 198507"/>
                <a:gd name="connsiteX3" fmla="*/ 0 w 3581"/>
                <a:gd name="connsiteY3" fmla="*/ 79553 h 198507"/>
                <a:gd name="connsiteX4" fmla="*/ 1238 w 3581"/>
                <a:gd name="connsiteY4" fmla="*/ 39776 h 198507"/>
                <a:gd name="connsiteX5" fmla="*/ 1112 w 3581"/>
                <a:gd name="connsiteY5" fmla="*/ 0 h 19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1" h="198507">
                  <a:moveTo>
                    <a:pt x="3086" y="198507"/>
                  </a:moveTo>
                  <a:cubicBezTo>
                    <a:pt x="3086" y="178619"/>
                    <a:pt x="0" y="178619"/>
                    <a:pt x="0" y="158852"/>
                  </a:cubicBezTo>
                  <a:cubicBezTo>
                    <a:pt x="0" y="139090"/>
                    <a:pt x="3582" y="138970"/>
                    <a:pt x="3582" y="119202"/>
                  </a:cubicBezTo>
                  <a:cubicBezTo>
                    <a:pt x="3582" y="99441"/>
                    <a:pt x="0" y="99314"/>
                    <a:pt x="0" y="79553"/>
                  </a:cubicBezTo>
                  <a:cubicBezTo>
                    <a:pt x="0" y="59785"/>
                    <a:pt x="1238" y="59665"/>
                    <a:pt x="1238" y="39776"/>
                  </a:cubicBezTo>
                  <a:cubicBezTo>
                    <a:pt x="1238" y="19888"/>
                    <a:pt x="1112" y="19888"/>
                    <a:pt x="1112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E621D97-AD0B-5D0C-5C3F-265148A3CBE1}"/>
                </a:ext>
              </a:extLst>
            </p:cNvPr>
            <p:cNvSpPr/>
            <p:nvPr/>
          </p:nvSpPr>
          <p:spPr>
            <a:xfrm>
              <a:off x="6085643" y="2928829"/>
              <a:ext cx="5930" cy="1184592"/>
            </a:xfrm>
            <a:custGeom>
              <a:avLst/>
              <a:gdLst>
                <a:gd name="connsiteX0" fmla="*/ 1359 w 5930"/>
                <a:gd name="connsiteY0" fmla="*/ 1184593 h 1184592"/>
                <a:gd name="connsiteX1" fmla="*/ 1606 w 5930"/>
                <a:gd name="connsiteY1" fmla="*/ 1143832 h 1184592"/>
                <a:gd name="connsiteX2" fmla="*/ 1854 w 5930"/>
                <a:gd name="connsiteY2" fmla="*/ 1103071 h 1184592"/>
                <a:gd name="connsiteX3" fmla="*/ 3213 w 5930"/>
                <a:gd name="connsiteY3" fmla="*/ 1062304 h 1184592"/>
                <a:gd name="connsiteX4" fmla="*/ 4572 w 5930"/>
                <a:gd name="connsiteY4" fmla="*/ 1021417 h 1184592"/>
                <a:gd name="connsiteX5" fmla="*/ 5931 w 5930"/>
                <a:gd name="connsiteY5" fmla="*/ 980656 h 1184592"/>
                <a:gd name="connsiteX6" fmla="*/ 495 w 5930"/>
                <a:gd name="connsiteY6" fmla="*/ 939895 h 1184592"/>
                <a:gd name="connsiteX7" fmla="*/ 1727 w 5930"/>
                <a:gd name="connsiteY7" fmla="*/ 899008 h 1184592"/>
                <a:gd name="connsiteX8" fmla="*/ 3708 w 5930"/>
                <a:gd name="connsiteY8" fmla="*/ 858247 h 1184592"/>
                <a:gd name="connsiteX9" fmla="*/ 1606 w 5930"/>
                <a:gd name="connsiteY9" fmla="*/ 817359 h 1184592"/>
                <a:gd name="connsiteX10" fmla="*/ 0 w 5930"/>
                <a:gd name="connsiteY10" fmla="*/ 776472 h 1184592"/>
                <a:gd name="connsiteX11" fmla="*/ 1238 w 5930"/>
                <a:gd name="connsiteY11" fmla="*/ 735584 h 1184592"/>
                <a:gd name="connsiteX12" fmla="*/ 743 w 5930"/>
                <a:gd name="connsiteY12" fmla="*/ 694696 h 1184592"/>
                <a:gd name="connsiteX13" fmla="*/ 1975 w 5930"/>
                <a:gd name="connsiteY13" fmla="*/ 653936 h 1184592"/>
                <a:gd name="connsiteX14" fmla="*/ 1238 w 5930"/>
                <a:gd name="connsiteY14" fmla="*/ 613175 h 1184592"/>
                <a:gd name="connsiteX15" fmla="*/ 3461 w 5930"/>
                <a:gd name="connsiteY15" fmla="*/ 572287 h 1184592"/>
                <a:gd name="connsiteX16" fmla="*/ 3956 w 5930"/>
                <a:gd name="connsiteY16" fmla="*/ 531527 h 1184592"/>
                <a:gd name="connsiteX17" fmla="*/ 4572 w 5930"/>
                <a:gd name="connsiteY17" fmla="*/ 490639 h 1184592"/>
                <a:gd name="connsiteX18" fmla="*/ 2845 w 5930"/>
                <a:gd name="connsiteY18" fmla="*/ 449879 h 1184592"/>
                <a:gd name="connsiteX19" fmla="*/ 4819 w 5930"/>
                <a:gd name="connsiteY19" fmla="*/ 408991 h 1184592"/>
                <a:gd name="connsiteX20" fmla="*/ 1975 w 5930"/>
                <a:gd name="connsiteY20" fmla="*/ 368103 h 1184592"/>
                <a:gd name="connsiteX21" fmla="*/ 3956 w 5930"/>
                <a:gd name="connsiteY21" fmla="*/ 327216 h 1184592"/>
                <a:gd name="connsiteX22" fmla="*/ 3581 w 5930"/>
                <a:gd name="connsiteY22" fmla="*/ 286328 h 1184592"/>
                <a:gd name="connsiteX23" fmla="*/ 4819 w 5930"/>
                <a:gd name="connsiteY23" fmla="*/ 245446 h 1184592"/>
                <a:gd name="connsiteX24" fmla="*/ 1111 w 5930"/>
                <a:gd name="connsiteY24" fmla="*/ 204680 h 1184592"/>
                <a:gd name="connsiteX25" fmla="*/ 4076 w 5930"/>
                <a:gd name="connsiteY25" fmla="*/ 163792 h 1184592"/>
                <a:gd name="connsiteX26" fmla="*/ 5188 w 5930"/>
                <a:gd name="connsiteY26" fmla="*/ 122911 h 1184592"/>
                <a:gd name="connsiteX27" fmla="*/ 616 w 5930"/>
                <a:gd name="connsiteY27" fmla="*/ 82023 h 1184592"/>
                <a:gd name="connsiteX28" fmla="*/ 2965 w 5930"/>
                <a:gd name="connsiteY28" fmla="*/ 41015 h 1184592"/>
                <a:gd name="connsiteX29" fmla="*/ 3086 w 5930"/>
                <a:gd name="connsiteY29" fmla="*/ 0 h 118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30" h="1184592">
                  <a:moveTo>
                    <a:pt x="1359" y="1184593"/>
                  </a:moveTo>
                  <a:cubicBezTo>
                    <a:pt x="1359" y="1164215"/>
                    <a:pt x="1606" y="1164215"/>
                    <a:pt x="1606" y="1143832"/>
                  </a:cubicBezTo>
                  <a:cubicBezTo>
                    <a:pt x="1606" y="1123448"/>
                    <a:pt x="1854" y="1123448"/>
                    <a:pt x="1854" y="1103071"/>
                  </a:cubicBezTo>
                  <a:cubicBezTo>
                    <a:pt x="1854" y="1082688"/>
                    <a:pt x="3213" y="1082688"/>
                    <a:pt x="3213" y="1062304"/>
                  </a:cubicBezTo>
                  <a:cubicBezTo>
                    <a:pt x="3213" y="1041927"/>
                    <a:pt x="4572" y="1041927"/>
                    <a:pt x="4572" y="1021417"/>
                  </a:cubicBezTo>
                  <a:cubicBezTo>
                    <a:pt x="4572" y="1000912"/>
                    <a:pt x="5931" y="1001040"/>
                    <a:pt x="5931" y="980656"/>
                  </a:cubicBezTo>
                  <a:cubicBezTo>
                    <a:pt x="5931" y="960272"/>
                    <a:pt x="495" y="960272"/>
                    <a:pt x="495" y="939895"/>
                  </a:cubicBezTo>
                  <a:cubicBezTo>
                    <a:pt x="495" y="919512"/>
                    <a:pt x="1727" y="919512"/>
                    <a:pt x="1727" y="899008"/>
                  </a:cubicBezTo>
                  <a:cubicBezTo>
                    <a:pt x="1727" y="878504"/>
                    <a:pt x="3708" y="878624"/>
                    <a:pt x="3708" y="858247"/>
                  </a:cubicBezTo>
                  <a:cubicBezTo>
                    <a:pt x="3708" y="837863"/>
                    <a:pt x="1606" y="837863"/>
                    <a:pt x="1606" y="817359"/>
                  </a:cubicBezTo>
                  <a:cubicBezTo>
                    <a:pt x="1606" y="796855"/>
                    <a:pt x="0" y="796976"/>
                    <a:pt x="0" y="776472"/>
                  </a:cubicBezTo>
                  <a:cubicBezTo>
                    <a:pt x="0" y="755968"/>
                    <a:pt x="1238" y="756088"/>
                    <a:pt x="1238" y="735584"/>
                  </a:cubicBezTo>
                  <a:cubicBezTo>
                    <a:pt x="1238" y="715080"/>
                    <a:pt x="743" y="715207"/>
                    <a:pt x="743" y="694696"/>
                  </a:cubicBezTo>
                  <a:cubicBezTo>
                    <a:pt x="743" y="674192"/>
                    <a:pt x="1975" y="674319"/>
                    <a:pt x="1975" y="653936"/>
                  </a:cubicBezTo>
                  <a:cubicBezTo>
                    <a:pt x="1975" y="633552"/>
                    <a:pt x="1238" y="633552"/>
                    <a:pt x="1238" y="613175"/>
                  </a:cubicBezTo>
                  <a:cubicBezTo>
                    <a:pt x="1238" y="592792"/>
                    <a:pt x="3461" y="592792"/>
                    <a:pt x="3461" y="572287"/>
                  </a:cubicBezTo>
                  <a:cubicBezTo>
                    <a:pt x="3461" y="551783"/>
                    <a:pt x="3956" y="551904"/>
                    <a:pt x="3956" y="531527"/>
                  </a:cubicBezTo>
                  <a:cubicBezTo>
                    <a:pt x="3956" y="511143"/>
                    <a:pt x="4572" y="511143"/>
                    <a:pt x="4572" y="490639"/>
                  </a:cubicBezTo>
                  <a:cubicBezTo>
                    <a:pt x="4572" y="470135"/>
                    <a:pt x="2845" y="470256"/>
                    <a:pt x="2845" y="449879"/>
                  </a:cubicBezTo>
                  <a:cubicBezTo>
                    <a:pt x="2845" y="429495"/>
                    <a:pt x="4819" y="429495"/>
                    <a:pt x="4819" y="408991"/>
                  </a:cubicBezTo>
                  <a:cubicBezTo>
                    <a:pt x="4819" y="388487"/>
                    <a:pt x="1975" y="388607"/>
                    <a:pt x="1975" y="368103"/>
                  </a:cubicBezTo>
                  <a:cubicBezTo>
                    <a:pt x="1975" y="347599"/>
                    <a:pt x="3956" y="347720"/>
                    <a:pt x="3956" y="327216"/>
                  </a:cubicBezTo>
                  <a:cubicBezTo>
                    <a:pt x="3956" y="306711"/>
                    <a:pt x="3581" y="306832"/>
                    <a:pt x="3581" y="286328"/>
                  </a:cubicBezTo>
                  <a:cubicBezTo>
                    <a:pt x="3581" y="265824"/>
                    <a:pt x="4819" y="265951"/>
                    <a:pt x="4819" y="245446"/>
                  </a:cubicBezTo>
                  <a:cubicBezTo>
                    <a:pt x="4819" y="224936"/>
                    <a:pt x="1111" y="225063"/>
                    <a:pt x="1111" y="204680"/>
                  </a:cubicBezTo>
                  <a:cubicBezTo>
                    <a:pt x="1111" y="184302"/>
                    <a:pt x="4076" y="184302"/>
                    <a:pt x="4076" y="163792"/>
                  </a:cubicBezTo>
                  <a:cubicBezTo>
                    <a:pt x="4076" y="143288"/>
                    <a:pt x="5188" y="143415"/>
                    <a:pt x="5188" y="122911"/>
                  </a:cubicBezTo>
                  <a:cubicBezTo>
                    <a:pt x="5188" y="102406"/>
                    <a:pt x="616" y="102527"/>
                    <a:pt x="616" y="82023"/>
                  </a:cubicBezTo>
                  <a:cubicBezTo>
                    <a:pt x="616" y="61519"/>
                    <a:pt x="2965" y="61519"/>
                    <a:pt x="2965" y="41015"/>
                  </a:cubicBezTo>
                  <a:cubicBezTo>
                    <a:pt x="2965" y="20511"/>
                    <a:pt x="3086" y="20511"/>
                    <a:pt x="3086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1D3CCD0-0538-E530-E09B-A65694DA1644}"/>
                </a:ext>
              </a:extLst>
            </p:cNvPr>
            <p:cNvSpPr/>
            <p:nvPr/>
          </p:nvSpPr>
          <p:spPr>
            <a:xfrm>
              <a:off x="6306750" y="3445655"/>
              <a:ext cx="5314" cy="698030"/>
            </a:xfrm>
            <a:custGeom>
              <a:avLst/>
              <a:gdLst>
                <a:gd name="connsiteX0" fmla="*/ 1854 w 5314"/>
                <a:gd name="connsiteY0" fmla="*/ 698030 h 698030"/>
                <a:gd name="connsiteX1" fmla="*/ 1238 w 5314"/>
                <a:gd name="connsiteY1" fmla="*/ 657022 h 698030"/>
                <a:gd name="connsiteX2" fmla="*/ 1733 w 5314"/>
                <a:gd name="connsiteY2" fmla="*/ 616014 h 698030"/>
                <a:gd name="connsiteX3" fmla="*/ 2102 w 5314"/>
                <a:gd name="connsiteY3" fmla="*/ 574999 h 698030"/>
                <a:gd name="connsiteX4" fmla="*/ 5315 w 5314"/>
                <a:gd name="connsiteY4" fmla="*/ 533991 h 698030"/>
                <a:gd name="connsiteX5" fmla="*/ 870 w 5314"/>
                <a:gd name="connsiteY5" fmla="*/ 492982 h 698030"/>
                <a:gd name="connsiteX6" fmla="*/ 4572 w 5314"/>
                <a:gd name="connsiteY6" fmla="*/ 451974 h 698030"/>
                <a:gd name="connsiteX7" fmla="*/ 4204 w 5314"/>
                <a:gd name="connsiteY7" fmla="*/ 410959 h 698030"/>
                <a:gd name="connsiteX8" fmla="*/ 2229 w 5314"/>
                <a:gd name="connsiteY8" fmla="*/ 369951 h 698030"/>
                <a:gd name="connsiteX9" fmla="*/ 743 w 5314"/>
                <a:gd name="connsiteY9" fmla="*/ 328943 h 698030"/>
                <a:gd name="connsiteX10" fmla="*/ 4076 w 5314"/>
                <a:gd name="connsiteY10" fmla="*/ 287808 h 698030"/>
                <a:gd name="connsiteX11" fmla="*/ 990 w 5314"/>
                <a:gd name="connsiteY11" fmla="*/ 246678 h 698030"/>
                <a:gd name="connsiteX12" fmla="*/ 743 w 5314"/>
                <a:gd name="connsiteY12" fmla="*/ 205664 h 698030"/>
                <a:gd name="connsiteX13" fmla="*/ 2229 w 5314"/>
                <a:gd name="connsiteY13" fmla="*/ 164535 h 698030"/>
                <a:gd name="connsiteX14" fmla="*/ 1981 w 5314"/>
                <a:gd name="connsiteY14" fmla="*/ 123400 h 698030"/>
                <a:gd name="connsiteX15" fmla="*/ 3956 w 5314"/>
                <a:gd name="connsiteY15" fmla="*/ 82264 h 698030"/>
                <a:gd name="connsiteX16" fmla="*/ 4819 w 5314"/>
                <a:gd name="connsiteY16" fmla="*/ 41135 h 698030"/>
                <a:gd name="connsiteX17" fmla="*/ 0 w 5314"/>
                <a:gd name="connsiteY17" fmla="*/ 0 h 69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314" h="698030">
                  <a:moveTo>
                    <a:pt x="1854" y="698030"/>
                  </a:moveTo>
                  <a:cubicBezTo>
                    <a:pt x="1854" y="677526"/>
                    <a:pt x="1238" y="677526"/>
                    <a:pt x="1238" y="657022"/>
                  </a:cubicBezTo>
                  <a:cubicBezTo>
                    <a:pt x="1238" y="636518"/>
                    <a:pt x="1733" y="636518"/>
                    <a:pt x="1733" y="616014"/>
                  </a:cubicBezTo>
                  <a:cubicBezTo>
                    <a:pt x="1733" y="595503"/>
                    <a:pt x="2102" y="595509"/>
                    <a:pt x="2102" y="574999"/>
                  </a:cubicBezTo>
                  <a:cubicBezTo>
                    <a:pt x="2102" y="554495"/>
                    <a:pt x="5315" y="554495"/>
                    <a:pt x="5315" y="533991"/>
                  </a:cubicBezTo>
                  <a:cubicBezTo>
                    <a:pt x="5315" y="513487"/>
                    <a:pt x="870" y="513487"/>
                    <a:pt x="870" y="492982"/>
                  </a:cubicBezTo>
                  <a:cubicBezTo>
                    <a:pt x="870" y="472478"/>
                    <a:pt x="4572" y="472478"/>
                    <a:pt x="4572" y="451974"/>
                  </a:cubicBezTo>
                  <a:cubicBezTo>
                    <a:pt x="4572" y="431470"/>
                    <a:pt x="4204" y="431470"/>
                    <a:pt x="4204" y="410959"/>
                  </a:cubicBezTo>
                  <a:cubicBezTo>
                    <a:pt x="4204" y="390455"/>
                    <a:pt x="2229" y="390455"/>
                    <a:pt x="2229" y="369951"/>
                  </a:cubicBezTo>
                  <a:cubicBezTo>
                    <a:pt x="2229" y="349447"/>
                    <a:pt x="743" y="349447"/>
                    <a:pt x="743" y="328943"/>
                  </a:cubicBezTo>
                  <a:cubicBezTo>
                    <a:pt x="743" y="308439"/>
                    <a:pt x="4076" y="308439"/>
                    <a:pt x="4076" y="287808"/>
                  </a:cubicBezTo>
                  <a:cubicBezTo>
                    <a:pt x="4076" y="267183"/>
                    <a:pt x="990" y="267303"/>
                    <a:pt x="990" y="246678"/>
                  </a:cubicBezTo>
                  <a:cubicBezTo>
                    <a:pt x="990" y="226047"/>
                    <a:pt x="743" y="226168"/>
                    <a:pt x="743" y="205664"/>
                  </a:cubicBezTo>
                  <a:cubicBezTo>
                    <a:pt x="743" y="185160"/>
                    <a:pt x="2229" y="185160"/>
                    <a:pt x="2229" y="164535"/>
                  </a:cubicBezTo>
                  <a:cubicBezTo>
                    <a:pt x="2229" y="143904"/>
                    <a:pt x="1981" y="144025"/>
                    <a:pt x="1981" y="123400"/>
                  </a:cubicBezTo>
                  <a:cubicBezTo>
                    <a:pt x="1981" y="102769"/>
                    <a:pt x="3956" y="102896"/>
                    <a:pt x="3956" y="82264"/>
                  </a:cubicBezTo>
                  <a:cubicBezTo>
                    <a:pt x="3956" y="61640"/>
                    <a:pt x="4819" y="61640"/>
                    <a:pt x="4819" y="41135"/>
                  </a:cubicBezTo>
                  <a:cubicBezTo>
                    <a:pt x="4819" y="20625"/>
                    <a:pt x="0" y="20504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477A78B-54B9-1DA4-F882-BEA33F35CA48}"/>
                </a:ext>
              </a:extLst>
            </p:cNvPr>
            <p:cNvSpPr/>
            <p:nvPr/>
          </p:nvSpPr>
          <p:spPr>
            <a:xfrm>
              <a:off x="6295116" y="2087632"/>
              <a:ext cx="5931" cy="476059"/>
            </a:xfrm>
            <a:custGeom>
              <a:avLst/>
              <a:gdLst>
                <a:gd name="connsiteX0" fmla="*/ 3588 w 5931"/>
                <a:gd name="connsiteY0" fmla="*/ 476060 h 476059"/>
                <a:gd name="connsiteX1" fmla="*/ 1606 w 5931"/>
                <a:gd name="connsiteY1" fmla="*/ 436410 h 476059"/>
                <a:gd name="connsiteX2" fmla="*/ 0 w 5931"/>
                <a:gd name="connsiteY2" fmla="*/ 396761 h 476059"/>
                <a:gd name="connsiteX3" fmla="*/ 4947 w 5931"/>
                <a:gd name="connsiteY3" fmla="*/ 357111 h 476059"/>
                <a:gd name="connsiteX4" fmla="*/ 5931 w 5931"/>
                <a:gd name="connsiteY4" fmla="*/ 317456 h 476059"/>
                <a:gd name="connsiteX5" fmla="*/ 5188 w 5931"/>
                <a:gd name="connsiteY5" fmla="*/ 277806 h 476059"/>
                <a:gd name="connsiteX6" fmla="*/ 5188 w 5931"/>
                <a:gd name="connsiteY6" fmla="*/ 238157 h 476059"/>
                <a:gd name="connsiteX7" fmla="*/ 1238 w 5931"/>
                <a:gd name="connsiteY7" fmla="*/ 198501 h 476059"/>
                <a:gd name="connsiteX8" fmla="*/ 3340 w 5931"/>
                <a:gd name="connsiteY8" fmla="*/ 158852 h 476059"/>
                <a:gd name="connsiteX9" fmla="*/ 3956 w 5931"/>
                <a:gd name="connsiteY9" fmla="*/ 119202 h 476059"/>
                <a:gd name="connsiteX10" fmla="*/ 3092 w 5931"/>
                <a:gd name="connsiteY10" fmla="*/ 79553 h 476059"/>
                <a:gd name="connsiteX11" fmla="*/ 3461 w 5931"/>
                <a:gd name="connsiteY11" fmla="*/ 39776 h 476059"/>
                <a:gd name="connsiteX12" fmla="*/ 1238 w 5931"/>
                <a:gd name="connsiteY12" fmla="*/ 0 h 476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31" h="476059">
                  <a:moveTo>
                    <a:pt x="3588" y="476060"/>
                  </a:moveTo>
                  <a:cubicBezTo>
                    <a:pt x="3588" y="456298"/>
                    <a:pt x="1606" y="456298"/>
                    <a:pt x="1606" y="436410"/>
                  </a:cubicBezTo>
                  <a:cubicBezTo>
                    <a:pt x="1606" y="416522"/>
                    <a:pt x="0" y="416522"/>
                    <a:pt x="0" y="396761"/>
                  </a:cubicBezTo>
                  <a:cubicBezTo>
                    <a:pt x="0" y="376993"/>
                    <a:pt x="4947" y="376873"/>
                    <a:pt x="4947" y="357111"/>
                  </a:cubicBezTo>
                  <a:cubicBezTo>
                    <a:pt x="4947" y="337344"/>
                    <a:pt x="5931" y="337223"/>
                    <a:pt x="5931" y="317456"/>
                  </a:cubicBezTo>
                  <a:cubicBezTo>
                    <a:pt x="5931" y="297694"/>
                    <a:pt x="5188" y="297568"/>
                    <a:pt x="5188" y="277806"/>
                  </a:cubicBezTo>
                  <a:cubicBezTo>
                    <a:pt x="5188" y="258045"/>
                    <a:pt x="5188" y="257918"/>
                    <a:pt x="5188" y="238157"/>
                  </a:cubicBezTo>
                  <a:cubicBezTo>
                    <a:pt x="5188" y="218389"/>
                    <a:pt x="1238" y="218389"/>
                    <a:pt x="1238" y="198501"/>
                  </a:cubicBezTo>
                  <a:cubicBezTo>
                    <a:pt x="1238" y="178619"/>
                    <a:pt x="3340" y="178619"/>
                    <a:pt x="3340" y="158852"/>
                  </a:cubicBezTo>
                  <a:cubicBezTo>
                    <a:pt x="3340" y="139091"/>
                    <a:pt x="3956" y="138963"/>
                    <a:pt x="3956" y="119202"/>
                  </a:cubicBezTo>
                  <a:cubicBezTo>
                    <a:pt x="3956" y="99441"/>
                    <a:pt x="3092" y="99314"/>
                    <a:pt x="3092" y="79553"/>
                  </a:cubicBezTo>
                  <a:cubicBezTo>
                    <a:pt x="3092" y="59785"/>
                    <a:pt x="3461" y="59665"/>
                    <a:pt x="3461" y="39776"/>
                  </a:cubicBezTo>
                  <a:cubicBezTo>
                    <a:pt x="3461" y="19888"/>
                    <a:pt x="1238" y="19888"/>
                    <a:pt x="123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77480D28-3594-0C10-9C98-B928DC834C98}"/>
                </a:ext>
              </a:extLst>
            </p:cNvPr>
            <p:cNvSpPr/>
            <p:nvPr/>
          </p:nvSpPr>
          <p:spPr>
            <a:xfrm>
              <a:off x="6295878" y="2756395"/>
              <a:ext cx="3454" cy="150202"/>
            </a:xfrm>
            <a:custGeom>
              <a:avLst/>
              <a:gdLst>
                <a:gd name="connsiteX0" fmla="*/ 1848 w 3454"/>
                <a:gd name="connsiteY0" fmla="*/ 150203 h 150202"/>
                <a:gd name="connsiteX1" fmla="*/ 2718 w 3454"/>
                <a:gd name="connsiteY1" fmla="*/ 112649 h 150202"/>
                <a:gd name="connsiteX2" fmla="*/ 1727 w 3454"/>
                <a:gd name="connsiteY2" fmla="*/ 75101 h 150202"/>
                <a:gd name="connsiteX3" fmla="*/ 0 w 3454"/>
                <a:gd name="connsiteY3" fmla="*/ 37548 h 150202"/>
                <a:gd name="connsiteX4" fmla="*/ 3454 w 3454"/>
                <a:gd name="connsiteY4" fmla="*/ 0 h 15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4" h="150202">
                  <a:moveTo>
                    <a:pt x="1848" y="150203"/>
                  </a:moveTo>
                  <a:cubicBezTo>
                    <a:pt x="1848" y="131426"/>
                    <a:pt x="2718" y="131426"/>
                    <a:pt x="2718" y="112649"/>
                  </a:cubicBezTo>
                  <a:cubicBezTo>
                    <a:pt x="2718" y="93878"/>
                    <a:pt x="1727" y="93878"/>
                    <a:pt x="1727" y="75101"/>
                  </a:cubicBezTo>
                  <a:cubicBezTo>
                    <a:pt x="1727" y="56324"/>
                    <a:pt x="0" y="56324"/>
                    <a:pt x="0" y="37548"/>
                  </a:cubicBezTo>
                  <a:cubicBezTo>
                    <a:pt x="0" y="18771"/>
                    <a:pt x="3454" y="18771"/>
                    <a:pt x="3454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98274FC-8887-67ED-83AD-589E727D0811}"/>
                </a:ext>
              </a:extLst>
            </p:cNvPr>
            <p:cNvSpPr/>
            <p:nvPr/>
          </p:nvSpPr>
          <p:spPr>
            <a:xfrm>
              <a:off x="5791524" y="1498676"/>
              <a:ext cx="866154" cy="1648542"/>
            </a:xfrm>
            <a:custGeom>
              <a:avLst/>
              <a:gdLst>
                <a:gd name="connsiteX0" fmla="*/ 269278 w 866154"/>
                <a:gd name="connsiteY0" fmla="*/ 1648543 h 1648542"/>
                <a:gd name="connsiteX1" fmla="*/ 238398 w 866154"/>
                <a:gd name="connsiteY1" fmla="*/ 1623466 h 1648542"/>
                <a:gd name="connsiteX2" fmla="*/ 212337 w 866154"/>
                <a:gd name="connsiteY2" fmla="*/ 1593450 h 1648542"/>
                <a:gd name="connsiteX3" fmla="*/ 189604 w 866154"/>
                <a:gd name="connsiteY3" fmla="*/ 1560964 h 1648542"/>
                <a:gd name="connsiteX4" fmla="*/ 166135 w 866154"/>
                <a:gd name="connsiteY4" fmla="*/ 1529220 h 1648542"/>
                <a:gd name="connsiteX5" fmla="*/ 141306 w 866154"/>
                <a:gd name="connsiteY5" fmla="*/ 1498219 h 1648542"/>
                <a:gd name="connsiteX6" fmla="*/ 119818 w 866154"/>
                <a:gd name="connsiteY6" fmla="*/ 1464742 h 1648542"/>
                <a:gd name="connsiteX7" fmla="*/ 102648 w 866154"/>
                <a:gd name="connsiteY7" fmla="*/ 1428922 h 1648542"/>
                <a:gd name="connsiteX8" fmla="*/ 86589 w 866154"/>
                <a:gd name="connsiteY8" fmla="*/ 1392606 h 1648542"/>
                <a:gd name="connsiteX9" fmla="*/ 69418 w 866154"/>
                <a:gd name="connsiteY9" fmla="*/ 1356779 h 1648542"/>
                <a:gd name="connsiteX10" fmla="*/ 60153 w 866154"/>
                <a:gd name="connsiteY10" fmla="*/ 1317993 h 1648542"/>
                <a:gd name="connsiteX11" fmla="*/ 44469 w 866154"/>
                <a:gd name="connsiteY11" fmla="*/ 1281430 h 1648542"/>
                <a:gd name="connsiteX12" fmla="*/ 34957 w 866154"/>
                <a:gd name="connsiteY12" fmla="*/ 1242892 h 1648542"/>
                <a:gd name="connsiteX13" fmla="*/ 27051 w 866154"/>
                <a:gd name="connsiteY13" fmla="*/ 1203985 h 1648542"/>
                <a:gd name="connsiteX14" fmla="*/ 16180 w 866154"/>
                <a:gd name="connsiteY14" fmla="*/ 1165689 h 1648542"/>
                <a:gd name="connsiteX15" fmla="*/ 11487 w 866154"/>
                <a:gd name="connsiteY15" fmla="*/ 1126287 h 1648542"/>
                <a:gd name="connsiteX16" fmla="*/ 8642 w 866154"/>
                <a:gd name="connsiteY16" fmla="*/ 1086637 h 1648542"/>
                <a:gd name="connsiteX17" fmla="*/ 5683 w 866154"/>
                <a:gd name="connsiteY17" fmla="*/ 1047109 h 1648542"/>
                <a:gd name="connsiteX18" fmla="*/ 5804 w 866154"/>
                <a:gd name="connsiteY18" fmla="*/ 1007459 h 1648542"/>
                <a:gd name="connsiteX19" fmla="*/ 0 w 866154"/>
                <a:gd name="connsiteY19" fmla="*/ 967804 h 1648542"/>
                <a:gd name="connsiteX20" fmla="*/ 4813 w 866154"/>
                <a:gd name="connsiteY20" fmla="*/ 927907 h 1648542"/>
                <a:gd name="connsiteX21" fmla="*/ 3949 w 866154"/>
                <a:gd name="connsiteY21" fmla="*/ 887889 h 1648542"/>
                <a:gd name="connsiteX22" fmla="*/ 10249 w 866154"/>
                <a:gd name="connsiteY22" fmla="*/ 848360 h 1648542"/>
                <a:gd name="connsiteX23" fmla="*/ 15811 w 866154"/>
                <a:gd name="connsiteY23" fmla="*/ 808831 h 1648542"/>
                <a:gd name="connsiteX24" fmla="*/ 20751 w 866154"/>
                <a:gd name="connsiteY24" fmla="*/ 769182 h 1648542"/>
                <a:gd name="connsiteX25" fmla="*/ 27546 w 866154"/>
                <a:gd name="connsiteY25" fmla="*/ 729774 h 1648542"/>
                <a:gd name="connsiteX26" fmla="*/ 34093 w 866154"/>
                <a:gd name="connsiteY26" fmla="*/ 690252 h 1648542"/>
                <a:gd name="connsiteX27" fmla="*/ 46564 w 866154"/>
                <a:gd name="connsiteY27" fmla="*/ 652202 h 1648542"/>
                <a:gd name="connsiteX28" fmla="*/ 58179 w 866154"/>
                <a:gd name="connsiteY28" fmla="*/ 614032 h 1648542"/>
                <a:gd name="connsiteX29" fmla="*/ 69545 w 866154"/>
                <a:gd name="connsiteY29" fmla="*/ 575742 h 1648542"/>
                <a:gd name="connsiteX30" fmla="*/ 80042 w 866154"/>
                <a:gd name="connsiteY30" fmla="*/ 537077 h 1648542"/>
                <a:gd name="connsiteX31" fmla="*/ 96964 w 866154"/>
                <a:gd name="connsiteY31" fmla="*/ 500761 h 1648542"/>
                <a:gd name="connsiteX32" fmla="*/ 107588 w 866154"/>
                <a:gd name="connsiteY32" fmla="*/ 462102 h 1648542"/>
                <a:gd name="connsiteX33" fmla="*/ 124511 w 866154"/>
                <a:gd name="connsiteY33" fmla="*/ 425787 h 1648542"/>
                <a:gd name="connsiteX34" fmla="*/ 139954 w 866154"/>
                <a:gd name="connsiteY34" fmla="*/ 388976 h 1648542"/>
                <a:gd name="connsiteX35" fmla="*/ 157740 w 866154"/>
                <a:gd name="connsiteY35" fmla="*/ 353155 h 1648542"/>
                <a:gd name="connsiteX36" fmla="*/ 172682 w 866154"/>
                <a:gd name="connsiteY36" fmla="*/ 315970 h 1648542"/>
                <a:gd name="connsiteX37" fmla="*/ 194424 w 866154"/>
                <a:gd name="connsiteY37" fmla="*/ 282251 h 1648542"/>
                <a:gd name="connsiteX38" fmla="*/ 212458 w 866154"/>
                <a:gd name="connsiteY38" fmla="*/ 246551 h 1648542"/>
                <a:gd name="connsiteX39" fmla="*/ 232467 w 866154"/>
                <a:gd name="connsiteY39" fmla="*/ 211963 h 1648542"/>
                <a:gd name="connsiteX40" fmla="*/ 251987 w 866154"/>
                <a:gd name="connsiteY40" fmla="*/ 177133 h 1648542"/>
                <a:gd name="connsiteX41" fmla="*/ 275577 w 866154"/>
                <a:gd name="connsiteY41" fmla="*/ 144894 h 1648542"/>
                <a:gd name="connsiteX42" fmla="*/ 298310 w 866154"/>
                <a:gd name="connsiteY42" fmla="*/ 112160 h 1648542"/>
                <a:gd name="connsiteX43" fmla="*/ 318687 w 866154"/>
                <a:gd name="connsiteY43" fmla="*/ 77324 h 1648542"/>
                <a:gd name="connsiteX44" fmla="*/ 344627 w 866154"/>
                <a:gd name="connsiteY44" fmla="*/ 46692 h 1648542"/>
                <a:gd name="connsiteX45" fmla="*/ 374275 w 866154"/>
                <a:gd name="connsiteY45" fmla="*/ 19641 h 1648542"/>
                <a:gd name="connsiteX46" fmla="*/ 409359 w 866154"/>
                <a:gd name="connsiteY46" fmla="*/ 0 h 1648542"/>
                <a:gd name="connsiteX47" fmla="*/ 446043 w 866154"/>
                <a:gd name="connsiteY47" fmla="*/ 19018 h 1648542"/>
                <a:gd name="connsiteX48" fmla="*/ 476555 w 866154"/>
                <a:gd name="connsiteY48" fmla="*/ 46692 h 1648542"/>
                <a:gd name="connsiteX49" fmla="*/ 506692 w 866154"/>
                <a:gd name="connsiteY49" fmla="*/ 74606 h 1648542"/>
                <a:gd name="connsiteX50" fmla="*/ 532879 w 866154"/>
                <a:gd name="connsiteY50" fmla="*/ 106477 h 1648542"/>
                <a:gd name="connsiteX51" fmla="*/ 560191 w 866154"/>
                <a:gd name="connsiteY51" fmla="*/ 137230 h 1648542"/>
                <a:gd name="connsiteX52" fmla="*/ 589083 w 866154"/>
                <a:gd name="connsiteY52" fmla="*/ 166878 h 1648542"/>
                <a:gd name="connsiteX53" fmla="*/ 611562 w 866154"/>
                <a:gd name="connsiteY53" fmla="*/ 201587 h 1648542"/>
                <a:gd name="connsiteX54" fmla="*/ 637279 w 866154"/>
                <a:gd name="connsiteY54" fmla="*/ 233826 h 1648542"/>
                <a:gd name="connsiteX55" fmla="*/ 659123 w 866154"/>
                <a:gd name="connsiteY55" fmla="*/ 268783 h 1648542"/>
                <a:gd name="connsiteX56" fmla="*/ 680460 w 866154"/>
                <a:gd name="connsiteY56" fmla="*/ 303987 h 1648542"/>
                <a:gd name="connsiteX57" fmla="*/ 705224 w 866154"/>
                <a:gd name="connsiteY57" fmla="*/ 337217 h 1648542"/>
                <a:gd name="connsiteX58" fmla="*/ 722623 w 866154"/>
                <a:gd name="connsiteY58" fmla="*/ 374771 h 1648542"/>
                <a:gd name="connsiteX59" fmla="*/ 744975 w 866154"/>
                <a:gd name="connsiteY59" fmla="*/ 409600 h 1648542"/>
                <a:gd name="connsiteX60" fmla="*/ 762629 w 866154"/>
                <a:gd name="connsiteY60" fmla="*/ 446907 h 1648542"/>
                <a:gd name="connsiteX61" fmla="*/ 780662 w 866154"/>
                <a:gd name="connsiteY61" fmla="*/ 484086 h 1648542"/>
                <a:gd name="connsiteX62" fmla="*/ 794506 w 866154"/>
                <a:gd name="connsiteY62" fmla="*/ 522999 h 1648542"/>
                <a:gd name="connsiteX63" fmla="*/ 807586 w 866154"/>
                <a:gd name="connsiteY63" fmla="*/ 562032 h 1648542"/>
                <a:gd name="connsiteX64" fmla="*/ 820096 w 866154"/>
                <a:gd name="connsiteY64" fmla="*/ 601313 h 1648542"/>
                <a:gd name="connsiteX65" fmla="*/ 831590 w 866154"/>
                <a:gd name="connsiteY65" fmla="*/ 640842 h 1648542"/>
                <a:gd name="connsiteX66" fmla="*/ 844035 w 866154"/>
                <a:gd name="connsiteY66" fmla="*/ 680117 h 1648542"/>
                <a:gd name="connsiteX67" fmla="*/ 854767 w 866154"/>
                <a:gd name="connsiteY67" fmla="*/ 720020 h 1648542"/>
                <a:gd name="connsiteX68" fmla="*/ 861943 w 866154"/>
                <a:gd name="connsiteY68" fmla="*/ 760781 h 1648542"/>
                <a:gd name="connsiteX69" fmla="*/ 865435 w 866154"/>
                <a:gd name="connsiteY69" fmla="*/ 802037 h 1648542"/>
                <a:gd name="connsiteX70" fmla="*/ 861561 w 866154"/>
                <a:gd name="connsiteY70" fmla="*/ 843420 h 1648542"/>
                <a:gd name="connsiteX71" fmla="*/ 866133 w 866154"/>
                <a:gd name="connsiteY71" fmla="*/ 884676 h 1648542"/>
                <a:gd name="connsiteX72" fmla="*/ 859593 w 866154"/>
                <a:gd name="connsiteY72" fmla="*/ 925684 h 1648542"/>
                <a:gd name="connsiteX73" fmla="*/ 858641 w 866154"/>
                <a:gd name="connsiteY73" fmla="*/ 966819 h 1648542"/>
                <a:gd name="connsiteX74" fmla="*/ 854894 w 866154"/>
                <a:gd name="connsiteY74" fmla="*/ 1007828 h 1648542"/>
                <a:gd name="connsiteX75" fmla="*/ 848354 w 866154"/>
                <a:gd name="connsiteY75" fmla="*/ 1048468 h 1648542"/>
                <a:gd name="connsiteX76" fmla="*/ 839082 w 866154"/>
                <a:gd name="connsiteY76" fmla="*/ 1088492 h 1648542"/>
                <a:gd name="connsiteX77" fmla="*/ 828732 w 866154"/>
                <a:gd name="connsiteY77" fmla="*/ 1128262 h 1648542"/>
                <a:gd name="connsiteX78" fmla="*/ 820668 w 866154"/>
                <a:gd name="connsiteY78" fmla="*/ 1168902 h 1648542"/>
                <a:gd name="connsiteX79" fmla="*/ 803522 w 866154"/>
                <a:gd name="connsiteY79" fmla="*/ 1206576 h 1648542"/>
                <a:gd name="connsiteX80" fmla="*/ 785870 w 866154"/>
                <a:gd name="connsiteY80" fmla="*/ 1243756 h 1648542"/>
                <a:gd name="connsiteX81" fmla="*/ 764470 w 866154"/>
                <a:gd name="connsiteY81" fmla="*/ 1278712 h 1648542"/>
                <a:gd name="connsiteX82" fmla="*/ 742753 w 866154"/>
                <a:gd name="connsiteY82" fmla="*/ 1313917 h 1648542"/>
                <a:gd name="connsiteX83" fmla="*/ 712718 w 866154"/>
                <a:gd name="connsiteY83" fmla="*/ 1342701 h 164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866154" h="1648542">
                  <a:moveTo>
                    <a:pt x="269278" y="1648543"/>
                  </a:moveTo>
                  <a:cubicBezTo>
                    <a:pt x="253466" y="1636560"/>
                    <a:pt x="256432" y="1641380"/>
                    <a:pt x="238398" y="1623466"/>
                  </a:cubicBezTo>
                  <a:cubicBezTo>
                    <a:pt x="230492" y="1615688"/>
                    <a:pt x="222339" y="1604817"/>
                    <a:pt x="212337" y="1593450"/>
                  </a:cubicBezTo>
                  <a:cubicBezTo>
                    <a:pt x="204432" y="1584433"/>
                    <a:pt x="198380" y="1572209"/>
                    <a:pt x="189604" y="1560964"/>
                  </a:cubicBezTo>
                  <a:cubicBezTo>
                    <a:pt x="181946" y="1551210"/>
                    <a:pt x="174168" y="1540707"/>
                    <a:pt x="166135" y="1529220"/>
                  </a:cubicBezTo>
                  <a:cubicBezTo>
                    <a:pt x="158972" y="1518971"/>
                    <a:pt x="148596" y="1509954"/>
                    <a:pt x="141306" y="1498219"/>
                  </a:cubicBezTo>
                  <a:cubicBezTo>
                    <a:pt x="134518" y="1487469"/>
                    <a:pt x="126485" y="1476724"/>
                    <a:pt x="119818" y="1464742"/>
                  </a:cubicBezTo>
                  <a:cubicBezTo>
                    <a:pt x="113519" y="1453623"/>
                    <a:pt x="108699" y="1441152"/>
                    <a:pt x="102648" y="1428922"/>
                  </a:cubicBezTo>
                  <a:cubicBezTo>
                    <a:pt x="96964" y="1417434"/>
                    <a:pt x="92145" y="1405077"/>
                    <a:pt x="86589" y="1392606"/>
                  </a:cubicBezTo>
                  <a:cubicBezTo>
                    <a:pt x="81400" y="1380871"/>
                    <a:pt x="74358" y="1369384"/>
                    <a:pt x="69418" y="1356779"/>
                  </a:cubicBezTo>
                  <a:cubicBezTo>
                    <a:pt x="64478" y="1344181"/>
                    <a:pt x="64598" y="1330719"/>
                    <a:pt x="60153" y="1317993"/>
                  </a:cubicBezTo>
                  <a:cubicBezTo>
                    <a:pt x="55708" y="1305274"/>
                    <a:pt x="48419" y="1294403"/>
                    <a:pt x="44469" y="1281430"/>
                  </a:cubicBezTo>
                  <a:cubicBezTo>
                    <a:pt x="40513" y="1268463"/>
                    <a:pt x="38290" y="1255986"/>
                    <a:pt x="34957" y="1242892"/>
                  </a:cubicBezTo>
                  <a:cubicBezTo>
                    <a:pt x="31623" y="1229798"/>
                    <a:pt x="29769" y="1217200"/>
                    <a:pt x="27051" y="1203985"/>
                  </a:cubicBezTo>
                  <a:cubicBezTo>
                    <a:pt x="24333" y="1190765"/>
                    <a:pt x="18402" y="1178909"/>
                    <a:pt x="16180" y="1165689"/>
                  </a:cubicBezTo>
                  <a:cubicBezTo>
                    <a:pt x="13957" y="1152474"/>
                    <a:pt x="13214" y="1139628"/>
                    <a:pt x="11487" y="1126287"/>
                  </a:cubicBezTo>
                  <a:cubicBezTo>
                    <a:pt x="9760" y="1112946"/>
                    <a:pt x="10001" y="1100100"/>
                    <a:pt x="8642" y="1086637"/>
                  </a:cubicBezTo>
                  <a:cubicBezTo>
                    <a:pt x="7283" y="1073169"/>
                    <a:pt x="6546" y="1060571"/>
                    <a:pt x="5683" y="1047109"/>
                  </a:cubicBezTo>
                  <a:cubicBezTo>
                    <a:pt x="4813" y="1033647"/>
                    <a:pt x="6172" y="1020801"/>
                    <a:pt x="5804" y="1007459"/>
                  </a:cubicBezTo>
                  <a:cubicBezTo>
                    <a:pt x="5435" y="994118"/>
                    <a:pt x="0" y="981272"/>
                    <a:pt x="0" y="967804"/>
                  </a:cubicBezTo>
                  <a:cubicBezTo>
                    <a:pt x="0" y="954342"/>
                    <a:pt x="4324" y="941248"/>
                    <a:pt x="4813" y="927907"/>
                  </a:cubicBezTo>
                  <a:cubicBezTo>
                    <a:pt x="5309" y="914565"/>
                    <a:pt x="2965" y="901103"/>
                    <a:pt x="3949" y="887889"/>
                  </a:cubicBezTo>
                  <a:cubicBezTo>
                    <a:pt x="4940" y="874668"/>
                    <a:pt x="8769" y="861574"/>
                    <a:pt x="10249" y="848360"/>
                  </a:cubicBezTo>
                  <a:cubicBezTo>
                    <a:pt x="11735" y="835139"/>
                    <a:pt x="13957" y="822046"/>
                    <a:pt x="15811" y="808831"/>
                  </a:cubicBezTo>
                  <a:cubicBezTo>
                    <a:pt x="17659" y="795617"/>
                    <a:pt x="18402" y="782276"/>
                    <a:pt x="20751" y="769182"/>
                  </a:cubicBezTo>
                  <a:cubicBezTo>
                    <a:pt x="23095" y="756088"/>
                    <a:pt x="24949" y="742867"/>
                    <a:pt x="27546" y="729774"/>
                  </a:cubicBezTo>
                  <a:cubicBezTo>
                    <a:pt x="30137" y="716680"/>
                    <a:pt x="31128" y="703218"/>
                    <a:pt x="34093" y="690252"/>
                  </a:cubicBezTo>
                  <a:cubicBezTo>
                    <a:pt x="37059" y="677278"/>
                    <a:pt x="43110" y="665048"/>
                    <a:pt x="46564" y="652202"/>
                  </a:cubicBezTo>
                  <a:cubicBezTo>
                    <a:pt x="50025" y="639356"/>
                    <a:pt x="54470" y="626758"/>
                    <a:pt x="58179" y="614032"/>
                  </a:cubicBezTo>
                  <a:cubicBezTo>
                    <a:pt x="61887" y="601313"/>
                    <a:pt x="65589" y="588467"/>
                    <a:pt x="69545" y="575742"/>
                  </a:cubicBezTo>
                  <a:cubicBezTo>
                    <a:pt x="73495" y="563016"/>
                    <a:pt x="75717" y="549681"/>
                    <a:pt x="80042" y="537077"/>
                  </a:cubicBezTo>
                  <a:cubicBezTo>
                    <a:pt x="84366" y="524478"/>
                    <a:pt x="92392" y="513118"/>
                    <a:pt x="96964" y="500761"/>
                  </a:cubicBezTo>
                  <a:cubicBezTo>
                    <a:pt x="101536" y="488410"/>
                    <a:pt x="102768" y="474326"/>
                    <a:pt x="107588" y="462102"/>
                  </a:cubicBezTo>
                  <a:cubicBezTo>
                    <a:pt x="112407" y="449872"/>
                    <a:pt x="119323" y="438010"/>
                    <a:pt x="124511" y="425787"/>
                  </a:cubicBezTo>
                  <a:cubicBezTo>
                    <a:pt x="129699" y="413557"/>
                    <a:pt x="134639" y="400958"/>
                    <a:pt x="139954" y="388976"/>
                  </a:cubicBezTo>
                  <a:cubicBezTo>
                    <a:pt x="145262" y="376993"/>
                    <a:pt x="152057" y="365011"/>
                    <a:pt x="157740" y="353155"/>
                  </a:cubicBezTo>
                  <a:cubicBezTo>
                    <a:pt x="163417" y="341294"/>
                    <a:pt x="166757" y="327704"/>
                    <a:pt x="172682" y="315970"/>
                  </a:cubicBezTo>
                  <a:cubicBezTo>
                    <a:pt x="178613" y="304235"/>
                    <a:pt x="188245" y="293859"/>
                    <a:pt x="194424" y="282251"/>
                  </a:cubicBezTo>
                  <a:cubicBezTo>
                    <a:pt x="200603" y="270637"/>
                    <a:pt x="206038" y="258039"/>
                    <a:pt x="212458" y="246551"/>
                  </a:cubicBezTo>
                  <a:cubicBezTo>
                    <a:pt x="218884" y="235064"/>
                    <a:pt x="225799" y="223202"/>
                    <a:pt x="232467" y="211963"/>
                  </a:cubicBezTo>
                  <a:cubicBezTo>
                    <a:pt x="239509" y="200228"/>
                    <a:pt x="245072" y="187998"/>
                    <a:pt x="251987" y="177133"/>
                  </a:cubicBezTo>
                  <a:cubicBezTo>
                    <a:pt x="259277" y="165519"/>
                    <a:pt x="268414" y="155512"/>
                    <a:pt x="275577" y="144894"/>
                  </a:cubicBezTo>
                  <a:cubicBezTo>
                    <a:pt x="283362" y="133401"/>
                    <a:pt x="290900" y="122409"/>
                    <a:pt x="298310" y="112160"/>
                  </a:cubicBezTo>
                  <a:cubicBezTo>
                    <a:pt x="306584" y="100673"/>
                    <a:pt x="310909" y="87205"/>
                    <a:pt x="318687" y="77324"/>
                  </a:cubicBezTo>
                  <a:cubicBezTo>
                    <a:pt x="327704" y="65958"/>
                    <a:pt x="336480" y="55709"/>
                    <a:pt x="344627" y="46692"/>
                  </a:cubicBezTo>
                  <a:cubicBezTo>
                    <a:pt x="354882" y="35325"/>
                    <a:pt x="365627" y="26924"/>
                    <a:pt x="374275" y="19641"/>
                  </a:cubicBezTo>
                  <a:cubicBezTo>
                    <a:pt x="388728" y="7163"/>
                    <a:pt x="401205" y="0"/>
                    <a:pt x="409359" y="0"/>
                  </a:cubicBezTo>
                  <a:cubicBezTo>
                    <a:pt x="417506" y="0"/>
                    <a:pt x="430352" y="7531"/>
                    <a:pt x="446043" y="19018"/>
                  </a:cubicBezTo>
                  <a:cubicBezTo>
                    <a:pt x="455555" y="25940"/>
                    <a:pt x="464941" y="36068"/>
                    <a:pt x="476555" y="46692"/>
                  </a:cubicBezTo>
                  <a:cubicBezTo>
                    <a:pt x="485819" y="55213"/>
                    <a:pt x="496443" y="63983"/>
                    <a:pt x="506692" y="74606"/>
                  </a:cubicBezTo>
                  <a:cubicBezTo>
                    <a:pt x="515709" y="83871"/>
                    <a:pt x="523246" y="95606"/>
                    <a:pt x="532879" y="106477"/>
                  </a:cubicBezTo>
                  <a:cubicBezTo>
                    <a:pt x="541648" y="116357"/>
                    <a:pt x="551040" y="126238"/>
                    <a:pt x="560191" y="137230"/>
                  </a:cubicBezTo>
                  <a:cubicBezTo>
                    <a:pt x="568699" y="147485"/>
                    <a:pt x="580447" y="155639"/>
                    <a:pt x="589083" y="166878"/>
                  </a:cubicBezTo>
                  <a:cubicBezTo>
                    <a:pt x="597338" y="177502"/>
                    <a:pt x="603307" y="190227"/>
                    <a:pt x="611562" y="201587"/>
                  </a:cubicBezTo>
                  <a:cubicBezTo>
                    <a:pt x="619817" y="212954"/>
                    <a:pt x="629342" y="222339"/>
                    <a:pt x="637279" y="233826"/>
                  </a:cubicBezTo>
                  <a:cubicBezTo>
                    <a:pt x="645154" y="245313"/>
                    <a:pt x="651440" y="257175"/>
                    <a:pt x="659123" y="268783"/>
                  </a:cubicBezTo>
                  <a:cubicBezTo>
                    <a:pt x="666807" y="280397"/>
                    <a:pt x="673221" y="292253"/>
                    <a:pt x="680460" y="303987"/>
                  </a:cubicBezTo>
                  <a:cubicBezTo>
                    <a:pt x="687762" y="315722"/>
                    <a:pt x="698303" y="325234"/>
                    <a:pt x="705224" y="337217"/>
                  </a:cubicBezTo>
                  <a:cubicBezTo>
                    <a:pt x="712082" y="349199"/>
                    <a:pt x="715956" y="362541"/>
                    <a:pt x="722623" y="374771"/>
                  </a:cubicBezTo>
                  <a:cubicBezTo>
                    <a:pt x="729291" y="387001"/>
                    <a:pt x="738689" y="397250"/>
                    <a:pt x="744975" y="409600"/>
                  </a:cubicBezTo>
                  <a:cubicBezTo>
                    <a:pt x="751262" y="421958"/>
                    <a:pt x="756723" y="434429"/>
                    <a:pt x="762629" y="446907"/>
                  </a:cubicBezTo>
                  <a:cubicBezTo>
                    <a:pt x="768534" y="459384"/>
                    <a:pt x="775011" y="471488"/>
                    <a:pt x="780662" y="484086"/>
                  </a:cubicBezTo>
                  <a:cubicBezTo>
                    <a:pt x="786378" y="496684"/>
                    <a:pt x="789425" y="510273"/>
                    <a:pt x="794506" y="522999"/>
                  </a:cubicBezTo>
                  <a:cubicBezTo>
                    <a:pt x="799585" y="535718"/>
                    <a:pt x="802887" y="549186"/>
                    <a:pt x="807586" y="562032"/>
                  </a:cubicBezTo>
                  <a:cubicBezTo>
                    <a:pt x="812285" y="574878"/>
                    <a:pt x="815842" y="588220"/>
                    <a:pt x="820096" y="601313"/>
                  </a:cubicBezTo>
                  <a:cubicBezTo>
                    <a:pt x="824287" y="614407"/>
                    <a:pt x="827843" y="627621"/>
                    <a:pt x="831590" y="640842"/>
                  </a:cubicBezTo>
                  <a:cubicBezTo>
                    <a:pt x="835272" y="654056"/>
                    <a:pt x="840924" y="666782"/>
                    <a:pt x="844035" y="680117"/>
                  </a:cubicBezTo>
                  <a:cubicBezTo>
                    <a:pt x="847147" y="693458"/>
                    <a:pt x="852291" y="706552"/>
                    <a:pt x="854767" y="720020"/>
                  </a:cubicBezTo>
                  <a:cubicBezTo>
                    <a:pt x="857244" y="733482"/>
                    <a:pt x="860228" y="747192"/>
                    <a:pt x="861943" y="760781"/>
                  </a:cubicBezTo>
                  <a:cubicBezTo>
                    <a:pt x="863657" y="774370"/>
                    <a:pt x="864419" y="788327"/>
                    <a:pt x="865435" y="802037"/>
                  </a:cubicBezTo>
                  <a:cubicBezTo>
                    <a:pt x="866387" y="815747"/>
                    <a:pt x="861561" y="829704"/>
                    <a:pt x="861561" y="843420"/>
                  </a:cubicBezTo>
                  <a:cubicBezTo>
                    <a:pt x="861561" y="857129"/>
                    <a:pt x="866515" y="871334"/>
                    <a:pt x="866133" y="884676"/>
                  </a:cubicBezTo>
                  <a:cubicBezTo>
                    <a:pt x="865753" y="898754"/>
                    <a:pt x="860355" y="912343"/>
                    <a:pt x="859593" y="925684"/>
                  </a:cubicBezTo>
                  <a:cubicBezTo>
                    <a:pt x="858704" y="939768"/>
                    <a:pt x="859847" y="953599"/>
                    <a:pt x="858641" y="966819"/>
                  </a:cubicBezTo>
                  <a:cubicBezTo>
                    <a:pt x="857244" y="980897"/>
                    <a:pt x="856608" y="994734"/>
                    <a:pt x="854894" y="1007828"/>
                  </a:cubicBezTo>
                  <a:cubicBezTo>
                    <a:pt x="853053" y="1021912"/>
                    <a:pt x="850576" y="1035495"/>
                    <a:pt x="848354" y="1048468"/>
                  </a:cubicBezTo>
                  <a:cubicBezTo>
                    <a:pt x="845877" y="1062546"/>
                    <a:pt x="841940" y="1075639"/>
                    <a:pt x="839082" y="1088492"/>
                  </a:cubicBezTo>
                  <a:cubicBezTo>
                    <a:pt x="836034" y="1102570"/>
                    <a:pt x="832161" y="1115663"/>
                    <a:pt x="828732" y="1128262"/>
                  </a:cubicBezTo>
                  <a:cubicBezTo>
                    <a:pt x="824858" y="1142219"/>
                    <a:pt x="824858" y="1156551"/>
                    <a:pt x="820668" y="1168902"/>
                  </a:cubicBezTo>
                  <a:cubicBezTo>
                    <a:pt x="815969" y="1182738"/>
                    <a:pt x="808603" y="1194721"/>
                    <a:pt x="803522" y="1206576"/>
                  </a:cubicBezTo>
                  <a:cubicBezTo>
                    <a:pt x="797744" y="1220165"/>
                    <a:pt x="791775" y="1232516"/>
                    <a:pt x="785870" y="1243756"/>
                  </a:cubicBezTo>
                  <a:cubicBezTo>
                    <a:pt x="778821" y="1257224"/>
                    <a:pt x="771137" y="1268463"/>
                    <a:pt x="764470" y="1278712"/>
                  </a:cubicBezTo>
                  <a:cubicBezTo>
                    <a:pt x="755707" y="1292181"/>
                    <a:pt x="750182" y="1305274"/>
                    <a:pt x="742753" y="1313917"/>
                  </a:cubicBezTo>
                  <a:cubicBezTo>
                    <a:pt x="725481" y="1334300"/>
                    <a:pt x="729926" y="1331214"/>
                    <a:pt x="712718" y="13427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B6775B1-66A2-30AE-FE22-D437DA08B719}"/>
                </a:ext>
              </a:extLst>
            </p:cNvPr>
            <p:cNvSpPr/>
            <p:nvPr/>
          </p:nvSpPr>
          <p:spPr>
            <a:xfrm>
              <a:off x="6300304" y="2239879"/>
              <a:ext cx="179108" cy="487604"/>
            </a:xfrm>
            <a:custGeom>
              <a:avLst/>
              <a:gdLst>
                <a:gd name="connsiteX0" fmla="*/ 248 w 179108"/>
                <a:gd name="connsiteY0" fmla="*/ 308001 h 487604"/>
                <a:gd name="connsiteX1" fmla="*/ 16307 w 179108"/>
                <a:gd name="connsiteY1" fmla="*/ 271686 h 487604"/>
                <a:gd name="connsiteX2" fmla="*/ 36188 w 179108"/>
                <a:gd name="connsiteY2" fmla="*/ 237345 h 487604"/>
                <a:gd name="connsiteX3" fmla="*/ 52235 w 179108"/>
                <a:gd name="connsiteY3" fmla="*/ 200908 h 487604"/>
                <a:gd name="connsiteX4" fmla="*/ 68681 w 179108"/>
                <a:gd name="connsiteY4" fmla="*/ 164593 h 487604"/>
                <a:gd name="connsiteX5" fmla="*/ 88430 w 179108"/>
                <a:gd name="connsiteY5" fmla="*/ 130004 h 487604"/>
                <a:gd name="connsiteX6" fmla="*/ 111671 w 179108"/>
                <a:gd name="connsiteY6" fmla="*/ 97518 h 487604"/>
                <a:gd name="connsiteX7" fmla="*/ 130340 w 179108"/>
                <a:gd name="connsiteY7" fmla="*/ 62440 h 487604"/>
                <a:gd name="connsiteX8" fmla="*/ 148692 w 179108"/>
                <a:gd name="connsiteY8" fmla="*/ 26988 h 487604"/>
                <a:gd name="connsiteX9" fmla="*/ 177902 w 179108"/>
                <a:gd name="connsiteY9" fmla="*/ 306 h 487604"/>
                <a:gd name="connsiteX10" fmla="*/ 170472 w 179108"/>
                <a:gd name="connsiteY10" fmla="*/ 39218 h 487604"/>
                <a:gd name="connsiteX11" fmla="*/ 161709 w 179108"/>
                <a:gd name="connsiteY11" fmla="*/ 78373 h 487604"/>
                <a:gd name="connsiteX12" fmla="*/ 146024 w 179108"/>
                <a:gd name="connsiteY12" fmla="*/ 115183 h 487604"/>
                <a:gd name="connsiteX13" fmla="*/ 134023 w 179108"/>
                <a:gd name="connsiteY13" fmla="*/ 153353 h 487604"/>
                <a:gd name="connsiteX14" fmla="*/ 115354 w 179108"/>
                <a:gd name="connsiteY14" fmla="*/ 188926 h 487604"/>
                <a:gd name="connsiteX15" fmla="*/ 101257 w 179108"/>
                <a:gd name="connsiteY15" fmla="*/ 226353 h 487604"/>
                <a:gd name="connsiteX16" fmla="*/ 91415 w 179108"/>
                <a:gd name="connsiteY16" fmla="*/ 265513 h 487604"/>
                <a:gd name="connsiteX17" fmla="*/ 72492 w 179108"/>
                <a:gd name="connsiteY17" fmla="*/ 301086 h 487604"/>
                <a:gd name="connsiteX18" fmla="*/ 57696 w 179108"/>
                <a:gd name="connsiteY18" fmla="*/ 338265 h 487604"/>
                <a:gd name="connsiteX19" fmla="*/ 45828 w 179108"/>
                <a:gd name="connsiteY19" fmla="*/ 376683 h 487604"/>
                <a:gd name="connsiteX20" fmla="*/ 29769 w 179108"/>
                <a:gd name="connsiteY20" fmla="*/ 413367 h 487604"/>
                <a:gd name="connsiteX21" fmla="*/ 13341 w 179108"/>
                <a:gd name="connsiteY21" fmla="*/ 449809 h 487604"/>
                <a:gd name="connsiteX22" fmla="*/ 0 w 179108"/>
                <a:gd name="connsiteY22" fmla="*/ 487605 h 48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9108" h="487604">
                  <a:moveTo>
                    <a:pt x="248" y="308001"/>
                  </a:moveTo>
                  <a:cubicBezTo>
                    <a:pt x="9137" y="290215"/>
                    <a:pt x="5188" y="293301"/>
                    <a:pt x="16307" y="271686"/>
                  </a:cubicBezTo>
                  <a:cubicBezTo>
                    <a:pt x="21495" y="261437"/>
                    <a:pt x="29401" y="250438"/>
                    <a:pt x="36188" y="237345"/>
                  </a:cubicBezTo>
                  <a:cubicBezTo>
                    <a:pt x="41872" y="226353"/>
                    <a:pt x="45701" y="213259"/>
                    <a:pt x="52235" y="200908"/>
                  </a:cubicBezTo>
                  <a:cubicBezTo>
                    <a:pt x="58331" y="189542"/>
                    <a:pt x="62268" y="176448"/>
                    <a:pt x="68681" y="164593"/>
                  </a:cubicBezTo>
                  <a:cubicBezTo>
                    <a:pt x="75095" y="152731"/>
                    <a:pt x="82017" y="141619"/>
                    <a:pt x="88430" y="130004"/>
                  </a:cubicBezTo>
                  <a:cubicBezTo>
                    <a:pt x="94843" y="118396"/>
                    <a:pt x="105385" y="108637"/>
                    <a:pt x="111671" y="97518"/>
                  </a:cubicBezTo>
                  <a:cubicBezTo>
                    <a:pt x="118592" y="85415"/>
                    <a:pt x="123863" y="73064"/>
                    <a:pt x="130340" y="62440"/>
                  </a:cubicBezTo>
                  <a:cubicBezTo>
                    <a:pt x="137960" y="49715"/>
                    <a:pt x="142278" y="36374"/>
                    <a:pt x="148692" y="26988"/>
                  </a:cubicBezTo>
                  <a:cubicBezTo>
                    <a:pt x="161582" y="8084"/>
                    <a:pt x="173647" y="-1917"/>
                    <a:pt x="177902" y="306"/>
                  </a:cubicBezTo>
                  <a:cubicBezTo>
                    <a:pt x="181330" y="2160"/>
                    <a:pt x="177012" y="16612"/>
                    <a:pt x="170472" y="39218"/>
                  </a:cubicBezTo>
                  <a:cubicBezTo>
                    <a:pt x="167234" y="50083"/>
                    <a:pt x="166662" y="64040"/>
                    <a:pt x="161709" y="78373"/>
                  </a:cubicBezTo>
                  <a:cubicBezTo>
                    <a:pt x="157709" y="89987"/>
                    <a:pt x="150850" y="101842"/>
                    <a:pt x="146024" y="115183"/>
                  </a:cubicBezTo>
                  <a:cubicBezTo>
                    <a:pt x="141706" y="127166"/>
                    <a:pt x="138976" y="140380"/>
                    <a:pt x="134023" y="153353"/>
                  </a:cubicBezTo>
                  <a:cubicBezTo>
                    <a:pt x="129451" y="165456"/>
                    <a:pt x="120180" y="176328"/>
                    <a:pt x="115354" y="188926"/>
                  </a:cubicBezTo>
                  <a:cubicBezTo>
                    <a:pt x="110528" y="201524"/>
                    <a:pt x="106210" y="213875"/>
                    <a:pt x="101257" y="226353"/>
                  </a:cubicBezTo>
                  <a:cubicBezTo>
                    <a:pt x="96367" y="238831"/>
                    <a:pt x="96367" y="253156"/>
                    <a:pt x="91415" y="265513"/>
                  </a:cubicBezTo>
                  <a:cubicBezTo>
                    <a:pt x="86461" y="277864"/>
                    <a:pt x="77317" y="288856"/>
                    <a:pt x="72492" y="301086"/>
                  </a:cubicBezTo>
                  <a:cubicBezTo>
                    <a:pt x="67666" y="313316"/>
                    <a:pt x="62649" y="326162"/>
                    <a:pt x="57696" y="338265"/>
                  </a:cubicBezTo>
                  <a:cubicBezTo>
                    <a:pt x="52489" y="351111"/>
                    <a:pt x="50648" y="364948"/>
                    <a:pt x="45828" y="376683"/>
                  </a:cubicBezTo>
                  <a:cubicBezTo>
                    <a:pt x="40392" y="389897"/>
                    <a:pt x="34461" y="402007"/>
                    <a:pt x="29769" y="413367"/>
                  </a:cubicBezTo>
                  <a:cubicBezTo>
                    <a:pt x="23965" y="427324"/>
                    <a:pt x="17666" y="439307"/>
                    <a:pt x="13341" y="449809"/>
                  </a:cubicBezTo>
                  <a:cubicBezTo>
                    <a:pt x="3702" y="472784"/>
                    <a:pt x="7779" y="469202"/>
                    <a:pt x="0" y="48760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A970A53-5AA9-A801-6336-B3938E991B10}"/>
                </a:ext>
              </a:extLst>
            </p:cNvPr>
            <p:cNvSpPr/>
            <p:nvPr/>
          </p:nvSpPr>
          <p:spPr>
            <a:xfrm>
              <a:off x="5951040" y="2482267"/>
              <a:ext cx="180056" cy="485843"/>
            </a:xfrm>
            <a:custGeom>
              <a:avLst/>
              <a:gdLst>
                <a:gd name="connsiteX0" fmla="*/ 178945 w 180056"/>
                <a:gd name="connsiteY0" fmla="*/ 306735 h 485843"/>
                <a:gd name="connsiteX1" fmla="*/ 161279 w 180056"/>
                <a:gd name="connsiteY1" fmla="*/ 271156 h 485843"/>
                <a:gd name="connsiteX2" fmla="*/ 145468 w 180056"/>
                <a:gd name="connsiteY2" fmla="*/ 234593 h 485843"/>
                <a:gd name="connsiteX3" fmla="*/ 125084 w 180056"/>
                <a:gd name="connsiteY3" fmla="*/ 200379 h 485843"/>
                <a:gd name="connsiteX4" fmla="*/ 109031 w 180056"/>
                <a:gd name="connsiteY4" fmla="*/ 163943 h 485843"/>
                <a:gd name="connsiteX5" fmla="*/ 89264 w 180056"/>
                <a:gd name="connsiteY5" fmla="*/ 129475 h 485843"/>
                <a:gd name="connsiteX6" fmla="*/ 68017 w 180056"/>
                <a:gd name="connsiteY6" fmla="*/ 95756 h 485843"/>
                <a:gd name="connsiteX7" fmla="*/ 47265 w 180056"/>
                <a:gd name="connsiteY7" fmla="*/ 61911 h 485843"/>
                <a:gd name="connsiteX8" fmla="*/ 25897 w 180056"/>
                <a:gd name="connsiteY8" fmla="*/ 28561 h 485843"/>
                <a:gd name="connsiteX9" fmla="*/ 1564 w 180056"/>
                <a:gd name="connsiteY9" fmla="*/ 271 h 485843"/>
                <a:gd name="connsiteX10" fmla="*/ 7120 w 180056"/>
                <a:gd name="connsiteY10" fmla="*/ 38194 h 485843"/>
                <a:gd name="connsiteX11" fmla="*/ 17871 w 180056"/>
                <a:gd name="connsiteY11" fmla="*/ 76732 h 485843"/>
                <a:gd name="connsiteX12" fmla="*/ 29479 w 180056"/>
                <a:gd name="connsiteY12" fmla="*/ 115022 h 485843"/>
                <a:gd name="connsiteX13" fmla="*/ 48135 w 180056"/>
                <a:gd name="connsiteY13" fmla="*/ 150722 h 485843"/>
                <a:gd name="connsiteX14" fmla="*/ 62092 w 180056"/>
                <a:gd name="connsiteY14" fmla="*/ 188149 h 485843"/>
                <a:gd name="connsiteX15" fmla="*/ 77656 w 180056"/>
                <a:gd name="connsiteY15" fmla="*/ 224960 h 485843"/>
                <a:gd name="connsiteX16" fmla="*/ 89391 w 180056"/>
                <a:gd name="connsiteY16" fmla="*/ 263377 h 485843"/>
                <a:gd name="connsiteX17" fmla="*/ 106066 w 180056"/>
                <a:gd name="connsiteY17" fmla="*/ 299814 h 485843"/>
                <a:gd name="connsiteX18" fmla="*/ 122493 w 180056"/>
                <a:gd name="connsiteY18" fmla="*/ 336377 h 485843"/>
                <a:gd name="connsiteX19" fmla="*/ 132990 w 180056"/>
                <a:gd name="connsiteY19" fmla="*/ 375410 h 485843"/>
                <a:gd name="connsiteX20" fmla="*/ 147938 w 180056"/>
                <a:gd name="connsiteY20" fmla="*/ 412596 h 485843"/>
                <a:gd name="connsiteX21" fmla="*/ 163381 w 180056"/>
                <a:gd name="connsiteY21" fmla="*/ 449528 h 485843"/>
                <a:gd name="connsiteX22" fmla="*/ 180056 w 180056"/>
                <a:gd name="connsiteY22" fmla="*/ 485843 h 48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0056" h="485843">
                  <a:moveTo>
                    <a:pt x="178945" y="306735"/>
                  </a:moveTo>
                  <a:cubicBezTo>
                    <a:pt x="170048" y="288949"/>
                    <a:pt x="172398" y="292898"/>
                    <a:pt x="161279" y="271156"/>
                  </a:cubicBezTo>
                  <a:cubicBezTo>
                    <a:pt x="156091" y="260907"/>
                    <a:pt x="152262" y="247686"/>
                    <a:pt x="145468" y="234593"/>
                  </a:cubicBezTo>
                  <a:cubicBezTo>
                    <a:pt x="139784" y="223601"/>
                    <a:pt x="131631" y="212730"/>
                    <a:pt x="125084" y="200379"/>
                  </a:cubicBezTo>
                  <a:cubicBezTo>
                    <a:pt x="119033" y="189013"/>
                    <a:pt x="115451" y="175798"/>
                    <a:pt x="109031" y="163943"/>
                  </a:cubicBezTo>
                  <a:cubicBezTo>
                    <a:pt x="102605" y="152081"/>
                    <a:pt x="95563" y="140962"/>
                    <a:pt x="89264" y="129475"/>
                  </a:cubicBezTo>
                  <a:cubicBezTo>
                    <a:pt x="82965" y="117988"/>
                    <a:pt x="74443" y="106996"/>
                    <a:pt x="68017" y="95756"/>
                  </a:cubicBezTo>
                  <a:cubicBezTo>
                    <a:pt x="61102" y="83647"/>
                    <a:pt x="53691" y="72534"/>
                    <a:pt x="47265" y="61911"/>
                  </a:cubicBezTo>
                  <a:cubicBezTo>
                    <a:pt x="39607" y="49185"/>
                    <a:pt x="32324" y="37946"/>
                    <a:pt x="25897" y="28561"/>
                  </a:cubicBezTo>
                  <a:cubicBezTo>
                    <a:pt x="13051" y="9657"/>
                    <a:pt x="5761" y="-1951"/>
                    <a:pt x="1564" y="271"/>
                  </a:cubicBezTo>
                  <a:cubicBezTo>
                    <a:pt x="-1897" y="2126"/>
                    <a:pt x="574" y="15715"/>
                    <a:pt x="7120" y="38194"/>
                  </a:cubicBezTo>
                  <a:cubicBezTo>
                    <a:pt x="10333" y="49065"/>
                    <a:pt x="12931" y="62406"/>
                    <a:pt x="17871" y="76732"/>
                  </a:cubicBezTo>
                  <a:cubicBezTo>
                    <a:pt x="21820" y="88346"/>
                    <a:pt x="24665" y="101681"/>
                    <a:pt x="29479" y="115022"/>
                  </a:cubicBezTo>
                  <a:cubicBezTo>
                    <a:pt x="33803" y="127005"/>
                    <a:pt x="43188" y="137755"/>
                    <a:pt x="48135" y="150722"/>
                  </a:cubicBezTo>
                  <a:cubicBezTo>
                    <a:pt x="52701" y="162831"/>
                    <a:pt x="57152" y="175430"/>
                    <a:pt x="62092" y="188149"/>
                  </a:cubicBezTo>
                  <a:cubicBezTo>
                    <a:pt x="67033" y="200874"/>
                    <a:pt x="72716" y="212482"/>
                    <a:pt x="77656" y="224960"/>
                  </a:cubicBezTo>
                  <a:cubicBezTo>
                    <a:pt x="82596" y="237437"/>
                    <a:pt x="84451" y="251027"/>
                    <a:pt x="89391" y="263377"/>
                  </a:cubicBezTo>
                  <a:cubicBezTo>
                    <a:pt x="94331" y="275728"/>
                    <a:pt x="101126" y="287590"/>
                    <a:pt x="106066" y="299814"/>
                  </a:cubicBezTo>
                  <a:cubicBezTo>
                    <a:pt x="111006" y="312044"/>
                    <a:pt x="117553" y="324274"/>
                    <a:pt x="122493" y="336377"/>
                  </a:cubicBezTo>
                  <a:cubicBezTo>
                    <a:pt x="127681" y="349223"/>
                    <a:pt x="128177" y="363555"/>
                    <a:pt x="132990" y="375410"/>
                  </a:cubicBezTo>
                  <a:cubicBezTo>
                    <a:pt x="138426" y="388631"/>
                    <a:pt x="143245" y="401102"/>
                    <a:pt x="147938" y="412596"/>
                  </a:cubicBezTo>
                  <a:cubicBezTo>
                    <a:pt x="153742" y="426553"/>
                    <a:pt x="158930" y="438904"/>
                    <a:pt x="163381" y="449528"/>
                  </a:cubicBezTo>
                  <a:cubicBezTo>
                    <a:pt x="173014" y="472502"/>
                    <a:pt x="172271" y="467434"/>
                    <a:pt x="180056" y="48584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25AB20D3-92DB-4DA3-0075-08A93DA3B119}"/>
                </a:ext>
              </a:extLst>
            </p:cNvPr>
            <p:cNvSpPr/>
            <p:nvPr/>
          </p:nvSpPr>
          <p:spPr>
            <a:xfrm>
              <a:off x="7035998" y="3530269"/>
              <a:ext cx="379976" cy="469333"/>
            </a:xfrm>
            <a:custGeom>
              <a:avLst/>
              <a:gdLst>
                <a:gd name="connsiteX0" fmla="*/ 104768 w 379976"/>
                <a:gd name="connsiteY0" fmla="*/ 0 h 469333"/>
                <a:gd name="connsiteX1" fmla="*/ 81908 w 379976"/>
                <a:gd name="connsiteY1" fmla="*/ 27540 h 469333"/>
                <a:gd name="connsiteX2" fmla="*/ 59809 w 379976"/>
                <a:gd name="connsiteY2" fmla="*/ 55829 h 469333"/>
                <a:gd name="connsiteX3" fmla="*/ 43363 w 379976"/>
                <a:gd name="connsiteY3" fmla="*/ 87821 h 469333"/>
                <a:gd name="connsiteX4" fmla="*/ 27297 w 379976"/>
                <a:gd name="connsiteY4" fmla="*/ 119939 h 469333"/>
                <a:gd name="connsiteX5" fmla="*/ 14216 w 379976"/>
                <a:gd name="connsiteY5" fmla="*/ 156254 h 469333"/>
                <a:gd name="connsiteX6" fmla="*/ 7295 w 379976"/>
                <a:gd name="connsiteY6" fmla="*/ 194050 h 469333"/>
                <a:gd name="connsiteX7" fmla="*/ 627 w 379976"/>
                <a:gd name="connsiteY7" fmla="*/ 231851 h 469333"/>
                <a:gd name="connsiteX8" fmla="*/ 373 w 379976"/>
                <a:gd name="connsiteY8" fmla="*/ 270269 h 469333"/>
                <a:gd name="connsiteX9" fmla="*/ 4437 w 379976"/>
                <a:gd name="connsiteY9" fmla="*/ 308311 h 469333"/>
                <a:gd name="connsiteX10" fmla="*/ 11613 w 379976"/>
                <a:gd name="connsiteY10" fmla="*/ 345986 h 469333"/>
                <a:gd name="connsiteX11" fmla="*/ 28313 w 379976"/>
                <a:gd name="connsiteY11" fmla="*/ 380448 h 469333"/>
                <a:gd name="connsiteX12" fmla="*/ 47173 w 379976"/>
                <a:gd name="connsiteY12" fmla="*/ 413677 h 469333"/>
                <a:gd name="connsiteX13" fmla="*/ 74351 w 379976"/>
                <a:gd name="connsiteY13" fmla="*/ 440855 h 469333"/>
                <a:gd name="connsiteX14" fmla="*/ 107752 w 379976"/>
                <a:gd name="connsiteY14" fmla="*/ 460121 h 469333"/>
                <a:gd name="connsiteX15" fmla="*/ 148963 w 379976"/>
                <a:gd name="connsiteY15" fmla="*/ 468770 h 469333"/>
                <a:gd name="connsiteX16" fmla="*/ 190873 w 379976"/>
                <a:gd name="connsiteY16" fmla="*/ 466547 h 469333"/>
                <a:gd name="connsiteX17" fmla="*/ 232720 w 379976"/>
                <a:gd name="connsiteY17" fmla="*/ 458889 h 469333"/>
                <a:gd name="connsiteX18" fmla="*/ 268788 w 379976"/>
                <a:gd name="connsiteY18" fmla="*/ 436283 h 469333"/>
                <a:gd name="connsiteX19" fmla="*/ 302887 w 379976"/>
                <a:gd name="connsiteY19" fmla="*/ 411575 h 469333"/>
                <a:gd name="connsiteX20" fmla="*/ 333304 w 379976"/>
                <a:gd name="connsiteY20" fmla="*/ 382302 h 469333"/>
                <a:gd name="connsiteX21" fmla="*/ 358704 w 379976"/>
                <a:gd name="connsiteY21" fmla="*/ 348583 h 469333"/>
                <a:gd name="connsiteX22" fmla="*/ 379976 w 379976"/>
                <a:gd name="connsiteY22" fmla="*/ 312268 h 46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9976" h="469333">
                  <a:moveTo>
                    <a:pt x="104768" y="0"/>
                  </a:moveTo>
                  <a:cubicBezTo>
                    <a:pt x="96639" y="8395"/>
                    <a:pt x="89337" y="17907"/>
                    <a:pt x="81908" y="27540"/>
                  </a:cubicBezTo>
                  <a:cubicBezTo>
                    <a:pt x="74478" y="37179"/>
                    <a:pt x="66350" y="45574"/>
                    <a:pt x="59809" y="55829"/>
                  </a:cubicBezTo>
                  <a:cubicBezTo>
                    <a:pt x="53269" y="66084"/>
                    <a:pt x="48951" y="76949"/>
                    <a:pt x="43363" y="87821"/>
                  </a:cubicBezTo>
                  <a:cubicBezTo>
                    <a:pt x="37838" y="98692"/>
                    <a:pt x="31870" y="108699"/>
                    <a:pt x="27297" y="119939"/>
                  </a:cubicBezTo>
                  <a:cubicBezTo>
                    <a:pt x="22345" y="132042"/>
                    <a:pt x="17899" y="144151"/>
                    <a:pt x="14216" y="156254"/>
                  </a:cubicBezTo>
                  <a:cubicBezTo>
                    <a:pt x="10533" y="168358"/>
                    <a:pt x="9645" y="181699"/>
                    <a:pt x="7295" y="194050"/>
                  </a:cubicBezTo>
                  <a:cubicBezTo>
                    <a:pt x="4946" y="206407"/>
                    <a:pt x="1644" y="219373"/>
                    <a:pt x="627" y="231851"/>
                  </a:cubicBezTo>
                  <a:cubicBezTo>
                    <a:pt x="-325" y="244329"/>
                    <a:pt x="-7" y="257664"/>
                    <a:pt x="373" y="270269"/>
                  </a:cubicBezTo>
                  <a:cubicBezTo>
                    <a:pt x="754" y="282867"/>
                    <a:pt x="2469" y="295961"/>
                    <a:pt x="4437" y="308311"/>
                  </a:cubicBezTo>
                  <a:cubicBezTo>
                    <a:pt x="6533" y="321285"/>
                    <a:pt x="7930" y="334131"/>
                    <a:pt x="11613" y="345986"/>
                  </a:cubicBezTo>
                  <a:cubicBezTo>
                    <a:pt x="15550" y="358585"/>
                    <a:pt x="22598" y="369335"/>
                    <a:pt x="28313" y="380448"/>
                  </a:cubicBezTo>
                  <a:cubicBezTo>
                    <a:pt x="34345" y="392062"/>
                    <a:pt x="39299" y="403917"/>
                    <a:pt x="47173" y="413677"/>
                  </a:cubicBezTo>
                  <a:cubicBezTo>
                    <a:pt x="55110" y="423437"/>
                    <a:pt x="64255" y="433197"/>
                    <a:pt x="74351" y="440855"/>
                  </a:cubicBezTo>
                  <a:cubicBezTo>
                    <a:pt x="84511" y="448513"/>
                    <a:pt x="95623" y="455181"/>
                    <a:pt x="107752" y="460121"/>
                  </a:cubicBezTo>
                  <a:cubicBezTo>
                    <a:pt x="120960" y="465436"/>
                    <a:pt x="135057" y="467411"/>
                    <a:pt x="148963" y="468770"/>
                  </a:cubicBezTo>
                  <a:cubicBezTo>
                    <a:pt x="162933" y="470129"/>
                    <a:pt x="176649" y="468890"/>
                    <a:pt x="190873" y="466547"/>
                  </a:cubicBezTo>
                  <a:cubicBezTo>
                    <a:pt x="205097" y="464198"/>
                    <a:pt x="219258" y="464325"/>
                    <a:pt x="232720" y="458889"/>
                  </a:cubicBezTo>
                  <a:cubicBezTo>
                    <a:pt x="245483" y="453822"/>
                    <a:pt x="256469" y="443941"/>
                    <a:pt x="268788" y="436283"/>
                  </a:cubicBezTo>
                  <a:cubicBezTo>
                    <a:pt x="280408" y="428993"/>
                    <a:pt x="292029" y="420967"/>
                    <a:pt x="302887" y="411575"/>
                  </a:cubicBezTo>
                  <a:cubicBezTo>
                    <a:pt x="313745" y="402190"/>
                    <a:pt x="323652" y="393046"/>
                    <a:pt x="333304" y="382302"/>
                  </a:cubicBezTo>
                  <a:cubicBezTo>
                    <a:pt x="342893" y="371558"/>
                    <a:pt x="350449" y="360439"/>
                    <a:pt x="358704" y="348583"/>
                  </a:cubicBezTo>
                  <a:cubicBezTo>
                    <a:pt x="367022" y="336721"/>
                    <a:pt x="373055" y="324866"/>
                    <a:pt x="379976" y="312268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6623962-D0D5-67B7-0352-811E0A2A2FBE}"/>
                </a:ext>
              </a:extLst>
            </p:cNvPr>
            <p:cNvSpPr/>
            <p:nvPr/>
          </p:nvSpPr>
          <p:spPr>
            <a:xfrm>
              <a:off x="7229729" y="3657866"/>
              <a:ext cx="24701" cy="46444"/>
            </a:xfrm>
            <a:custGeom>
              <a:avLst/>
              <a:gdLst>
                <a:gd name="connsiteX0" fmla="*/ 24702 w 24701"/>
                <a:gd name="connsiteY0" fmla="*/ 0 h 46444"/>
                <a:gd name="connsiteX1" fmla="*/ 0 w 24701"/>
                <a:gd name="connsiteY1" fmla="*/ 46444 h 46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01" h="46444">
                  <a:moveTo>
                    <a:pt x="24702" y="0"/>
                  </a:moveTo>
                  <a:cubicBezTo>
                    <a:pt x="13335" y="23717"/>
                    <a:pt x="11302" y="22727"/>
                    <a:pt x="0" y="46444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60319912-BD14-DF15-8670-451327CA7498}"/>
                </a:ext>
              </a:extLst>
            </p:cNvPr>
            <p:cNvSpPr/>
            <p:nvPr/>
          </p:nvSpPr>
          <p:spPr>
            <a:xfrm>
              <a:off x="7143242" y="3607218"/>
              <a:ext cx="21399" cy="47930"/>
            </a:xfrm>
            <a:custGeom>
              <a:avLst/>
              <a:gdLst>
                <a:gd name="connsiteX0" fmla="*/ 21399 w 21399"/>
                <a:gd name="connsiteY0" fmla="*/ 0 h 47930"/>
                <a:gd name="connsiteX1" fmla="*/ 0 w 21399"/>
                <a:gd name="connsiteY1" fmla="*/ 47930 h 4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9" h="47930">
                  <a:moveTo>
                    <a:pt x="21399" y="0"/>
                  </a:moveTo>
                  <a:cubicBezTo>
                    <a:pt x="10033" y="23718"/>
                    <a:pt x="11366" y="24340"/>
                    <a:pt x="0" y="4793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F8CD584-BCA4-BAC9-1035-249EFAEBFD78}"/>
                </a:ext>
              </a:extLst>
            </p:cNvPr>
            <p:cNvSpPr/>
            <p:nvPr/>
          </p:nvSpPr>
          <p:spPr>
            <a:xfrm>
              <a:off x="7075296" y="3658241"/>
              <a:ext cx="165290" cy="127600"/>
            </a:xfrm>
            <a:custGeom>
              <a:avLst/>
              <a:gdLst>
                <a:gd name="connsiteX0" fmla="*/ 0 w 165290"/>
                <a:gd name="connsiteY0" fmla="*/ 0 h 127600"/>
                <a:gd name="connsiteX1" fmla="*/ 9906 w 165290"/>
                <a:gd name="connsiteY1" fmla="*/ 37300 h 127600"/>
                <a:gd name="connsiteX2" fmla="*/ 29147 w 165290"/>
                <a:gd name="connsiteY2" fmla="*/ 70777 h 127600"/>
                <a:gd name="connsiteX3" fmla="*/ 55118 w 165290"/>
                <a:gd name="connsiteY3" fmla="*/ 98692 h 127600"/>
                <a:gd name="connsiteX4" fmla="*/ 88329 w 165290"/>
                <a:gd name="connsiteY4" fmla="*/ 117468 h 127600"/>
                <a:gd name="connsiteX5" fmla="*/ 126238 w 165290"/>
                <a:gd name="connsiteY5" fmla="*/ 127597 h 127600"/>
                <a:gd name="connsiteX6" fmla="*/ 165291 w 165290"/>
                <a:gd name="connsiteY6" fmla="*/ 121418 h 12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290" h="127600">
                  <a:moveTo>
                    <a:pt x="0" y="0"/>
                  </a:moveTo>
                  <a:cubicBezTo>
                    <a:pt x="2604" y="19393"/>
                    <a:pt x="1715" y="16301"/>
                    <a:pt x="9906" y="37300"/>
                  </a:cubicBezTo>
                  <a:cubicBezTo>
                    <a:pt x="14097" y="48171"/>
                    <a:pt x="21146" y="59163"/>
                    <a:pt x="29147" y="70777"/>
                  </a:cubicBezTo>
                  <a:cubicBezTo>
                    <a:pt x="36195" y="81026"/>
                    <a:pt x="44323" y="90291"/>
                    <a:pt x="55118" y="98692"/>
                  </a:cubicBezTo>
                  <a:cubicBezTo>
                    <a:pt x="64834" y="106229"/>
                    <a:pt x="74994" y="113144"/>
                    <a:pt x="88329" y="117468"/>
                  </a:cubicBezTo>
                  <a:cubicBezTo>
                    <a:pt x="99695" y="121177"/>
                    <a:pt x="111887" y="127476"/>
                    <a:pt x="126238" y="127597"/>
                  </a:cubicBezTo>
                  <a:cubicBezTo>
                    <a:pt x="138113" y="127717"/>
                    <a:pt x="151194" y="124384"/>
                    <a:pt x="165291" y="121418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141C727-77E0-970B-BD1D-F86C2252F14C}"/>
                </a:ext>
              </a:extLst>
            </p:cNvPr>
            <p:cNvSpPr/>
            <p:nvPr/>
          </p:nvSpPr>
          <p:spPr>
            <a:xfrm>
              <a:off x="7254811" y="3998664"/>
              <a:ext cx="286465" cy="636206"/>
            </a:xfrm>
            <a:custGeom>
              <a:avLst/>
              <a:gdLst>
                <a:gd name="connsiteX0" fmla="*/ 69406 w 286465"/>
                <a:gd name="connsiteY0" fmla="*/ 0 h 636206"/>
                <a:gd name="connsiteX1" fmla="*/ 96203 w 286465"/>
                <a:gd name="connsiteY1" fmla="*/ 30759 h 636206"/>
                <a:gd name="connsiteX2" fmla="*/ 127953 w 286465"/>
                <a:gd name="connsiteY2" fmla="*/ 56699 h 636206"/>
                <a:gd name="connsiteX3" fmla="*/ 155639 w 286465"/>
                <a:gd name="connsiteY3" fmla="*/ 86716 h 636206"/>
                <a:gd name="connsiteX4" fmla="*/ 181546 w 286465"/>
                <a:gd name="connsiteY4" fmla="*/ 118212 h 636206"/>
                <a:gd name="connsiteX5" fmla="*/ 209106 w 286465"/>
                <a:gd name="connsiteY5" fmla="*/ 148228 h 636206"/>
                <a:gd name="connsiteX6" fmla="*/ 237744 w 286465"/>
                <a:gd name="connsiteY6" fmla="*/ 177260 h 636206"/>
                <a:gd name="connsiteX7" fmla="*/ 263207 w 286465"/>
                <a:gd name="connsiteY7" fmla="*/ 209004 h 636206"/>
                <a:gd name="connsiteX8" fmla="*/ 286448 w 286465"/>
                <a:gd name="connsiteY8" fmla="*/ 242850 h 636206"/>
                <a:gd name="connsiteX9" fmla="*/ 272352 w 286465"/>
                <a:gd name="connsiteY9" fmla="*/ 279908 h 636206"/>
                <a:gd name="connsiteX10" fmla="*/ 259397 w 286465"/>
                <a:gd name="connsiteY10" fmla="*/ 317087 h 636206"/>
                <a:gd name="connsiteX11" fmla="*/ 242316 w 286465"/>
                <a:gd name="connsiteY11" fmla="*/ 352539 h 636206"/>
                <a:gd name="connsiteX12" fmla="*/ 223710 w 286465"/>
                <a:gd name="connsiteY12" fmla="*/ 387248 h 636206"/>
                <a:gd name="connsiteX13" fmla="*/ 210947 w 286465"/>
                <a:gd name="connsiteY13" fmla="*/ 424675 h 636206"/>
                <a:gd name="connsiteX14" fmla="*/ 192786 w 286465"/>
                <a:gd name="connsiteY14" fmla="*/ 459632 h 636206"/>
                <a:gd name="connsiteX15" fmla="*/ 173927 w 286465"/>
                <a:gd name="connsiteY15" fmla="*/ 494221 h 636206"/>
                <a:gd name="connsiteX16" fmla="*/ 156464 w 286465"/>
                <a:gd name="connsiteY16" fmla="*/ 529546 h 636206"/>
                <a:gd name="connsiteX17" fmla="*/ 140335 w 286465"/>
                <a:gd name="connsiteY17" fmla="*/ 565493 h 636206"/>
                <a:gd name="connsiteX18" fmla="*/ 119063 w 286465"/>
                <a:gd name="connsiteY18" fmla="*/ 598843 h 636206"/>
                <a:gd name="connsiteX19" fmla="*/ 102870 w 286465"/>
                <a:gd name="connsiteY19" fmla="*/ 635902 h 636206"/>
                <a:gd name="connsiteX20" fmla="*/ 96710 w 286465"/>
                <a:gd name="connsiteY20" fmla="*/ 596621 h 636206"/>
                <a:gd name="connsiteX21" fmla="*/ 100647 w 286465"/>
                <a:gd name="connsiteY21" fmla="*/ 557587 h 636206"/>
                <a:gd name="connsiteX22" fmla="*/ 99187 w 286465"/>
                <a:gd name="connsiteY22" fmla="*/ 518185 h 636206"/>
                <a:gd name="connsiteX23" fmla="*/ 104711 w 286465"/>
                <a:gd name="connsiteY23" fmla="*/ 479273 h 636206"/>
                <a:gd name="connsiteX24" fmla="*/ 108966 w 286465"/>
                <a:gd name="connsiteY24" fmla="*/ 440239 h 636206"/>
                <a:gd name="connsiteX25" fmla="*/ 117729 w 286465"/>
                <a:gd name="connsiteY25" fmla="*/ 401828 h 636206"/>
                <a:gd name="connsiteX26" fmla="*/ 117983 w 286465"/>
                <a:gd name="connsiteY26" fmla="*/ 362172 h 636206"/>
                <a:gd name="connsiteX27" fmla="*/ 131064 w 286465"/>
                <a:gd name="connsiteY27" fmla="*/ 324993 h 636206"/>
                <a:gd name="connsiteX28" fmla="*/ 120523 w 286465"/>
                <a:gd name="connsiteY28" fmla="*/ 287687 h 636206"/>
                <a:gd name="connsiteX29" fmla="*/ 99441 w 286465"/>
                <a:gd name="connsiteY29" fmla="*/ 255575 h 636206"/>
                <a:gd name="connsiteX30" fmla="*/ 72644 w 286465"/>
                <a:gd name="connsiteY30" fmla="*/ 228028 h 636206"/>
                <a:gd name="connsiteX31" fmla="*/ 45466 w 286465"/>
                <a:gd name="connsiteY31" fmla="*/ 200978 h 636206"/>
                <a:gd name="connsiteX32" fmla="*/ 23685 w 286465"/>
                <a:gd name="connsiteY32" fmla="*/ 168980 h 636206"/>
                <a:gd name="connsiteX33" fmla="*/ 0 w 286465"/>
                <a:gd name="connsiteY33" fmla="*/ 140329 h 636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86465" h="636206">
                  <a:moveTo>
                    <a:pt x="69406" y="0"/>
                  </a:moveTo>
                  <a:cubicBezTo>
                    <a:pt x="77788" y="8281"/>
                    <a:pt x="85598" y="20015"/>
                    <a:pt x="96203" y="30759"/>
                  </a:cubicBezTo>
                  <a:cubicBezTo>
                    <a:pt x="105220" y="39776"/>
                    <a:pt x="117983" y="46571"/>
                    <a:pt x="127953" y="56699"/>
                  </a:cubicBezTo>
                  <a:cubicBezTo>
                    <a:pt x="137223" y="66091"/>
                    <a:pt x="145986" y="76708"/>
                    <a:pt x="155639" y="86716"/>
                  </a:cubicBezTo>
                  <a:cubicBezTo>
                    <a:pt x="165291" y="96723"/>
                    <a:pt x="172276" y="108458"/>
                    <a:pt x="181546" y="118212"/>
                  </a:cubicBezTo>
                  <a:cubicBezTo>
                    <a:pt x="190818" y="127972"/>
                    <a:pt x="200216" y="138475"/>
                    <a:pt x="209106" y="148228"/>
                  </a:cubicBezTo>
                  <a:cubicBezTo>
                    <a:pt x="218757" y="158731"/>
                    <a:pt x="229362" y="167627"/>
                    <a:pt x="237744" y="177260"/>
                  </a:cubicBezTo>
                  <a:cubicBezTo>
                    <a:pt x="247777" y="188620"/>
                    <a:pt x="255905" y="199739"/>
                    <a:pt x="263207" y="209004"/>
                  </a:cubicBezTo>
                  <a:cubicBezTo>
                    <a:pt x="276289" y="225679"/>
                    <a:pt x="286957" y="237414"/>
                    <a:pt x="286448" y="242850"/>
                  </a:cubicBezTo>
                  <a:cubicBezTo>
                    <a:pt x="286068" y="247790"/>
                    <a:pt x="279908" y="261010"/>
                    <a:pt x="272352" y="279908"/>
                  </a:cubicBezTo>
                  <a:cubicBezTo>
                    <a:pt x="268160" y="290404"/>
                    <a:pt x="265303" y="303625"/>
                    <a:pt x="259397" y="317087"/>
                  </a:cubicBezTo>
                  <a:cubicBezTo>
                    <a:pt x="254571" y="328327"/>
                    <a:pt x="248031" y="339941"/>
                    <a:pt x="242316" y="352539"/>
                  </a:cubicBezTo>
                  <a:cubicBezTo>
                    <a:pt x="237172" y="364027"/>
                    <a:pt x="229362" y="374898"/>
                    <a:pt x="223710" y="387248"/>
                  </a:cubicBezTo>
                  <a:cubicBezTo>
                    <a:pt x="217995" y="399599"/>
                    <a:pt x="216662" y="412693"/>
                    <a:pt x="210947" y="424675"/>
                  </a:cubicBezTo>
                  <a:cubicBezTo>
                    <a:pt x="205295" y="436658"/>
                    <a:pt x="198374" y="447777"/>
                    <a:pt x="192786" y="459632"/>
                  </a:cubicBezTo>
                  <a:cubicBezTo>
                    <a:pt x="187261" y="471494"/>
                    <a:pt x="179451" y="482606"/>
                    <a:pt x="173927" y="494221"/>
                  </a:cubicBezTo>
                  <a:cubicBezTo>
                    <a:pt x="167957" y="506450"/>
                    <a:pt x="162052" y="518185"/>
                    <a:pt x="156464" y="529546"/>
                  </a:cubicBezTo>
                  <a:cubicBezTo>
                    <a:pt x="150305" y="542023"/>
                    <a:pt x="145732" y="554501"/>
                    <a:pt x="140335" y="565493"/>
                  </a:cubicBezTo>
                  <a:cubicBezTo>
                    <a:pt x="133668" y="578714"/>
                    <a:pt x="124523" y="588842"/>
                    <a:pt x="119063" y="598843"/>
                  </a:cubicBezTo>
                  <a:cubicBezTo>
                    <a:pt x="108839" y="617868"/>
                    <a:pt x="105728" y="633927"/>
                    <a:pt x="102870" y="635902"/>
                  </a:cubicBezTo>
                  <a:cubicBezTo>
                    <a:pt x="98806" y="638747"/>
                    <a:pt x="95948" y="621328"/>
                    <a:pt x="96710" y="596621"/>
                  </a:cubicBezTo>
                  <a:cubicBezTo>
                    <a:pt x="97092" y="585381"/>
                    <a:pt x="99695" y="572167"/>
                    <a:pt x="100647" y="557587"/>
                  </a:cubicBezTo>
                  <a:cubicBezTo>
                    <a:pt x="101536" y="545357"/>
                    <a:pt x="97917" y="531775"/>
                    <a:pt x="99187" y="518185"/>
                  </a:cubicBezTo>
                  <a:cubicBezTo>
                    <a:pt x="100267" y="505460"/>
                    <a:pt x="103378" y="492366"/>
                    <a:pt x="104711" y="479273"/>
                  </a:cubicBezTo>
                  <a:cubicBezTo>
                    <a:pt x="106108" y="466179"/>
                    <a:pt x="107442" y="452965"/>
                    <a:pt x="108966" y="440239"/>
                  </a:cubicBezTo>
                  <a:cubicBezTo>
                    <a:pt x="110554" y="426777"/>
                    <a:pt x="115951" y="414179"/>
                    <a:pt x="117729" y="401828"/>
                  </a:cubicBezTo>
                  <a:cubicBezTo>
                    <a:pt x="119697" y="387617"/>
                    <a:pt x="116078" y="373539"/>
                    <a:pt x="117983" y="362172"/>
                  </a:cubicBezTo>
                  <a:cubicBezTo>
                    <a:pt x="120904" y="344386"/>
                    <a:pt x="128715" y="332035"/>
                    <a:pt x="131064" y="324993"/>
                  </a:cubicBezTo>
                  <a:cubicBezTo>
                    <a:pt x="133985" y="315976"/>
                    <a:pt x="128842" y="302139"/>
                    <a:pt x="120523" y="287687"/>
                  </a:cubicBezTo>
                  <a:cubicBezTo>
                    <a:pt x="114998" y="277933"/>
                    <a:pt x="108077" y="266567"/>
                    <a:pt x="99441" y="255575"/>
                  </a:cubicBezTo>
                  <a:cubicBezTo>
                    <a:pt x="91884" y="245935"/>
                    <a:pt x="81280" y="237789"/>
                    <a:pt x="72644" y="228028"/>
                  </a:cubicBezTo>
                  <a:cubicBezTo>
                    <a:pt x="63945" y="218268"/>
                    <a:pt x="53848" y="210115"/>
                    <a:pt x="45466" y="200978"/>
                  </a:cubicBezTo>
                  <a:cubicBezTo>
                    <a:pt x="36068" y="190722"/>
                    <a:pt x="31242" y="177381"/>
                    <a:pt x="23685" y="168980"/>
                  </a:cubicBezTo>
                  <a:cubicBezTo>
                    <a:pt x="10858" y="154775"/>
                    <a:pt x="1080" y="145390"/>
                    <a:pt x="0" y="140329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200E02D-86BE-B6A6-5228-38A5C7096EAA}"/>
                </a:ext>
              </a:extLst>
            </p:cNvPr>
            <p:cNvSpPr/>
            <p:nvPr/>
          </p:nvSpPr>
          <p:spPr>
            <a:xfrm>
              <a:off x="7261542" y="4192352"/>
              <a:ext cx="29588" cy="399351"/>
            </a:xfrm>
            <a:custGeom>
              <a:avLst/>
              <a:gdLst>
                <a:gd name="connsiteX0" fmla="*/ 0 w 29588"/>
                <a:gd name="connsiteY0" fmla="*/ 399352 h 399351"/>
                <a:gd name="connsiteX1" fmla="*/ 3492 w 29588"/>
                <a:gd name="connsiteY1" fmla="*/ 359454 h 399351"/>
                <a:gd name="connsiteX2" fmla="*/ 10033 w 29588"/>
                <a:gd name="connsiteY2" fmla="*/ 319805 h 399351"/>
                <a:gd name="connsiteX3" fmla="*/ 8572 w 29588"/>
                <a:gd name="connsiteY3" fmla="*/ 279533 h 399351"/>
                <a:gd name="connsiteX4" fmla="*/ 12382 w 29588"/>
                <a:gd name="connsiteY4" fmla="*/ 239636 h 399351"/>
                <a:gd name="connsiteX5" fmla="*/ 18034 w 29588"/>
                <a:gd name="connsiteY5" fmla="*/ 199987 h 399351"/>
                <a:gd name="connsiteX6" fmla="*/ 19050 w 29588"/>
                <a:gd name="connsiteY6" fmla="*/ 159963 h 399351"/>
                <a:gd name="connsiteX7" fmla="*/ 22860 w 29588"/>
                <a:gd name="connsiteY7" fmla="*/ 120066 h 399351"/>
                <a:gd name="connsiteX8" fmla="*/ 26860 w 29588"/>
                <a:gd name="connsiteY8" fmla="*/ 80169 h 399351"/>
                <a:gd name="connsiteX9" fmla="*/ 29210 w 29588"/>
                <a:gd name="connsiteY9" fmla="*/ 40144 h 399351"/>
                <a:gd name="connsiteX10" fmla="*/ 29210 w 29588"/>
                <a:gd name="connsiteY10" fmla="*/ 0 h 399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88" h="399351">
                  <a:moveTo>
                    <a:pt x="0" y="399352"/>
                  </a:moveTo>
                  <a:cubicBezTo>
                    <a:pt x="1397" y="379469"/>
                    <a:pt x="2159" y="379469"/>
                    <a:pt x="3492" y="359454"/>
                  </a:cubicBezTo>
                  <a:cubicBezTo>
                    <a:pt x="4826" y="339446"/>
                    <a:pt x="8699" y="339814"/>
                    <a:pt x="10033" y="319805"/>
                  </a:cubicBezTo>
                  <a:cubicBezTo>
                    <a:pt x="11366" y="299796"/>
                    <a:pt x="7176" y="299548"/>
                    <a:pt x="8572" y="279533"/>
                  </a:cubicBezTo>
                  <a:cubicBezTo>
                    <a:pt x="9906" y="259524"/>
                    <a:pt x="11049" y="259652"/>
                    <a:pt x="12382" y="239636"/>
                  </a:cubicBezTo>
                  <a:cubicBezTo>
                    <a:pt x="13715" y="219627"/>
                    <a:pt x="16701" y="219875"/>
                    <a:pt x="18034" y="199987"/>
                  </a:cubicBezTo>
                  <a:cubicBezTo>
                    <a:pt x="19431" y="180099"/>
                    <a:pt x="17716" y="179851"/>
                    <a:pt x="19050" y="159963"/>
                  </a:cubicBezTo>
                  <a:cubicBezTo>
                    <a:pt x="20383" y="140081"/>
                    <a:pt x="21526" y="140081"/>
                    <a:pt x="22860" y="120066"/>
                  </a:cubicBezTo>
                  <a:cubicBezTo>
                    <a:pt x="24257" y="100057"/>
                    <a:pt x="25464" y="100178"/>
                    <a:pt x="26860" y="80169"/>
                  </a:cubicBezTo>
                  <a:cubicBezTo>
                    <a:pt x="28194" y="60160"/>
                    <a:pt x="27813" y="60160"/>
                    <a:pt x="29210" y="40144"/>
                  </a:cubicBezTo>
                  <a:cubicBezTo>
                    <a:pt x="30543" y="20136"/>
                    <a:pt x="27813" y="20015"/>
                    <a:pt x="2921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DEC8D0D-D791-913C-8EBE-4AF57757B9E2}"/>
                </a:ext>
              </a:extLst>
            </p:cNvPr>
            <p:cNvSpPr/>
            <p:nvPr/>
          </p:nvSpPr>
          <p:spPr>
            <a:xfrm>
              <a:off x="6649529" y="3403904"/>
              <a:ext cx="379221" cy="378720"/>
            </a:xfrm>
            <a:custGeom>
              <a:avLst/>
              <a:gdLst>
                <a:gd name="connsiteX0" fmla="*/ 379222 w 379221"/>
                <a:gd name="connsiteY0" fmla="*/ 378721 h 378720"/>
                <a:gd name="connsiteX1" fmla="*/ 350329 w 379221"/>
                <a:gd name="connsiteY1" fmla="*/ 349320 h 378720"/>
                <a:gd name="connsiteX2" fmla="*/ 318326 w 379221"/>
                <a:gd name="connsiteY2" fmla="*/ 323133 h 378720"/>
                <a:gd name="connsiteX3" fmla="*/ 289687 w 379221"/>
                <a:gd name="connsiteY3" fmla="*/ 293491 h 378720"/>
                <a:gd name="connsiteX4" fmla="*/ 260414 w 379221"/>
                <a:gd name="connsiteY4" fmla="*/ 264586 h 378720"/>
                <a:gd name="connsiteX5" fmla="*/ 232727 w 379221"/>
                <a:gd name="connsiteY5" fmla="*/ 233953 h 378720"/>
                <a:gd name="connsiteX6" fmla="*/ 204914 w 379221"/>
                <a:gd name="connsiteY6" fmla="*/ 203441 h 378720"/>
                <a:gd name="connsiteX7" fmla="*/ 172593 w 379221"/>
                <a:gd name="connsiteY7" fmla="*/ 177622 h 378720"/>
                <a:gd name="connsiteX8" fmla="*/ 146240 w 379221"/>
                <a:gd name="connsiteY8" fmla="*/ 145758 h 378720"/>
                <a:gd name="connsiteX9" fmla="*/ 118110 w 379221"/>
                <a:gd name="connsiteY9" fmla="*/ 115615 h 378720"/>
                <a:gd name="connsiteX10" fmla="*/ 88964 w 379221"/>
                <a:gd name="connsiteY10" fmla="*/ 86341 h 378720"/>
                <a:gd name="connsiteX11" fmla="*/ 57086 w 379221"/>
                <a:gd name="connsiteY11" fmla="*/ 59786 h 378720"/>
                <a:gd name="connsiteX12" fmla="*/ 28639 w 379221"/>
                <a:gd name="connsiteY12" fmla="*/ 29769 h 378720"/>
                <a:gd name="connsiteX13" fmla="*/ 0 w 379221"/>
                <a:gd name="connsiteY13" fmla="*/ 0 h 37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221" h="378720">
                  <a:moveTo>
                    <a:pt x="379222" y="378721"/>
                  </a:moveTo>
                  <a:cubicBezTo>
                    <a:pt x="364617" y="364147"/>
                    <a:pt x="364871" y="363900"/>
                    <a:pt x="350329" y="349320"/>
                  </a:cubicBezTo>
                  <a:cubicBezTo>
                    <a:pt x="335724" y="334747"/>
                    <a:pt x="332867" y="337585"/>
                    <a:pt x="318326" y="323133"/>
                  </a:cubicBezTo>
                  <a:cubicBezTo>
                    <a:pt x="303720" y="308686"/>
                    <a:pt x="304228" y="308064"/>
                    <a:pt x="289687" y="293491"/>
                  </a:cubicBezTo>
                  <a:cubicBezTo>
                    <a:pt x="275082" y="278911"/>
                    <a:pt x="274955" y="279159"/>
                    <a:pt x="260414" y="264586"/>
                  </a:cubicBezTo>
                  <a:cubicBezTo>
                    <a:pt x="245808" y="250012"/>
                    <a:pt x="247269" y="248526"/>
                    <a:pt x="232727" y="233953"/>
                  </a:cubicBezTo>
                  <a:cubicBezTo>
                    <a:pt x="218122" y="219373"/>
                    <a:pt x="219519" y="218015"/>
                    <a:pt x="204914" y="203441"/>
                  </a:cubicBezTo>
                  <a:cubicBezTo>
                    <a:pt x="190373" y="188868"/>
                    <a:pt x="187134" y="192202"/>
                    <a:pt x="172593" y="177622"/>
                  </a:cubicBezTo>
                  <a:cubicBezTo>
                    <a:pt x="157988" y="163049"/>
                    <a:pt x="160845" y="160211"/>
                    <a:pt x="146240" y="145758"/>
                  </a:cubicBezTo>
                  <a:cubicBezTo>
                    <a:pt x="131699" y="131306"/>
                    <a:pt x="132652" y="130194"/>
                    <a:pt x="118110" y="115615"/>
                  </a:cubicBezTo>
                  <a:cubicBezTo>
                    <a:pt x="103505" y="101042"/>
                    <a:pt x="103505" y="100914"/>
                    <a:pt x="88964" y="86341"/>
                  </a:cubicBezTo>
                  <a:cubicBezTo>
                    <a:pt x="74358" y="71768"/>
                    <a:pt x="71755" y="74359"/>
                    <a:pt x="57086" y="59786"/>
                  </a:cubicBezTo>
                  <a:cubicBezTo>
                    <a:pt x="42354" y="45206"/>
                    <a:pt x="43243" y="44342"/>
                    <a:pt x="28639" y="29769"/>
                  </a:cubicBezTo>
                  <a:cubicBezTo>
                    <a:pt x="14097" y="15189"/>
                    <a:pt x="14605" y="14574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0F868E4-F45D-7F90-1125-A7927E5D4932}"/>
                </a:ext>
              </a:extLst>
            </p:cNvPr>
            <p:cNvSpPr/>
            <p:nvPr/>
          </p:nvSpPr>
          <p:spPr>
            <a:xfrm>
              <a:off x="6498716" y="3412794"/>
              <a:ext cx="806888" cy="2147303"/>
            </a:xfrm>
            <a:custGeom>
              <a:avLst/>
              <a:gdLst>
                <a:gd name="connsiteX0" fmla="*/ 755078 w 806888"/>
                <a:gd name="connsiteY0" fmla="*/ 1338135 h 2147303"/>
                <a:gd name="connsiteX1" fmla="*/ 744093 w 806888"/>
                <a:gd name="connsiteY1" fmla="*/ 1376058 h 2147303"/>
                <a:gd name="connsiteX2" fmla="*/ 740854 w 806888"/>
                <a:gd name="connsiteY2" fmla="*/ 1415212 h 2147303"/>
                <a:gd name="connsiteX3" fmla="*/ 732853 w 806888"/>
                <a:gd name="connsiteY3" fmla="*/ 1453630 h 2147303"/>
                <a:gd name="connsiteX4" fmla="*/ 727139 w 806888"/>
                <a:gd name="connsiteY4" fmla="*/ 1492415 h 2147303"/>
                <a:gd name="connsiteX5" fmla="*/ 719264 w 806888"/>
                <a:gd name="connsiteY5" fmla="*/ 1530833 h 2147303"/>
                <a:gd name="connsiteX6" fmla="*/ 713930 w 806888"/>
                <a:gd name="connsiteY6" fmla="*/ 1569739 h 2147303"/>
                <a:gd name="connsiteX7" fmla="*/ 706311 w 806888"/>
                <a:gd name="connsiteY7" fmla="*/ 1608157 h 2147303"/>
                <a:gd name="connsiteX8" fmla="*/ 702818 w 806888"/>
                <a:gd name="connsiteY8" fmla="*/ 1647311 h 2147303"/>
                <a:gd name="connsiteX9" fmla="*/ 692467 w 806888"/>
                <a:gd name="connsiteY9" fmla="*/ 1685360 h 2147303"/>
                <a:gd name="connsiteX10" fmla="*/ 684911 w 806888"/>
                <a:gd name="connsiteY10" fmla="*/ 1723898 h 2147303"/>
                <a:gd name="connsiteX11" fmla="*/ 680466 w 806888"/>
                <a:gd name="connsiteY11" fmla="*/ 1762932 h 2147303"/>
                <a:gd name="connsiteX12" fmla="*/ 674878 w 806888"/>
                <a:gd name="connsiteY12" fmla="*/ 1801838 h 2147303"/>
                <a:gd name="connsiteX13" fmla="*/ 664274 w 806888"/>
                <a:gd name="connsiteY13" fmla="*/ 1840630 h 2147303"/>
                <a:gd name="connsiteX14" fmla="*/ 686245 w 806888"/>
                <a:gd name="connsiteY14" fmla="*/ 1872494 h 2147303"/>
                <a:gd name="connsiteX15" fmla="*/ 704914 w 806888"/>
                <a:gd name="connsiteY15" fmla="*/ 1905229 h 2147303"/>
                <a:gd name="connsiteX16" fmla="*/ 722249 w 806888"/>
                <a:gd name="connsiteY16" fmla="*/ 1938827 h 2147303"/>
                <a:gd name="connsiteX17" fmla="*/ 740029 w 806888"/>
                <a:gd name="connsiteY17" fmla="*/ 1972183 h 2147303"/>
                <a:gd name="connsiteX18" fmla="*/ 757047 w 806888"/>
                <a:gd name="connsiteY18" fmla="*/ 2005902 h 2147303"/>
                <a:gd name="connsiteX19" fmla="*/ 778065 w 806888"/>
                <a:gd name="connsiteY19" fmla="*/ 2037525 h 2147303"/>
                <a:gd name="connsiteX20" fmla="*/ 798322 w 806888"/>
                <a:gd name="connsiteY20" fmla="*/ 2069884 h 2147303"/>
                <a:gd name="connsiteX21" fmla="*/ 802513 w 806888"/>
                <a:gd name="connsiteY21" fmla="*/ 2103978 h 2147303"/>
                <a:gd name="connsiteX22" fmla="*/ 804736 w 806888"/>
                <a:gd name="connsiteY22" fmla="*/ 2137334 h 2147303"/>
                <a:gd name="connsiteX23" fmla="*/ 762127 w 806888"/>
                <a:gd name="connsiteY23" fmla="*/ 2139061 h 2147303"/>
                <a:gd name="connsiteX24" fmla="*/ 717677 w 806888"/>
                <a:gd name="connsiteY24" fmla="*/ 2139061 h 2147303"/>
                <a:gd name="connsiteX25" fmla="*/ 684149 w 806888"/>
                <a:gd name="connsiteY25" fmla="*/ 2113490 h 2147303"/>
                <a:gd name="connsiteX26" fmla="*/ 665416 w 806888"/>
                <a:gd name="connsiteY26" fmla="*/ 2075942 h 2147303"/>
                <a:gd name="connsiteX27" fmla="*/ 648843 w 806888"/>
                <a:gd name="connsiteY27" fmla="*/ 2037645 h 2147303"/>
                <a:gd name="connsiteX28" fmla="*/ 630809 w 806888"/>
                <a:gd name="connsiteY28" fmla="*/ 1999723 h 2147303"/>
                <a:gd name="connsiteX29" fmla="*/ 621538 w 806888"/>
                <a:gd name="connsiteY29" fmla="*/ 1958594 h 2147303"/>
                <a:gd name="connsiteX30" fmla="*/ 608838 w 806888"/>
                <a:gd name="connsiteY30" fmla="*/ 1918818 h 2147303"/>
                <a:gd name="connsiteX31" fmla="*/ 594106 w 806888"/>
                <a:gd name="connsiteY31" fmla="*/ 1879416 h 2147303"/>
                <a:gd name="connsiteX32" fmla="*/ 591376 w 806888"/>
                <a:gd name="connsiteY32" fmla="*/ 1915109 h 2147303"/>
                <a:gd name="connsiteX33" fmla="*/ 591058 w 806888"/>
                <a:gd name="connsiteY33" fmla="*/ 1950809 h 2147303"/>
                <a:gd name="connsiteX34" fmla="*/ 593408 w 806888"/>
                <a:gd name="connsiteY34" fmla="*/ 1987867 h 2147303"/>
                <a:gd name="connsiteX35" fmla="*/ 557530 w 806888"/>
                <a:gd name="connsiteY35" fmla="*/ 1983791 h 2147303"/>
                <a:gd name="connsiteX36" fmla="*/ 522351 w 806888"/>
                <a:gd name="connsiteY36" fmla="*/ 1942656 h 2147303"/>
                <a:gd name="connsiteX37" fmla="*/ 498030 w 806888"/>
                <a:gd name="connsiteY37" fmla="*/ 1968595 h 2147303"/>
                <a:gd name="connsiteX38" fmla="*/ 455549 w 806888"/>
                <a:gd name="connsiteY38" fmla="*/ 1968595 h 2147303"/>
                <a:gd name="connsiteX39" fmla="*/ 411798 w 806888"/>
                <a:gd name="connsiteY39" fmla="*/ 1970329 h 2147303"/>
                <a:gd name="connsiteX40" fmla="*/ 368300 w 806888"/>
                <a:gd name="connsiteY40" fmla="*/ 1965636 h 2147303"/>
                <a:gd name="connsiteX41" fmla="*/ 325120 w 806888"/>
                <a:gd name="connsiteY41" fmla="*/ 1959705 h 2147303"/>
                <a:gd name="connsiteX42" fmla="*/ 284099 w 806888"/>
                <a:gd name="connsiteY42" fmla="*/ 1948955 h 2147303"/>
                <a:gd name="connsiteX43" fmla="*/ 319151 w 806888"/>
                <a:gd name="connsiteY43" fmla="*/ 1925860 h 2147303"/>
                <a:gd name="connsiteX44" fmla="*/ 357696 w 806888"/>
                <a:gd name="connsiteY44" fmla="*/ 1910048 h 2147303"/>
                <a:gd name="connsiteX45" fmla="*/ 397701 w 806888"/>
                <a:gd name="connsiteY45" fmla="*/ 1898066 h 2147303"/>
                <a:gd name="connsiteX46" fmla="*/ 435420 w 806888"/>
                <a:gd name="connsiteY46" fmla="*/ 1879905 h 2147303"/>
                <a:gd name="connsiteX47" fmla="*/ 475425 w 806888"/>
                <a:gd name="connsiteY47" fmla="*/ 1867554 h 2147303"/>
                <a:gd name="connsiteX48" fmla="*/ 510350 w 806888"/>
                <a:gd name="connsiteY48" fmla="*/ 1847793 h 2147303"/>
                <a:gd name="connsiteX49" fmla="*/ 510223 w 806888"/>
                <a:gd name="connsiteY49" fmla="*/ 1808512 h 2147303"/>
                <a:gd name="connsiteX50" fmla="*/ 513207 w 806888"/>
                <a:gd name="connsiteY50" fmla="*/ 1767624 h 2147303"/>
                <a:gd name="connsiteX51" fmla="*/ 511239 w 806888"/>
                <a:gd name="connsiteY51" fmla="*/ 1726864 h 2147303"/>
                <a:gd name="connsiteX52" fmla="*/ 506794 w 806888"/>
                <a:gd name="connsiteY52" fmla="*/ 1686223 h 2147303"/>
                <a:gd name="connsiteX53" fmla="*/ 506413 w 806888"/>
                <a:gd name="connsiteY53" fmla="*/ 1645336 h 2147303"/>
                <a:gd name="connsiteX54" fmla="*/ 501967 w 806888"/>
                <a:gd name="connsiteY54" fmla="*/ 1604696 h 2147303"/>
                <a:gd name="connsiteX55" fmla="*/ 501714 w 806888"/>
                <a:gd name="connsiteY55" fmla="*/ 1563808 h 2147303"/>
                <a:gd name="connsiteX56" fmla="*/ 498412 w 806888"/>
                <a:gd name="connsiteY56" fmla="*/ 1523175 h 2147303"/>
                <a:gd name="connsiteX57" fmla="*/ 496888 w 806888"/>
                <a:gd name="connsiteY57" fmla="*/ 1482408 h 2147303"/>
                <a:gd name="connsiteX58" fmla="*/ 490093 w 806888"/>
                <a:gd name="connsiteY58" fmla="*/ 1442015 h 2147303"/>
                <a:gd name="connsiteX59" fmla="*/ 490347 w 806888"/>
                <a:gd name="connsiteY59" fmla="*/ 1401007 h 2147303"/>
                <a:gd name="connsiteX60" fmla="*/ 485394 w 806888"/>
                <a:gd name="connsiteY60" fmla="*/ 1360494 h 2147303"/>
                <a:gd name="connsiteX61" fmla="*/ 476885 w 806888"/>
                <a:gd name="connsiteY61" fmla="*/ 1320470 h 2147303"/>
                <a:gd name="connsiteX62" fmla="*/ 476885 w 806888"/>
                <a:gd name="connsiteY62" fmla="*/ 1279335 h 2147303"/>
                <a:gd name="connsiteX63" fmla="*/ 471107 w 806888"/>
                <a:gd name="connsiteY63" fmla="*/ 1238942 h 2147303"/>
                <a:gd name="connsiteX64" fmla="*/ 462598 w 806888"/>
                <a:gd name="connsiteY64" fmla="*/ 1198925 h 2147303"/>
                <a:gd name="connsiteX65" fmla="*/ 459232 w 806888"/>
                <a:gd name="connsiteY65" fmla="*/ 1158158 h 2147303"/>
                <a:gd name="connsiteX66" fmla="*/ 450215 w 806888"/>
                <a:gd name="connsiteY66" fmla="*/ 1118260 h 2147303"/>
                <a:gd name="connsiteX67" fmla="*/ 443039 w 806888"/>
                <a:gd name="connsiteY67" fmla="*/ 1078116 h 2147303"/>
                <a:gd name="connsiteX68" fmla="*/ 438849 w 806888"/>
                <a:gd name="connsiteY68" fmla="*/ 1037476 h 2147303"/>
                <a:gd name="connsiteX69" fmla="*/ 431165 w 806888"/>
                <a:gd name="connsiteY69" fmla="*/ 997331 h 2147303"/>
                <a:gd name="connsiteX70" fmla="*/ 419481 w 806888"/>
                <a:gd name="connsiteY70" fmla="*/ 958050 h 2147303"/>
                <a:gd name="connsiteX71" fmla="*/ 416497 w 806888"/>
                <a:gd name="connsiteY71" fmla="*/ 917042 h 2147303"/>
                <a:gd name="connsiteX72" fmla="*/ 405892 w 806888"/>
                <a:gd name="connsiteY72" fmla="*/ 877640 h 2147303"/>
                <a:gd name="connsiteX73" fmla="*/ 393890 w 806888"/>
                <a:gd name="connsiteY73" fmla="*/ 838479 h 2147303"/>
                <a:gd name="connsiteX74" fmla="*/ 387731 w 806888"/>
                <a:gd name="connsiteY74" fmla="*/ 797966 h 2147303"/>
                <a:gd name="connsiteX75" fmla="*/ 378333 w 806888"/>
                <a:gd name="connsiteY75" fmla="*/ 758311 h 2147303"/>
                <a:gd name="connsiteX76" fmla="*/ 363855 w 806888"/>
                <a:gd name="connsiteY76" fmla="*/ 719900 h 2147303"/>
                <a:gd name="connsiteX77" fmla="*/ 353504 w 806888"/>
                <a:gd name="connsiteY77" fmla="*/ 680491 h 2147303"/>
                <a:gd name="connsiteX78" fmla="*/ 343599 w 806888"/>
                <a:gd name="connsiteY78" fmla="*/ 640963 h 2147303"/>
                <a:gd name="connsiteX79" fmla="*/ 334963 w 806888"/>
                <a:gd name="connsiteY79" fmla="*/ 601066 h 2147303"/>
                <a:gd name="connsiteX80" fmla="*/ 322263 w 806888"/>
                <a:gd name="connsiteY80" fmla="*/ 562280 h 2147303"/>
                <a:gd name="connsiteX81" fmla="*/ 307150 w 806888"/>
                <a:gd name="connsiteY81" fmla="*/ 524237 h 2147303"/>
                <a:gd name="connsiteX82" fmla="*/ 294958 w 806888"/>
                <a:gd name="connsiteY82" fmla="*/ 485324 h 2147303"/>
                <a:gd name="connsiteX83" fmla="*/ 284544 w 806888"/>
                <a:gd name="connsiteY83" fmla="*/ 445795 h 2147303"/>
                <a:gd name="connsiteX84" fmla="*/ 268669 w 806888"/>
                <a:gd name="connsiteY84" fmla="*/ 408248 h 2147303"/>
                <a:gd name="connsiteX85" fmla="*/ 257747 w 806888"/>
                <a:gd name="connsiteY85" fmla="*/ 368719 h 2147303"/>
                <a:gd name="connsiteX86" fmla="*/ 242570 w 806888"/>
                <a:gd name="connsiteY86" fmla="*/ 330924 h 2147303"/>
                <a:gd name="connsiteX87" fmla="*/ 226504 w 806888"/>
                <a:gd name="connsiteY87" fmla="*/ 293370 h 2147303"/>
                <a:gd name="connsiteX88" fmla="*/ 207137 w 806888"/>
                <a:gd name="connsiteY88" fmla="*/ 257302 h 2147303"/>
                <a:gd name="connsiteX89" fmla="*/ 192024 w 806888"/>
                <a:gd name="connsiteY89" fmla="*/ 219501 h 2147303"/>
                <a:gd name="connsiteX90" fmla="*/ 177355 w 806888"/>
                <a:gd name="connsiteY90" fmla="*/ 181458 h 2147303"/>
                <a:gd name="connsiteX91" fmla="*/ 159957 w 806888"/>
                <a:gd name="connsiteY91" fmla="*/ 144647 h 2147303"/>
                <a:gd name="connsiteX92" fmla="*/ 141161 w 806888"/>
                <a:gd name="connsiteY92" fmla="*/ 108579 h 2147303"/>
                <a:gd name="connsiteX93" fmla="*/ 124142 w 806888"/>
                <a:gd name="connsiteY93" fmla="*/ 71520 h 2147303"/>
                <a:gd name="connsiteX94" fmla="*/ 101664 w 806888"/>
                <a:gd name="connsiteY94" fmla="*/ 39033 h 2147303"/>
                <a:gd name="connsiteX95" fmla="*/ 64579 w 806888"/>
                <a:gd name="connsiteY95" fmla="*/ 30391 h 2147303"/>
                <a:gd name="connsiteX96" fmla="*/ 25781 w 806888"/>
                <a:gd name="connsiteY96" fmla="*/ 26188 h 2147303"/>
                <a:gd name="connsiteX97" fmla="*/ 0 w 806888"/>
                <a:gd name="connsiteY97" fmla="*/ 0 h 214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06888" h="2147303">
                  <a:moveTo>
                    <a:pt x="755078" y="1338135"/>
                  </a:moveTo>
                  <a:cubicBezTo>
                    <a:pt x="751713" y="1357401"/>
                    <a:pt x="747395" y="1356665"/>
                    <a:pt x="744093" y="1376058"/>
                  </a:cubicBezTo>
                  <a:cubicBezTo>
                    <a:pt x="740727" y="1395451"/>
                    <a:pt x="744093" y="1395940"/>
                    <a:pt x="740854" y="1415212"/>
                  </a:cubicBezTo>
                  <a:cubicBezTo>
                    <a:pt x="737679" y="1434484"/>
                    <a:pt x="736155" y="1434237"/>
                    <a:pt x="732853" y="1453630"/>
                  </a:cubicBezTo>
                  <a:cubicBezTo>
                    <a:pt x="729488" y="1473022"/>
                    <a:pt x="730504" y="1473143"/>
                    <a:pt x="727139" y="1492415"/>
                  </a:cubicBezTo>
                  <a:cubicBezTo>
                    <a:pt x="723837" y="1511681"/>
                    <a:pt x="722566" y="1511561"/>
                    <a:pt x="719264" y="1530833"/>
                  </a:cubicBezTo>
                  <a:cubicBezTo>
                    <a:pt x="715899" y="1550098"/>
                    <a:pt x="717296" y="1550346"/>
                    <a:pt x="713930" y="1569739"/>
                  </a:cubicBezTo>
                  <a:cubicBezTo>
                    <a:pt x="710628" y="1589132"/>
                    <a:pt x="709613" y="1588884"/>
                    <a:pt x="706311" y="1608157"/>
                  </a:cubicBezTo>
                  <a:cubicBezTo>
                    <a:pt x="702945" y="1627429"/>
                    <a:pt x="706184" y="1628045"/>
                    <a:pt x="702818" y="1647311"/>
                  </a:cubicBezTo>
                  <a:cubicBezTo>
                    <a:pt x="699516" y="1666583"/>
                    <a:pt x="695770" y="1665967"/>
                    <a:pt x="692467" y="1685360"/>
                  </a:cubicBezTo>
                  <a:cubicBezTo>
                    <a:pt x="689102" y="1704753"/>
                    <a:pt x="688277" y="1704505"/>
                    <a:pt x="684911" y="1723898"/>
                  </a:cubicBezTo>
                  <a:cubicBezTo>
                    <a:pt x="681609" y="1743291"/>
                    <a:pt x="683832" y="1743539"/>
                    <a:pt x="680466" y="1762932"/>
                  </a:cubicBezTo>
                  <a:cubicBezTo>
                    <a:pt x="677101" y="1782325"/>
                    <a:pt x="678244" y="1782445"/>
                    <a:pt x="674878" y="1801838"/>
                  </a:cubicBezTo>
                  <a:cubicBezTo>
                    <a:pt x="671576" y="1821237"/>
                    <a:pt x="661099" y="1821358"/>
                    <a:pt x="664274" y="1840630"/>
                  </a:cubicBezTo>
                  <a:cubicBezTo>
                    <a:pt x="667512" y="1859896"/>
                    <a:pt x="676910" y="1856067"/>
                    <a:pt x="686245" y="1872494"/>
                  </a:cubicBezTo>
                  <a:cubicBezTo>
                    <a:pt x="695642" y="1888928"/>
                    <a:pt x="695642" y="1888801"/>
                    <a:pt x="704914" y="1905229"/>
                  </a:cubicBezTo>
                  <a:cubicBezTo>
                    <a:pt x="714185" y="1921656"/>
                    <a:pt x="712851" y="1922399"/>
                    <a:pt x="722249" y="1938827"/>
                  </a:cubicBezTo>
                  <a:cubicBezTo>
                    <a:pt x="731584" y="1955260"/>
                    <a:pt x="730631" y="1955749"/>
                    <a:pt x="740029" y="1972183"/>
                  </a:cubicBezTo>
                  <a:cubicBezTo>
                    <a:pt x="749364" y="1988610"/>
                    <a:pt x="747776" y="1989474"/>
                    <a:pt x="757047" y="2005902"/>
                  </a:cubicBezTo>
                  <a:cubicBezTo>
                    <a:pt x="766318" y="2022329"/>
                    <a:pt x="768667" y="2021097"/>
                    <a:pt x="778065" y="2037525"/>
                  </a:cubicBezTo>
                  <a:cubicBezTo>
                    <a:pt x="787464" y="2053952"/>
                    <a:pt x="792163" y="2051977"/>
                    <a:pt x="798322" y="2069884"/>
                  </a:cubicBezTo>
                  <a:cubicBezTo>
                    <a:pt x="803847" y="2085943"/>
                    <a:pt x="800164" y="2087054"/>
                    <a:pt x="802513" y="2103978"/>
                  </a:cubicBezTo>
                  <a:cubicBezTo>
                    <a:pt x="804863" y="2120900"/>
                    <a:pt x="809689" y="2121027"/>
                    <a:pt x="804736" y="2137334"/>
                  </a:cubicBezTo>
                  <a:cubicBezTo>
                    <a:pt x="798449" y="2158575"/>
                    <a:pt x="790512" y="2139309"/>
                    <a:pt x="762127" y="2139061"/>
                  </a:cubicBezTo>
                  <a:cubicBezTo>
                    <a:pt x="749617" y="2138934"/>
                    <a:pt x="734695" y="2141163"/>
                    <a:pt x="717677" y="2139061"/>
                  </a:cubicBezTo>
                  <a:cubicBezTo>
                    <a:pt x="707390" y="2137823"/>
                    <a:pt x="694817" y="2128317"/>
                    <a:pt x="684149" y="2113490"/>
                  </a:cubicBezTo>
                  <a:cubicBezTo>
                    <a:pt x="677037" y="2103488"/>
                    <a:pt x="672211" y="2089652"/>
                    <a:pt x="665416" y="2075942"/>
                  </a:cubicBezTo>
                  <a:cubicBezTo>
                    <a:pt x="659448" y="2064080"/>
                    <a:pt x="654431" y="2050987"/>
                    <a:pt x="648843" y="2037645"/>
                  </a:cubicBezTo>
                  <a:cubicBezTo>
                    <a:pt x="643255" y="2024304"/>
                    <a:pt x="635635" y="2012817"/>
                    <a:pt x="630809" y="1999723"/>
                  </a:cubicBezTo>
                  <a:cubicBezTo>
                    <a:pt x="625983" y="1986629"/>
                    <a:pt x="625729" y="1971313"/>
                    <a:pt x="621538" y="1958594"/>
                  </a:cubicBezTo>
                  <a:cubicBezTo>
                    <a:pt x="616712" y="1944014"/>
                    <a:pt x="612394" y="1930552"/>
                    <a:pt x="608838" y="1918818"/>
                  </a:cubicBezTo>
                  <a:cubicBezTo>
                    <a:pt x="601536" y="1894732"/>
                    <a:pt x="599313" y="1859280"/>
                    <a:pt x="594106" y="1879416"/>
                  </a:cubicBezTo>
                  <a:cubicBezTo>
                    <a:pt x="589661" y="1896707"/>
                    <a:pt x="591757" y="1897323"/>
                    <a:pt x="591376" y="1915109"/>
                  </a:cubicBezTo>
                  <a:cubicBezTo>
                    <a:pt x="591058" y="1932902"/>
                    <a:pt x="591376" y="1932902"/>
                    <a:pt x="591058" y="1950809"/>
                  </a:cubicBezTo>
                  <a:cubicBezTo>
                    <a:pt x="590677" y="1968722"/>
                    <a:pt x="606489" y="1975638"/>
                    <a:pt x="593408" y="1987867"/>
                  </a:cubicBezTo>
                  <a:cubicBezTo>
                    <a:pt x="580263" y="2000098"/>
                    <a:pt x="572262" y="1993176"/>
                    <a:pt x="557530" y="1983791"/>
                  </a:cubicBezTo>
                  <a:cubicBezTo>
                    <a:pt x="534607" y="1969217"/>
                    <a:pt x="548767" y="1949082"/>
                    <a:pt x="522351" y="1942656"/>
                  </a:cubicBezTo>
                  <a:cubicBezTo>
                    <a:pt x="504698" y="1938458"/>
                    <a:pt x="513207" y="1958467"/>
                    <a:pt x="498030" y="1968595"/>
                  </a:cubicBezTo>
                  <a:cubicBezTo>
                    <a:pt x="479997" y="1980705"/>
                    <a:pt x="481076" y="1969217"/>
                    <a:pt x="455549" y="1968595"/>
                  </a:cubicBezTo>
                  <a:cubicBezTo>
                    <a:pt x="442532" y="1968227"/>
                    <a:pt x="427355" y="1970945"/>
                    <a:pt x="411798" y="1970329"/>
                  </a:cubicBezTo>
                  <a:cubicBezTo>
                    <a:pt x="397320" y="1969707"/>
                    <a:pt x="382651" y="1966620"/>
                    <a:pt x="368300" y="1965636"/>
                  </a:cubicBezTo>
                  <a:cubicBezTo>
                    <a:pt x="352615" y="1964646"/>
                    <a:pt x="337947" y="1961312"/>
                    <a:pt x="325120" y="1959705"/>
                  </a:cubicBezTo>
                  <a:cubicBezTo>
                    <a:pt x="300164" y="1956740"/>
                    <a:pt x="282130" y="1954270"/>
                    <a:pt x="284099" y="1948955"/>
                  </a:cubicBezTo>
                  <a:cubicBezTo>
                    <a:pt x="286067" y="1943646"/>
                    <a:pt x="299529" y="1934750"/>
                    <a:pt x="319151" y="1925860"/>
                  </a:cubicBezTo>
                  <a:cubicBezTo>
                    <a:pt x="330137" y="1920920"/>
                    <a:pt x="343472" y="1915732"/>
                    <a:pt x="357696" y="1910048"/>
                  </a:cubicBezTo>
                  <a:cubicBezTo>
                    <a:pt x="369951" y="1905229"/>
                    <a:pt x="384239" y="1903254"/>
                    <a:pt x="397701" y="1898066"/>
                  </a:cubicBezTo>
                  <a:cubicBezTo>
                    <a:pt x="410464" y="1893126"/>
                    <a:pt x="422402" y="1884972"/>
                    <a:pt x="435420" y="1879905"/>
                  </a:cubicBezTo>
                  <a:cubicBezTo>
                    <a:pt x="448374" y="1874844"/>
                    <a:pt x="462788" y="1872742"/>
                    <a:pt x="475425" y="1867554"/>
                  </a:cubicBezTo>
                  <a:cubicBezTo>
                    <a:pt x="489014" y="1861998"/>
                    <a:pt x="498665" y="1853102"/>
                    <a:pt x="510350" y="1847793"/>
                  </a:cubicBezTo>
                  <a:cubicBezTo>
                    <a:pt x="510223" y="1834083"/>
                    <a:pt x="510350" y="1822101"/>
                    <a:pt x="510223" y="1808512"/>
                  </a:cubicBezTo>
                  <a:cubicBezTo>
                    <a:pt x="510159" y="1794923"/>
                    <a:pt x="513588" y="1781086"/>
                    <a:pt x="513207" y="1767624"/>
                  </a:cubicBezTo>
                  <a:cubicBezTo>
                    <a:pt x="512826" y="1754162"/>
                    <a:pt x="511747" y="1740326"/>
                    <a:pt x="511239" y="1726864"/>
                  </a:cubicBezTo>
                  <a:cubicBezTo>
                    <a:pt x="510730" y="1713395"/>
                    <a:pt x="507302" y="1699685"/>
                    <a:pt x="506794" y="1686223"/>
                  </a:cubicBezTo>
                  <a:cubicBezTo>
                    <a:pt x="506286" y="1672762"/>
                    <a:pt x="507048" y="1658925"/>
                    <a:pt x="506413" y="1645336"/>
                  </a:cubicBezTo>
                  <a:cubicBezTo>
                    <a:pt x="505777" y="1631747"/>
                    <a:pt x="502857" y="1618164"/>
                    <a:pt x="501967" y="1604696"/>
                  </a:cubicBezTo>
                  <a:cubicBezTo>
                    <a:pt x="501078" y="1591234"/>
                    <a:pt x="502602" y="1577277"/>
                    <a:pt x="501714" y="1563808"/>
                  </a:cubicBezTo>
                  <a:cubicBezTo>
                    <a:pt x="500888" y="1550346"/>
                    <a:pt x="499364" y="1536637"/>
                    <a:pt x="498412" y="1523175"/>
                  </a:cubicBezTo>
                  <a:cubicBezTo>
                    <a:pt x="497396" y="1509706"/>
                    <a:pt x="498030" y="1495876"/>
                    <a:pt x="496888" y="1482408"/>
                  </a:cubicBezTo>
                  <a:cubicBezTo>
                    <a:pt x="495808" y="1468946"/>
                    <a:pt x="491363" y="1455484"/>
                    <a:pt x="490093" y="1442015"/>
                  </a:cubicBezTo>
                  <a:cubicBezTo>
                    <a:pt x="488887" y="1428553"/>
                    <a:pt x="491744" y="1414469"/>
                    <a:pt x="490347" y="1401007"/>
                  </a:cubicBezTo>
                  <a:cubicBezTo>
                    <a:pt x="489014" y="1387545"/>
                    <a:pt x="486918" y="1373956"/>
                    <a:pt x="485394" y="1360494"/>
                  </a:cubicBezTo>
                  <a:cubicBezTo>
                    <a:pt x="483934" y="1347026"/>
                    <a:pt x="478536" y="1333811"/>
                    <a:pt x="476885" y="1320470"/>
                  </a:cubicBezTo>
                  <a:cubicBezTo>
                    <a:pt x="475298" y="1307128"/>
                    <a:pt x="478600" y="1292803"/>
                    <a:pt x="476885" y="1279335"/>
                  </a:cubicBezTo>
                  <a:cubicBezTo>
                    <a:pt x="475171" y="1265872"/>
                    <a:pt x="472948" y="1252284"/>
                    <a:pt x="471107" y="1238942"/>
                  </a:cubicBezTo>
                  <a:cubicBezTo>
                    <a:pt x="469265" y="1225601"/>
                    <a:pt x="464566" y="1212259"/>
                    <a:pt x="462598" y="1198925"/>
                  </a:cubicBezTo>
                  <a:cubicBezTo>
                    <a:pt x="460565" y="1185583"/>
                    <a:pt x="461327" y="1171499"/>
                    <a:pt x="459232" y="1158158"/>
                  </a:cubicBezTo>
                  <a:cubicBezTo>
                    <a:pt x="457137" y="1144816"/>
                    <a:pt x="452311" y="1131602"/>
                    <a:pt x="450215" y="1118260"/>
                  </a:cubicBezTo>
                  <a:cubicBezTo>
                    <a:pt x="448120" y="1104919"/>
                    <a:pt x="445262" y="1091330"/>
                    <a:pt x="443039" y="1078116"/>
                  </a:cubicBezTo>
                  <a:cubicBezTo>
                    <a:pt x="440817" y="1064901"/>
                    <a:pt x="441198" y="1050696"/>
                    <a:pt x="438849" y="1037476"/>
                  </a:cubicBezTo>
                  <a:cubicBezTo>
                    <a:pt x="436499" y="1024262"/>
                    <a:pt x="433641" y="1010672"/>
                    <a:pt x="431165" y="997331"/>
                  </a:cubicBezTo>
                  <a:cubicBezTo>
                    <a:pt x="428752" y="983990"/>
                    <a:pt x="422148" y="971271"/>
                    <a:pt x="419481" y="958050"/>
                  </a:cubicBezTo>
                  <a:cubicBezTo>
                    <a:pt x="416751" y="944836"/>
                    <a:pt x="419354" y="930136"/>
                    <a:pt x="416497" y="917042"/>
                  </a:cubicBezTo>
                  <a:cubicBezTo>
                    <a:pt x="413639" y="903948"/>
                    <a:pt x="408813" y="890734"/>
                    <a:pt x="405892" y="877640"/>
                  </a:cubicBezTo>
                  <a:cubicBezTo>
                    <a:pt x="402908" y="864546"/>
                    <a:pt x="397002" y="851573"/>
                    <a:pt x="393890" y="838479"/>
                  </a:cubicBezTo>
                  <a:cubicBezTo>
                    <a:pt x="390779" y="825386"/>
                    <a:pt x="390779" y="811060"/>
                    <a:pt x="387731" y="797966"/>
                  </a:cubicBezTo>
                  <a:cubicBezTo>
                    <a:pt x="384620" y="784873"/>
                    <a:pt x="381635" y="771284"/>
                    <a:pt x="378333" y="758311"/>
                  </a:cubicBezTo>
                  <a:cubicBezTo>
                    <a:pt x="374967" y="745344"/>
                    <a:pt x="367348" y="732866"/>
                    <a:pt x="363855" y="719900"/>
                  </a:cubicBezTo>
                  <a:cubicBezTo>
                    <a:pt x="360426" y="706927"/>
                    <a:pt x="357061" y="693465"/>
                    <a:pt x="353504" y="680491"/>
                  </a:cubicBezTo>
                  <a:cubicBezTo>
                    <a:pt x="349949" y="667525"/>
                    <a:pt x="347345" y="653815"/>
                    <a:pt x="343599" y="640963"/>
                  </a:cubicBezTo>
                  <a:cubicBezTo>
                    <a:pt x="339915" y="628117"/>
                    <a:pt x="338773" y="613912"/>
                    <a:pt x="334963" y="601066"/>
                  </a:cubicBezTo>
                  <a:cubicBezTo>
                    <a:pt x="331152" y="588220"/>
                    <a:pt x="326327" y="575005"/>
                    <a:pt x="322263" y="562280"/>
                  </a:cubicBezTo>
                  <a:cubicBezTo>
                    <a:pt x="318199" y="549561"/>
                    <a:pt x="311404" y="536956"/>
                    <a:pt x="307150" y="524237"/>
                  </a:cubicBezTo>
                  <a:cubicBezTo>
                    <a:pt x="302959" y="511511"/>
                    <a:pt x="299149" y="498049"/>
                    <a:pt x="294958" y="485324"/>
                  </a:cubicBezTo>
                  <a:cubicBezTo>
                    <a:pt x="290766" y="472605"/>
                    <a:pt x="288925" y="458400"/>
                    <a:pt x="284544" y="445795"/>
                  </a:cubicBezTo>
                  <a:cubicBezTo>
                    <a:pt x="280226" y="433197"/>
                    <a:pt x="273240" y="420725"/>
                    <a:pt x="268669" y="408248"/>
                  </a:cubicBezTo>
                  <a:cubicBezTo>
                    <a:pt x="264097" y="395770"/>
                    <a:pt x="262319" y="381197"/>
                    <a:pt x="257747" y="368719"/>
                  </a:cubicBezTo>
                  <a:cubicBezTo>
                    <a:pt x="252857" y="355626"/>
                    <a:pt x="247396" y="343148"/>
                    <a:pt x="242570" y="330924"/>
                  </a:cubicBezTo>
                  <a:cubicBezTo>
                    <a:pt x="237490" y="317830"/>
                    <a:pt x="231458" y="305600"/>
                    <a:pt x="226504" y="293370"/>
                  </a:cubicBezTo>
                  <a:cubicBezTo>
                    <a:pt x="221234" y="280276"/>
                    <a:pt x="212217" y="269405"/>
                    <a:pt x="207137" y="257302"/>
                  </a:cubicBezTo>
                  <a:cubicBezTo>
                    <a:pt x="201549" y="244329"/>
                    <a:pt x="197231" y="231362"/>
                    <a:pt x="192024" y="219501"/>
                  </a:cubicBezTo>
                  <a:cubicBezTo>
                    <a:pt x="186246" y="206407"/>
                    <a:pt x="182816" y="193072"/>
                    <a:pt x="177355" y="181458"/>
                  </a:cubicBezTo>
                  <a:cubicBezTo>
                    <a:pt x="171323" y="168243"/>
                    <a:pt x="165481" y="156013"/>
                    <a:pt x="159957" y="144647"/>
                  </a:cubicBezTo>
                  <a:cubicBezTo>
                    <a:pt x="153543" y="131305"/>
                    <a:pt x="146749" y="119450"/>
                    <a:pt x="141161" y="108579"/>
                  </a:cubicBezTo>
                  <a:cubicBezTo>
                    <a:pt x="133985" y="94494"/>
                    <a:pt x="129413" y="81528"/>
                    <a:pt x="124142" y="71520"/>
                  </a:cubicBezTo>
                  <a:cubicBezTo>
                    <a:pt x="111379" y="48051"/>
                    <a:pt x="119761" y="48177"/>
                    <a:pt x="101664" y="39033"/>
                  </a:cubicBezTo>
                  <a:cubicBezTo>
                    <a:pt x="83502" y="29896"/>
                    <a:pt x="85471" y="33598"/>
                    <a:pt x="64579" y="30391"/>
                  </a:cubicBezTo>
                  <a:cubicBezTo>
                    <a:pt x="52070" y="28410"/>
                    <a:pt x="37402" y="30391"/>
                    <a:pt x="25781" y="26188"/>
                  </a:cubicBezTo>
                  <a:cubicBezTo>
                    <a:pt x="10986" y="20752"/>
                    <a:pt x="1968" y="10751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9566CDD-0C8A-E63D-A49A-3A7C6FA88326}"/>
                </a:ext>
              </a:extLst>
            </p:cNvPr>
            <p:cNvSpPr/>
            <p:nvPr/>
          </p:nvSpPr>
          <p:spPr>
            <a:xfrm>
              <a:off x="7075184" y="4482526"/>
              <a:ext cx="97256" cy="261210"/>
            </a:xfrm>
            <a:custGeom>
              <a:avLst/>
              <a:gdLst>
                <a:gd name="connsiteX0" fmla="*/ 89075 w 97256"/>
                <a:gd name="connsiteY0" fmla="*/ 253704 h 261210"/>
                <a:gd name="connsiteX1" fmla="*/ 47800 w 97256"/>
                <a:gd name="connsiteY1" fmla="*/ 256669 h 261210"/>
                <a:gd name="connsiteX2" fmla="*/ 5573 w 97256"/>
                <a:gd name="connsiteY2" fmla="*/ 254815 h 261210"/>
                <a:gd name="connsiteX3" fmla="*/ 6780 w 97256"/>
                <a:gd name="connsiteY3" fmla="*/ 220106 h 261210"/>
                <a:gd name="connsiteX4" fmla="*/ 7287 w 97256"/>
                <a:gd name="connsiteY4" fmla="*/ 185765 h 261210"/>
                <a:gd name="connsiteX5" fmla="*/ 8748 w 97256"/>
                <a:gd name="connsiteY5" fmla="*/ 151793 h 261210"/>
                <a:gd name="connsiteX6" fmla="*/ 16178 w 97256"/>
                <a:gd name="connsiteY6" fmla="*/ 116588 h 261210"/>
                <a:gd name="connsiteX7" fmla="*/ 23353 w 97256"/>
                <a:gd name="connsiteY7" fmla="*/ 80895 h 261210"/>
                <a:gd name="connsiteX8" fmla="*/ 30656 w 97256"/>
                <a:gd name="connsiteY8" fmla="*/ 45195 h 261210"/>
                <a:gd name="connsiteX9" fmla="*/ 40879 w 97256"/>
                <a:gd name="connsiteY9" fmla="*/ 8257 h 261210"/>
                <a:gd name="connsiteX10" fmla="*/ 87679 w 97256"/>
                <a:gd name="connsiteY10" fmla="*/ 12956 h 261210"/>
                <a:gd name="connsiteX11" fmla="*/ 92378 w 97256"/>
                <a:gd name="connsiteY11" fmla="*/ 51246 h 261210"/>
                <a:gd name="connsiteX12" fmla="*/ 87107 w 97256"/>
                <a:gd name="connsiteY12" fmla="*/ 91760 h 261210"/>
                <a:gd name="connsiteX13" fmla="*/ 89457 w 97256"/>
                <a:gd name="connsiteY13" fmla="*/ 132400 h 261210"/>
                <a:gd name="connsiteX14" fmla="*/ 86980 w 97256"/>
                <a:gd name="connsiteY14" fmla="*/ 173039 h 261210"/>
                <a:gd name="connsiteX15" fmla="*/ 90790 w 97256"/>
                <a:gd name="connsiteY15" fmla="*/ 213432 h 261210"/>
                <a:gd name="connsiteX16" fmla="*/ 89075 w 97256"/>
                <a:gd name="connsiteY16" fmla="*/ 253704 h 261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256" h="261210">
                  <a:moveTo>
                    <a:pt x="89075" y="253704"/>
                  </a:moveTo>
                  <a:cubicBezTo>
                    <a:pt x="74026" y="268277"/>
                    <a:pt x="68819" y="256669"/>
                    <a:pt x="47800" y="256669"/>
                  </a:cubicBezTo>
                  <a:cubicBezTo>
                    <a:pt x="26782" y="256669"/>
                    <a:pt x="21893" y="268029"/>
                    <a:pt x="5573" y="254815"/>
                  </a:cubicBezTo>
                  <a:cubicBezTo>
                    <a:pt x="-7635" y="243944"/>
                    <a:pt x="6780" y="237270"/>
                    <a:pt x="6780" y="220106"/>
                  </a:cubicBezTo>
                  <a:cubicBezTo>
                    <a:pt x="6780" y="202935"/>
                    <a:pt x="7287" y="202935"/>
                    <a:pt x="7287" y="185765"/>
                  </a:cubicBezTo>
                  <a:cubicBezTo>
                    <a:pt x="7287" y="168595"/>
                    <a:pt x="6525" y="168842"/>
                    <a:pt x="8748" y="151793"/>
                  </a:cubicBezTo>
                  <a:cubicBezTo>
                    <a:pt x="11097" y="133759"/>
                    <a:pt x="11606" y="134133"/>
                    <a:pt x="16178" y="116588"/>
                  </a:cubicBezTo>
                  <a:cubicBezTo>
                    <a:pt x="20749" y="99049"/>
                    <a:pt x="18781" y="98554"/>
                    <a:pt x="23353" y="80895"/>
                  </a:cubicBezTo>
                  <a:cubicBezTo>
                    <a:pt x="27925" y="63229"/>
                    <a:pt x="26084" y="62861"/>
                    <a:pt x="30656" y="45195"/>
                  </a:cubicBezTo>
                  <a:cubicBezTo>
                    <a:pt x="35228" y="27529"/>
                    <a:pt x="25448" y="17897"/>
                    <a:pt x="40879" y="8257"/>
                  </a:cubicBezTo>
                  <a:cubicBezTo>
                    <a:pt x="60882" y="-4214"/>
                    <a:pt x="69771" y="-2487"/>
                    <a:pt x="87679" y="12956"/>
                  </a:cubicBezTo>
                  <a:cubicBezTo>
                    <a:pt x="103046" y="26170"/>
                    <a:pt x="92378" y="30990"/>
                    <a:pt x="92378" y="51246"/>
                  </a:cubicBezTo>
                  <a:cubicBezTo>
                    <a:pt x="92378" y="71503"/>
                    <a:pt x="87107" y="71503"/>
                    <a:pt x="87107" y="91760"/>
                  </a:cubicBezTo>
                  <a:cubicBezTo>
                    <a:pt x="87107" y="112023"/>
                    <a:pt x="89457" y="112023"/>
                    <a:pt x="89457" y="132400"/>
                  </a:cubicBezTo>
                  <a:cubicBezTo>
                    <a:pt x="89457" y="152783"/>
                    <a:pt x="86980" y="152656"/>
                    <a:pt x="86980" y="173039"/>
                  </a:cubicBezTo>
                  <a:cubicBezTo>
                    <a:pt x="86980" y="193423"/>
                    <a:pt x="86599" y="193544"/>
                    <a:pt x="90790" y="213432"/>
                  </a:cubicBezTo>
                  <a:cubicBezTo>
                    <a:pt x="95235" y="234431"/>
                    <a:pt x="103617" y="239499"/>
                    <a:pt x="89075" y="253704"/>
                  </a:cubicBez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6595028-1482-98A6-71BC-EE7D1B044FCE}"/>
                </a:ext>
              </a:extLst>
            </p:cNvPr>
            <p:cNvSpPr/>
            <p:nvPr/>
          </p:nvSpPr>
          <p:spPr>
            <a:xfrm>
              <a:off x="7166356" y="4590329"/>
              <a:ext cx="427455" cy="83526"/>
            </a:xfrm>
            <a:custGeom>
              <a:avLst/>
              <a:gdLst>
                <a:gd name="connsiteX0" fmla="*/ 265811 w 427455"/>
                <a:gd name="connsiteY0" fmla="*/ 8169 h 83526"/>
                <a:gd name="connsiteX1" fmla="*/ 304609 w 427455"/>
                <a:gd name="connsiteY1" fmla="*/ 6315 h 83526"/>
                <a:gd name="connsiteX2" fmla="*/ 343408 w 427455"/>
                <a:gd name="connsiteY2" fmla="*/ 6067 h 83526"/>
                <a:gd name="connsiteX3" fmla="*/ 382143 w 427455"/>
                <a:gd name="connsiteY3" fmla="*/ 5819 h 83526"/>
                <a:gd name="connsiteX4" fmla="*/ 420688 w 427455"/>
                <a:gd name="connsiteY4" fmla="*/ 5819 h 83526"/>
                <a:gd name="connsiteX5" fmla="*/ 421322 w 427455"/>
                <a:gd name="connsiteY5" fmla="*/ 41024 h 83526"/>
                <a:gd name="connsiteX6" fmla="*/ 421449 w 427455"/>
                <a:gd name="connsiteY6" fmla="*/ 77219 h 83526"/>
                <a:gd name="connsiteX7" fmla="*/ 378840 w 427455"/>
                <a:gd name="connsiteY7" fmla="*/ 78209 h 83526"/>
                <a:gd name="connsiteX8" fmla="*/ 336867 w 427455"/>
                <a:gd name="connsiteY8" fmla="*/ 74380 h 83526"/>
                <a:gd name="connsiteX9" fmla="*/ 294703 w 427455"/>
                <a:gd name="connsiteY9" fmla="*/ 79441 h 83526"/>
                <a:gd name="connsiteX10" fmla="*/ 252602 w 427455"/>
                <a:gd name="connsiteY10" fmla="*/ 74006 h 83526"/>
                <a:gd name="connsiteX11" fmla="*/ 210629 w 427455"/>
                <a:gd name="connsiteY11" fmla="*/ 79073 h 83526"/>
                <a:gd name="connsiteX12" fmla="*/ 168465 w 427455"/>
                <a:gd name="connsiteY12" fmla="*/ 79568 h 83526"/>
                <a:gd name="connsiteX13" fmla="*/ 126364 w 427455"/>
                <a:gd name="connsiteY13" fmla="*/ 77714 h 83526"/>
                <a:gd name="connsiteX14" fmla="*/ 84264 w 427455"/>
                <a:gd name="connsiteY14" fmla="*/ 73758 h 83526"/>
                <a:gd name="connsiteX15" fmla="*/ 42100 w 427455"/>
                <a:gd name="connsiteY15" fmla="*/ 75860 h 83526"/>
                <a:gd name="connsiteX16" fmla="*/ 0 w 427455"/>
                <a:gd name="connsiteY16" fmla="*/ 75492 h 8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7455" h="83526">
                  <a:moveTo>
                    <a:pt x="265811" y="8169"/>
                  </a:moveTo>
                  <a:cubicBezTo>
                    <a:pt x="285178" y="8169"/>
                    <a:pt x="285178" y="6315"/>
                    <a:pt x="304609" y="6315"/>
                  </a:cubicBezTo>
                  <a:cubicBezTo>
                    <a:pt x="323976" y="6315"/>
                    <a:pt x="323976" y="6067"/>
                    <a:pt x="343408" y="6067"/>
                  </a:cubicBezTo>
                  <a:cubicBezTo>
                    <a:pt x="362775" y="6067"/>
                    <a:pt x="362775" y="5819"/>
                    <a:pt x="382143" y="5819"/>
                  </a:cubicBezTo>
                  <a:cubicBezTo>
                    <a:pt x="401574" y="5819"/>
                    <a:pt x="406400" y="-7274"/>
                    <a:pt x="420688" y="5819"/>
                  </a:cubicBezTo>
                  <a:cubicBezTo>
                    <a:pt x="433832" y="17802"/>
                    <a:pt x="421322" y="23238"/>
                    <a:pt x="421322" y="41024"/>
                  </a:cubicBezTo>
                  <a:cubicBezTo>
                    <a:pt x="421322" y="58816"/>
                    <a:pt x="435038" y="65732"/>
                    <a:pt x="421449" y="77219"/>
                  </a:cubicBezTo>
                  <a:cubicBezTo>
                    <a:pt x="405384" y="90808"/>
                    <a:pt x="399859" y="78209"/>
                    <a:pt x="378840" y="78209"/>
                  </a:cubicBezTo>
                  <a:cubicBezTo>
                    <a:pt x="357822" y="78209"/>
                    <a:pt x="357822" y="74380"/>
                    <a:pt x="336867" y="74380"/>
                  </a:cubicBezTo>
                  <a:cubicBezTo>
                    <a:pt x="315849" y="74380"/>
                    <a:pt x="315849" y="79441"/>
                    <a:pt x="294703" y="79441"/>
                  </a:cubicBezTo>
                  <a:cubicBezTo>
                    <a:pt x="273621" y="79441"/>
                    <a:pt x="273748" y="74006"/>
                    <a:pt x="252602" y="74006"/>
                  </a:cubicBezTo>
                  <a:cubicBezTo>
                    <a:pt x="231457" y="74006"/>
                    <a:pt x="231584" y="79073"/>
                    <a:pt x="210629" y="79073"/>
                  </a:cubicBezTo>
                  <a:cubicBezTo>
                    <a:pt x="189611" y="79073"/>
                    <a:pt x="189611" y="79568"/>
                    <a:pt x="168465" y="79568"/>
                  </a:cubicBezTo>
                  <a:cubicBezTo>
                    <a:pt x="147383" y="79568"/>
                    <a:pt x="147447" y="77714"/>
                    <a:pt x="126364" y="77714"/>
                  </a:cubicBezTo>
                  <a:cubicBezTo>
                    <a:pt x="105219" y="77714"/>
                    <a:pt x="105346" y="73758"/>
                    <a:pt x="84264" y="73758"/>
                  </a:cubicBezTo>
                  <a:cubicBezTo>
                    <a:pt x="63119" y="73758"/>
                    <a:pt x="63119" y="75860"/>
                    <a:pt x="42100" y="75860"/>
                  </a:cubicBezTo>
                  <a:cubicBezTo>
                    <a:pt x="21082" y="75860"/>
                    <a:pt x="21018" y="75492"/>
                    <a:pt x="0" y="7549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44BA0DA-41D0-D181-0B19-806802672CF9}"/>
                </a:ext>
              </a:extLst>
            </p:cNvPr>
            <p:cNvSpPr/>
            <p:nvPr/>
          </p:nvSpPr>
          <p:spPr>
            <a:xfrm>
              <a:off x="7166482" y="4593063"/>
              <a:ext cx="184277" cy="4076"/>
            </a:xfrm>
            <a:custGeom>
              <a:avLst/>
              <a:gdLst>
                <a:gd name="connsiteX0" fmla="*/ 0 w 184277"/>
                <a:gd name="connsiteY0" fmla="*/ 3461 h 4076"/>
                <a:gd name="connsiteX1" fmla="*/ 36767 w 184277"/>
                <a:gd name="connsiteY1" fmla="*/ 1854 h 4076"/>
                <a:gd name="connsiteX2" fmla="*/ 73597 w 184277"/>
                <a:gd name="connsiteY2" fmla="*/ 1734 h 4076"/>
                <a:gd name="connsiteX3" fmla="*/ 110427 w 184277"/>
                <a:gd name="connsiteY3" fmla="*/ 2845 h 4076"/>
                <a:gd name="connsiteX4" fmla="*/ 147384 w 184277"/>
                <a:gd name="connsiteY4" fmla="*/ 0 h 4076"/>
                <a:gd name="connsiteX5" fmla="*/ 184277 w 184277"/>
                <a:gd name="connsiteY5" fmla="*/ 4076 h 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277" h="4076">
                  <a:moveTo>
                    <a:pt x="0" y="3461"/>
                  </a:moveTo>
                  <a:cubicBezTo>
                    <a:pt x="18415" y="3461"/>
                    <a:pt x="18415" y="1854"/>
                    <a:pt x="36767" y="1854"/>
                  </a:cubicBezTo>
                  <a:cubicBezTo>
                    <a:pt x="55182" y="1854"/>
                    <a:pt x="55182" y="1734"/>
                    <a:pt x="73597" y="1734"/>
                  </a:cubicBezTo>
                  <a:cubicBezTo>
                    <a:pt x="92011" y="1734"/>
                    <a:pt x="92011" y="2845"/>
                    <a:pt x="110427" y="2845"/>
                  </a:cubicBezTo>
                  <a:cubicBezTo>
                    <a:pt x="128842" y="2845"/>
                    <a:pt x="128842" y="0"/>
                    <a:pt x="147384" y="0"/>
                  </a:cubicBezTo>
                  <a:cubicBezTo>
                    <a:pt x="165862" y="0"/>
                    <a:pt x="165736" y="4076"/>
                    <a:pt x="184277" y="4076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FDF2B969-FB58-B305-3901-FF0D370C092A}"/>
                </a:ext>
              </a:extLst>
            </p:cNvPr>
            <p:cNvSpPr/>
            <p:nvPr/>
          </p:nvSpPr>
          <p:spPr>
            <a:xfrm>
              <a:off x="7026899" y="3294331"/>
              <a:ext cx="487382" cy="485207"/>
            </a:xfrm>
            <a:custGeom>
              <a:avLst/>
              <a:gdLst>
                <a:gd name="connsiteX0" fmla="*/ 225182 w 487382"/>
                <a:gd name="connsiteY0" fmla="*/ 301527 h 485207"/>
                <a:gd name="connsiteX1" fmla="*/ 189939 w 487382"/>
                <a:gd name="connsiteY1" fmla="*/ 278553 h 485207"/>
                <a:gd name="connsiteX2" fmla="*/ 153681 w 487382"/>
                <a:gd name="connsiteY2" fmla="*/ 257426 h 485207"/>
                <a:gd name="connsiteX3" fmla="*/ 117676 w 487382"/>
                <a:gd name="connsiteY3" fmla="*/ 236306 h 485207"/>
                <a:gd name="connsiteX4" fmla="*/ 91260 w 487382"/>
                <a:gd name="connsiteY4" fmla="*/ 205547 h 485207"/>
                <a:gd name="connsiteX5" fmla="*/ 69796 w 487382"/>
                <a:gd name="connsiteY5" fmla="*/ 170838 h 485207"/>
                <a:gd name="connsiteX6" fmla="*/ 47064 w 487382"/>
                <a:gd name="connsiteY6" fmla="*/ 136993 h 485207"/>
                <a:gd name="connsiteX7" fmla="*/ 23442 w 487382"/>
                <a:gd name="connsiteY7" fmla="*/ 103395 h 485207"/>
                <a:gd name="connsiteX8" fmla="*/ 6805 w 487382"/>
                <a:gd name="connsiteY8" fmla="*/ 65841 h 485207"/>
                <a:gd name="connsiteX9" fmla="*/ 137 w 487382"/>
                <a:gd name="connsiteY9" fmla="*/ 25328 h 485207"/>
                <a:gd name="connsiteX10" fmla="*/ 28141 w 487382"/>
                <a:gd name="connsiteY10" fmla="*/ 4 h 485207"/>
                <a:gd name="connsiteX11" fmla="*/ 66812 w 487382"/>
                <a:gd name="connsiteY11" fmla="*/ 13714 h 485207"/>
                <a:gd name="connsiteX12" fmla="*/ 100531 w 487382"/>
                <a:gd name="connsiteY12" fmla="*/ 30268 h 485207"/>
                <a:gd name="connsiteX13" fmla="*/ 129423 w 487382"/>
                <a:gd name="connsiteY13" fmla="*/ 54849 h 485207"/>
                <a:gd name="connsiteX14" fmla="*/ 153870 w 487382"/>
                <a:gd name="connsiteY14" fmla="*/ 84618 h 485207"/>
                <a:gd name="connsiteX15" fmla="*/ 171841 w 487382"/>
                <a:gd name="connsiteY15" fmla="*/ 118831 h 485207"/>
                <a:gd name="connsiteX16" fmla="*/ 183271 w 487382"/>
                <a:gd name="connsiteY16" fmla="*/ 155642 h 485207"/>
                <a:gd name="connsiteX17" fmla="*/ 197749 w 487382"/>
                <a:gd name="connsiteY17" fmla="*/ 191469 h 485207"/>
                <a:gd name="connsiteX18" fmla="*/ 205750 w 487382"/>
                <a:gd name="connsiteY18" fmla="*/ 229144 h 485207"/>
                <a:gd name="connsiteX19" fmla="*/ 215910 w 487382"/>
                <a:gd name="connsiteY19" fmla="*/ 266196 h 485207"/>
                <a:gd name="connsiteX20" fmla="*/ 221816 w 487382"/>
                <a:gd name="connsiteY20" fmla="*/ 304741 h 485207"/>
                <a:gd name="connsiteX21" fmla="*/ 251724 w 487382"/>
                <a:gd name="connsiteY21" fmla="*/ 328331 h 485207"/>
                <a:gd name="connsiteX22" fmla="*/ 280363 w 487382"/>
                <a:gd name="connsiteY22" fmla="*/ 352664 h 485207"/>
                <a:gd name="connsiteX23" fmla="*/ 307794 w 487382"/>
                <a:gd name="connsiteY23" fmla="*/ 378356 h 485207"/>
                <a:gd name="connsiteX24" fmla="*/ 336369 w 487382"/>
                <a:gd name="connsiteY24" fmla="*/ 403064 h 485207"/>
                <a:gd name="connsiteX25" fmla="*/ 362531 w 487382"/>
                <a:gd name="connsiteY25" fmla="*/ 430236 h 485207"/>
                <a:gd name="connsiteX26" fmla="*/ 392059 w 487382"/>
                <a:gd name="connsiteY26" fmla="*/ 453832 h 485207"/>
                <a:gd name="connsiteX27" fmla="*/ 417015 w 487382"/>
                <a:gd name="connsiteY27" fmla="*/ 485207 h 485207"/>
                <a:gd name="connsiteX28" fmla="*/ 442478 w 487382"/>
                <a:gd name="connsiteY28" fmla="*/ 453832 h 485207"/>
                <a:gd name="connsiteX29" fmla="*/ 466671 w 487382"/>
                <a:gd name="connsiteY29" fmla="*/ 424063 h 485207"/>
                <a:gd name="connsiteX30" fmla="*/ 481340 w 487382"/>
                <a:gd name="connsiteY30" fmla="*/ 388364 h 485207"/>
                <a:gd name="connsiteX31" fmla="*/ 486166 w 487382"/>
                <a:gd name="connsiteY31" fmla="*/ 350321 h 485207"/>
                <a:gd name="connsiteX32" fmla="*/ 486166 w 487382"/>
                <a:gd name="connsiteY32" fmla="*/ 312024 h 485207"/>
                <a:gd name="connsiteX33" fmla="*/ 473212 w 487382"/>
                <a:gd name="connsiteY33" fmla="*/ 276083 h 485207"/>
                <a:gd name="connsiteX34" fmla="*/ 454670 w 487382"/>
                <a:gd name="connsiteY34" fmla="*/ 242974 h 485207"/>
                <a:gd name="connsiteX35" fmla="*/ 431302 w 487382"/>
                <a:gd name="connsiteY35" fmla="*/ 212957 h 485207"/>
                <a:gd name="connsiteX36" fmla="*/ 401457 w 487382"/>
                <a:gd name="connsiteY36" fmla="*/ 189488 h 485207"/>
                <a:gd name="connsiteX37" fmla="*/ 370088 w 487382"/>
                <a:gd name="connsiteY37" fmla="*/ 166145 h 485207"/>
                <a:gd name="connsiteX38" fmla="*/ 333512 w 487382"/>
                <a:gd name="connsiteY38" fmla="*/ 150950 h 485207"/>
                <a:gd name="connsiteX39" fmla="*/ 294079 w 487382"/>
                <a:gd name="connsiteY39" fmla="*/ 147368 h 485207"/>
                <a:gd name="connsiteX40" fmla="*/ 254581 w 487382"/>
                <a:gd name="connsiteY40" fmla="*/ 149343 h 48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87382" h="485207">
                  <a:moveTo>
                    <a:pt x="225182" y="301527"/>
                  </a:moveTo>
                  <a:cubicBezTo>
                    <a:pt x="208481" y="288929"/>
                    <a:pt x="209369" y="292015"/>
                    <a:pt x="189939" y="278553"/>
                  </a:cubicBezTo>
                  <a:cubicBezTo>
                    <a:pt x="179207" y="271136"/>
                    <a:pt x="165745" y="264716"/>
                    <a:pt x="153681" y="257426"/>
                  </a:cubicBezTo>
                  <a:cubicBezTo>
                    <a:pt x="140281" y="249400"/>
                    <a:pt x="128344" y="240504"/>
                    <a:pt x="117676" y="236306"/>
                  </a:cubicBezTo>
                  <a:cubicBezTo>
                    <a:pt x="109420" y="225931"/>
                    <a:pt x="99578" y="216666"/>
                    <a:pt x="91260" y="205547"/>
                  </a:cubicBezTo>
                  <a:cubicBezTo>
                    <a:pt x="83005" y="194428"/>
                    <a:pt x="77417" y="181957"/>
                    <a:pt x="69796" y="170838"/>
                  </a:cubicBezTo>
                  <a:cubicBezTo>
                    <a:pt x="62113" y="159719"/>
                    <a:pt x="54112" y="148359"/>
                    <a:pt x="47064" y="136993"/>
                  </a:cubicBezTo>
                  <a:cubicBezTo>
                    <a:pt x="39634" y="124890"/>
                    <a:pt x="29538" y="114761"/>
                    <a:pt x="23442" y="103395"/>
                  </a:cubicBezTo>
                  <a:cubicBezTo>
                    <a:pt x="16520" y="90301"/>
                    <a:pt x="11123" y="77207"/>
                    <a:pt x="6805" y="65841"/>
                  </a:cubicBezTo>
                  <a:cubicBezTo>
                    <a:pt x="963" y="50277"/>
                    <a:pt x="-498" y="35824"/>
                    <a:pt x="137" y="25328"/>
                  </a:cubicBezTo>
                  <a:cubicBezTo>
                    <a:pt x="1090" y="10628"/>
                    <a:pt x="9853" y="-244"/>
                    <a:pt x="28141" y="4"/>
                  </a:cubicBezTo>
                  <a:cubicBezTo>
                    <a:pt x="38174" y="4"/>
                    <a:pt x="50239" y="7789"/>
                    <a:pt x="66812" y="13714"/>
                  </a:cubicBezTo>
                  <a:cubicBezTo>
                    <a:pt x="79321" y="18165"/>
                    <a:pt x="90307" y="22978"/>
                    <a:pt x="100531" y="30268"/>
                  </a:cubicBezTo>
                  <a:cubicBezTo>
                    <a:pt x="110818" y="37558"/>
                    <a:pt x="121041" y="45089"/>
                    <a:pt x="129423" y="54849"/>
                  </a:cubicBezTo>
                  <a:cubicBezTo>
                    <a:pt x="137869" y="64609"/>
                    <a:pt x="147076" y="73378"/>
                    <a:pt x="153870" y="84618"/>
                  </a:cubicBezTo>
                  <a:cubicBezTo>
                    <a:pt x="160220" y="95368"/>
                    <a:pt x="166634" y="106728"/>
                    <a:pt x="171841" y="118831"/>
                  </a:cubicBezTo>
                  <a:cubicBezTo>
                    <a:pt x="176857" y="130198"/>
                    <a:pt x="179081" y="143292"/>
                    <a:pt x="183271" y="155642"/>
                  </a:cubicBezTo>
                  <a:cubicBezTo>
                    <a:pt x="187526" y="168000"/>
                    <a:pt x="194194" y="178865"/>
                    <a:pt x="197749" y="191469"/>
                  </a:cubicBezTo>
                  <a:cubicBezTo>
                    <a:pt x="201306" y="204068"/>
                    <a:pt x="202575" y="216539"/>
                    <a:pt x="205750" y="229144"/>
                  </a:cubicBezTo>
                  <a:cubicBezTo>
                    <a:pt x="208989" y="241742"/>
                    <a:pt x="212799" y="253725"/>
                    <a:pt x="215910" y="266196"/>
                  </a:cubicBezTo>
                  <a:cubicBezTo>
                    <a:pt x="219021" y="278674"/>
                    <a:pt x="218768" y="292383"/>
                    <a:pt x="221816" y="304741"/>
                  </a:cubicBezTo>
                  <a:cubicBezTo>
                    <a:pt x="230261" y="312024"/>
                    <a:pt x="241501" y="319314"/>
                    <a:pt x="251724" y="328331"/>
                  </a:cubicBezTo>
                  <a:cubicBezTo>
                    <a:pt x="260614" y="336110"/>
                    <a:pt x="270647" y="343894"/>
                    <a:pt x="280363" y="352664"/>
                  </a:cubicBezTo>
                  <a:cubicBezTo>
                    <a:pt x="289506" y="360817"/>
                    <a:pt x="298396" y="369714"/>
                    <a:pt x="307794" y="378356"/>
                  </a:cubicBezTo>
                  <a:cubicBezTo>
                    <a:pt x="317193" y="387005"/>
                    <a:pt x="327099" y="394542"/>
                    <a:pt x="336369" y="403064"/>
                  </a:cubicBezTo>
                  <a:cubicBezTo>
                    <a:pt x="345577" y="411586"/>
                    <a:pt x="353642" y="421714"/>
                    <a:pt x="362531" y="430236"/>
                  </a:cubicBezTo>
                  <a:cubicBezTo>
                    <a:pt x="372056" y="439132"/>
                    <a:pt x="383423" y="445431"/>
                    <a:pt x="392059" y="453832"/>
                  </a:cubicBezTo>
                  <a:cubicBezTo>
                    <a:pt x="401711" y="463217"/>
                    <a:pt x="408823" y="477054"/>
                    <a:pt x="417015" y="485207"/>
                  </a:cubicBezTo>
                  <a:cubicBezTo>
                    <a:pt x="426857" y="476311"/>
                    <a:pt x="434668" y="463344"/>
                    <a:pt x="442478" y="453832"/>
                  </a:cubicBezTo>
                  <a:cubicBezTo>
                    <a:pt x="450860" y="443577"/>
                    <a:pt x="460703" y="434807"/>
                    <a:pt x="466671" y="424063"/>
                  </a:cubicBezTo>
                  <a:cubicBezTo>
                    <a:pt x="473085" y="412576"/>
                    <a:pt x="477657" y="400219"/>
                    <a:pt x="481340" y="388364"/>
                  </a:cubicBezTo>
                  <a:cubicBezTo>
                    <a:pt x="485087" y="376502"/>
                    <a:pt x="485341" y="362919"/>
                    <a:pt x="486166" y="350321"/>
                  </a:cubicBezTo>
                  <a:cubicBezTo>
                    <a:pt x="487056" y="337716"/>
                    <a:pt x="488389" y="324622"/>
                    <a:pt x="486166" y="312024"/>
                  </a:cubicBezTo>
                  <a:cubicBezTo>
                    <a:pt x="483944" y="299425"/>
                    <a:pt x="478292" y="288059"/>
                    <a:pt x="473212" y="276083"/>
                  </a:cubicBezTo>
                  <a:cubicBezTo>
                    <a:pt x="468132" y="264100"/>
                    <a:pt x="462100" y="253845"/>
                    <a:pt x="454670" y="242974"/>
                  </a:cubicBezTo>
                  <a:cubicBezTo>
                    <a:pt x="447749" y="232725"/>
                    <a:pt x="440573" y="222349"/>
                    <a:pt x="431302" y="212957"/>
                  </a:cubicBezTo>
                  <a:cubicBezTo>
                    <a:pt x="422666" y="204188"/>
                    <a:pt x="411935" y="197394"/>
                    <a:pt x="401457" y="189488"/>
                  </a:cubicBezTo>
                  <a:cubicBezTo>
                    <a:pt x="390218" y="181093"/>
                    <a:pt x="381074" y="171454"/>
                    <a:pt x="370088" y="166145"/>
                  </a:cubicBezTo>
                  <a:cubicBezTo>
                    <a:pt x="357579" y="159967"/>
                    <a:pt x="345514" y="153915"/>
                    <a:pt x="333512" y="150950"/>
                  </a:cubicBezTo>
                  <a:cubicBezTo>
                    <a:pt x="320050" y="147616"/>
                    <a:pt x="306334" y="147616"/>
                    <a:pt x="294079" y="147368"/>
                  </a:cubicBezTo>
                  <a:cubicBezTo>
                    <a:pt x="280045" y="147121"/>
                    <a:pt x="266329" y="147121"/>
                    <a:pt x="254581" y="14934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77" name="Graphic 7">
            <a:extLst>
              <a:ext uri="{FF2B5EF4-FFF2-40B4-BE49-F238E27FC236}">
                <a16:creationId xmlns:a16="http://schemas.microsoft.com/office/drawing/2014/main" id="{C31A921A-F6E0-A665-78A5-1F0FA1F7EBBA}"/>
              </a:ext>
            </a:extLst>
          </p:cNvPr>
          <p:cNvGrpSpPr/>
          <p:nvPr/>
        </p:nvGrpSpPr>
        <p:grpSpPr>
          <a:xfrm>
            <a:off x="1347583" y="3284739"/>
            <a:ext cx="990925" cy="1775904"/>
            <a:chOff x="5308339" y="4006843"/>
            <a:chExt cx="1210353" cy="2169156"/>
          </a:xfrm>
          <a:noFill/>
        </p:grpSpPr>
        <p:sp>
          <p:nvSpPr>
            <p:cNvPr id="78" name="Freeform: Shape 38">
              <a:extLst>
                <a:ext uri="{FF2B5EF4-FFF2-40B4-BE49-F238E27FC236}">
                  <a16:creationId xmlns:a16="http://schemas.microsoft.com/office/drawing/2014/main" id="{A80D583B-5E4F-16A0-04FC-035AED03FB50}"/>
                </a:ext>
              </a:extLst>
            </p:cNvPr>
            <p:cNvSpPr/>
            <p:nvPr/>
          </p:nvSpPr>
          <p:spPr>
            <a:xfrm>
              <a:off x="5575412" y="4215887"/>
              <a:ext cx="430692" cy="548142"/>
            </a:xfrm>
            <a:custGeom>
              <a:avLst/>
              <a:gdLst>
                <a:gd name="connsiteX0" fmla="*/ 287162 w 430692"/>
                <a:gd name="connsiteY0" fmla="*/ 45865 h 548142"/>
                <a:gd name="connsiteX1" fmla="*/ 316931 w 430692"/>
                <a:gd name="connsiteY1" fmla="*/ 70198 h 548142"/>
                <a:gd name="connsiteX2" fmla="*/ 343118 w 430692"/>
                <a:gd name="connsiteY2" fmla="*/ 98487 h 548142"/>
                <a:gd name="connsiteX3" fmla="*/ 368194 w 430692"/>
                <a:gd name="connsiteY3" fmla="*/ 128135 h 548142"/>
                <a:gd name="connsiteX4" fmla="*/ 386971 w 430692"/>
                <a:gd name="connsiteY4" fmla="*/ 162102 h 548142"/>
                <a:gd name="connsiteX5" fmla="*/ 399690 w 430692"/>
                <a:gd name="connsiteY5" fmla="*/ 198785 h 548142"/>
                <a:gd name="connsiteX6" fmla="*/ 415502 w 430692"/>
                <a:gd name="connsiteY6" fmla="*/ 233869 h 548142"/>
                <a:gd name="connsiteX7" fmla="*/ 425878 w 430692"/>
                <a:gd name="connsiteY7" fmla="*/ 271048 h 548142"/>
                <a:gd name="connsiteX8" fmla="*/ 430322 w 430692"/>
                <a:gd name="connsiteY8" fmla="*/ 309339 h 548142"/>
                <a:gd name="connsiteX9" fmla="*/ 429338 w 430692"/>
                <a:gd name="connsiteY9" fmla="*/ 347756 h 548142"/>
                <a:gd name="connsiteX10" fmla="*/ 428475 w 430692"/>
                <a:gd name="connsiteY10" fmla="*/ 386294 h 548142"/>
                <a:gd name="connsiteX11" fmla="*/ 419705 w 430692"/>
                <a:gd name="connsiteY11" fmla="*/ 423848 h 548142"/>
                <a:gd name="connsiteX12" fmla="*/ 404015 w 430692"/>
                <a:gd name="connsiteY12" fmla="*/ 459053 h 548142"/>
                <a:gd name="connsiteX13" fmla="*/ 384254 w 430692"/>
                <a:gd name="connsiteY13" fmla="*/ 492155 h 548142"/>
                <a:gd name="connsiteX14" fmla="*/ 356707 w 430692"/>
                <a:gd name="connsiteY14" fmla="*/ 519454 h 548142"/>
                <a:gd name="connsiteX15" fmla="*/ 322366 w 430692"/>
                <a:gd name="connsiteY15" fmla="*/ 537240 h 548142"/>
                <a:gd name="connsiteX16" fmla="*/ 285187 w 430692"/>
                <a:gd name="connsiteY16" fmla="*/ 547248 h 548142"/>
                <a:gd name="connsiteX17" fmla="*/ 246770 w 430692"/>
                <a:gd name="connsiteY17" fmla="*/ 546752 h 548142"/>
                <a:gd name="connsiteX18" fmla="*/ 208727 w 430692"/>
                <a:gd name="connsiteY18" fmla="*/ 539958 h 548142"/>
                <a:gd name="connsiteX19" fmla="*/ 174754 w 430692"/>
                <a:gd name="connsiteY19" fmla="*/ 521676 h 548142"/>
                <a:gd name="connsiteX20" fmla="*/ 143131 w 430692"/>
                <a:gd name="connsiteY20" fmla="*/ 500309 h 548142"/>
                <a:gd name="connsiteX21" fmla="*/ 112499 w 430692"/>
                <a:gd name="connsiteY21" fmla="*/ 477087 h 548142"/>
                <a:gd name="connsiteX22" fmla="*/ 87550 w 430692"/>
                <a:gd name="connsiteY22" fmla="*/ 447813 h 548142"/>
                <a:gd name="connsiteX23" fmla="*/ 62969 w 430692"/>
                <a:gd name="connsiteY23" fmla="*/ 418165 h 548142"/>
                <a:gd name="connsiteX24" fmla="*/ 44439 w 430692"/>
                <a:gd name="connsiteY24" fmla="*/ 384320 h 548142"/>
                <a:gd name="connsiteX25" fmla="*/ 30107 w 430692"/>
                <a:gd name="connsiteY25" fmla="*/ 348620 h 548142"/>
                <a:gd name="connsiteX26" fmla="*/ 15407 w 430692"/>
                <a:gd name="connsiteY26" fmla="*/ 313047 h 548142"/>
                <a:gd name="connsiteX27" fmla="*/ 8613 w 430692"/>
                <a:gd name="connsiteY27" fmla="*/ 275252 h 548142"/>
                <a:gd name="connsiteX28" fmla="*/ 586 w 430692"/>
                <a:gd name="connsiteY28" fmla="*/ 237578 h 548142"/>
                <a:gd name="connsiteX29" fmla="*/ 586 w 430692"/>
                <a:gd name="connsiteY29" fmla="*/ 199033 h 548142"/>
                <a:gd name="connsiteX30" fmla="*/ 2561 w 430692"/>
                <a:gd name="connsiteY30" fmla="*/ 160495 h 548142"/>
                <a:gd name="connsiteX31" fmla="*/ 11210 w 430692"/>
                <a:gd name="connsiteY31" fmla="*/ 122820 h 548142"/>
                <a:gd name="connsiteX32" fmla="*/ 28133 w 430692"/>
                <a:gd name="connsiteY32" fmla="*/ 88232 h 548142"/>
                <a:gd name="connsiteX33" fmla="*/ 48516 w 430692"/>
                <a:gd name="connsiteY33" fmla="*/ 55993 h 548142"/>
                <a:gd name="connsiteX34" fmla="*/ 74703 w 430692"/>
                <a:gd name="connsiteY34" fmla="*/ 27710 h 548142"/>
                <a:gd name="connsiteX35" fmla="*/ 107679 w 430692"/>
                <a:gd name="connsiteY35" fmla="*/ 7079 h 548142"/>
                <a:gd name="connsiteX36" fmla="*/ 146097 w 430692"/>
                <a:gd name="connsiteY36" fmla="*/ 1523 h 548142"/>
                <a:gd name="connsiteX37" fmla="*/ 184267 w 430692"/>
                <a:gd name="connsiteY37" fmla="*/ 900 h 548142"/>
                <a:gd name="connsiteX38" fmla="*/ 204155 w 430692"/>
                <a:gd name="connsiteY38" fmla="*/ 900 h 54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0692" h="548142">
                  <a:moveTo>
                    <a:pt x="287162" y="45865"/>
                  </a:moveTo>
                  <a:cubicBezTo>
                    <a:pt x="297290" y="53402"/>
                    <a:pt x="307545" y="61060"/>
                    <a:pt x="316931" y="70198"/>
                  </a:cubicBezTo>
                  <a:cubicBezTo>
                    <a:pt x="326316" y="79342"/>
                    <a:pt x="334717" y="88359"/>
                    <a:pt x="343118" y="98487"/>
                  </a:cubicBezTo>
                  <a:cubicBezTo>
                    <a:pt x="351519" y="108615"/>
                    <a:pt x="360905" y="117137"/>
                    <a:pt x="368194" y="128135"/>
                  </a:cubicBezTo>
                  <a:cubicBezTo>
                    <a:pt x="375478" y="139127"/>
                    <a:pt x="380913" y="150487"/>
                    <a:pt x="386971" y="162102"/>
                  </a:cubicBezTo>
                  <a:cubicBezTo>
                    <a:pt x="393023" y="173716"/>
                    <a:pt x="394750" y="186562"/>
                    <a:pt x="399690" y="198785"/>
                  </a:cubicBezTo>
                  <a:cubicBezTo>
                    <a:pt x="404631" y="211016"/>
                    <a:pt x="411920" y="221766"/>
                    <a:pt x="415502" y="233869"/>
                  </a:cubicBezTo>
                  <a:cubicBezTo>
                    <a:pt x="419083" y="245972"/>
                    <a:pt x="423534" y="258570"/>
                    <a:pt x="425878" y="271048"/>
                  </a:cubicBezTo>
                  <a:cubicBezTo>
                    <a:pt x="428227" y="283526"/>
                    <a:pt x="429211" y="296867"/>
                    <a:pt x="430322" y="309339"/>
                  </a:cubicBezTo>
                  <a:cubicBezTo>
                    <a:pt x="431440" y="321817"/>
                    <a:pt x="429707" y="335279"/>
                    <a:pt x="429338" y="347756"/>
                  </a:cubicBezTo>
                  <a:cubicBezTo>
                    <a:pt x="428964" y="360234"/>
                    <a:pt x="430450" y="373944"/>
                    <a:pt x="428475" y="386294"/>
                  </a:cubicBezTo>
                  <a:cubicBezTo>
                    <a:pt x="426373" y="399268"/>
                    <a:pt x="423407" y="411993"/>
                    <a:pt x="419705" y="423848"/>
                  </a:cubicBezTo>
                  <a:cubicBezTo>
                    <a:pt x="415749" y="436447"/>
                    <a:pt x="409698" y="447934"/>
                    <a:pt x="404015" y="459053"/>
                  </a:cubicBezTo>
                  <a:cubicBezTo>
                    <a:pt x="397963" y="470661"/>
                    <a:pt x="392159" y="482396"/>
                    <a:pt x="384254" y="492155"/>
                  </a:cubicBezTo>
                  <a:cubicBezTo>
                    <a:pt x="376347" y="501915"/>
                    <a:pt x="366835" y="511796"/>
                    <a:pt x="356707" y="519454"/>
                  </a:cubicBezTo>
                  <a:cubicBezTo>
                    <a:pt x="346579" y="527112"/>
                    <a:pt x="334469" y="532427"/>
                    <a:pt x="322366" y="537240"/>
                  </a:cubicBezTo>
                  <a:cubicBezTo>
                    <a:pt x="310263" y="542060"/>
                    <a:pt x="297906" y="545768"/>
                    <a:pt x="285187" y="547248"/>
                  </a:cubicBezTo>
                  <a:cubicBezTo>
                    <a:pt x="272462" y="548728"/>
                    <a:pt x="259615" y="548238"/>
                    <a:pt x="246770" y="546752"/>
                  </a:cubicBezTo>
                  <a:cubicBezTo>
                    <a:pt x="233924" y="545273"/>
                    <a:pt x="221198" y="544162"/>
                    <a:pt x="208727" y="539958"/>
                  </a:cubicBezTo>
                  <a:cubicBezTo>
                    <a:pt x="196249" y="535761"/>
                    <a:pt x="186241" y="527976"/>
                    <a:pt x="174754" y="521676"/>
                  </a:cubicBezTo>
                  <a:cubicBezTo>
                    <a:pt x="163267" y="515377"/>
                    <a:pt x="153634" y="508094"/>
                    <a:pt x="143131" y="500309"/>
                  </a:cubicBezTo>
                  <a:cubicBezTo>
                    <a:pt x="132635" y="492530"/>
                    <a:pt x="122011" y="486224"/>
                    <a:pt x="112499" y="477087"/>
                  </a:cubicBezTo>
                  <a:cubicBezTo>
                    <a:pt x="102987" y="467949"/>
                    <a:pt x="95823" y="457942"/>
                    <a:pt x="87550" y="447813"/>
                  </a:cubicBezTo>
                  <a:cubicBezTo>
                    <a:pt x="79269" y="437685"/>
                    <a:pt x="70005" y="429157"/>
                    <a:pt x="62969" y="418165"/>
                  </a:cubicBezTo>
                  <a:cubicBezTo>
                    <a:pt x="55927" y="407173"/>
                    <a:pt x="50491" y="395934"/>
                    <a:pt x="44439" y="384320"/>
                  </a:cubicBezTo>
                  <a:cubicBezTo>
                    <a:pt x="38388" y="372712"/>
                    <a:pt x="34927" y="360729"/>
                    <a:pt x="30107" y="348620"/>
                  </a:cubicBezTo>
                  <a:cubicBezTo>
                    <a:pt x="25294" y="336517"/>
                    <a:pt x="18989" y="325150"/>
                    <a:pt x="15407" y="313047"/>
                  </a:cubicBezTo>
                  <a:cubicBezTo>
                    <a:pt x="11826" y="300944"/>
                    <a:pt x="11089" y="287603"/>
                    <a:pt x="8613" y="275252"/>
                  </a:cubicBezTo>
                  <a:cubicBezTo>
                    <a:pt x="6143" y="262895"/>
                    <a:pt x="1697" y="250176"/>
                    <a:pt x="586" y="237578"/>
                  </a:cubicBezTo>
                  <a:cubicBezTo>
                    <a:pt x="-525" y="224973"/>
                    <a:pt x="218" y="211631"/>
                    <a:pt x="586" y="199033"/>
                  </a:cubicBezTo>
                  <a:cubicBezTo>
                    <a:pt x="955" y="186435"/>
                    <a:pt x="586" y="172973"/>
                    <a:pt x="2561" y="160495"/>
                  </a:cubicBezTo>
                  <a:cubicBezTo>
                    <a:pt x="4663" y="147528"/>
                    <a:pt x="7501" y="134803"/>
                    <a:pt x="11210" y="122820"/>
                  </a:cubicBezTo>
                  <a:cubicBezTo>
                    <a:pt x="15160" y="110222"/>
                    <a:pt x="22449" y="99351"/>
                    <a:pt x="28133" y="88232"/>
                  </a:cubicBezTo>
                  <a:cubicBezTo>
                    <a:pt x="34184" y="76624"/>
                    <a:pt x="40611" y="65753"/>
                    <a:pt x="48516" y="55993"/>
                  </a:cubicBezTo>
                  <a:cubicBezTo>
                    <a:pt x="56422" y="46239"/>
                    <a:pt x="64569" y="35368"/>
                    <a:pt x="74703" y="27710"/>
                  </a:cubicBezTo>
                  <a:cubicBezTo>
                    <a:pt x="84832" y="20052"/>
                    <a:pt x="95697" y="11899"/>
                    <a:pt x="107679" y="7079"/>
                  </a:cubicBezTo>
                  <a:cubicBezTo>
                    <a:pt x="119662" y="2259"/>
                    <a:pt x="133377" y="3002"/>
                    <a:pt x="146097" y="1523"/>
                  </a:cubicBezTo>
                  <a:cubicBezTo>
                    <a:pt x="158822" y="37"/>
                    <a:pt x="171293" y="-700"/>
                    <a:pt x="184267" y="900"/>
                  </a:cubicBezTo>
                  <a:cubicBezTo>
                    <a:pt x="190566" y="1643"/>
                    <a:pt x="197728" y="-579"/>
                    <a:pt x="204155" y="90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39">
              <a:extLst>
                <a:ext uri="{FF2B5EF4-FFF2-40B4-BE49-F238E27FC236}">
                  <a16:creationId xmlns:a16="http://schemas.microsoft.com/office/drawing/2014/main" id="{291A20AC-54D0-3616-4918-860DE8795028}"/>
                </a:ext>
              </a:extLst>
            </p:cNvPr>
            <p:cNvSpPr/>
            <p:nvPr/>
          </p:nvSpPr>
          <p:spPr>
            <a:xfrm>
              <a:off x="5733478" y="4430363"/>
              <a:ext cx="224568" cy="142152"/>
            </a:xfrm>
            <a:custGeom>
              <a:avLst/>
              <a:gdLst>
                <a:gd name="connsiteX0" fmla="*/ 0 w 224568"/>
                <a:gd name="connsiteY0" fmla="*/ 90786 h 142152"/>
                <a:gd name="connsiteX1" fmla="*/ 35947 w 224568"/>
                <a:gd name="connsiteY1" fmla="*/ 110801 h 142152"/>
                <a:gd name="connsiteX2" fmla="*/ 73495 w 224568"/>
                <a:gd name="connsiteY2" fmla="*/ 127476 h 142152"/>
                <a:gd name="connsiteX3" fmla="*/ 112903 w 224568"/>
                <a:gd name="connsiteY3" fmla="*/ 138468 h 142152"/>
                <a:gd name="connsiteX4" fmla="*/ 154655 w 224568"/>
                <a:gd name="connsiteY4" fmla="*/ 140691 h 142152"/>
                <a:gd name="connsiteX5" fmla="*/ 188995 w 224568"/>
                <a:gd name="connsiteY5" fmla="*/ 116726 h 142152"/>
                <a:gd name="connsiteX6" fmla="*/ 211474 w 224568"/>
                <a:gd name="connsiteY6" fmla="*/ 81896 h 142152"/>
                <a:gd name="connsiteX7" fmla="*/ 217894 w 224568"/>
                <a:gd name="connsiteY7" fmla="*/ 40887 h 142152"/>
                <a:gd name="connsiteX8" fmla="*/ 224568 w 224568"/>
                <a:gd name="connsiteY8" fmla="*/ 0 h 14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568" h="142152">
                  <a:moveTo>
                    <a:pt x="0" y="90786"/>
                  </a:moveTo>
                  <a:cubicBezTo>
                    <a:pt x="16675" y="103016"/>
                    <a:pt x="14700" y="99562"/>
                    <a:pt x="35947" y="110801"/>
                  </a:cubicBezTo>
                  <a:cubicBezTo>
                    <a:pt x="46939" y="116605"/>
                    <a:pt x="59538" y="122536"/>
                    <a:pt x="73495" y="127476"/>
                  </a:cubicBezTo>
                  <a:cubicBezTo>
                    <a:pt x="86341" y="132048"/>
                    <a:pt x="99194" y="136861"/>
                    <a:pt x="112903" y="138468"/>
                  </a:cubicBezTo>
                  <a:cubicBezTo>
                    <a:pt x="126613" y="140075"/>
                    <a:pt x="141561" y="144399"/>
                    <a:pt x="154655" y="140691"/>
                  </a:cubicBezTo>
                  <a:cubicBezTo>
                    <a:pt x="167748" y="136989"/>
                    <a:pt x="178740" y="127597"/>
                    <a:pt x="188995" y="116726"/>
                  </a:cubicBezTo>
                  <a:cubicBezTo>
                    <a:pt x="197390" y="107956"/>
                    <a:pt x="205670" y="96717"/>
                    <a:pt x="211474" y="81896"/>
                  </a:cubicBezTo>
                  <a:cubicBezTo>
                    <a:pt x="215919" y="70529"/>
                    <a:pt x="215303" y="56324"/>
                    <a:pt x="217894" y="40887"/>
                  </a:cubicBezTo>
                  <a:cubicBezTo>
                    <a:pt x="219875" y="28530"/>
                    <a:pt x="224073" y="15316"/>
                    <a:pt x="22456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40">
              <a:extLst>
                <a:ext uri="{FF2B5EF4-FFF2-40B4-BE49-F238E27FC236}">
                  <a16:creationId xmlns:a16="http://schemas.microsoft.com/office/drawing/2014/main" id="{BF012D60-2AA8-8512-629E-439ED23F13F8}"/>
                </a:ext>
              </a:extLst>
            </p:cNvPr>
            <p:cNvSpPr/>
            <p:nvPr/>
          </p:nvSpPr>
          <p:spPr>
            <a:xfrm>
              <a:off x="5802795" y="4386014"/>
              <a:ext cx="23964" cy="46691"/>
            </a:xfrm>
            <a:custGeom>
              <a:avLst/>
              <a:gdLst>
                <a:gd name="connsiteX0" fmla="*/ 0 w 23964"/>
                <a:gd name="connsiteY0" fmla="*/ 0 h 46691"/>
                <a:gd name="connsiteX1" fmla="*/ 23965 w 23964"/>
                <a:gd name="connsiteY1" fmla="*/ 46692 h 4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64" h="46691">
                  <a:moveTo>
                    <a:pt x="0" y="0"/>
                  </a:moveTo>
                  <a:cubicBezTo>
                    <a:pt x="11367" y="23717"/>
                    <a:pt x="12598" y="23101"/>
                    <a:pt x="23965" y="4669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41">
              <a:extLst>
                <a:ext uri="{FF2B5EF4-FFF2-40B4-BE49-F238E27FC236}">
                  <a16:creationId xmlns:a16="http://schemas.microsoft.com/office/drawing/2014/main" id="{AF3A20B8-C5C6-5770-DE7C-91280751B6B7}"/>
                </a:ext>
              </a:extLst>
            </p:cNvPr>
            <p:cNvSpPr/>
            <p:nvPr/>
          </p:nvSpPr>
          <p:spPr>
            <a:xfrm>
              <a:off x="5846267" y="4363040"/>
              <a:ext cx="22110" cy="47681"/>
            </a:xfrm>
            <a:custGeom>
              <a:avLst/>
              <a:gdLst>
                <a:gd name="connsiteX0" fmla="*/ 0 w 22110"/>
                <a:gd name="connsiteY0" fmla="*/ 0 h 47681"/>
                <a:gd name="connsiteX1" fmla="*/ 22111 w 22110"/>
                <a:gd name="connsiteY1" fmla="*/ 47682 h 4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10" h="47681">
                  <a:moveTo>
                    <a:pt x="0" y="0"/>
                  </a:moveTo>
                  <a:cubicBezTo>
                    <a:pt x="11366" y="23717"/>
                    <a:pt x="10744" y="23965"/>
                    <a:pt x="22111" y="4768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42">
              <a:extLst>
                <a:ext uri="{FF2B5EF4-FFF2-40B4-BE49-F238E27FC236}">
                  <a16:creationId xmlns:a16="http://schemas.microsoft.com/office/drawing/2014/main" id="{7D9F3B63-6ED0-76D5-DA9D-3A5F0E621F16}"/>
                </a:ext>
              </a:extLst>
            </p:cNvPr>
            <p:cNvSpPr/>
            <p:nvPr/>
          </p:nvSpPr>
          <p:spPr>
            <a:xfrm>
              <a:off x="5582284" y="4006843"/>
              <a:ext cx="379829" cy="492194"/>
            </a:xfrm>
            <a:custGeom>
              <a:avLst/>
              <a:gdLst>
                <a:gd name="connsiteX0" fmla="*/ 176638 w 379829"/>
                <a:gd name="connsiteY0" fmla="*/ 281959 h 492194"/>
                <a:gd name="connsiteX1" fmla="*/ 193561 w 379829"/>
                <a:gd name="connsiteY1" fmla="*/ 247745 h 492194"/>
                <a:gd name="connsiteX2" fmla="*/ 202330 w 379829"/>
                <a:gd name="connsiteY2" fmla="*/ 210934 h 492194"/>
                <a:gd name="connsiteX3" fmla="*/ 207271 w 379829"/>
                <a:gd name="connsiteY3" fmla="*/ 173260 h 492194"/>
                <a:gd name="connsiteX4" fmla="*/ 216783 w 379829"/>
                <a:gd name="connsiteY4" fmla="*/ 136569 h 492194"/>
                <a:gd name="connsiteX5" fmla="*/ 216783 w 379829"/>
                <a:gd name="connsiteY5" fmla="*/ 98653 h 492194"/>
                <a:gd name="connsiteX6" fmla="*/ 215297 w 379829"/>
                <a:gd name="connsiteY6" fmla="*/ 61220 h 492194"/>
                <a:gd name="connsiteX7" fmla="*/ 226295 w 379829"/>
                <a:gd name="connsiteY7" fmla="*/ 25400 h 492194"/>
                <a:gd name="connsiteX8" fmla="*/ 261868 w 379829"/>
                <a:gd name="connsiteY8" fmla="*/ 11322 h 492194"/>
                <a:gd name="connsiteX9" fmla="*/ 299790 w 379829"/>
                <a:gd name="connsiteY9" fmla="*/ 7734 h 492194"/>
                <a:gd name="connsiteX10" fmla="*/ 337960 w 379829"/>
                <a:gd name="connsiteY10" fmla="*/ 2178 h 492194"/>
                <a:gd name="connsiteX11" fmla="*/ 374276 w 379829"/>
                <a:gd name="connsiteY11" fmla="*/ 8109 h 492194"/>
                <a:gd name="connsiteX12" fmla="*/ 371062 w 379829"/>
                <a:gd name="connsiteY12" fmla="*/ 45536 h 492194"/>
                <a:gd name="connsiteX13" fmla="*/ 367729 w 379829"/>
                <a:gd name="connsiteY13" fmla="*/ 84938 h 492194"/>
                <a:gd name="connsiteX14" fmla="*/ 357353 w 379829"/>
                <a:gd name="connsiteY14" fmla="*/ 123107 h 492194"/>
                <a:gd name="connsiteX15" fmla="*/ 342652 w 379829"/>
                <a:gd name="connsiteY15" fmla="*/ 159671 h 492194"/>
                <a:gd name="connsiteX16" fmla="*/ 323260 w 379829"/>
                <a:gd name="connsiteY16" fmla="*/ 194132 h 492194"/>
                <a:gd name="connsiteX17" fmla="*/ 296082 w 379829"/>
                <a:gd name="connsiteY17" fmla="*/ 223653 h 492194"/>
                <a:gd name="connsiteX18" fmla="*/ 258902 w 379829"/>
                <a:gd name="connsiteY18" fmla="*/ 238106 h 492194"/>
                <a:gd name="connsiteX19" fmla="*/ 223577 w 379829"/>
                <a:gd name="connsiteY19" fmla="*/ 258369 h 492194"/>
                <a:gd name="connsiteX20" fmla="*/ 187751 w 379829"/>
                <a:gd name="connsiteY20" fmla="*/ 277882 h 492194"/>
                <a:gd name="connsiteX21" fmla="*/ 159341 w 379829"/>
                <a:gd name="connsiteY21" fmla="*/ 307283 h 492194"/>
                <a:gd name="connsiteX22" fmla="*/ 130194 w 379829"/>
                <a:gd name="connsiteY22" fmla="*/ 335566 h 492194"/>
                <a:gd name="connsiteX23" fmla="*/ 100667 w 379829"/>
                <a:gd name="connsiteY23" fmla="*/ 363855 h 492194"/>
                <a:gd name="connsiteX24" fmla="*/ 73127 w 379829"/>
                <a:gd name="connsiteY24" fmla="*/ 394119 h 492194"/>
                <a:gd name="connsiteX25" fmla="*/ 47803 w 379829"/>
                <a:gd name="connsiteY25" fmla="*/ 426237 h 492194"/>
                <a:gd name="connsiteX26" fmla="*/ 24086 w 379829"/>
                <a:gd name="connsiteY26" fmla="*/ 459340 h 492194"/>
                <a:gd name="connsiteX27" fmla="*/ 0 w 379829"/>
                <a:gd name="connsiteY27" fmla="*/ 492195 h 49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829" h="492194">
                  <a:moveTo>
                    <a:pt x="176638" y="281959"/>
                  </a:moveTo>
                  <a:cubicBezTo>
                    <a:pt x="182937" y="264173"/>
                    <a:pt x="187014" y="269481"/>
                    <a:pt x="193561" y="247745"/>
                  </a:cubicBezTo>
                  <a:cubicBezTo>
                    <a:pt x="196647" y="237122"/>
                    <a:pt x="198870" y="224276"/>
                    <a:pt x="202330" y="210934"/>
                  </a:cubicBezTo>
                  <a:cubicBezTo>
                    <a:pt x="205296" y="199320"/>
                    <a:pt x="204673" y="185979"/>
                    <a:pt x="207271" y="173260"/>
                  </a:cubicBezTo>
                  <a:cubicBezTo>
                    <a:pt x="209861" y="160535"/>
                    <a:pt x="215176" y="148927"/>
                    <a:pt x="216783" y="136569"/>
                  </a:cubicBezTo>
                  <a:cubicBezTo>
                    <a:pt x="218389" y="124219"/>
                    <a:pt x="216408" y="110757"/>
                    <a:pt x="216783" y="98653"/>
                  </a:cubicBezTo>
                  <a:cubicBezTo>
                    <a:pt x="217151" y="84938"/>
                    <a:pt x="217646" y="72466"/>
                    <a:pt x="215297" y="61220"/>
                  </a:cubicBezTo>
                  <a:cubicBezTo>
                    <a:pt x="212211" y="46152"/>
                    <a:pt x="216903" y="33674"/>
                    <a:pt x="226295" y="25400"/>
                  </a:cubicBezTo>
                  <a:cubicBezTo>
                    <a:pt x="234690" y="17989"/>
                    <a:pt x="248031" y="14776"/>
                    <a:pt x="261868" y="11322"/>
                  </a:cubicBezTo>
                  <a:cubicBezTo>
                    <a:pt x="273723" y="8357"/>
                    <a:pt x="286817" y="8604"/>
                    <a:pt x="299790" y="7734"/>
                  </a:cubicBezTo>
                  <a:cubicBezTo>
                    <a:pt x="312757" y="6871"/>
                    <a:pt x="326346" y="1930"/>
                    <a:pt x="337960" y="2178"/>
                  </a:cubicBezTo>
                  <a:cubicBezTo>
                    <a:pt x="359944" y="2673"/>
                    <a:pt x="361182" y="-5975"/>
                    <a:pt x="374276" y="8109"/>
                  </a:cubicBezTo>
                  <a:cubicBezTo>
                    <a:pt x="387369" y="22187"/>
                    <a:pt x="373533" y="21939"/>
                    <a:pt x="371062" y="45536"/>
                  </a:cubicBezTo>
                  <a:cubicBezTo>
                    <a:pt x="369831" y="57023"/>
                    <a:pt x="370567" y="70612"/>
                    <a:pt x="367729" y="84938"/>
                  </a:cubicBezTo>
                  <a:cubicBezTo>
                    <a:pt x="365258" y="97295"/>
                    <a:pt x="361550" y="110014"/>
                    <a:pt x="357353" y="123107"/>
                  </a:cubicBezTo>
                  <a:cubicBezTo>
                    <a:pt x="353149" y="136201"/>
                    <a:pt x="348456" y="147688"/>
                    <a:pt x="342652" y="159671"/>
                  </a:cubicBezTo>
                  <a:cubicBezTo>
                    <a:pt x="336848" y="171653"/>
                    <a:pt x="331413" y="183756"/>
                    <a:pt x="323260" y="194132"/>
                  </a:cubicBezTo>
                  <a:cubicBezTo>
                    <a:pt x="315106" y="204508"/>
                    <a:pt x="306953" y="215754"/>
                    <a:pt x="296082" y="223653"/>
                  </a:cubicBezTo>
                  <a:cubicBezTo>
                    <a:pt x="285217" y="231559"/>
                    <a:pt x="271996" y="233909"/>
                    <a:pt x="258902" y="238106"/>
                  </a:cubicBezTo>
                  <a:cubicBezTo>
                    <a:pt x="246799" y="241935"/>
                    <a:pt x="236049" y="251079"/>
                    <a:pt x="223577" y="258369"/>
                  </a:cubicBezTo>
                  <a:cubicBezTo>
                    <a:pt x="212338" y="264916"/>
                    <a:pt x="198996" y="269361"/>
                    <a:pt x="187751" y="277882"/>
                  </a:cubicBezTo>
                  <a:cubicBezTo>
                    <a:pt x="177254" y="286036"/>
                    <a:pt x="169469" y="297891"/>
                    <a:pt x="159341" y="307283"/>
                  </a:cubicBezTo>
                  <a:cubicBezTo>
                    <a:pt x="149213" y="316668"/>
                    <a:pt x="139700" y="325685"/>
                    <a:pt x="130194" y="335566"/>
                  </a:cubicBezTo>
                  <a:cubicBezTo>
                    <a:pt x="120682" y="345453"/>
                    <a:pt x="109563" y="353727"/>
                    <a:pt x="100667" y="363855"/>
                  </a:cubicBezTo>
                  <a:cubicBezTo>
                    <a:pt x="91777" y="373983"/>
                    <a:pt x="81401" y="383864"/>
                    <a:pt x="73127" y="394119"/>
                  </a:cubicBezTo>
                  <a:cubicBezTo>
                    <a:pt x="64103" y="405238"/>
                    <a:pt x="55461" y="416109"/>
                    <a:pt x="47803" y="426237"/>
                  </a:cubicBezTo>
                  <a:cubicBezTo>
                    <a:pt x="38538" y="438340"/>
                    <a:pt x="30880" y="449828"/>
                    <a:pt x="24086" y="459340"/>
                  </a:cubicBezTo>
                  <a:cubicBezTo>
                    <a:pt x="9506" y="479724"/>
                    <a:pt x="10992" y="475151"/>
                    <a:pt x="0" y="49219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43">
              <a:extLst>
                <a:ext uri="{FF2B5EF4-FFF2-40B4-BE49-F238E27FC236}">
                  <a16:creationId xmlns:a16="http://schemas.microsoft.com/office/drawing/2014/main" id="{EF320919-0B39-74F8-6A69-FAA0EEA092C3}"/>
                </a:ext>
              </a:extLst>
            </p:cNvPr>
            <p:cNvSpPr/>
            <p:nvPr/>
          </p:nvSpPr>
          <p:spPr>
            <a:xfrm>
              <a:off x="5561036" y="4695691"/>
              <a:ext cx="198140" cy="624296"/>
            </a:xfrm>
            <a:custGeom>
              <a:avLst/>
              <a:gdLst>
                <a:gd name="connsiteX0" fmla="*/ 132056 w 198140"/>
                <a:gd name="connsiteY0" fmla="*/ 0 h 624296"/>
                <a:gd name="connsiteX1" fmla="*/ 118842 w 198140"/>
                <a:gd name="connsiteY1" fmla="*/ 37795 h 624296"/>
                <a:gd name="connsiteX2" fmla="*/ 104631 w 198140"/>
                <a:gd name="connsiteY2" fmla="*/ 75349 h 624296"/>
                <a:gd name="connsiteX3" fmla="*/ 97595 w 198140"/>
                <a:gd name="connsiteY3" fmla="*/ 114998 h 624296"/>
                <a:gd name="connsiteX4" fmla="*/ 83263 w 198140"/>
                <a:gd name="connsiteY4" fmla="*/ 152552 h 624296"/>
                <a:gd name="connsiteX5" fmla="*/ 74494 w 198140"/>
                <a:gd name="connsiteY5" fmla="*/ 191707 h 624296"/>
                <a:gd name="connsiteX6" fmla="*/ 67083 w 198140"/>
                <a:gd name="connsiteY6" fmla="*/ 231108 h 624296"/>
                <a:gd name="connsiteX7" fmla="*/ 53246 w 198140"/>
                <a:gd name="connsiteY7" fmla="*/ 268910 h 624296"/>
                <a:gd name="connsiteX8" fmla="*/ 45093 w 198140"/>
                <a:gd name="connsiteY8" fmla="*/ 308064 h 624296"/>
                <a:gd name="connsiteX9" fmla="*/ 34965 w 198140"/>
                <a:gd name="connsiteY9" fmla="*/ 346850 h 624296"/>
                <a:gd name="connsiteX10" fmla="*/ 26564 w 198140"/>
                <a:gd name="connsiteY10" fmla="*/ 386131 h 624296"/>
                <a:gd name="connsiteX11" fmla="*/ 19649 w 198140"/>
                <a:gd name="connsiteY11" fmla="*/ 425660 h 624296"/>
                <a:gd name="connsiteX12" fmla="*/ 15820 w 198140"/>
                <a:gd name="connsiteY12" fmla="*/ 465684 h 624296"/>
                <a:gd name="connsiteX13" fmla="*/ 6682 w 198140"/>
                <a:gd name="connsiteY13" fmla="*/ 504838 h 624296"/>
                <a:gd name="connsiteX14" fmla="*/ 5196 w 198140"/>
                <a:gd name="connsiteY14" fmla="*/ 544862 h 624296"/>
                <a:gd name="connsiteX15" fmla="*/ 8 w 198140"/>
                <a:gd name="connsiteY15" fmla="*/ 584638 h 624296"/>
                <a:gd name="connsiteX16" fmla="*/ 10879 w 198140"/>
                <a:gd name="connsiteY16" fmla="*/ 623919 h 624296"/>
                <a:gd name="connsiteX17" fmla="*/ 42007 w 198140"/>
                <a:gd name="connsiteY17" fmla="*/ 597853 h 624296"/>
                <a:gd name="connsiteX18" fmla="*/ 58809 w 198140"/>
                <a:gd name="connsiteY18" fmla="*/ 560426 h 624296"/>
                <a:gd name="connsiteX19" fmla="*/ 77332 w 198140"/>
                <a:gd name="connsiteY19" fmla="*/ 524230 h 624296"/>
                <a:gd name="connsiteX20" fmla="*/ 94255 w 198140"/>
                <a:gd name="connsiteY20" fmla="*/ 487178 h 624296"/>
                <a:gd name="connsiteX21" fmla="*/ 107844 w 198140"/>
                <a:gd name="connsiteY21" fmla="*/ 448761 h 624296"/>
                <a:gd name="connsiteX22" fmla="*/ 127364 w 198140"/>
                <a:gd name="connsiteY22" fmla="*/ 412693 h 624296"/>
                <a:gd name="connsiteX23" fmla="*/ 143175 w 198140"/>
                <a:gd name="connsiteY23" fmla="*/ 375139 h 624296"/>
                <a:gd name="connsiteX24" fmla="*/ 158739 w 198140"/>
                <a:gd name="connsiteY24" fmla="*/ 337344 h 624296"/>
                <a:gd name="connsiteX25" fmla="*/ 168004 w 198140"/>
                <a:gd name="connsiteY25" fmla="*/ 297199 h 624296"/>
                <a:gd name="connsiteX26" fmla="*/ 183936 w 198140"/>
                <a:gd name="connsiteY26" fmla="*/ 259766 h 624296"/>
                <a:gd name="connsiteX27" fmla="*/ 198141 w 198140"/>
                <a:gd name="connsiteY27" fmla="*/ 221723 h 62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8140" h="624296">
                  <a:moveTo>
                    <a:pt x="132056" y="0"/>
                  </a:moveTo>
                  <a:cubicBezTo>
                    <a:pt x="126005" y="19018"/>
                    <a:pt x="126126" y="13589"/>
                    <a:pt x="118842" y="37795"/>
                  </a:cubicBezTo>
                  <a:cubicBezTo>
                    <a:pt x="115629" y="48666"/>
                    <a:pt x="108834" y="60770"/>
                    <a:pt x="104631" y="75349"/>
                  </a:cubicBezTo>
                  <a:cubicBezTo>
                    <a:pt x="101176" y="87204"/>
                    <a:pt x="101545" y="101162"/>
                    <a:pt x="97595" y="114998"/>
                  </a:cubicBezTo>
                  <a:cubicBezTo>
                    <a:pt x="94134" y="127229"/>
                    <a:pt x="86971" y="139084"/>
                    <a:pt x="83263" y="152552"/>
                  </a:cubicBezTo>
                  <a:cubicBezTo>
                    <a:pt x="79809" y="165024"/>
                    <a:pt x="77955" y="178365"/>
                    <a:pt x="74494" y="191707"/>
                  </a:cubicBezTo>
                  <a:cubicBezTo>
                    <a:pt x="71160" y="204305"/>
                    <a:pt x="70417" y="217894"/>
                    <a:pt x="67083" y="231108"/>
                  </a:cubicBezTo>
                  <a:cubicBezTo>
                    <a:pt x="63750" y="244329"/>
                    <a:pt x="56460" y="255816"/>
                    <a:pt x="53246" y="268910"/>
                  </a:cubicBezTo>
                  <a:cubicBezTo>
                    <a:pt x="50033" y="282003"/>
                    <a:pt x="48059" y="295097"/>
                    <a:pt x="45093" y="308064"/>
                  </a:cubicBezTo>
                  <a:cubicBezTo>
                    <a:pt x="42128" y="321037"/>
                    <a:pt x="37810" y="333883"/>
                    <a:pt x="34965" y="346850"/>
                  </a:cubicBezTo>
                  <a:cubicBezTo>
                    <a:pt x="32126" y="359823"/>
                    <a:pt x="29161" y="373037"/>
                    <a:pt x="26564" y="386131"/>
                  </a:cubicBezTo>
                  <a:cubicBezTo>
                    <a:pt x="23973" y="399224"/>
                    <a:pt x="21998" y="412693"/>
                    <a:pt x="19649" y="425660"/>
                  </a:cubicBezTo>
                  <a:cubicBezTo>
                    <a:pt x="17306" y="438633"/>
                    <a:pt x="17921" y="452710"/>
                    <a:pt x="15820" y="465684"/>
                  </a:cubicBezTo>
                  <a:cubicBezTo>
                    <a:pt x="13718" y="479273"/>
                    <a:pt x="8289" y="491992"/>
                    <a:pt x="6682" y="504838"/>
                  </a:cubicBezTo>
                  <a:cubicBezTo>
                    <a:pt x="4949" y="518674"/>
                    <a:pt x="6187" y="532263"/>
                    <a:pt x="5196" y="544862"/>
                  </a:cubicBezTo>
                  <a:cubicBezTo>
                    <a:pt x="4085" y="558946"/>
                    <a:pt x="135" y="572281"/>
                    <a:pt x="8" y="584638"/>
                  </a:cubicBezTo>
                  <a:cubicBezTo>
                    <a:pt x="-240" y="608971"/>
                    <a:pt x="5196" y="621690"/>
                    <a:pt x="10879" y="623919"/>
                  </a:cubicBezTo>
                  <a:cubicBezTo>
                    <a:pt x="17426" y="626389"/>
                    <a:pt x="30025" y="616629"/>
                    <a:pt x="42007" y="597853"/>
                  </a:cubicBezTo>
                  <a:cubicBezTo>
                    <a:pt x="48185" y="588092"/>
                    <a:pt x="51640" y="574135"/>
                    <a:pt x="58809" y="560426"/>
                  </a:cubicBezTo>
                  <a:cubicBezTo>
                    <a:pt x="64613" y="549186"/>
                    <a:pt x="71160" y="537204"/>
                    <a:pt x="77332" y="524230"/>
                  </a:cubicBezTo>
                  <a:cubicBezTo>
                    <a:pt x="82895" y="512375"/>
                    <a:pt x="88578" y="500025"/>
                    <a:pt x="94255" y="487178"/>
                  </a:cubicBezTo>
                  <a:cubicBezTo>
                    <a:pt x="99570" y="474948"/>
                    <a:pt x="102408" y="461359"/>
                    <a:pt x="107844" y="448761"/>
                  </a:cubicBezTo>
                  <a:cubicBezTo>
                    <a:pt x="113280" y="436163"/>
                    <a:pt x="122296" y="425291"/>
                    <a:pt x="127364" y="412693"/>
                  </a:cubicBezTo>
                  <a:cubicBezTo>
                    <a:pt x="132424" y="400095"/>
                    <a:pt x="138235" y="387490"/>
                    <a:pt x="143175" y="375139"/>
                  </a:cubicBezTo>
                  <a:cubicBezTo>
                    <a:pt x="148363" y="362172"/>
                    <a:pt x="154040" y="349567"/>
                    <a:pt x="158739" y="337344"/>
                  </a:cubicBezTo>
                  <a:cubicBezTo>
                    <a:pt x="163927" y="323875"/>
                    <a:pt x="163432" y="309054"/>
                    <a:pt x="168004" y="297199"/>
                  </a:cubicBezTo>
                  <a:cubicBezTo>
                    <a:pt x="173439" y="282867"/>
                    <a:pt x="179859" y="270637"/>
                    <a:pt x="183936" y="259766"/>
                  </a:cubicBezTo>
                  <a:cubicBezTo>
                    <a:pt x="192705" y="236176"/>
                    <a:pt x="191226" y="240748"/>
                    <a:pt x="198141" y="22172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44">
              <a:extLst>
                <a:ext uri="{FF2B5EF4-FFF2-40B4-BE49-F238E27FC236}">
                  <a16:creationId xmlns:a16="http://schemas.microsoft.com/office/drawing/2014/main" id="{2F6ECAB3-47FE-DF92-CC28-4EF51AF0CA7C}"/>
                </a:ext>
              </a:extLst>
            </p:cNvPr>
            <p:cNvSpPr/>
            <p:nvPr/>
          </p:nvSpPr>
          <p:spPr>
            <a:xfrm>
              <a:off x="5663825" y="4670615"/>
              <a:ext cx="348435" cy="686446"/>
            </a:xfrm>
            <a:custGeom>
              <a:avLst/>
              <a:gdLst>
                <a:gd name="connsiteX0" fmla="*/ 318199 w 348435"/>
                <a:gd name="connsiteY0" fmla="*/ 0 h 686446"/>
                <a:gd name="connsiteX1" fmla="*/ 317214 w 348435"/>
                <a:gd name="connsiteY1" fmla="*/ 40017 h 686446"/>
                <a:gd name="connsiteX2" fmla="*/ 321044 w 348435"/>
                <a:gd name="connsiteY2" fmla="*/ 79794 h 686446"/>
                <a:gd name="connsiteX3" fmla="*/ 323386 w 348435"/>
                <a:gd name="connsiteY3" fmla="*/ 119691 h 686446"/>
                <a:gd name="connsiteX4" fmla="*/ 324003 w 348435"/>
                <a:gd name="connsiteY4" fmla="*/ 159588 h 686446"/>
                <a:gd name="connsiteX5" fmla="*/ 322523 w 348435"/>
                <a:gd name="connsiteY5" fmla="*/ 199612 h 686446"/>
                <a:gd name="connsiteX6" fmla="*/ 327343 w 348435"/>
                <a:gd name="connsiteY6" fmla="*/ 239388 h 686446"/>
                <a:gd name="connsiteX7" fmla="*/ 325114 w 348435"/>
                <a:gd name="connsiteY7" fmla="*/ 279533 h 686446"/>
                <a:gd name="connsiteX8" fmla="*/ 327959 w 348435"/>
                <a:gd name="connsiteY8" fmla="*/ 319430 h 686446"/>
                <a:gd name="connsiteX9" fmla="*/ 328949 w 348435"/>
                <a:gd name="connsiteY9" fmla="*/ 359454 h 686446"/>
                <a:gd name="connsiteX10" fmla="*/ 331908 w 348435"/>
                <a:gd name="connsiteY10" fmla="*/ 399351 h 686446"/>
                <a:gd name="connsiteX11" fmla="*/ 331661 w 348435"/>
                <a:gd name="connsiteY11" fmla="*/ 439369 h 686446"/>
                <a:gd name="connsiteX12" fmla="*/ 332156 w 348435"/>
                <a:gd name="connsiteY12" fmla="*/ 479393 h 686446"/>
                <a:gd name="connsiteX13" fmla="*/ 336607 w 348435"/>
                <a:gd name="connsiteY13" fmla="*/ 519290 h 686446"/>
                <a:gd name="connsiteX14" fmla="*/ 338087 w 348435"/>
                <a:gd name="connsiteY14" fmla="*/ 559314 h 686446"/>
                <a:gd name="connsiteX15" fmla="*/ 339446 w 348435"/>
                <a:gd name="connsiteY15" fmla="*/ 599338 h 686446"/>
                <a:gd name="connsiteX16" fmla="*/ 340925 w 348435"/>
                <a:gd name="connsiteY16" fmla="*/ 639356 h 686446"/>
                <a:gd name="connsiteX17" fmla="*/ 342164 w 348435"/>
                <a:gd name="connsiteY17" fmla="*/ 679380 h 686446"/>
                <a:gd name="connsiteX18" fmla="*/ 299422 w 348435"/>
                <a:gd name="connsiteY18" fmla="*/ 681107 h 686446"/>
                <a:gd name="connsiteX19" fmla="*/ 256686 w 348435"/>
                <a:gd name="connsiteY19" fmla="*/ 677773 h 686446"/>
                <a:gd name="connsiteX20" fmla="*/ 213944 w 348435"/>
                <a:gd name="connsiteY20" fmla="*/ 676662 h 686446"/>
                <a:gd name="connsiteX21" fmla="*/ 171209 w 348435"/>
                <a:gd name="connsiteY21" fmla="*/ 679132 h 686446"/>
                <a:gd name="connsiteX22" fmla="*/ 128467 w 348435"/>
                <a:gd name="connsiteY22" fmla="*/ 677646 h 686446"/>
                <a:gd name="connsiteX23" fmla="*/ 85725 w 348435"/>
                <a:gd name="connsiteY23" fmla="*/ 677526 h 686446"/>
                <a:gd name="connsiteX24" fmla="*/ 42863 w 348435"/>
                <a:gd name="connsiteY24" fmla="*/ 682098 h 686446"/>
                <a:gd name="connsiteX25" fmla="*/ 0 w 348435"/>
                <a:gd name="connsiteY25" fmla="*/ 678885 h 68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435" h="686446">
                  <a:moveTo>
                    <a:pt x="318199" y="0"/>
                  </a:moveTo>
                  <a:cubicBezTo>
                    <a:pt x="318942" y="19888"/>
                    <a:pt x="316471" y="20009"/>
                    <a:pt x="317214" y="40017"/>
                  </a:cubicBezTo>
                  <a:cubicBezTo>
                    <a:pt x="317951" y="60033"/>
                    <a:pt x="320301" y="59906"/>
                    <a:pt x="321044" y="79794"/>
                  </a:cubicBezTo>
                  <a:cubicBezTo>
                    <a:pt x="321780" y="99682"/>
                    <a:pt x="322644" y="99682"/>
                    <a:pt x="323386" y="119691"/>
                  </a:cubicBezTo>
                  <a:cubicBezTo>
                    <a:pt x="324129" y="139706"/>
                    <a:pt x="323266" y="139706"/>
                    <a:pt x="324003" y="159588"/>
                  </a:cubicBezTo>
                  <a:cubicBezTo>
                    <a:pt x="324745" y="179476"/>
                    <a:pt x="321907" y="179724"/>
                    <a:pt x="322523" y="199612"/>
                  </a:cubicBezTo>
                  <a:cubicBezTo>
                    <a:pt x="323139" y="219500"/>
                    <a:pt x="326720" y="219500"/>
                    <a:pt x="327343" y="239388"/>
                  </a:cubicBezTo>
                  <a:cubicBezTo>
                    <a:pt x="327959" y="259277"/>
                    <a:pt x="324377" y="259524"/>
                    <a:pt x="325114" y="279533"/>
                  </a:cubicBezTo>
                  <a:cubicBezTo>
                    <a:pt x="325857" y="299542"/>
                    <a:pt x="327216" y="299421"/>
                    <a:pt x="327959" y="319430"/>
                  </a:cubicBezTo>
                  <a:cubicBezTo>
                    <a:pt x="328702" y="339439"/>
                    <a:pt x="328206" y="339439"/>
                    <a:pt x="328949" y="359454"/>
                  </a:cubicBezTo>
                  <a:cubicBezTo>
                    <a:pt x="329686" y="379463"/>
                    <a:pt x="331172" y="379342"/>
                    <a:pt x="331908" y="399351"/>
                  </a:cubicBezTo>
                  <a:cubicBezTo>
                    <a:pt x="332651" y="419360"/>
                    <a:pt x="330924" y="419360"/>
                    <a:pt x="331661" y="439369"/>
                  </a:cubicBezTo>
                  <a:cubicBezTo>
                    <a:pt x="332404" y="459384"/>
                    <a:pt x="331540" y="459384"/>
                    <a:pt x="332156" y="479393"/>
                  </a:cubicBezTo>
                  <a:cubicBezTo>
                    <a:pt x="332778" y="499402"/>
                    <a:pt x="335864" y="499281"/>
                    <a:pt x="336607" y="519290"/>
                  </a:cubicBezTo>
                  <a:cubicBezTo>
                    <a:pt x="337344" y="539305"/>
                    <a:pt x="337344" y="539305"/>
                    <a:pt x="338087" y="559314"/>
                  </a:cubicBezTo>
                  <a:cubicBezTo>
                    <a:pt x="338830" y="579323"/>
                    <a:pt x="338703" y="579323"/>
                    <a:pt x="339446" y="599338"/>
                  </a:cubicBezTo>
                  <a:cubicBezTo>
                    <a:pt x="340189" y="619347"/>
                    <a:pt x="340189" y="619347"/>
                    <a:pt x="340925" y="639356"/>
                  </a:cubicBezTo>
                  <a:cubicBezTo>
                    <a:pt x="341668" y="659365"/>
                    <a:pt x="356616" y="665423"/>
                    <a:pt x="342164" y="679380"/>
                  </a:cubicBezTo>
                  <a:cubicBezTo>
                    <a:pt x="326848" y="694201"/>
                    <a:pt x="320796" y="681107"/>
                    <a:pt x="299422" y="681107"/>
                  </a:cubicBezTo>
                  <a:cubicBezTo>
                    <a:pt x="278054" y="681107"/>
                    <a:pt x="278054" y="677773"/>
                    <a:pt x="256686" y="677773"/>
                  </a:cubicBezTo>
                  <a:cubicBezTo>
                    <a:pt x="235312" y="677773"/>
                    <a:pt x="235312" y="676662"/>
                    <a:pt x="213944" y="676662"/>
                  </a:cubicBezTo>
                  <a:cubicBezTo>
                    <a:pt x="192577" y="676662"/>
                    <a:pt x="192577" y="679132"/>
                    <a:pt x="171209" y="679132"/>
                  </a:cubicBezTo>
                  <a:cubicBezTo>
                    <a:pt x="149835" y="679132"/>
                    <a:pt x="149835" y="677646"/>
                    <a:pt x="128467" y="677646"/>
                  </a:cubicBezTo>
                  <a:cubicBezTo>
                    <a:pt x="107099" y="677646"/>
                    <a:pt x="107099" y="677526"/>
                    <a:pt x="85725" y="677526"/>
                  </a:cubicBezTo>
                  <a:cubicBezTo>
                    <a:pt x="64357" y="677526"/>
                    <a:pt x="64357" y="682098"/>
                    <a:pt x="42863" y="682098"/>
                  </a:cubicBezTo>
                  <a:cubicBezTo>
                    <a:pt x="21374" y="682098"/>
                    <a:pt x="21495" y="678885"/>
                    <a:pt x="0" y="67888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45">
              <a:extLst>
                <a:ext uri="{FF2B5EF4-FFF2-40B4-BE49-F238E27FC236}">
                  <a16:creationId xmlns:a16="http://schemas.microsoft.com/office/drawing/2014/main" id="{8BB01B37-03CE-4A61-5158-9256956114C1}"/>
                </a:ext>
              </a:extLst>
            </p:cNvPr>
            <p:cNvSpPr/>
            <p:nvPr/>
          </p:nvSpPr>
          <p:spPr>
            <a:xfrm>
              <a:off x="6006725" y="4488166"/>
              <a:ext cx="416788" cy="392812"/>
            </a:xfrm>
            <a:custGeom>
              <a:avLst/>
              <a:gdLst>
                <a:gd name="connsiteX0" fmla="*/ 0 w 416788"/>
                <a:gd name="connsiteY0" fmla="*/ 234945 h 392812"/>
                <a:gd name="connsiteX1" fmla="*/ 33109 w 416788"/>
                <a:gd name="connsiteY1" fmla="*/ 213082 h 392812"/>
                <a:gd name="connsiteX2" fmla="*/ 66580 w 416788"/>
                <a:gd name="connsiteY2" fmla="*/ 192082 h 392812"/>
                <a:gd name="connsiteX3" fmla="*/ 100305 w 416788"/>
                <a:gd name="connsiteY3" fmla="*/ 171330 h 392812"/>
                <a:gd name="connsiteX4" fmla="*/ 133160 w 416788"/>
                <a:gd name="connsiteY4" fmla="*/ 149099 h 392812"/>
                <a:gd name="connsiteX5" fmla="*/ 167996 w 416788"/>
                <a:gd name="connsiteY5" fmla="*/ 130195 h 392812"/>
                <a:gd name="connsiteX6" fmla="*/ 202209 w 416788"/>
                <a:gd name="connsiteY6" fmla="*/ 110186 h 392812"/>
                <a:gd name="connsiteX7" fmla="*/ 235319 w 416788"/>
                <a:gd name="connsiteY7" fmla="*/ 88202 h 392812"/>
                <a:gd name="connsiteX8" fmla="*/ 268916 w 416788"/>
                <a:gd name="connsiteY8" fmla="*/ 67076 h 392812"/>
                <a:gd name="connsiteX9" fmla="*/ 305848 w 416788"/>
                <a:gd name="connsiteY9" fmla="*/ 51887 h 392812"/>
                <a:gd name="connsiteX10" fmla="*/ 339446 w 416788"/>
                <a:gd name="connsiteY10" fmla="*/ 30640 h 392812"/>
                <a:gd name="connsiteX11" fmla="*/ 374009 w 416788"/>
                <a:gd name="connsiteY11" fmla="*/ 10872 h 392812"/>
                <a:gd name="connsiteX12" fmla="*/ 412553 w 416788"/>
                <a:gd name="connsiteY12" fmla="*/ 1 h 392812"/>
                <a:gd name="connsiteX13" fmla="*/ 399091 w 416788"/>
                <a:gd name="connsiteY13" fmla="*/ 34094 h 392812"/>
                <a:gd name="connsiteX14" fmla="*/ 368484 w 416788"/>
                <a:gd name="connsiteY14" fmla="*/ 61145 h 392812"/>
                <a:gd name="connsiteX15" fmla="*/ 343402 w 416788"/>
                <a:gd name="connsiteY15" fmla="*/ 93263 h 392812"/>
                <a:gd name="connsiteX16" fmla="*/ 311531 w 416788"/>
                <a:gd name="connsiteY16" fmla="*/ 118708 h 392812"/>
                <a:gd name="connsiteX17" fmla="*/ 284601 w 416788"/>
                <a:gd name="connsiteY17" fmla="*/ 149347 h 392812"/>
                <a:gd name="connsiteX18" fmla="*/ 254832 w 416788"/>
                <a:gd name="connsiteY18" fmla="*/ 177014 h 392812"/>
                <a:gd name="connsiteX19" fmla="*/ 224447 w 416788"/>
                <a:gd name="connsiteY19" fmla="*/ 204065 h 392812"/>
                <a:gd name="connsiteX20" fmla="*/ 192824 w 416788"/>
                <a:gd name="connsiteY20" fmla="*/ 229757 h 392812"/>
                <a:gd name="connsiteX21" fmla="*/ 162928 w 416788"/>
                <a:gd name="connsiteY21" fmla="*/ 257303 h 392812"/>
                <a:gd name="connsiteX22" fmla="*/ 135382 w 416788"/>
                <a:gd name="connsiteY22" fmla="*/ 287446 h 392812"/>
                <a:gd name="connsiteX23" fmla="*/ 103886 w 416788"/>
                <a:gd name="connsiteY23" fmla="*/ 313259 h 392812"/>
                <a:gd name="connsiteX24" fmla="*/ 74486 w 416788"/>
                <a:gd name="connsiteY24" fmla="*/ 341421 h 392812"/>
                <a:gd name="connsiteX25" fmla="*/ 43237 w 416788"/>
                <a:gd name="connsiteY25" fmla="*/ 367361 h 392812"/>
                <a:gd name="connsiteX26" fmla="*/ 11614 w 416788"/>
                <a:gd name="connsiteY26" fmla="*/ 392812 h 39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6788" h="392812">
                  <a:moveTo>
                    <a:pt x="0" y="234945"/>
                  </a:moveTo>
                  <a:cubicBezTo>
                    <a:pt x="16675" y="224321"/>
                    <a:pt x="12230" y="226302"/>
                    <a:pt x="33109" y="213082"/>
                  </a:cubicBezTo>
                  <a:cubicBezTo>
                    <a:pt x="42621" y="207030"/>
                    <a:pt x="53982" y="199988"/>
                    <a:pt x="66580" y="192082"/>
                  </a:cubicBezTo>
                  <a:cubicBezTo>
                    <a:pt x="76956" y="185535"/>
                    <a:pt x="88322" y="178741"/>
                    <a:pt x="100305" y="171330"/>
                  </a:cubicBezTo>
                  <a:cubicBezTo>
                    <a:pt x="111049" y="164663"/>
                    <a:pt x="121425" y="156262"/>
                    <a:pt x="133160" y="149099"/>
                  </a:cubicBezTo>
                  <a:cubicBezTo>
                    <a:pt x="144158" y="142304"/>
                    <a:pt x="156509" y="137116"/>
                    <a:pt x="167996" y="130195"/>
                  </a:cubicBezTo>
                  <a:cubicBezTo>
                    <a:pt x="179483" y="123280"/>
                    <a:pt x="190849" y="116980"/>
                    <a:pt x="202209" y="110186"/>
                  </a:cubicBezTo>
                  <a:cubicBezTo>
                    <a:pt x="213576" y="103392"/>
                    <a:pt x="223952" y="94870"/>
                    <a:pt x="235319" y="88202"/>
                  </a:cubicBezTo>
                  <a:cubicBezTo>
                    <a:pt x="246679" y="81529"/>
                    <a:pt x="257670" y="73375"/>
                    <a:pt x="268916" y="67076"/>
                  </a:cubicBezTo>
                  <a:cubicBezTo>
                    <a:pt x="280772" y="60282"/>
                    <a:pt x="294729" y="58059"/>
                    <a:pt x="305848" y="51887"/>
                  </a:cubicBezTo>
                  <a:cubicBezTo>
                    <a:pt x="318078" y="45092"/>
                    <a:pt x="328454" y="36323"/>
                    <a:pt x="339446" y="30640"/>
                  </a:cubicBezTo>
                  <a:cubicBezTo>
                    <a:pt x="352546" y="23845"/>
                    <a:pt x="363531" y="15692"/>
                    <a:pt x="374009" y="10872"/>
                  </a:cubicBezTo>
                  <a:cubicBezTo>
                    <a:pt x="391344" y="3093"/>
                    <a:pt x="405505" y="128"/>
                    <a:pt x="412553" y="1"/>
                  </a:cubicBezTo>
                  <a:cubicBezTo>
                    <a:pt x="421443" y="-120"/>
                    <a:pt x="416046" y="14085"/>
                    <a:pt x="399091" y="34094"/>
                  </a:cubicBezTo>
                  <a:cubicBezTo>
                    <a:pt x="391789" y="42743"/>
                    <a:pt x="379216" y="49905"/>
                    <a:pt x="368484" y="61145"/>
                  </a:cubicBezTo>
                  <a:cubicBezTo>
                    <a:pt x="359975" y="70169"/>
                    <a:pt x="353625" y="83014"/>
                    <a:pt x="343402" y="93263"/>
                  </a:cubicBezTo>
                  <a:cubicBezTo>
                    <a:pt x="334258" y="102407"/>
                    <a:pt x="321659" y="108827"/>
                    <a:pt x="311531" y="118708"/>
                  </a:cubicBezTo>
                  <a:cubicBezTo>
                    <a:pt x="302139" y="127852"/>
                    <a:pt x="294729" y="139707"/>
                    <a:pt x="284601" y="149347"/>
                  </a:cubicBezTo>
                  <a:cubicBezTo>
                    <a:pt x="274472" y="158979"/>
                    <a:pt x="264960" y="167628"/>
                    <a:pt x="254832" y="177014"/>
                  </a:cubicBezTo>
                  <a:cubicBezTo>
                    <a:pt x="244704" y="186399"/>
                    <a:pt x="234448" y="194800"/>
                    <a:pt x="224447" y="204065"/>
                  </a:cubicBezTo>
                  <a:cubicBezTo>
                    <a:pt x="214440" y="213329"/>
                    <a:pt x="202705" y="220619"/>
                    <a:pt x="192824" y="229757"/>
                  </a:cubicBezTo>
                  <a:cubicBezTo>
                    <a:pt x="182943" y="238901"/>
                    <a:pt x="172815" y="248413"/>
                    <a:pt x="162928" y="257303"/>
                  </a:cubicBezTo>
                  <a:cubicBezTo>
                    <a:pt x="153048" y="266199"/>
                    <a:pt x="145142" y="278550"/>
                    <a:pt x="135382" y="287446"/>
                  </a:cubicBezTo>
                  <a:cubicBezTo>
                    <a:pt x="124885" y="296952"/>
                    <a:pt x="113519" y="304610"/>
                    <a:pt x="103886" y="313259"/>
                  </a:cubicBezTo>
                  <a:cubicBezTo>
                    <a:pt x="93142" y="322892"/>
                    <a:pt x="83877" y="333027"/>
                    <a:pt x="74486" y="341421"/>
                  </a:cubicBezTo>
                  <a:cubicBezTo>
                    <a:pt x="62998" y="351677"/>
                    <a:pt x="52007" y="359703"/>
                    <a:pt x="43237" y="367361"/>
                  </a:cubicBezTo>
                  <a:cubicBezTo>
                    <a:pt x="24213" y="384163"/>
                    <a:pt x="26931" y="379471"/>
                    <a:pt x="11614" y="39281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46">
              <a:extLst>
                <a:ext uri="{FF2B5EF4-FFF2-40B4-BE49-F238E27FC236}">
                  <a16:creationId xmlns:a16="http://schemas.microsoft.com/office/drawing/2014/main" id="{BC68EC74-FABA-AB4E-A62B-48A3CD67C6E3}"/>
                </a:ext>
              </a:extLst>
            </p:cNvPr>
            <p:cNvSpPr/>
            <p:nvPr/>
          </p:nvSpPr>
          <p:spPr>
            <a:xfrm>
              <a:off x="5765785" y="5425090"/>
              <a:ext cx="144676" cy="249636"/>
            </a:xfrm>
            <a:custGeom>
              <a:avLst/>
              <a:gdLst>
                <a:gd name="connsiteX0" fmla="*/ 8581 w 144676"/>
                <a:gd name="connsiteY0" fmla="*/ 243224 h 249636"/>
                <a:gd name="connsiteX1" fmla="*/ 53177 w 144676"/>
                <a:gd name="connsiteY1" fmla="*/ 241128 h 249636"/>
                <a:gd name="connsiteX2" fmla="*/ 96160 w 144676"/>
                <a:gd name="connsiteY2" fmla="*/ 242608 h 249636"/>
                <a:gd name="connsiteX3" fmla="*/ 138286 w 144676"/>
                <a:gd name="connsiteY3" fmla="*/ 240754 h 249636"/>
                <a:gd name="connsiteX4" fmla="*/ 137048 w 144676"/>
                <a:gd name="connsiteY4" fmla="*/ 197275 h 249636"/>
                <a:gd name="connsiteX5" fmla="*/ 136800 w 144676"/>
                <a:gd name="connsiteY5" fmla="*/ 152806 h 249636"/>
                <a:gd name="connsiteX6" fmla="*/ 137663 w 144676"/>
                <a:gd name="connsiteY6" fmla="*/ 108337 h 249636"/>
                <a:gd name="connsiteX7" fmla="*/ 139022 w 144676"/>
                <a:gd name="connsiteY7" fmla="*/ 63868 h 249636"/>
                <a:gd name="connsiteX8" fmla="*/ 107895 w 144676"/>
                <a:gd name="connsiteY8" fmla="*/ 29775 h 249636"/>
                <a:gd name="connsiteX9" fmla="*/ 73801 w 144676"/>
                <a:gd name="connsiteY9" fmla="*/ 6 h 249636"/>
                <a:gd name="connsiteX10" fmla="*/ 43664 w 144676"/>
                <a:gd name="connsiteY10" fmla="*/ 31134 h 249636"/>
                <a:gd name="connsiteX11" fmla="*/ 12905 w 144676"/>
                <a:gd name="connsiteY11" fmla="*/ 62014 h 249636"/>
                <a:gd name="connsiteX12" fmla="*/ 10809 w 144676"/>
                <a:gd name="connsiteY12" fmla="*/ 106362 h 249636"/>
                <a:gd name="connsiteX13" fmla="*/ 10562 w 144676"/>
                <a:gd name="connsiteY13" fmla="*/ 151447 h 249636"/>
                <a:gd name="connsiteX14" fmla="*/ 7965 w 144676"/>
                <a:gd name="connsiteY14" fmla="*/ 196037 h 249636"/>
                <a:gd name="connsiteX15" fmla="*/ 8581 w 144676"/>
                <a:gd name="connsiteY15" fmla="*/ 243351 h 249636"/>
                <a:gd name="connsiteX16" fmla="*/ 8581 w 144676"/>
                <a:gd name="connsiteY16" fmla="*/ 243224 h 24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4676" h="249636">
                  <a:moveTo>
                    <a:pt x="8581" y="243224"/>
                  </a:moveTo>
                  <a:cubicBezTo>
                    <a:pt x="23408" y="258788"/>
                    <a:pt x="31682" y="241128"/>
                    <a:pt x="53177" y="241128"/>
                  </a:cubicBezTo>
                  <a:cubicBezTo>
                    <a:pt x="74665" y="241128"/>
                    <a:pt x="74665" y="242608"/>
                    <a:pt x="96160" y="242608"/>
                  </a:cubicBezTo>
                  <a:cubicBezTo>
                    <a:pt x="117655" y="242608"/>
                    <a:pt x="123211" y="256197"/>
                    <a:pt x="138286" y="240754"/>
                  </a:cubicBezTo>
                  <a:cubicBezTo>
                    <a:pt x="153354" y="225317"/>
                    <a:pt x="137048" y="219507"/>
                    <a:pt x="137048" y="197275"/>
                  </a:cubicBezTo>
                  <a:cubicBezTo>
                    <a:pt x="137048" y="175037"/>
                    <a:pt x="136800" y="175037"/>
                    <a:pt x="136800" y="152806"/>
                  </a:cubicBezTo>
                  <a:cubicBezTo>
                    <a:pt x="136800" y="130575"/>
                    <a:pt x="137663" y="130575"/>
                    <a:pt x="137663" y="108337"/>
                  </a:cubicBezTo>
                  <a:cubicBezTo>
                    <a:pt x="137663" y="86106"/>
                    <a:pt x="147791" y="84372"/>
                    <a:pt x="139022" y="63868"/>
                  </a:cubicBezTo>
                  <a:cubicBezTo>
                    <a:pt x="130253" y="43364"/>
                    <a:pt x="124201" y="46082"/>
                    <a:pt x="107895" y="29775"/>
                  </a:cubicBezTo>
                  <a:cubicBezTo>
                    <a:pt x="91588" y="13474"/>
                    <a:pt x="96903" y="381"/>
                    <a:pt x="73801" y="6"/>
                  </a:cubicBezTo>
                  <a:cubicBezTo>
                    <a:pt x="50706" y="-362"/>
                    <a:pt x="59349" y="15450"/>
                    <a:pt x="43664" y="31134"/>
                  </a:cubicBezTo>
                  <a:cubicBezTo>
                    <a:pt x="27974" y="46825"/>
                    <a:pt x="21427" y="41510"/>
                    <a:pt x="12905" y="62014"/>
                  </a:cubicBezTo>
                  <a:cubicBezTo>
                    <a:pt x="4383" y="82525"/>
                    <a:pt x="10930" y="83756"/>
                    <a:pt x="10809" y="106362"/>
                  </a:cubicBezTo>
                  <a:cubicBezTo>
                    <a:pt x="10682" y="128969"/>
                    <a:pt x="10682" y="128969"/>
                    <a:pt x="10562" y="151447"/>
                  </a:cubicBezTo>
                  <a:cubicBezTo>
                    <a:pt x="10435" y="173926"/>
                    <a:pt x="13152" y="174053"/>
                    <a:pt x="7965" y="196037"/>
                  </a:cubicBezTo>
                  <a:cubicBezTo>
                    <a:pt x="2281" y="220250"/>
                    <a:pt x="-6983" y="226923"/>
                    <a:pt x="8581" y="243351"/>
                  </a:cubicBezTo>
                  <a:lnTo>
                    <a:pt x="8581" y="243224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47">
              <a:extLst>
                <a:ext uri="{FF2B5EF4-FFF2-40B4-BE49-F238E27FC236}">
                  <a16:creationId xmlns:a16="http://schemas.microsoft.com/office/drawing/2014/main" id="{3A34F206-23B9-D1E1-1496-0F261A9A71CD}"/>
                </a:ext>
              </a:extLst>
            </p:cNvPr>
            <p:cNvSpPr/>
            <p:nvPr/>
          </p:nvSpPr>
          <p:spPr>
            <a:xfrm>
              <a:off x="5308339" y="5418718"/>
              <a:ext cx="532244" cy="253964"/>
            </a:xfrm>
            <a:custGeom>
              <a:avLst/>
              <a:gdLst>
                <a:gd name="connsiteX0" fmla="*/ 532245 w 532244"/>
                <a:gd name="connsiteY0" fmla="*/ 5635 h 253964"/>
                <a:gd name="connsiteX1" fmla="*/ 490125 w 532244"/>
                <a:gd name="connsiteY1" fmla="*/ 3908 h 253964"/>
                <a:gd name="connsiteX2" fmla="*/ 448127 w 532244"/>
                <a:gd name="connsiteY2" fmla="*/ 6499 h 253964"/>
                <a:gd name="connsiteX3" fmla="*/ 406001 w 532244"/>
                <a:gd name="connsiteY3" fmla="*/ 1806 h 253964"/>
                <a:gd name="connsiteX4" fmla="*/ 363881 w 532244"/>
                <a:gd name="connsiteY4" fmla="*/ 4772 h 253964"/>
                <a:gd name="connsiteX5" fmla="*/ 321762 w 532244"/>
                <a:gd name="connsiteY5" fmla="*/ 3413 h 253964"/>
                <a:gd name="connsiteX6" fmla="*/ 279763 w 532244"/>
                <a:gd name="connsiteY6" fmla="*/ 7858 h 253964"/>
                <a:gd name="connsiteX7" fmla="*/ 237643 w 532244"/>
                <a:gd name="connsiteY7" fmla="*/ 6378 h 253964"/>
                <a:gd name="connsiteX8" fmla="*/ 195517 w 532244"/>
                <a:gd name="connsiteY8" fmla="*/ 7737 h 253964"/>
                <a:gd name="connsiteX9" fmla="*/ 153398 w 532244"/>
                <a:gd name="connsiteY9" fmla="*/ 7242 h 253964"/>
                <a:gd name="connsiteX10" fmla="*/ 111278 w 532244"/>
                <a:gd name="connsiteY10" fmla="*/ 7242 h 253964"/>
                <a:gd name="connsiteX11" fmla="*/ 68289 w 532244"/>
                <a:gd name="connsiteY11" fmla="*/ 2797 h 253964"/>
                <a:gd name="connsiteX12" fmla="*/ 37040 w 532244"/>
                <a:gd name="connsiteY12" fmla="*/ 35531 h 253964"/>
                <a:gd name="connsiteX13" fmla="*/ 8383 w 532244"/>
                <a:gd name="connsiteY13" fmla="*/ 68513 h 253964"/>
                <a:gd name="connsiteX14" fmla="*/ 6281 w 532244"/>
                <a:gd name="connsiteY14" fmla="*/ 112734 h 253964"/>
                <a:gd name="connsiteX15" fmla="*/ 8255 w 532244"/>
                <a:gd name="connsiteY15" fmla="*/ 157820 h 253964"/>
                <a:gd name="connsiteX16" fmla="*/ 6528 w 532244"/>
                <a:gd name="connsiteY16" fmla="*/ 203025 h 253964"/>
                <a:gd name="connsiteX17" fmla="*/ 7024 w 532244"/>
                <a:gd name="connsiteY17" fmla="*/ 246631 h 253964"/>
                <a:gd name="connsiteX18" fmla="*/ 48400 w 532244"/>
                <a:gd name="connsiteY18" fmla="*/ 246758 h 253964"/>
                <a:gd name="connsiteX19" fmla="*/ 91390 w 532244"/>
                <a:gd name="connsiteY19" fmla="*/ 247621 h 253964"/>
                <a:gd name="connsiteX20" fmla="*/ 134373 w 532244"/>
                <a:gd name="connsiteY20" fmla="*/ 250339 h 253964"/>
                <a:gd name="connsiteX21" fmla="*/ 172911 w 532244"/>
                <a:gd name="connsiteY21" fmla="*/ 247621 h 253964"/>
                <a:gd name="connsiteX22" fmla="*/ 211455 w 532244"/>
                <a:gd name="connsiteY22" fmla="*/ 248237 h 253964"/>
                <a:gd name="connsiteX23" fmla="*/ 249994 w 532244"/>
                <a:gd name="connsiteY23" fmla="*/ 247247 h 253964"/>
                <a:gd name="connsiteX24" fmla="*/ 288532 w 532244"/>
                <a:gd name="connsiteY24" fmla="*/ 249348 h 253964"/>
                <a:gd name="connsiteX25" fmla="*/ 327070 w 532244"/>
                <a:gd name="connsiteY25" fmla="*/ 248237 h 253964"/>
                <a:gd name="connsiteX26" fmla="*/ 365608 w 532244"/>
                <a:gd name="connsiteY26" fmla="*/ 249348 h 253964"/>
                <a:gd name="connsiteX27" fmla="*/ 404153 w 532244"/>
                <a:gd name="connsiteY27" fmla="*/ 245399 h 253964"/>
                <a:gd name="connsiteX28" fmla="*/ 442811 w 532244"/>
                <a:gd name="connsiteY28" fmla="*/ 248237 h 253964"/>
                <a:gd name="connsiteX29" fmla="*/ 481477 w 532244"/>
                <a:gd name="connsiteY29" fmla="*/ 249101 h 25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32244" h="253964">
                  <a:moveTo>
                    <a:pt x="532245" y="5635"/>
                  </a:moveTo>
                  <a:cubicBezTo>
                    <a:pt x="511245" y="5635"/>
                    <a:pt x="511245" y="3908"/>
                    <a:pt x="490125" y="3908"/>
                  </a:cubicBezTo>
                  <a:cubicBezTo>
                    <a:pt x="468999" y="3908"/>
                    <a:pt x="469126" y="6499"/>
                    <a:pt x="448127" y="6499"/>
                  </a:cubicBezTo>
                  <a:cubicBezTo>
                    <a:pt x="427127" y="6499"/>
                    <a:pt x="427127" y="1806"/>
                    <a:pt x="406001" y="1806"/>
                  </a:cubicBezTo>
                  <a:cubicBezTo>
                    <a:pt x="384881" y="1806"/>
                    <a:pt x="385001" y="4772"/>
                    <a:pt x="363881" y="4772"/>
                  </a:cubicBezTo>
                  <a:cubicBezTo>
                    <a:pt x="342761" y="4772"/>
                    <a:pt x="342882" y="3413"/>
                    <a:pt x="321762" y="3413"/>
                  </a:cubicBezTo>
                  <a:cubicBezTo>
                    <a:pt x="300635" y="3413"/>
                    <a:pt x="300762" y="7858"/>
                    <a:pt x="279763" y="7858"/>
                  </a:cubicBezTo>
                  <a:cubicBezTo>
                    <a:pt x="258763" y="7858"/>
                    <a:pt x="258763" y="6378"/>
                    <a:pt x="237643" y="6378"/>
                  </a:cubicBezTo>
                  <a:cubicBezTo>
                    <a:pt x="216517" y="6378"/>
                    <a:pt x="216644" y="7737"/>
                    <a:pt x="195517" y="7737"/>
                  </a:cubicBezTo>
                  <a:cubicBezTo>
                    <a:pt x="174397" y="7737"/>
                    <a:pt x="174518" y="7242"/>
                    <a:pt x="153398" y="7242"/>
                  </a:cubicBezTo>
                  <a:cubicBezTo>
                    <a:pt x="132277" y="7242"/>
                    <a:pt x="132277" y="7242"/>
                    <a:pt x="111278" y="7242"/>
                  </a:cubicBezTo>
                  <a:cubicBezTo>
                    <a:pt x="90279" y="7242"/>
                    <a:pt x="87682" y="-5477"/>
                    <a:pt x="68289" y="2797"/>
                  </a:cubicBezTo>
                  <a:cubicBezTo>
                    <a:pt x="47905" y="11566"/>
                    <a:pt x="52725" y="19840"/>
                    <a:pt x="37040" y="35531"/>
                  </a:cubicBezTo>
                  <a:cubicBezTo>
                    <a:pt x="21349" y="51216"/>
                    <a:pt x="16904" y="48003"/>
                    <a:pt x="8383" y="68513"/>
                  </a:cubicBezTo>
                  <a:cubicBezTo>
                    <a:pt x="-146" y="89017"/>
                    <a:pt x="6401" y="90249"/>
                    <a:pt x="6281" y="112734"/>
                  </a:cubicBezTo>
                  <a:cubicBezTo>
                    <a:pt x="6160" y="135214"/>
                    <a:pt x="8383" y="135334"/>
                    <a:pt x="8255" y="157820"/>
                  </a:cubicBezTo>
                  <a:cubicBezTo>
                    <a:pt x="8135" y="180298"/>
                    <a:pt x="6649" y="180426"/>
                    <a:pt x="6528" y="203025"/>
                  </a:cubicBezTo>
                  <a:cubicBezTo>
                    <a:pt x="6401" y="225631"/>
                    <a:pt x="-8420" y="230203"/>
                    <a:pt x="7024" y="246631"/>
                  </a:cubicBezTo>
                  <a:cubicBezTo>
                    <a:pt x="22460" y="263058"/>
                    <a:pt x="26912" y="246758"/>
                    <a:pt x="48400" y="246758"/>
                  </a:cubicBezTo>
                  <a:cubicBezTo>
                    <a:pt x="69895" y="246758"/>
                    <a:pt x="69895" y="247621"/>
                    <a:pt x="91390" y="247621"/>
                  </a:cubicBezTo>
                  <a:cubicBezTo>
                    <a:pt x="112885" y="247621"/>
                    <a:pt x="112885" y="250339"/>
                    <a:pt x="134373" y="250339"/>
                  </a:cubicBezTo>
                  <a:cubicBezTo>
                    <a:pt x="153645" y="250339"/>
                    <a:pt x="153645" y="247621"/>
                    <a:pt x="172911" y="247621"/>
                  </a:cubicBezTo>
                  <a:cubicBezTo>
                    <a:pt x="192183" y="247621"/>
                    <a:pt x="192183" y="248237"/>
                    <a:pt x="211455" y="248237"/>
                  </a:cubicBezTo>
                  <a:cubicBezTo>
                    <a:pt x="230722" y="248237"/>
                    <a:pt x="230722" y="247247"/>
                    <a:pt x="249994" y="247247"/>
                  </a:cubicBezTo>
                  <a:cubicBezTo>
                    <a:pt x="269260" y="247247"/>
                    <a:pt x="269260" y="249348"/>
                    <a:pt x="288532" y="249348"/>
                  </a:cubicBezTo>
                  <a:cubicBezTo>
                    <a:pt x="307804" y="249348"/>
                    <a:pt x="307804" y="248237"/>
                    <a:pt x="327070" y="248237"/>
                  </a:cubicBezTo>
                  <a:cubicBezTo>
                    <a:pt x="346342" y="248237"/>
                    <a:pt x="346342" y="249348"/>
                    <a:pt x="365608" y="249348"/>
                  </a:cubicBezTo>
                  <a:cubicBezTo>
                    <a:pt x="384881" y="249348"/>
                    <a:pt x="384881" y="245399"/>
                    <a:pt x="404153" y="245399"/>
                  </a:cubicBezTo>
                  <a:cubicBezTo>
                    <a:pt x="423418" y="245399"/>
                    <a:pt x="423418" y="248237"/>
                    <a:pt x="442811" y="248237"/>
                  </a:cubicBezTo>
                  <a:cubicBezTo>
                    <a:pt x="462205" y="248237"/>
                    <a:pt x="462084" y="249101"/>
                    <a:pt x="481477" y="2491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48">
              <a:extLst>
                <a:ext uri="{FF2B5EF4-FFF2-40B4-BE49-F238E27FC236}">
                  <a16:creationId xmlns:a16="http://schemas.microsoft.com/office/drawing/2014/main" id="{2B465FF0-DD48-BDA1-5653-0C8C78BBAAB3}"/>
                </a:ext>
              </a:extLst>
            </p:cNvPr>
            <p:cNvSpPr/>
            <p:nvPr/>
          </p:nvSpPr>
          <p:spPr>
            <a:xfrm>
              <a:off x="5317344" y="5483523"/>
              <a:ext cx="459504" cy="5803"/>
            </a:xfrm>
            <a:custGeom>
              <a:avLst/>
              <a:gdLst>
                <a:gd name="connsiteX0" fmla="*/ 459505 w 459504"/>
                <a:gd name="connsiteY0" fmla="*/ 3334 h 5803"/>
                <a:gd name="connsiteX1" fmla="*/ 417754 w 459504"/>
                <a:gd name="connsiteY1" fmla="*/ 1486 h 5803"/>
                <a:gd name="connsiteX2" fmla="*/ 376003 w 459504"/>
                <a:gd name="connsiteY2" fmla="*/ 2965 h 5803"/>
                <a:gd name="connsiteX3" fmla="*/ 334258 w 459504"/>
                <a:gd name="connsiteY3" fmla="*/ 1111 h 5803"/>
                <a:gd name="connsiteX4" fmla="*/ 292506 w 459504"/>
                <a:gd name="connsiteY4" fmla="*/ 5804 h 5803"/>
                <a:gd name="connsiteX5" fmla="*/ 250755 w 459504"/>
                <a:gd name="connsiteY5" fmla="*/ 5067 h 5803"/>
                <a:gd name="connsiteX6" fmla="*/ 209004 w 459504"/>
                <a:gd name="connsiteY6" fmla="*/ 4820 h 5803"/>
                <a:gd name="connsiteX7" fmla="*/ 167253 w 459504"/>
                <a:gd name="connsiteY7" fmla="*/ 5436 h 5803"/>
                <a:gd name="connsiteX8" fmla="*/ 125501 w 459504"/>
                <a:gd name="connsiteY8" fmla="*/ 0 h 5803"/>
                <a:gd name="connsiteX9" fmla="*/ 83750 w 459504"/>
                <a:gd name="connsiteY9" fmla="*/ 3708 h 5803"/>
                <a:gd name="connsiteX10" fmla="*/ 41872 w 459504"/>
                <a:gd name="connsiteY10" fmla="*/ 5436 h 5803"/>
                <a:gd name="connsiteX11" fmla="*/ 0 w 459504"/>
                <a:gd name="connsiteY11" fmla="*/ 991 h 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9504" h="5803">
                  <a:moveTo>
                    <a:pt x="459505" y="3334"/>
                  </a:moveTo>
                  <a:cubicBezTo>
                    <a:pt x="438633" y="3334"/>
                    <a:pt x="438633" y="1486"/>
                    <a:pt x="417754" y="1486"/>
                  </a:cubicBezTo>
                  <a:cubicBezTo>
                    <a:pt x="396881" y="1486"/>
                    <a:pt x="396881" y="2965"/>
                    <a:pt x="376003" y="2965"/>
                  </a:cubicBezTo>
                  <a:cubicBezTo>
                    <a:pt x="355130" y="2965"/>
                    <a:pt x="355130" y="1111"/>
                    <a:pt x="334258" y="1111"/>
                  </a:cubicBezTo>
                  <a:cubicBezTo>
                    <a:pt x="313379" y="1111"/>
                    <a:pt x="313379" y="5804"/>
                    <a:pt x="292506" y="5804"/>
                  </a:cubicBezTo>
                  <a:cubicBezTo>
                    <a:pt x="271628" y="5804"/>
                    <a:pt x="271628" y="5067"/>
                    <a:pt x="250755" y="5067"/>
                  </a:cubicBezTo>
                  <a:cubicBezTo>
                    <a:pt x="229876" y="5067"/>
                    <a:pt x="229876" y="4820"/>
                    <a:pt x="209004" y="4820"/>
                  </a:cubicBezTo>
                  <a:cubicBezTo>
                    <a:pt x="188125" y="4820"/>
                    <a:pt x="188125" y="5436"/>
                    <a:pt x="167253" y="5436"/>
                  </a:cubicBezTo>
                  <a:cubicBezTo>
                    <a:pt x="146374" y="5436"/>
                    <a:pt x="146374" y="0"/>
                    <a:pt x="125501" y="0"/>
                  </a:cubicBezTo>
                  <a:cubicBezTo>
                    <a:pt x="104623" y="0"/>
                    <a:pt x="104623" y="3708"/>
                    <a:pt x="83750" y="3708"/>
                  </a:cubicBezTo>
                  <a:cubicBezTo>
                    <a:pt x="62871" y="3708"/>
                    <a:pt x="62871" y="5436"/>
                    <a:pt x="41872" y="5436"/>
                  </a:cubicBezTo>
                  <a:cubicBezTo>
                    <a:pt x="20872" y="5436"/>
                    <a:pt x="20999" y="991"/>
                    <a:pt x="0" y="99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49">
              <a:extLst>
                <a:ext uri="{FF2B5EF4-FFF2-40B4-BE49-F238E27FC236}">
                  <a16:creationId xmlns:a16="http://schemas.microsoft.com/office/drawing/2014/main" id="{D6A7BB40-C910-23A7-5F84-56173A470519}"/>
                </a:ext>
              </a:extLst>
            </p:cNvPr>
            <p:cNvSpPr/>
            <p:nvPr/>
          </p:nvSpPr>
          <p:spPr>
            <a:xfrm>
              <a:off x="6334434" y="4635905"/>
              <a:ext cx="113735" cy="104623"/>
            </a:xfrm>
            <a:custGeom>
              <a:avLst/>
              <a:gdLst>
                <a:gd name="connsiteX0" fmla="*/ 81161 w 113735"/>
                <a:gd name="connsiteY0" fmla="*/ 104623 h 104623"/>
                <a:gd name="connsiteX1" fmla="*/ 113038 w 113735"/>
                <a:gd name="connsiteY1" fmla="*/ 67444 h 104623"/>
                <a:gd name="connsiteX2" fmla="*/ 100275 w 113735"/>
                <a:gd name="connsiteY2" fmla="*/ 26804 h 104623"/>
                <a:gd name="connsiteX3" fmla="*/ 68080 w 113735"/>
                <a:gd name="connsiteY3" fmla="*/ 1480 h 104623"/>
                <a:gd name="connsiteX4" fmla="*/ 26043 w 113735"/>
                <a:gd name="connsiteY4" fmla="*/ 7779 h 104623"/>
                <a:gd name="connsiteX5" fmla="*/ 980 w 113735"/>
                <a:gd name="connsiteY5" fmla="*/ 42984 h 104623"/>
                <a:gd name="connsiteX6" fmla="*/ 14569 w 113735"/>
                <a:gd name="connsiteY6" fmla="*/ 88691 h 10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735" h="104623">
                  <a:moveTo>
                    <a:pt x="81161" y="104623"/>
                  </a:moveTo>
                  <a:cubicBezTo>
                    <a:pt x="95449" y="97460"/>
                    <a:pt x="109292" y="84367"/>
                    <a:pt x="113038" y="67444"/>
                  </a:cubicBezTo>
                  <a:cubicBezTo>
                    <a:pt x="116213" y="52617"/>
                    <a:pt x="107958" y="38659"/>
                    <a:pt x="100275" y="26804"/>
                  </a:cubicBezTo>
                  <a:cubicBezTo>
                    <a:pt x="92655" y="14942"/>
                    <a:pt x="82875" y="4693"/>
                    <a:pt x="68080" y="1480"/>
                  </a:cubicBezTo>
                  <a:cubicBezTo>
                    <a:pt x="53221" y="-1733"/>
                    <a:pt x="37918" y="249"/>
                    <a:pt x="26043" y="7779"/>
                  </a:cubicBezTo>
                  <a:cubicBezTo>
                    <a:pt x="14200" y="15317"/>
                    <a:pt x="4193" y="28036"/>
                    <a:pt x="980" y="42984"/>
                  </a:cubicBezTo>
                  <a:cubicBezTo>
                    <a:pt x="-2723" y="59907"/>
                    <a:pt x="4561" y="76087"/>
                    <a:pt x="14569" y="8869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50">
              <a:extLst>
                <a:ext uri="{FF2B5EF4-FFF2-40B4-BE49-F238E27FC236}">
                  <a16:creationId xmlns:a16="http://schemas.microsoft.com/office/drawing/2014/main" id="{A04A5306-1BAE-C3BD-3605-84BE60510F9F}"/>
                </a:ext>
              </a:extLst>
            </p:cNvPr>
            <p:cNvSpPr/>
            <p:nvPr/>
          </p:nvSpPr>
          <p:spPr>
            <a:xfrm>
              <a:off x="6410089" y="4303255"/>
              <a:ext cx="108603" cy="102750"/>
            </a:xfrm>
            <a:custGeom>
              <a:avLst/>
              <a:gdLst>
                <a:gd name="connsiteX0" fmla="*/ 31414 w 108603"/>
                <a:gd name="connsiteY0" fmla="*/ 0 h 102750"/>
                <a:gd name="connsiteX1" fmla="*/ 1315 w 108603"/>
                <a:gd name="connsiteY1" fmla="*/ 35325 h 102750"/>
                <a:gd name="connsiteX2" fmla="*/ 8618 w 108603"/>
                <a:gd name="connsiteY2" fmla="*/ 76829 h 102750"/>
                <a:gd name="connsiteX3" fmla="*/ 43035 w 108603"/>
                <a:gd name="connsiteY3" fmla="*/ 101657 h 102750"/>
                <a:gd name="connsiteX4" fmla="*/ 84183 w 108603"/>
                <a:gd name="connsiteY4" fmla="*/ 92767 h 102750"/>
                <a:gd name="connsiteX5" fmla="*/ 106789 w 108603"/>
                <a:gd name="connsiteY5" fmla="*/ 58427 h 102750"/>
                <a:gd name="connsiteX6" fmla="*/ 98915 w 108603"/>
                <a:gd name="connsiteY6" fmla="*/ 11855 h 10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603" h="102750">
                  <a:moveTo>
                    <a:pt x="31414" y="0"/>
                  </a:moveTo>
                  <a:cubicBezTo>
                    <a:pt x="17127" y="7163"/>
                    <a:pt x="4998" y="18402"/>
                    <a:pt x="1315" y="35325"/>
                  </a:cubicBezTo>
                  <a:cubicBezTo>
                    <a:pt x="-1923" y="50152"/>
                    <a:pt x="934" y="64973"/>
                    <a:pt x="8618" y="76829"/>
                  </a:cubicBezTo>
                  <a:cubicBezTo>
                    <a:pt x="16238" y="88691"/>
                    <a:pt x="28239" y="98323"/>
                    <a:pt x="43035" y="101657"/>
                  </a:cubicBezTo>
                  <a:cubicBezTo>
                    <a:pt x="57894" y="104997"/>
                    <a:pt x="72308" y="100299"/>
                    <a:pt x="84183" y="92767"/>
                  </a:cubicBezTo>
                  <a:cubicBezTo>
                    <a:pt x="96057" y="85230"/>
                    <a:pt x="103550" y="73247"/>
                    <a:pt x="106789" y="58427"/>
                  </a:cubicBezTo>
                  <a:cubicBezTo>
                    <a:pt x="110472" y="41504"/>
                    <a:pt x="108884" y="24333"/>
                    <a:pt x="98915" y="1185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51">
              <a:extLst>
                <a:ext uri="{FF2B5EF4-FFF2-40B4-BE49-F238E27FC236}">
                  <a16:creationId xmlns:a16="http://schemas.microsoft.com/office/drawing/2014/main" id="{A7783BE3-744C-11EE-F09E-D82EDBD230CE}"/>
                </a:ext>
              </a:extLst>
            </p:cNvPr>
            <p:cNvSpPr/>
            <p:nvPr/>
          </p:nvSpPr>
          <p:spPr>
            <a:xfrm>
              <a:off x="6422135" y="4411707"/>
              <a:ext cx="50419" cy="227901"/>
            </a:xfrm>
            <a:custGeom>
              <a:avLst/>
              <a:gdLst>
                <a:gd name="connsiteX0" fmla="*/ 50419 w 50419"/>
                <a:gd name="connsiteY0" fmla="*/ 0 h 227901"/>
                <a:gd name="connsiteX1" fmla="*/ 41275 w 50419"/>
                <a:gd name="connsiteY1" fmla="*/ 37802 h 227901"/>
                <a:gd name="connsiteX2" fmla="*/ 32258 w 50419"/>
                <a:gd name="connsiteY2" fmla="*/ 75597 h 227901"/>
                <a:gd name="connsiteX3" fmla="*/ 26797 w 50419"/>
                <a:gd name="connsiteY3" fmla="*/ 114262 h 227901"/>
                <a:gd name="connsiteX4" fmla="*/ 17526 w 50419"/>
                <a:gd name="connsiteY4" fmla="*/ 152057 h 227901"/>
                <a:gd name="connsiteX5" fmla="*/ 8128 w 50419"/>
                <a:gd name="connsiteY5" fmla="*/ 189859 h 227901"/>
                <a:gd name="connsiteX6" fmla="*/ 0 w 50419"/>
                <a:gd name="connsiteY6" fmla="*/ 227901 h 227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19" h="227901">
                  <a:moveTo>
                    <a:pt x="50419" y="0"/>
                  </a:moveTo>
                  <a:cubicBezTo>
                    <a:pt x="46292" y="19024"/>
                    <a:pt x="45339" y="18777"/>
                    <a:pt x="41275" y="37802"/>
                  </a:cubicBezTo>
                  <a:cubicBezTo>
                    <a:pt x="37148" y="56820"/>
                    <a:pt x="36322" y="56578"/>
                    <a:pt x="32258" y="75597"/>
                  </a:cubicBezTo>
                  <a:cubicBezTo>
                    <a:pt x="28130" y="94621"/>
                    <a:pt x="30988" y="95237"/>
                    <a:pt x="26797" y="114262"/>
                  </a:cubicBezTo>
                  <a:cubicBezTo>
                    <a:pt x="22606" y="133286"/>
                    <a:pt x="21590" y="133039"/>
                    <a:pt x="17526" y="152057"/>
                  </a:cubicBezTo>
                  <a:cubicBezTo>
                    <a:pt x="13462" y="171081"/>
                    <a:pt x="12255" y="170834"/>
                    <a:pt x="8128" y="189859"/>
                  </a:cubicBezTo>
                  <a:cubicBezTo>
                    <a:pt x="4064" y="208883"/>
                    <a:pt x="4191" y="208883"/>
                    <a:pt x="0" y="2279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52">
              <a:extLst>
                <a:ext uri="{FF2B5EF4-FFF2-40B4-BE49-F238E27FC236}">
                  <a16:creationId xmlns:a16="http://schemas.microsoft.com/office/drawing/2014/main" id="{AEAE0241-1017-7B8D-41C8-8AE10E786019}"/>
                </a:ext>
              </a:extLst>
            </p:cNvPr>
            <p:cNvSpPr/>
            <p:nvPr/>
          </p:nvSpPr>
          <p:spPr>
            <a:xfrm>
              <a:off x="6411658" y="4402569"/>
              <a:ext cx="18478" cy="94494"/>
            </a:xfrm>
            <a:custGeom>
              <a:avLst/>
              <a:gdLst>
                <a:gd name="connsiteX0" fmla="*/ 0 w 18478"/>
                <a:gd name="connsiteY0" fmla="*/ 94494 h 94494"/>
                <a:gd name="connsiteX1" fmla="*/ 7747 w 18478"/>
                <a:gd name="connsiteY1" fmla="*/ 46939 h 94494"/>
                <a:gd name="connsiteX2" fmla="*/ 18478 w 18478"/>
                <a:gd name="connsiteY2" fmla="*/ 0 h 9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78" h="94494">
                  <a:moveTo>
                    <a:pt x="0" y="94494"/>
                  </a:moveTo>
                  <a:cubicBezTo>
                    <a:pt x="5143" y="70904"/>
                    <a:pt x="2667" y="70409"/>
                    <a:pt x="7747" y="46939"/>
                  </a:cubicBezTo>
                  <a:cubicBezTo>
                    <a:pt x="12827" y="23469"/>
                    <a:pt x="13335" y="23469"/>
                    <a:pt x="1847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53">
              <a:extLst>
                <a:ext uri="{FF2B5EF4-FFF2-40B4-BE49-F238E27FC236}">
                  <a16:creationId xmlns:a16="http://schemas.microsoft.com/office/drawing/2014/main" id="{5EF2E397-35CB-7299-9035-83DEE127533A}"/>
                </a:ext>
              </a:extLst>
            </p:cNvPr>
            <p:cNvSpPr/>
            <p:nvPr/>
          </p:nvSpPr>
          <p:spPr>
            <a:xfrm>
              <a:off x="6381877" y="4597488"/>
              <a:ext cx="9397" cy="33477"/>
            </a:xfrm>
            <a:custGeom>
              <a:avLst/>
              <a:gdLst>
                <a:gd name="connsiteX0" fmla="*/ 0 w 9397"/>
                <a:gd name="connsiteY0" fmla="*/ 33477 h 33477"/>
                <a:gd name="connsiteX1" fmla="*/ 9398 w 9397"/>
                <a:gd name="connsiteY1" fmla="*/ 0 h 3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97" h="33477">
                  <a:moveTo>
                    <a:pt x="0" y="33477"/>
                  </a:moveTo>
                  <a:cubicBezTo>
                    <a:pt x="3683" y="16554"/>
                    <a:pt x="5651" y="16923"/>
                    <a:pt x="939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54">
              <a:extLst>
                <a:ext uri="{FF2B5EF4-FFF2-40B4-BE49-F238E27FC236}">
                  <a16:creationId xmlns:a16="http://schemas.microsoft.com/office/drawing/2014/main" id="{E3D63368-A600-5895-FC75-2AED3AD89C70}"/>
                </a:ext>
              </a:extLst>
            </p:cNvPr>
            <p:cNvSpPr/>
            <p:nvPr/>
          </p:nvSpPr>
          <p:spPr>
            <a:xfrm>
              <a:off x="5719279" y="5349868"/>
              <a:ext cx="285464" cy="689539"/>
            </a:xfrm>
            <a:custGeom>
              <a:avLst/>
              <a:gdLst>
                <a:gd name="connsiteX0" fmla="*/ 285464 w 285464"/>
                <a:gd name="connsiteY0" fmla="*/ 0 h 689539"/>
                <a:gd name="connsiteX1" fmla="*/ 281756 w 285464"/>
                <a:gd name="connsiteY1" fmla="*/ 40024 h 689539"/>
                <a:gd name="connsiteX2" fmla="*/ 283362 w 285464"/>
                <a:gd name="connsiteY2" fmla="*/ 80537 h 689539"/>
                <a:gd name="connsiteX3" fmla="*/ 276695 w 285464"/>
                <a:gd name="connsiteY3" fmla="*/ 120434 h 689539"/>
                <a:gd name="connsiteX4" fmla="*/ 272123 w 285464"/>
                <a:gd name="connsiteY4" fmla="*/ 160458 h 689539"/>
                <a:gd name="connsiteX5" fmla="*/ 274098 w 285464"/>
                <a:gd name="connsiteY5" fmla="*/ 200977 h 689539"/>
                <a:gd name="connsiteX6" fmla="*/ 265328 w 285464"/>
                <a:gd name="connsiteY6" fmla="*/ 240627 h 689539"/>
                <a:gd name="connsiteX7" fmla="*/ 266687 w 285464"/>
                <a:gd name="connsiteY7" fmla="*/ 281140 h 689539"/>
                <a:gd name="connsiteX8" fmla="*/ 261499 w 285464"/>
                <a:gd name="connsiteY8" fmla="*/ 321164 h 689539"/>
                <a:gd name="connsiteX9" fmla="*/ 257918 w 285464"/>
                <a:gd name="connsiteY9" fmla="*/ 361309 h 689539"/>
                <a:gd name="connsiteX10" fmla="*/ 255448 w 285464"/>
                <a:gd name="connsiteY10" fmla="*/ 401574 h 689539"/>
                <a:gd name="connsiteX11" fmla="*/ 251866 w 285464"/>
                <a:gd name="connsiteY11" fmla="*/ 441725 h 689539"/>
                <a:gd name="connsiteX12" fmla="*/ 249765 w 285464"/>
                <a:gd name="connsiteY12" fmla="*/ 481869 h 689539"/>
                <a:gd name="connsiteX13" fmla="*/ 243218 w 285464"/>
                <a:gd name="connsiteY13" fmla="*/ 521767 h 689539"/>
                <a:gd name="connsiteX14" fmla="*/ 240621 w 285464"/>
                <a:gd name="connsiteY14" fmla="*/ 561911 h 689539"/>
                <a:gd name="connsiteX15" fmla="*/ 238773 w 285464"/>
                <a:gd name="connsiteY15" fmla="*/ 602177 h 689539"/>
                <a:gd name="connsiteX16" fmla="*/ 236544 w 285464"/>
                <a:gd name="connsiteY16" fmla="*/ 642448 h 689539"/>
                <a:gd name="connsiteX17" fmla="*/ 231730 w 285464"/>
                <a:gd name="connsiteY17" fmla="*/ 680866 h 689539"/>
                <a:gd name="connsiteX18" fmla="*/ 186398 w 285464"/>
                <a:gd name="connsiteY18" fmla="*/ 682098 h 689539"/>
                <a:gd name="connsiteX19" fmla="*/ 139459 w 285464"/>
                <a:gd name="connsiteY19" fmla="*/ 684695 h 689539"/>
                <a:gd name="connsiteX20" fmla="*/ 92024 w 285464"/>
                <a:gd name="connsiteY20" fmla="*/ 683584 h 689539"/>
                <a:gd name="connsiteX21" fmla="*/ 78315 w 285464"/>
                <a:gd name="connsiteY21" fmla="*/ 644303 h 689539"/>
                <a:gd name="connsiteX22" fmla="*/ 68059 w 285464"/>
                <a:gd name="connsiteY22" fmla="*/ 604647 h 689539"/>
                <a:gd name="connsiteX23" fmla="*/ 55092 w 285464"/>
                <a:gd name="connsiteY23" fmla="*/ 565861 h 689539"/>
                <a:gd name="connsiteX24" fmla="*/ 40887 w 285464"/>
                <a:gd name="connsiteY24" fmla="*/ 527450 h 689539"/>
                <a:gd name="connsiteX25" fmla="*/ 27299 w 285464"/>
                <a:gd name="connsiteY25" fmla="*/ 488785 h 689539"/>
                <a:gd name="connsiteX26" fmla="*/ 16548 w 285464"/>
                <a:gd name="connsiteY26" fmla="*/ 449135 h 689539"/>
                <a:gd name="connsiteX27" fmla="*/ 0 w 285464"/>
                <a:gd name="connsiteY27" fmla="*/ 411334 h 68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5464" h="689539">
                  <a:moveTo>
                    <a:pt x="285464" y="0"/>
                  </a:moveTo>
                  <a:cubicBezTo>
                    <a:pt x="283857" y="20015"/>
                    <a:pt x="283362" y="20015"/>
                    <a:pt x="281756" y="40024"/>
                  </a:cubicBezTo>
                  <a:cubicBezTo>
                    <a:pt x="280149" y="60033"/>
                    <a:pt x="284969" y="60408"/>
                    <a:pt x="283362" y="80537"/>
                  </a:cubicBezTo>
                  <a:cubicBezTo>
                    <a:pt x="281756" y="100673"/>
                    <a:pt x="278295" y="100304"/>
                    <a:pt x="276695" y="120434"/>
                  </a:cubicBezTo>
                  <a:cubicBezTo>
                    <a:pt x="275088" y="140570"/>
                    <a:pt x="273602" y="140322"/>
                    <a:pt x="272123" y="160458"/>
                  </a:cubicBezTo>
                  <a:cubicBezTo>
                    <a:pt x="270637" y="180594"/>
                    <a:pt x="275704" y="180962"/>
                    <a:pt x="274098" y="200977"/>
                  </a:cubicBezTo>
                  <a:cubicBezTo>
                    <a:pt x="272491" y="220986"/>
                    <a:pt x="266808" y="220618"/>
                    <a:pt x="265328" y="240627"/>
                  </a:cubicBezTo>
                  <a:cubicBezTo>
                    <a:pt x="263842" y="260636"/>
                    <a:pt x="268294" y="261004"/>
                    <a:pt x="266687" y="281140"/>
                  </a:cubicBezTo>
                  <a:cubicBezTo>
                    <a:pt x="265081" y="301275"/>
                    <a:pt x="263106" y="301028"/>
                    <a:pt x="261499" y="321164"/>
                  </a:cubicBezTo>
                  <a:cubicBezTo>
                    <a:pt x="259893" y="341300"/>
                    <a:pt x="259524" y="341173"/>
                    <a:pt x="257918" y="361309"/>
                  </a:cubicBezTo>
                  <a:cubicBezTo>
                    <a:pt x="256311" y="381444"/>
                    <a:pt x="257054" y="381444"/>
                    <a:pt x="255448" y="401574"/>
                  </a:cubicBezTo>
                  <a:cubicBezTo>
                    <a:pt x="253841" y="421710"/>
                    <a:pt x="253467" y="421589"/>
                    <a:pt x="251866" y="441725"/>
                  </a:cubicBezTo>
                  <a:cubicBezTo>
                    <a:pt x="250260" y="461854"/>
                    <a:pt x="251371" y="461854"/>
                    <a:pt x="249765" y="481869"/>
                  </a:cubicBezTo>
                  <a:cubicBezTo>
                    <a:pt x="248158" y="501878"/>
                    <a:pt x="244824" y="501631"/>
                    <a:pt x="243218" y="521767"/>
                  </a:cubicBezTo>
                  <a:cubicBezTo>
                    <a:pt x="241611" y="541903"/>
                    <a:pt x="242107" y="541903"/>
                    <a:pt x="240621" y="561911"/>
                  </a:cubicBezTo>
                  <a:cubicBezTo>
                    <a:pt x="239141" y="581920"/>
                    <a:pt x="240373" y="582047"/>
                    <a:pt x="238773" y="602177"/>
                  </a:cubicBezTo>
                  <a:cubicBezTo>
                    <a:pt x="237166" y="622312"/>
                    <a:pt x="238150" y="622440"/>
                    <a:pt x="236544" y="642448"/>
                  </a:cubicBezTo>
                  <a:cubicBezTo>
                    <a:pt x="234943" y="662457"/>
                    <a:pt x="247415" y="668141"/>
                    <a:pt x="231730" y="680866"/>
                  </a:cubicBezTo>
                  <a:cubicBezTo>
                    <a:pt x="213449" y="695566"/>
                    <a:pt x="209740" y="682098"/>
                    <a:pt x="186398" y="682098"/>
                  </a:cubicBezTo>
                  <a:cubicBezTo>
                    <a:pt x="163049" y="682098"/>
                    <a:pt x="162928" y="684695"/>
                    <a:pt x="139459" y="684695"/>
                  </a:cubicBezTo>
                  <a:cubicBezTo>
                    <a:pt x="115989" y="684695"/>
                    <a:pt x="111665" y="696303"/>
                    <a:pt x="92024" y="683584"/>
                  </a:cubicBezTo>
                  <a:cubicBezTo>
                    <a:pt x="74854" y="672465"/>
                    <a:pt x="84861" y="663816"/>
                    <a:pt x="78315" y="644303"/>
                  </a:cubicBezTo>
                  <a:cubicBezTo>
                    <a:pt x="71768" y="624783"/>
                    <a:pt x="74485" y="624046"/>
                    <a:pt x="68059" y="604647"/>
                  </a:cubicBezTo>
                  <a:cubicBezTo>
                    <a:pt x="61639" y="585254"/>
                    <a:pt x="61513" y="585254"/>
                    <a:pt x="55092" y="565861"/>
                  </a:cubicBezTo>
                  <a:cubicBezTo>
                    <a:pt x="48666" y="546468"/>
                    <a:pt x="47308" y="546843"/>
                    <a:pt x="40887" y="527450"/>
                  </a:cubicBezTo>
                  <a:cubicBezTo>
                    <a:pt x="34461" y="508057"/>
                    <a:pt x="33718" y="508298"/>
                    <a:pt x="27299" y="488785"/>
                  </a:cubicBezTo>
                  <a:cubicBezTo>
                    <a:pt x="20872" y="469265"/>
                    <a:pt x="23095" y="468528"/>
                    <a:pt x="16548" y="449135"/>
                  </a:cubicBezTo>
                  <a:cubicBezTo>
                    <a:pt x="10001" y="429742"/>
                    <a:pt x="6547" y="430854"/>
                    <a:pt x="0" y="411334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55">
              <a:extLst>
                <a:ext uri="{FF2B5EF4-FFF2-40B4-BE49-F238E27FC236}">
                  <a16:creationId xmlns:a16="http://schemas.microsoft.com/office/drawing/2014/main" id="{AD674243-309A-F9E2-5F5C-F94BA31EC5D0}"/>
                </a:ext>
              </a:extLst>
            </p:cNvPr>
            <p:cNvSpPr/>
            <p:nvPr/>
          </p:nvSpPr>
          <p:spPr>
            <a:xfrm>
              <a:off x="5855893" y="5715253"/>
              <a:ext cx="16300" cy="313747"/>
            </a:xfrm>
            <a:custGeom>
              <a:avLst/>
              <a:gdLst>
                <a:gd name="connsiteX0" fmla="*/ 16301 w 16300"/>
                <a:gd name="connsiteY0" fmla="*/ 313747 h 313747"/>
                <a:gd name="connsiteX1" fmla="*/ 15805 w 16300"/>
                <a:gd name="connsiteY1" fmla="*/ 274472 h 313747"/>
                <a:gd name="connsiteX2" fmla="*/ 15437 w 16300"/>
                <a:gd name="connsiteY2" fmla="*/ 235191 h 313747"/>
                <a:gd name="connsiteX3" fmla="*/ 13831 w 16300"/>
                <a:gd name="connsiteY3" fmla="*/ 196031 h 313747"/>
                <a:gd name="connsiteX4" fmla="*/ 8522 w 16300"/>
                <a:gd name="connsiteY4" fmla="*/ 156997 h 313747"/>
                <a:gd name="connsiteX5" fmla="*/ 10249 w 16300"/>
                <a:gd name="connsiteY5" fmla="*/ 117596 h 313747"/>
                <a:gd name="connsiteX6" fmla="*/ 4445 w 16300"/>
                <a:gd name="connsiteY6" fmla="*/ 78562 h 313747"/>
                <a:gd name="connsiteX7" fmla="*/ 5430 w 16300"/>
                <a:gd name="connsiteY7" fmla="*/ 39154 h 313747"/>
                <a:gd name="connsiteX8" fmla="*/ 0 w 16300"/>
                <a:gd name="connsiteY8" fmla="*/ 0 h 3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00" h="313747">
                  <a:moveTo>
                    <a:pt x="16301" y="313747"/>
                  </a:moveTo>
                  <a:cubicBezTo>
                    <a:pt x="15437" y="294113"/>
                    <a:pt x="16796" y="294113"/>
                    <a:pt x="15805" y="274472"/>
                  </a:cubicBezTo>
                  <a:cubicBezTo>
                    <a:pt x="14821" y="254832"/>
                    <a:pt x="16301" y="254832"/>
                    <a:pt x="15437" y="235191"/>
                  </a:cubicBezTo>
                  <a:cubicBezTo>
                    <a:pt x="14573" y="215551"/>
                    <a:pt x="14694" y="215551"/>
                    <a:pt x="13831" y="196031"/>
                  </a:cubicBezTo>
                  <a:cubicBezTo>
                    <a:pt x="12967" y="176518"/>
                    <a:pt x="9385" y="176638"/>
                    <a:pt x="8522" y="156997"/>
                  </a:cubicBezTo>
                  <a:cubicBezTo>
                    <a:pt x="7658" y="137357"/>
                    <a:pt x="11113" y="137236"/>
                    <a:pt x="10249" y="117596"/>
                  </a:cubicBezTo>
                  <a:cubicBezTo>
                    <a:pt x="9385" y="97955"/>
                    <a:pt x="5430" y="98203"/>
                    <a:pt x="4445" y="78562"/>
                  </a:cubicBezTo>
                  <a:cubicBezTo>
                    <a:pt x="3454" y="58922"/>
                    <a:pt x="6420" y="58795"/>
                    <a:pt x="5430" y="39154"/>
                  </a:cubicBezTo>
                  <a:cubicBezTo>
                    <a:pt x="4445" y="19520"/>
                    <a:pt x="864" y="19641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56">
              <a:extLst>
                <a:ext uri="{FF2B5EF4-FFF2-40B4-BE49-F238E27FC236}">
                  <a16:creationId xmlns:a16="http://schemas.microsoft.com/office/drawing/2014/main" id="{2DFBAAE1-4930-9F16-2D2D-DBD0F088ABDB}"/>
                </a:ext>
              </a:extLst>
            </p:cNvPr>
            <p:cNvSpPr/>
            <p:nvPr/>
          </p:nvSpPr>
          <p:spPr>
            <a:xfrm>
              <a:off x="5611327" y="6025205"/>
              <a:ext cx="272722" cy="150794"/>
            </a:xfrm>
            <a:custGeom>
              <a:avLst/>
              <a:gdLst>
                <a:gd name="connsiteX0" fmla="*/ 4562 w 272722"/>
                <a:gd name="connsiteY0" fmla="*/ 136340 h 150794"/>
                <a:gd name="connsiteX1" fmla="*/ 35810 w 272722"/>
                <a:gd name="connsiteY1" fmla="*/ 112743 h 150794"/>
                <a:gd name="connsiteX2" fmla="*/ 67433 w 272722"/>
                <a:gd name="connsiteY2" fmla="*/ 89648 h 150794"/>
                <a:gd name="connsiteX3" fmla="*/ 101399 w 272722"/>
                <a:gd name="connsiteY3" fmla="*/ 70255 h 150794"/>
                <a:gd name="connsiteX4" fmla="*/ 133149 w 272722"/>
                <a:gd name="connsiteY4" fmla="*/ 47401 h 150794"/>
                <a:gd name="connsiteX5" fmla="*/ 167731 w 272722"/>
                <a:gd name="connsiteY5" fmla="*/ 28872 h 150794"/>
                <a:gd name="connsiteX6" fmla="*/ 199850 w 272722"/>
                <a:gd name="connsiteY6" fmla="*/ 5777 h 150794"/>
                <a:gd name="connsiteX7" fmla="*/ 233695 w 272722"/>
                <a:gd name="connsiteY7" fmla="*/ 4907 h 150794"/>
                <a:gd name="connsiteX8" fmla="*/ 267172 w 272722"/>
                <a:gd name="connsiteY8" fmla="*/ 6514 h 150794"/>
                <a:gd name="connsiteX9" fmla="*/ 265813 w 272722"/>
                <a:gd name="connsiteY9" fmla="*/ 50240 h 150794"/>
                <a:gd name="connsiteX10" fmla="*/ 260003 w 272722"/>
                <a:gd name="connsiteY10" fmla="*/ 93109 h 150794"/>
                <a:gd name="connsiteX11" fmla="*/ 221097 w 272722"/>
                <a:gd name="connsiteY11" fmla="*/ 109161 h 150794"/>
                <a:gd name="connsiteX12" fmla="*/ 178602 w 272722"/>
                <a:gd name="connsiteY12" fmla="*/ 119169 h 150794"/>
                <a:gd name="connsiteX13" fmla="*/ 136356 w 272722"/>
                <a:gd name="connsiteY13" fmla="*/ 129545 h 150794"/>
                <a:gd name="connsiteX14" fmla="*/ 94363 w 272722"/>
                <a:gd name="connsiteY14" fmla="*/ 141896 h 150794"/>
                <a:gd name="connsiteX15" fmla="*/ 50631 w 272722"/>
                <a:gd name="connsiteY15" fmla="*/ 144118 h 150794"/>
                <a:gd name="connsiteX16" fmla="*/ 7400 w 272722"/>
                <a:gd name="connsiteY16" fmla="*/ 150792 h 150794"/>
                <a:gd name="connsiteX17" fmla="*/ 4435 w 272722"/>
                <a:gd name="connsiteY17" fmla="*/ 136092 h 150794"/>
                <a:gd name="connsiteX18" fmla="*/ 4562 w 272722"/>
                <a:gd name="connsiteY18" fmla="*/ 136340 h 15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2722" h="150794">
                  <a:moveTo>
                    <a:pt x="4562" y="136340"/>
                  </a:moveTo>
                  <a:cubicBezTo>
                    <a:pt x="20989" y="125837"/>
                    <a:pt x="19383" y="123366"/>
                    <a:pt x="35810" y="112743"/>
                  </a:cubicBezTo>
                  <a:cubicBezTo>
                    <a:pt x="52238" y="102126"/>
                    <a:pt x="51006" y="100145"/>
                    <a:pt x="67433" y="89648"/>
                  </a:cubicBezTo>
                  <a:cubicBezTo>
                    <a:pt x="83860" y="79145"/>
                    <a:pt x="84972" y="80752"/>
                    <a:pt x="101399" y="70255"/>
                  </a:cubicBezTo>
                  <a:cubicBezTo>
                    <a:pt x="117833" y="59752"/>
                    <a:pt x="116715" y="58025"/>
                    <a:pt x="133149" y="47401"/>
                  </a:cubicBezTo>
                  <a:cubicBezTo>
                    <a:pt x="149577" y="36778"/>
                    <a:pt x="151304" y="39496"/>
                    <a:pt x="167731" y="28872"/>
                  </a:cubicBezTo>
                  <a:cubicBezTo>
                    <a:pt x="184165" y="18248"/>
                    <a:pt x="181199" y="11829"/>
                    <a:pt x="199850" y="5777"/>
                  </a:cubicBezTo>
                  <a:cubicBezTo>
                    <a:pt x="215782" y="589"/>
                    <a:pt x="217020" y="5034"/>
                    <a:pt x="233695" y="4907"/>
                  </a:cubicBezTo>
                  <a:cubicBezTo>
                    <a:pt x="250370" y="4786"/>
                    <a:pt x="257533" y="-7069"/>
                    <a:pt x="267172" y="6514"/>
                  </a:cubicBezTo>
                  <a:cubicBezTo>
                    <a:pt x="279771" y="24300"/>
                    <a:pt x="267172" y="28377"/>
                    <a:pt x="265813" y="50240"/>
                  </a:cubicBezTo>
                  <a:cubicBezTo>
                    <a:pt x="264455" y="72109"/>
                    <a:pt x="267661" y="72598"/>
                    <a:pt x="260003" y="93109"/>
                  </a:cubicBezTo>
                  <a:cubicBezTo>
                    <a:pt x="252345" y="113613"/>
                    <a:pt x="246294" y="101135"/>
                    <a:pt x="221097" y="109161"/>
                  </a:cubicBezTo>
                  <a:cubicBezTo>
                    <a:pt x="208987" y="112991"/>
                    <a:pt x="194166" y="114845"/>
                    <a:pt x="178602" y="119169"/>
                  </a:cubicBezTo>
                  <a:cubicBezTo>
                    <a:pt x="165388" y="122878"/>
                    <a:pt x="151056" y="126084"/>
                    <a:pt x="136356" y="129545"/>
                  </a:cubicBezTo>
                  <a:cubicBezTo>
                    <a:pt x="122526" y="132879"/>
                    <a:pt x="108810" y="139305"/>
                    <a:pt x="94363" y="141896"/>
                  </a:cubicBezTo>
                  <a:cubicBezTo>
                    <a:pt x="79911" y="144493"/>
                    <a:pt x="64836" y="142518"/>
                    <a:pt x="50631" y="144118"/>
                  </a:cubicBezTo>
                  <a:cubicBezTo>
                    <a:pt x="35562" y="145852"/>
                    <a:pt x="21237" y="150913"/>
                    <a:pt x="7400" y="150792"/>
                  </a:cubicBezTo>
                  <a:cubicBezTo>
                    <a:pt x="-1001" y="150792"/>
                    <a:pt x="-2608" y="140664"/>
                    <a:pt x="4435" y="136092"/>
                  </a:cubicBezTo>
                  <a:lnTo>
                    <a:pt x="4562" y="136340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57">
              <a:extLst>
                <a:ext uri="{FF2B5EF4-FFF2-40B4-BE49-F238E27FC236}">
                  <a16:creationId xmlns:a16="http://schemas.microsoft.com/office/drawing/2014/main" id="{9FE506AC-0B2C-A95E-559C-5BE591214AD7}"/>
                </a:ext>
              </a:extLst>
            </p:cNvPr>
            <p:cNvSpPr/>
            <p:nvPr/>
          </p:nvSpPr>
          <p:spPr>
            <a:xfrm>
              <a:off x="5880023" y="6027608"/>
              <a:ext cx="258196" cy="122228"/>
            </a:xfrm>
            <a:custGeom>
              <a:avLst/>
              <a:gdLst>
                <a:gd name="connsiteX0" fmla="*/ 252698 w 258196"/>
                <a:gd name="connsiteY0" fmla="*/ 105279 h 122228"/>
                <a:gd name="connsiteX1" fmla="*/ 215894 w 258196"/>
                <a:gd name="connsiteY1" fmla="*/ 84159 h 122228"/>
                <a:gd name="connsiteX2" fmla="*/ 179083 w 258196"/>
                <a:gd name="connsiteY2" fmla="*/ 62912 h 122228"/>
                <a:gd name="connsiteX3" fmla="*/ 140049 w 258196"/>
                <a:gd name="connsiteY3" fmla="*/ 45868 h 122228"/>
                <a:gd name="connsiteX4" fmla="*/ 103854 w 258196"/>
                <a:gd name="connsiteY4" fmla="*/ 23262 h 122228"/>
                <a:gd name="connsiteX5" fmla="*/ 65195 w 258196"/>
                <a:gd name="connsiteY5" fmla="*/ 5844 h 122228"/>
                <a:gd name="connsiteX6" fmla="*/ 34684 w 258196"/>
                <a:gd name="connsiteY6" fmla="*/ 6340 h 122228"/>
                <a:gd name="connsiteX7" fmla="*/ 3429 w 258196"/>
                <a:gd name="connsiteY7" fmla="*/ 5717 h 122228"/>
                <a:gd name="connsiteX8" fmla="*/ 13068 w 258196"/>
                <a:gd name="connsiteY8" fmla="*/ 48212 h 122228"/>
                <a:gd name="connsiteX9" fmla="*/ 18008 w 258196"/>
                <a:gd name="connsiteY9" fmla="*/ 90579 h 122228"/>
                <a:gd name="connsiteX10" fmla="*/ 54197 w 258196"/>
                <a:gd name="connsiteY10" fmla="*/ 101577 h 122228"/>
                <a:gd name="connsiteX11" fmla="*/ 92983 w 258196"/>
                <a:gd name="connsiteY11" fmla="*/ 107254 h 122228"/>
                <a:gd name="connsiteX12" fmla="*/ 131648 w 258196"/>
                <a:gd name="connsiteY12" fmla="*/ 113928 h 122228"/>
                <a:gd name="connsiteX13" fmla="*/ 170929 w 258196"/>
                <a:gd name="connsiteY13" fmla="*/ 116271 h 122228"/>
                <a:gd name="connsiteX14" fmla="*/ 209836 w 258196"/>
                <a:gd name="connsiteY14" fmla="*/ 122081 h 122228"/>
                <a:gd name="connsiteX15" fmla="*/ 249244 w 258196"/>
                <a:gd name="connsiteY15" fmla="*/ 119732 h 122228"/>
                <a:gd name="connsiteX16" fmla="*/ 252825 w 258196"/>
                <a:gd name="connsiteY16" fmla="*/ 105279 h 122228"/>
                <a:gd name="connsiteX17" fmla="*/ 252698 w 258196"/>
                <a:gd name="connsiteY17" fmla="*/ 105279 h 12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196" h="122228">
                  <a:moveTo>
                    <a:pt x="252698" y="105279"/>
                  </a:moveTo>
                  <a:cubicBezTo>
                    <a:pt x="233928" y="95398"/>
                    <a:pt x="234664" y="93919"/>
                    <a:pt x="215894" y="84159"/>
                  </a:cubicBezTo>
                  <a:cubicBezTo>
                    <a:pt x="197117" y="74399"/>
                    <a:pt x="197859" y="72792"/>
                    <a:pt x="179083" y="62912"/>
                  </a:cubicBezTo>
                  <a:cubicBezTo>
                    <a:pt x="160305" y="53031"/>
                    <a:pt x="158947" y="55622"/>
                    <a:pt x="140049" y="45868"/>
                  </a:cubicBezTo>
                  <a:cubicBezTo>
                    <a:pt x="121152" y="36108"/>
                    <a:pt x="122752" y="33016"/>
                    <a:pt x="103854" y="23262"/>
                  </a:cubicBezTo>
                  <a:cubicBezTo>
                    <a:pt x="84957" y="13502"/>
                    <a:pt x="85700" y="11527"/>
                    <a:pt x="65195" y="5844"/>
                  </a:cubicBezTo>
                  <a:cubicBezTo>
                    <a:pt x="50368" y="1767"/>
                    <a:pt x="50120" y="6092"/>
                    <a:pt x="34684" y="6340"/>
                  </a:cubicBezTo>
                  <a:cubicBezTo>
                    <a:pt x="19240" y="6587"/>
                    <a:pt x="11087" y="-7618"/>
                    <a:pt x="3429" y="5717"/>
                  </a:cubicBezTo>
                  <a:cubicBezTo>
                    <a:pt x="-7195" y="24494"/>
                    <a:pt x="9976" y="26843"/>
                    <a:pt x="13068" y="48212"/>
                  </a:cubicBezTo>
                  <a:cubicBezTo>
                    <a:pt x="16154" y="69579"/>
                    <a:pt x="8991" y="70938"/>
                    <a:pt x="18008" y="90579"/>
                  </a:cubicBezTo>
                  <a:cubicBezTo>
                    <a:pt x="26162" y="108371"/>
                    <a:pt x="30607" y="97126"/>
                    <a:pt x="54197" y="101577"/>
                  </a:cubicBezTo>
                  <a:cubicBezTo>
                    <a:pt x="65316" y="103673"/>
                    <a:pt x="78657" y="104910"/>
                    <a:pt x="92983" y="107254"/>
                  </a:cubicBezTo>
                  <a:cubicBezTo>
                    <a:pt x="105093" y="109235"/>
                    <a:pt x="118059" y="112074"/>
                    <a:pt x="131648" y="113928"/>
                  </a:cubicBezTo>
                  <a:cubicBezTo>
                    <a:pt x="144246" y="115655"/>
                    <a:pt x="157588" y="114912"/>
                    <a:pt x="170929" y="116271"/>
                  </a:cubicBezTo>
                  <a:cubicBezTo>
                    <a:pt x="184271" y="117630"/>
                    <a:pt x="196869" y="121217"/>
                    <a:pt x="209836" y="122081"/>
                  </a:cubicBezTo>
                  <a:cubicBezTo>
                    <a:pt x="222809" y="122945"/>
                    <a:pt x="236398" y="119732"/>
                    <a:pt x="249244" y="119732"/>
                  </a:cubicBezTo>
                  <a:cubicBezTo>
                    <a:pt x="259245" y="119732"/>
                    <a:pt x="261474" y="110219"/>
                    <a:pt x="252825" y="105279"/>
                  </a:cubicBezTo>
                  <a:lnTo>
                    <a:pt x="252698" y="105279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58">
              <a:extLst>
                <a:ext uri="{FF2B5EF4-FFF2-40B4-BE49-F238E27FC236}">
                  <a16:creationId xmlns:a16="http://schemas.microsoft.com/office/drawing/2014/main" id="{3EDF80C5-A426-8D79-5B56-9460B69D452D}"/>
                </a:ext>
              </a:extLst>
            </p:cNvPr>
            <p:cNvSpPr/>
            <p:nvPr/>
          </p:nvSpPr>
          <p:spPr>
            <a:xfrm>
              <a:off x="5551798" y="5305278"/>
              <a:ext cx="65220" cy="144773"/>
            </a:xfrm>
            <a:custGeom>
              <a:avLst/>
              <a:gdLst>
                <a:gd name="connsiteX0" fmla="*/ 0 w 65220"/>
                <a:gd name="connsiteY0" fmla="*/ 144774 h 144773"/>
                <a:gd name="connsiteX1" fmla="*/ 1606 w 65220"/>
                <a:gd name="connsiteY1" fmla="*/ 104381 h 144773"/>
                <a:gd name="connsiteX2" fmla="*/ 2102 w 65220"/>
                <a:gd name="connsiteY2" fmla="*/ 63989 h 144773"/>
                <a:gd name="connsiteX3" fmla="*/ 5188 w 65220"/>
                <a:gd name="connsiteY3" fmla="*/ 24708 h 144773"/>
                <a:gd name="connsiteX4" fmla="*/ 31871 w 65220"/>
                <a:gd name="connsiteY4" fmla="*/ 622 h 144773"/>
                <a:gd name="connsiteX5" fmla="*/ 31871 w 65220"/>
                <a:gd name="connsiteY5" fmla="*/ 0 h 144773"/>
                <a:gd name="connsiteX6" fmla="*/ 58426 w 65220"/>
                <a:gd name="connsiteY6" fmla="*/ 24708 h 144773"/>
                <a:gd name="connsiteX7" fmla="*/ 63487 w 65220"/>
                <a:gd name="connsiteY7" fmla="*/ 63989 h 144773"/>
                <a:gd name="connsiteX8" fmla="*/ 65221 w 65220"/>
                <a:gd name="connsiteY8" fmla="*/ 115741 h 14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220" h="144773">
                  <a:moveTo>
                    <a:pt x="0" y="144774"/>
                  </a:moveTo>
                  <a:cubicBezTo>
                    <a:pt x="0" y="124638"/>
                    <a:pt x="1606" y="124638"/>
                    <a:pt x="1606" y="104381"/>
                  </a:cubicBezTo>
                  <a:cubicBezTo>
                    <a:pt x="1606" y="84119"/>
                    <a:pt x="2102" y="84246"/>
                    <a:pt x="2102" y="63989"/>
                  </a:cubicBezTo>
                  <a:cubicBezTo>
                    <a:pt x="2102" y="49409"/>
                    <a:pt x="1232" y="35579"/>
                    <a:pt x="5188" y="24708"/>
                  </a:cubicBezTo>
                  <a:cubicBezTo>
                    <a:pt x="11119" y="8401"/>
                    <a:pt x="21120" y="622"/>
                    <a:pt x="31871" y="622"/>
                  </a:cubicBezTo>
                  <a:lnTo>
                    <a:pt x="31871" y="0"/>
                  </a:lnTo>
                  <a:cubicBezTo>
                    <a:pt x="42494" y="0"/>
                    <a:pt x="52622" y="8401"/>
                    <a:pt x="58426" y="24708"/>
                  </a:cubicBezTo>
                  <a:cubicBezTo>
                    <a:pt x="62376" y="35700"/>
                    <a:pt x="63487" y="49409"/>
                    <a:pt x="63487" y="63989"/>
                  </a:cubicBezTo>
                  <a:cubicBezTo>
                    <a:pt x="63487" y="89802"/>
                    <a:pt x="65221" y="89802"/>
                    <a:pt x="65221" y="11574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99" name="Graphic 87">
            <a:extLst>
              <a:ext uri="{FF2B5EF4-FFF2-40B4-BE49-F238E27FC236}">
                <a16:creationId xmlns:a16="http://schemas.microsoft.com/office/drawing/2014/main" id="{429B0A19-23AE-DA32-AEE2-1F51AA9A273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293168" y="3750000"/>
            <a:ext cx="1565333" cy="10269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889348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1B523FD-103F-3E30-89E1-7C211EDD2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2C7C1C7-1448-792E-E77E-F3E23E9F96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C7C1C7-1448-792E-E77E-F3E23E9F9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432FBDBC-E6B8-1A3E-A39D-D16C267C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llustrati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bru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nye slid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63A3AB0-BB83-ED47-E171-CCC31E20F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54553" y="4250017"/>
            <a:ext cx="910480" cy="59678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D85D73AF-0EB8-C68B-99E5-A782E3557E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58920" y="5809725"/>
            <a:ext cx="915629" cy="56136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F371CEF-EBDB-F5C4-E621-953CAE0D4A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06241" y="4375158"/>
            <a:ext cx="1471383" cy="194394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9CCA13A-DF10-ED22-3D22-B176E34B84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58541" y="1655874"/>
            <a:ext cx="477925" cy="66522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DC19AAE-5A39-E976-E85C-B6556B36981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07881" y="3046268"/>
            <a:ext cx="406881" cy="58126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CBFE201-C22F-1AC9-AB38-1577502F3E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268387" y="1655874"/>
            <a:ext cx="477925" cy="775502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70EE2F74-5AC0-EF65-2A44-F126C43F4C5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978233" y="1655874"/>
            <a:ext cx="432717" cy="891266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80B446CC-0B65-6EB7-5BAC-7DBFDDB0814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339443" y="2915303"/>
            <a:ext cx="1759857" cy="712225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FE276856-4891-520B-35AA-4CE9318CE12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331221" y="1655873"/>
            <a:ext cx="995399" cy="732929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4E087F03-9F98-F216-3DCE-46F101430A6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339443" y="1655874"/>
            <a:ext cx="1759857" cy="712225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58DF41C0-5736-5DEF-E6F2-290F60C4DE7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321128" y="2894599"/>
            <a:ext cx="1093182" cy="732929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DFB9F03A-9339-9317-7122-DD1A8D0DF55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642872" y="1655874"/>
            <a:ext cx="514363" cy="1146891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556A3D08-1827-FA2C-4478-AA32A465972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636138" y="2826680"/>
            <a:ext cx="449915" cy="800848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AF875DAB-3618-9F19-E3FE-055D81E4BA0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936590" y="2826681"/>
            <a:ext cx="1220645" cy="800847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213FC091-AEFB-4858-9888-D7D7EADD007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095792" y="5052844"/>
            <a:ext cx="1168020" cy="1318248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573D5214-9894-7063-A65E-D6F7C8B158F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554661" y="4267987"/>
            <a:ext cx="1008345" cy="1016854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B63ABD7F-04D2-A7A9-904D-525E0985ACFC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8635903" y="4310684"/>
            <a:ext cx="1300687" cy="363427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E124F629-4059-46E4-D5AB-DA619813BF5B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337929" y="4280621"/>
            <a:ext cx="1143836" cy="56618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1ED5CE83-3B02-A15F-F121-F554A081A0A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6439946" y="5879030"/>
            <a:ext cx="727645" cy="492062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49C1B33D-CE23-6F8A-4F78-DA7E8BA12D4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745507" y="5809725"/>
            <a:ext cx="237279" cy="561367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FB728CAD-301D-7CE5-2577-35D2DA5FA2F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7343725" y="5809724"/>
            <a:ext cx="225648" cy="561368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E9B15452-C5AE-F5CA-BF5B-B4A1C6D71086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171966" y="5360618"/>
            <a:ext cx="941578" cy="1010474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5D415CC2-92A7-BC06-7F1F-0CB7455860C5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9250683" y="5245440"/>
            <a:ext cx="745150" cy="1125652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B65CB363-B8DB-A6A0-24C9-E82E127CC4B1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866190" y="5433665"/>
            <a:ext cx="3397608" cy="308051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ADCE47D3-51AC-5B5E-2650-4503144FBF1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96130" y="5898475"/>
            <a:ext cx="3337729" cy="230657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80C937FB-BD48-DB02-E866-3EE047CC8435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3527568" y="3634663"/>
            <a:ext cx="1292037" cy="159398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EE02D3D4-5A5B-C92C-B723-CA3C77712A9E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634176" y="4230846"/>
            <a:ext cx="2973599" cy="849599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F19CDD74-E883-0074-F8E4-9C6494558B8D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627240" y="3633908"/>
            <a:ext cx="2987471" cy="436328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CD0B2A5-E705-3E93-B253-1CD2E24839F9}"/>
              </a:ext>
            </a:extLst>
          </p:cNvPr>
          <p:cNvGrpSpPr/>
          <p:nvPr/>
        </p:nvGrpSpPr>
        <p:grpSpPr>
          <a:xfrm>
            <a:off x="665728" y="1612617"/>
            <a:ext cx="3798533" cy="1822743"/>
            <a:chOff x="1156991" y="1549117"/>
            <a:chExt cx="3798533" cy="1822743"/>
          </a:xfrm>
        </p:grpSpPr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231C0BAC-6FAC-C591-757C-2B7D48173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>
              <a:extLst>
                <a:ext uri="{96DAC541-7B7A-43D3-8B79-37D633B846F1}">
                  <asvg:svgBlip xmlns:asvg="http://schemas.microsoft.com/office/drawing/2016/SVG/main" r:embed="rId63"/>
                </a:ext>
              </a:extLst>
            </a:blip>
            <a:stretch>
              <a:fillRect/>
            </a:stretch>
          </p:blipFill>
          <p:spPr>
            <a:xfrm>
              <a:off x="3048800" y="1549117"/>
              <a:ext cx="515917" cy="571691"/>
            </a:xfrm>
            <a:prstGeom prst="rect">
              <a:avLst/>
            </a:prstGeom>
          </p:spPr>
        </p:pic>
        <p:pic>
          <p:nvPicPr>
            <p:cNvPr id="124" name="Graphic 123">
              <a:extLst>
                <a:ext uri="{FF2B5EF4-FFF2-40B4-BE49-F238E27FC236}">
                  <a16:creationId xmlns:a16="http://schemas.microsoft.com/office/drawing/2014/main" id="{55DD5446-5E81-DAF9-FF2C-9DF296EDF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>
              <a:extLst>
                <a:ext uri="{96DAC541-7B7A-43D3-8B79-37D633B846F1}">
                  <asvg:svgBlip xmlns:asvg="http://schemas.microsoft.com/office/drawing/2016/SVG/main" r:embed="rId65"/>
                </a:ext>
              </a:extLst>
            </a:blip>
            <a:stretch>
              <a:fillRect/>
            </a:stretch>
          </p:blipFill>
          <p:spPr>
            <a:xfrm>
              <a:off x="4253662" y="1551757"/>
              <a:ext cx="515917" cy="766905"/>
            </a:xfrm>
            <a:prstGeom prst="rect">
              <a:avLst/>
            </a:prstGeom>
          </p:spPr>
        </p:pic>
        <p:pic>
          <p:nvPicPr>
            <p:cNvPr id="125" name="Graphic 124">
              <a:extLst>
                <a:ext uri="{FF2B5EF4-FFF2-40B4-BE49-F238E27FC236}">
                  <a16:creationId xmlns:a16="http://schemas.microsoft.com/office/drawing/2014/main" id="{8AE0C43C-EA56-310D-F807-C0822D86F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6">
              <a:extLst>
                <a:ext uri="{96DAC541-7B7A-43D3-8B79-37D633B846F1}">
                  <asvg:svgBlip xmlns:asvg="http://schemas.microsoft.com/office/drawing/2016/SVG/main" r:embed="rId67"/>
                </a:ext>
              </a:extLst>
            </a:blip>
            <a:stretch>
              <a:fillRect/>
            </a:stretch>
          </p:blipFill>
          <p:spPr>
            <a:xfrm>
              <a:off x="3800220" y="2409745"/>
              <a:ext cx="481059" cy="962115"/>
            </a:xfrm>
            <a:prstGeom prst="rect">
              <a:avLst/>
            </a:prstGeom>
          </p:spPr>
        </p:pic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AC839D4F-308A-ABF4-E288-8050EFF73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8">
              <a:extLst>
                <a:ext uri="{96DAC541-7B7A-43D3-8B79-37D633B846F1}">
                  <asvg:svgBlip xmlns:asvg="http://schemas.microsoft.com/office/drawing/2016/SVG/main" r:embed="rId69"/>
                </a:ext>
              </a:extLst>
            </a:blip>
            <a:stretch>
              <a:fillRect/>
            </a:stretch>
          </p:blipFill>
          <p:spPr>
            <a:xfrm>
              <a:off x="4467495" y="2409745"/>
              <a:ext cx="488029" cy="962115"/>
            </a:xfrm>
            <a:prstGeom prst="rect">
              <a:avLst/>
            </a:prstGeom>
          </p:spPr>
        </p:pic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A008D1-20C2-BA78-352F-4DA543932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>
              <a:extLst>
                <a:ext uri="{96DAC541-7B7A-43D3-8B79-37D633B846F1}">
                  <asvg:svgBlip xmlns:asvg="http://schemas.microsoft.com/office/drawing/2016/SVG/main" r:embed="rId71"/>
                </a:ext>
              </a:extLst>
            </a:blip>
            <a:stretch>
              <a:fillRect/>
            </a:stretch>
          </p:blipFill>
          <p:spPr>
            <a:xfrm>
              <a:off x="2040391" y="2409745"/>
              <a:ext cx="690212" cy="794791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CE1CAD49-754C-9265-AD40-127F655B7F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2">
              <a:extLst>
                <a:ext uri="{96DAC541-7B7A-43D3-8B79-37D633B846F1}">
                  <asvg:svgBlip xmlns:asvg="http://schemas.microsoft.com/office/drawing/2016/SVG/main" r:embed="rId73"/>
                </a:ext>
              </a:extLst>
            </a:blip>
            <a:stretch>
              <a:fillRect/>
            </a:stretch>
          </p:blipFill>
          <p:spPr>
            <a:xfrm>
              <a:off x="2916818" y="2409745"/>
              <a:ext cx="697187" cy="787819"/>
            </a:xfrm>
            <a:prstGeom prst="rect">
              <a:avLst/>
            </a:prstGeom>
          </p:spPr>
        </p:pic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C5C33EFD-504F-E6BE-56AD-4C5ACE6AD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4">
              <a:extLst>
                <a:ext uri="{96DAC541-7B7A-43D3-8B79-37D633B846F1}">
                  <asvg:svgBlip xmlns:asvg="http://schemas.microsoft.com/office/drawing/2016/SVG/main" r:embed="rId75"/>
                </a:ext>
              </a:extLst>
            </a:blip>
            <a:stretch>
              <a:fillRect/>
            </a:stretch>
          </p:blipFill>
          <p:spPr>
            <a:xfrm>
              <a:off x="1156991" y="2409745"/>
              <a:ext cx="697185" cy="794791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41C51BDD-709C-7A65-A25F-4A658D5D6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6">
              <a:extLst>
                <a:ext uri="{96DAC541-7B7A-43D3-8B79-37D633B846F1}">
                  <asvg:svgBlip xmlns:asvg="http://schemas.microsoft.com/office/drawing/2016/SVG/main" r:embed="rId77"/>
                </a:ext>
              </a:extLst>
            </a:blip>
            <a:stretch>
              <a:fillRect/>
            </a:stretch>
          </p:blipFill>
          <p:spPr>
            <a:xfrm>
              <a:off x="1227560" y="1549117"/>
              <a:ext cx="522889" cy="571691"/>
            </a:xfrm>
            <a:prstGeom prst="rect">
              <a:avLst/>
            </a:prstGeom>
          </p:spPr>
        </p:pic>
        <p:pic>
          <p:nvPicPr>
            <p:cNvPr id="131" name="Graphic 130">
              <a:extLst>
                <a:ext uri="{FF2B5EF4-FFF2-40B4-BE49-F238E27FC236}">
                  <a16:creationId xmlns:a16="http://schemas.microsoft.com/office/drawing/2014/main" id="{544362CB-0AD6-F9BB-6101-D54C0BE0B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8">
              <a:extLst>
                <a:ext uri="{96DAC541-7B7A-43D3-8B79-37D633B846F1}">
                  <asvg:svgBlip xmlns:asvg="http://schemas.microsoft.com/office/drawing/2016/SVG/main" r:embed="rId79"/>
                </a:ext>
              </a:extLst>
            </a:blip>
            <a:stretch>
              <a:fillRect/>
            </a:stretch>
          </p:blipFill>
          <p:spPr>
            <a:xfrm>
              <a:off x="1836964" y="1552602"/>
              <a:ext cx="522889" cy="564721"/>
            </a:xfrm>
            <a:prstGeom prst="rect">
              <a:avLst/>
            </a:prstGeom>
          </p:spPr>
        </p:pic>
        <p:pic>
          <p:nvPicPr>
            <p:cNvPr id="132" name="Graphic 131">
              <a:extLst>
                <a:ext uri="{FF2B5EF4-FFF2-40B4-BE49-F238E27FC236}">
                  <a16:creationId xmlns:a16="http://schemas.microsoft.com/office/drawing/2014/main" id="{3519E245-56D8-BE1A-07D5-C4B99880E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0">
              <a:extLst>
                <a:ext uri="{96DAC541-7B7A-43D3-8B79-37D633B846F1}">
                  <asvg:svgBlip xmlns:asvg="http://schemas.microsoft.com/office/drawing/2016/SVG/main" r:embed="rId81"/>
                </a:ext>
              </a:extLst>
            </a:blip>
            <a:stretch>
              <a:fillRect/>
            </a:stretch>
          </p:blipFill>
          <p:spPr>
            <a:xfrm>
              <a:off x="3651232" y="1549117"/>
              <a:ext cx="515917" cy="571691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3FABA27E-9722-47EB-63CE-12BE45BAA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2">
              <a:extLst>
                <a:ext uri="{96DAC541-7B7A-43D3-8B79-37D633B846F1}">
                  <asvg:svgBlip xmlns:asvg="http://schemas.microsoft.com/office/drawing/2016/SVG/main" r:embed="rId83"/>
                </a:ext>
              </a:extLst>
            </a:blip>
            <a:stretch>
              <a:fillRect/>
            </a:stretch>
          </p:blipFill>
          <p:spPr>
            <a:xfrm>
              <a:off x="2446368" y="1552602"/>
              <a:ext cx="515917" cy="564721"/>
            </a:xfrm>
            <a:prstGeom prst="rect">
              <a:avLst/>
            </a:prstGeom>
          </p:spPr>
        </p:pic>
      </p:grp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871A83A-2883-C430-9D89-789F5D4A44AD}"/>
              </a:ext>
            </a:extLst>
          </p:cNvPr>
          <p:cNvCxnSpPr>
            <a:cxnSpLocks/>
          </p:cNvCxnSpPr>
          <p:nvPr/>
        </p:nvCxnSpPr>
        <p:spPr>
          <a:xfrm>
            <a:off x="4970459" y="1612617"/>
            <a:ext cx="0" cy="488615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11C2ED6-43A6-5ED8-4C1E-CCDAE1309FE4}"/>
              </a:ext>
            </a:extLst>
          </p:cNvPr>
          <p:cNvCxnSpPr>
            <a:cxnSpLocks/>
          </p:cNvCxnSpPr>
          <p:nvPr/>
        </p:nvCxnSpPr>
        <p:spPr>
          <a:xfrm>
            <a:off x="4970459" y="4109290"/>
            <a:ext cx="650716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57419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C148283-CCAF-B2FD-71AF-3DAD416ED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218E1F-F723-3025-B3AE-4B2EBAD6B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218E1F-F723-3025-B3AE-4B2EBAD6B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6687A-478C-E16A-FFF3-D15E931D5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k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målepunkter</a:t>
            </a:r>
            <a:r>
              <a:rPr lang="en-US"/>
              <a:t>  – med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F44A81-A724-FB3B-C097-E56E5079EA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6</a:t>
            </a:fld>
            <a:endParaRPr lang="da-DK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E4CF6BD-AAE5-48AC-F89A-2B45FBB190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644" y="5198051"/>
            <a:ext cx="720000" cy="720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CCD433E7-DB29-730B-6F36-AC88689319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82550" y="4302819"/>
            <a:ext cx="720000" cy="720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04AC5DCB-75A7-C81F-D938-630899594E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77785" y="5274256"/>
            <a:ext cx="720000" cy="720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F58FB039-AFC2-6142-D601-6BAB4C6D5357}"/>
              </a:ext>
            </a:extLst>
          </p:cNvPr>
          <p:cNvSpPr/>
          <p:nvPr/>
        </p:nvSpPr>
        <p:spPr>
          <a:xfrm>
            <a:off x="1156516" y="5214525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Økonomistyr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DC141A8-101A-96E5-73EE-AFEA7A7C87E5}"/>
              </a:ext>
            </a:extLst>
          </p:cNvPr>
          <p:cNvSpPr/>
          <p:nvPr/>
        </p:nvSpPr>
        <p:spPr>
          <a:xfrm>
            <a:off x="7108050" y="4294803"/>
            <a:ext cx="2029327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Politikker og praks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F624DC2-CD5E-A1B6-E163-AA4B6E800CB9}"/>
              </a:ext>
            </a:extLst>
          </p:cNvPr>
          <p:cNvSpPr/>
          <p:nvPr/>
        </p:nvSpPr>
        <p:spPr>
          <a:xfrm>
            <a:off x="10103285" y="528526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err="1">
                <a:solidFill>
                  <a:schemeClr val="accent3"/>
                </a:solidFill>
              </a:rPr>
              <a:t>Beboerdemokrati</a:t>
            </a:r>
            <a:endParaRPr lang="da-DK">
              <a:solidFill>
                <a:schemeClr val="accent3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8F43BEB-3F53-CD41-1F08-C291E1B70897}"/>
              </a:ext>
            </a:extLst>
          </p:cNvPr>
          <p:cNvSpPr/>
          <p:nvPr/>
        </p:nvSpPr>
        <p:spPr>
          <a:xfrm>
            <a:off x="7108050" y="5240638"/>
            <a:ext cx="2640176" cy="787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Sociale klausuler 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984D25F1-78A8-E321-8D07-1048793DACE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218911" y="4192306"/>
            <a:ext cx="830568" cy="83056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4E71F4E-79DD-2C88-F54D-1DD039197A0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09288" y="5214525"/>
            <a:ext cx="720000" cy="720000"/>
          </a:xfrm>
          <a:prstGeom prst="rect">
            <a:avLst/>
          </a:prstGeom>
        </p:spPr>
      </p:pic>
      <p:sp>
        <p:nvSpPr>
          <p:cNvPr id="40" name="Rectangle 32">
            <a:extLst>
              <a:ext uri="{FF2B5EF4-FFF2-40B4-BE49-F238E27FC236}">
                <a16:creationId xmlns:a16="http://schemas.microsoft.com/office/drawing/2014/main" id="{DDA02324-80E4-5898-7744-367869DDBE0C}"/>
              </a:ext>
            </a:extLst>
          </p:cNvPr>
          <p:cNvSpPr/>
          <p:nvPr/>
        </p:nvSpPr>
        <p:spPr>
          <a:xfrm>
            <a:off x="4197284" y="5300199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Overholdelse af reguleringer</a:t>
            </a:r>
          </a:p>
        </p:txBody>
      </p:sp>
      <p:sp>
        <p:nvSpPr>
          <p:cNvPr id="41" name="Rectangle 32">
            <a:extLst>
              <a:ext uri="{FF2B5EF4-FFF2-40B4-BE49-F238E27FC236}">
                <a16:creationId xmlns:a16="http://schemas.microsoft.com/office/drawing/2014/main" id="{C83A881E-0D80-AB0A-CE8B-E74B4138548C}"/>
              </a:ext>
            </a:extLst>
          </p:cNvPr>
          <p:cNvSpPr/>
          <p:nvPr/>
        </p:nvSpPr>
        <p:spPr>
          <a:xfrm>
            <a:off x="10101544" y="4339766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Frivillighed </a:t>
            </a:r>
          </a:p>
        </p:txBody>
      </p:sp>
      <p:pic>
        <p:nvPicPr>
          <p:cNvPr id="63" name="Graphic 17">
            <a:extLst>
              <a:ext uri="{FF2B5EF4-FFF2-40B4-BE49-F238E27FC236}">
                <a16:creationId xmlns:a16="http://schemas.microsoft.com/office/drawing/2014/main" id="{A7611331-7AAB-F47F-D03A-3417A9492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99023" y="5198051"/>
            <a:ext cx="720000" cy="720000"/>
          </a:xfrm>
          <a:prstGeom prst="rect">
            <a:avLst/>
          </a:prstGeom>
        </p:spPr>
      </p:pic>
      <p:pic>
        <p:nvPicPr>
          <p:cNvPr id="64" name="Graphic 18">
            <a:extLst>
              <a:ext uri="{FF2B5EF4-FFF2-40B4-BE49-F238E27FC236}">
                <a16:creationId xmlns:a16="http://schemas.microsoft.com/office/drawing/2014/main" id="{C07781B3-1D64-156C-8E9B-4496A67AD65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16545" y="3358861"/>
            <a:ext cx="720000" cy="720000"/>
          </a:xfrm>
          <a:prstGeom prst="rect">
            <a:avLst/>
          </a:prstGeom>
        </p:spPr>
      </p:pic>
      <p:pic>
        <p:nvPicPr>
          <p:cNvPr id="65" name="Graphic 19">
            <a:extLst>
              <a:ext uri="{FF2B5EF4-FFF2-40B4-BE49-F238E27FC236}">
                <a16:creationId xmlns:a16="http://schemas.microsoft.com/office/drawing/2014/main" id="{9F7E9EBD-725B-3741-A7FD-5798DCBD72F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14859" y="3228536"/>
            <a:ext cx="720000" cy="720000"/>
          </a:xfrm>
          <a:prstGeom prst="rect">
            <a:avLst/>
          </a:prstGeom>
        </p:spPr>
      </p:pic>
      <p:pic>
        <p:nvPicPr>
          <p:cNvPr id="66" name="Graphic 21">
            <a:extLst>
              <a:ext uri="{FF2B5EF4-FFF2-40B4-BE49-F238E27FC236}">
                <a16:creationId xmlns:a16="http://schemas.microsoft.com/office/drawing/2014/main" id="{D8E92668-6B66-BA97-EC5C-59C0EBB8773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434975" y="4261921"/>
            <a:ext cx="720000" cy="720000"/>
          </a:xfrm>
          <a:prstGeom prst="rect">
            <a:avLst/>
          </a:prstGeom>
        </p:spPr>
      </p:pic>
      <p:sp>
        <p:nvSpPr>
          <p:cNvPr id="67" name="Rectangle 23">
            <a:extLst>
              <a:ext uri="{FF2B5EF4-FFF2-40B4-BE49-F238E27FC236}">
                <a16:creationId xmlns:a16="http://schemas.microsoft.com/office/drawing/2014/main" id="{EC63C328-EB71-F909-EF85-63D64DB47642}"/>
              </a:ext>
            </a:extLst>
          </p:cNvPr>
          <p:cNvSpPr/>
          <p:nvPr/>
        </p:nvSpPr>
        <p:spPr>
          <a:xfrm>
            <a:off x="7042045" y="335886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Almenboligers betalbarhed</a:t>
            </a:r>
          </a:p>
        </p:txBody>
      </p:sp>
      <p:sp>
        <p:nvSpPr>
          <p:cNvPr id="68" name="Rectangle 24">
            <a:extLst>
              <a:ext uri="{FF2B5EF4-FFF2-40B4-BE49-F238E27FC236}">
                <a16:creationId xmlns:a16="http://schemas.microsoft.com/office/drawing/2014/main" id="{A3E17D67-EA7A-8298-E937-D933FE76CB9D}"/>
              </a:ext>
            </a:extLst>
          </p:cNvPr>
          <p:cNvSpPr/>
          <p:nvPr/>
        </p:nvSpPr>
        <p:spPr>
          <a:xfrm>
            <a:off x="1140359" y="322247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Andel af almene boliger i området</a:t>
            </a:r>
          </a:p>
        </p:txBody>
      </p:sp>
      <p:sp>
        <p:nvSpPr>
          <p:cNvPr id="69" name="Rectangle 26">
            <a:extLst>
              <a:ext uri="{FF2B5EF4-FFF2-40B4-BE49-F238E27FC236}">
                <a16:creationId xmlns:a16="http://schemas.microsoft.com/office/drawing/2014/main" id="{10FB9E09-A51F-5934-E3DD-34F1754E1DC0}"/>
              </a:ext>
            </a:extLst>
          </p:cNvPr>
          <p:cNvSpPr/>
          <p:nvPr/>
        </p:nvSpPr>
        <p:spPr>
          <a:xfrm>
            <a:off x="4182273" y="429765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Livskvalitet og sundhed</a:t>
            </a:r>
          </a:p>
        </p:txBody>
      </p:sp>
      <p:pic>
        <p:nvPicPr>
          <p:cNvPr id="70" name="Grafik 69">
            <a:extLst>
              <a:ext uri="{FF2B5EF4-FFF2-40B4-BE49-F238E27FC236}">
                <a16:creationId xmlns:a16="http://schemas.microsoft.com/office/drawing/2014/main" id="{B9CD7E09-4BE6-8F84-A20F-BC86DCC4540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37093" y="4124019"/>
            <a:ext cx="893551" cy="893551"/>
          </a:xfrm>
          <a:prstGeom prst="rect">
            <a:avLst/>
          </a:prstGeom>
        </p:spPr>
      </p:pic>
      <p:sp>
        <p:nvSpPr>
          <p:cNvPr id="71" name="Rectangle 26">
            <a:extLst>
              <a:ext uri="{FF2B5EF4-FFF2-40B4-BE49-F238E27FC236}">
                <a16:creationId xmlns:a16="http://schemas.microsoft.com/office/drawing/2014/main" id="{B0AB5DC5-78D5-11DA-76D8-36A47F127606}"/>
              </a:ext>
            </a:extLst>
          </p:cNvPr>
          <p:cNvSpPr/>
          <p:nvPr/>
        </p:nvSpPr>
        <p:spPr>
          <a:xfrm>
            <a:off x="1152902" y="4218498"/>
            <a:ext cx="20845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Adgang til services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5EB320F1-03A6-9599-0228-48A0E061A6F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69040" y="2435672"/>
            <a:ext cx="720000" cy="720000"/>
          </a:xfrm>
          <a:prstGeom prst="rect">
            <a:avLst/>
          </a:prstGeom>
        </p:spPr>
      </p:pic>
      <p:sp>
        <p:nvSpPr>
          <p:cNvPr id="73" name="Rectangle 26">
            <a:extLst>
              <a:ext uri="{FF2B5EF4-FFF2-40B4-BE49-F238E27FC236}">
                <a16:creationId xmlns:a16="http://schemas.microsoft.com/office/drawing/2014/main" id="{1243776E-1D98-8276-3C1A-B005A38EEE81}"/>
              </a:ext>
            </a:extLst>
          </p:cNvPr>
          <p:cNvSpPr/>
          <p:nvPr/>
        </p:nvSpPr>
        <p:spPr>
          <a:xfrm>
            <a:off x="10047914" y="2409999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Livschancer</a:t>
            </a:r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4B595656-0B8D-37BE-5D6F-99C6672B9AA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216545" y="2399143"/>
            <a:ext cx="720000" cy="720000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7CD18B72-D466-A550-CDBC-230CB477330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284748" y="3337341"/>
            <a:ext cx="720000" cy="720000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B1F60440-E958-5382-78C6-A40CB0797DB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434975" y="3305068"/>
            <a:ext cx="720000" cy="720000"/>
          </a:xfrm>
          <a:prstGeom prst="rect">
            <a:avLst/>
          </a:prstGeom>
        </p:spPr>
      </p:pic>
      <p:sp>
        <p:nvSpPr>
          <p:cNvPr id="77" name="Rectangle 24">
            <a:extLst>
              <a:ext uri="{FF2B5EF4-FFF2-40B4-BE49-F238E27FC236}">
                <a16:creationId xmlns:a16="http://schemas.microsoft.com/office/drawing/2014/main" id="{C13811C7-B4FE-B7FF-26E7-4B73308C4C35}"/>
              </a:ext>
            </a:extLst>
          </p:cNvPr>
          <p:cNvSpPr/>
          <p:nvPr/>
        </p:nvSpPr>
        <p:spPr>
          <a:xfrm>
            <a:off x="7042045" y="247698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Medarbejder-sammensætning</a:t>
            </a:r>
          </a:p>
        </p:txBody>
      </p:sp>
      <p:sp>
        <p:nvSpPr>
          <p:cNvPr id="78" name="Rectangle 23">
            <a:extLst>
              <a:ext uri="{FF2B5EF4-FFF2-40B4-BE49-F238E27FC236}">
                <a16:creationId xmlns:a16="http://schemas.microsoft.com/office/drawing/2014/main" id="{E08C4D24-76B0-9E95-ED5B-9C11111834CF}"/>
              </a:ext>
            </a:extLst>
          </p:cNvPr>
          <p:cNvSpPr/>
          <p:nvPr/>
        </p:nvSpPr>
        <p:spPr>
          <a:xfrm>
            <a:off x="4173800" y="334134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Lokalt fællesskab</a:t>
            </a:r>
          </a:p>
        </p:txBody>
      </p:sp>
      <p:sp>
        <p:nvSpPr>
          <p:cNvPr id="79" name="Rectangle 23">
            <a:extLst>
              <a:ext uri="{FF2B5EF4-FFF2-40B4-BE49-F238E27FC236}">
                <a16:creationId xmlns:a16="http://schemas.microsoft.com/office/drawing/2014/main" id="{AD01E3DC-B9E5-E6EA-C05E-AC4972FF39AE}"/>
              </a:ext>
            </a:extLst>
          </p:cNvPr>
          <p:cNvSpPr/>
          <p:nvPr/>
        </p:nvSpPr>
        <p:spPr>
          <a:xfrm>
            <a:off x="10020640" y="3355496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Medarbejder-trivsel</a:t>
            </a:r>
          </a:p>
        </p:txBody>
      </p:sp>
      <p:pic>
        <p:nvPicPr>
          <p:cNvPr id="80" name="Graphic 7">
            <a:extLst>
              <a:ext uri="{FF2B5EF4-FFF2-40B4-BE49-F238E27FC236}">
                <a16:creationId xmlns:a16="http://schemas.microsoft.com/office/drawing/2014/main" id="{6473476A-742A-2A28-A498-CA0C045B95E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31016" y="1401763"/>
            <a:ext cx="720000" cy="720000"/>
          </a:xfrm>
          <a:prstGeom prst="rect">
            <a:avLst/>
          </a:prstGeom>
        </p:spPr>
      </p:pic>
      <p:pic>
        <p:nvPicPr>
          <p:cNvPr id="81" name="Graphic 8">
            <a:extLst>
              <a:ext uri="{FF2B5EF4-FFF2-40B4-BE49-F238E27FC236}">
                <a16:creationId xmlns:a16="http://schemas.microsoft.com/office/drawing/2014/main" id="{2A4A68E3-9466-4D35-706F-0B7BCF4DDF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31016" y="2300804"/>
            <a:ext cx="720000" cy="720000"/>
          </a:xfrm>
          <a:prstGeom prst="rect">
            <a:avLst/>
          </a:prstGeom>
        </p:spPr>
      </p:pic>
      <p:pic>
        <p:nvPicPr>
          <p:cNvPr id="82" name="Graphic 9">
            <a:extLst>
              <a:ext uri="{FF2B5EF4-FFF2-40B4-BE49-F238E27FC236}">
                <a16:creationId xmlns:a16="http://schemas.microsoft.com/office/drawing/2014/main" id="{F3558324-F723-6307-6EE1-7C614BCFD9E7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468900" y="2352108"/>
            <a:ext cx="720000" cy="720000"/>
          </a:xfrm>
          <a:prstGeom prst="rect">
            <a:avLst/>
          </a:prstGeom>
        </p:spPr>
      </p:pic>
      <p:pic>
        <p:nvPicPr>
          <p:cNvPr id="83" name="Graphic 10">
            <a:extLst>
              <a:ext uri="{FF2B5EF4-FFF2-40B4-BE49-F238E27FC236}">
                <a16:creationId xmlns:a16="http://schemas.microsoft.com/office/drawing/2014/main" id="{5C5B171F-0F38-647F-22D9-F238B69D929D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216545" y="1457027"/>
            <a:ext cx="720000" cy="720000"/>
          </a:xfrm>
          <a:prstGeom prst="rect">
            <a:avLst/>
          </a:prstGeom>
        </p:spPr>
      </p:pic>
      <p:pic>
        <p:nvPicPr>
          <p:cNvPr id="84" name="Graphic 11">
            <a:extLst>
              <a:ext uri="{FF2B5EF4-FFF2-40B4-BE49-F238E27FC236}">
                <a16:creationId xmlns:a16="http://schemas.microsoft.com/office/drawing/2014/main" id="{66721450-28BA-4ECE-6160-4F1E893963F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9354429" y="1508330"/>
            <a:ext cx="720000" cy="720000"/>
          </a:xfrm>
          <a:prstGeom prst="rect">
            <a:avLst/>
          </a:prstGeom>
        </p:spPr>
      </p:pic>
      <p:sp>
        <p:nvSpPr>
          <p:cNvPr id="85" name="Rectangle 12">
            <a:extLst>
              <a:ext uri="{FF2B5EF4-FFF2-40B4-BE49-F238E27FC236}">
                <a16:creationId xmlns:a16="http://schemas.microsoft.com/office/drawing/2014/main" id="{1FA33085-3B65-8A51-94B2-74CB38267509}"/>
              </a:ext>
            </a:extLst>
          </p:cNvPr>
          <p:cNvSpPr/>
          <p:nvPr/>
        </p:nvSpPr>
        <p:spPr>
          <a:xfrm>
            <a:off x="1156516" y="140176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Klimaaftryk</a:t>
            </a:r>
          </a:p>
        </p:txBody>
      </p:sp>
      <p:sp>
        <p:nvSpPr>
          <p:cNvPr id="86" name="Rectangle 13">
            <a:extLst>
              <a:ext uri="{FF2B5EF4-FFF2-40B4-BE49-F238E27FC236}">
                <a16:creationId xmlns:a16="http://schemas.microsoft.com/office/drawing/2014/main" id="{CDE615CA-560B-AEA5-9953-2E2A4411AF56}"/>
              </a:ext>
            </a:extLst>
          </p:cNvPr>
          <p:cNvSpPr/>
          <p:nvPr/>
        </p:nvSpPr>
        <p:spPr>
          <a:xfrm>
            <a:off x="1156516" y="2300804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Energiforbrug</a:t>
            </a:r>
          </a:p>
        </p:txBody>
      </p:sp>
      <p:sp>
        <p:nvSpPr>
          <p:cNvPr id="87" name="Rectangle 14">
            <a:extLst>
              <a:ext uri="{FF2B5EF4-FFF2-40B4-BE49-F238E27FC236}">
                <a16:creationId xmlns:a16="http://schemas.microsoft.com/office/drawing/2014/main" id="{CF562AF0-3CF2-1887-0223-FBE6CDF44247}"/>
              </a:ext>
            </a:extLst>
          </p:cNvPr>
          <p:cNvSpPr/>
          <p:nvPr/>
        </p:nvSpPr>
        <p:spPr>
          <a:xfrm>
            <a:off x="4173800" y="2364264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Energimærkning</a:t>
            </a:r>
          </a:p>
        </p:txBody>
      </p:sp>
      <p:sp>
        <p:nvSpPr>
          <p:cNvPr id="88" name="Rectangle 15">
            <a:extLst>
              <a:ext uri="{FF2B5EF4-FFF2-40B4-BE49-F238E27FC236}">
                <a16:creationId xmlns:a16="http://schemas.microsoft.com/office/drawing/2014/main" id="{695F8F90-B5B6-3141-B970-33D174117B1D}"/>
              </a:ext>
            </a:extLst>
          </p:cNvPr>
          <p:cNvSpPr/>
          <p:nvPr/>
        </p:nvSpPr>
        <p:spPr>
          <a:xfrm>
            <a:off x="7042045" y="1560450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Sårbarhed for klimaændringer</a:t>
            </a:r>
          </a:p>
        </p:txBody>
      </p:sp>
      <p:sp>
        <p:nvSpPr>
          <p:cNvPr id="89" name="Rectangle 16">
            <a:extLst>
              <a:ext uri="{FF2B5EF4-FFF2-40B4-BE49-F238E27FC236}">
                <a16:creationId xmlns:a16="http://schemas.microsoft.com/office/drawing/2014/main" id="{7846BE57-ED3B-43D8-6004-E3B3B5FD41AC}"/>
              </a:ext>
            </a:extLst>
          </p:cNvPr>
          <p:cNvSpPr/>
          <p:nvPr/>
        </p:nvSpPr>
        <p:spPr>
          <a:xfrm>
            <a:off x="10103285" y="1499800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Biodiversitet</a:t>
            </a:r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id="{8EA37590-CBEE-300F-0D54-1F033E94C14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468900" y="1453066"/>
            <a:ext cx="720000" cy="720000"/>
          </a:xfrm>
          <a:prstGeom prst="rect">
            <a:avLst/>
          </a:prstGeom>
        </p:spPr>
      </p:pic>
      <p:sp>
        <p:nvSpPr>
          <p:cNvPr id="91" name="Rectangle 12">
            <a:extLst>
              <a:ext uri="{FF2B5EF4-FFF2-40B4-BE49-F238E27FC236}">
                <a16:creationId xmlns:a16="http://schemas.microsoft.com/office/drawing/2014/main" id="{4B02CFDC-74A6-1563-1CE5-A474AB4C0596}"/>
              </a:ext>
            </a:extLst>
          </p:cNvPr>
          <p:cNvSpPr/>
          <p:nvPr/>
        </p:nvSpPr>
        <p:spPr>
          <a:xfrm>
            <a:off x="4197284" y="152301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Affa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895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C2E787A-4D3E-A1EB-CAB3-67C2773E07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Freeform: Shape 333">
            <a:extLst>
              <a:ext uri="{FF2B5EF4-FFF2-40B4-BE49-F238E27FC236}">
                <a16:creationId xmlns:a16="http://schemas.microsoft.com/office/drawing/2014/main" id="{BF6A54FB-A22F-CC55-DB45-75A328DA060C}"/>
              </a:ext>
            </a:extLst>
          </p:cNvPr>
          <p:cNvSpPr/>
          <p:nvPr/>
        </p:nvSpPr>
        <p:spPr>
          <a:xfrm rot="21410080">
            <a:off x="2158284" y="2761080"/>
            <a:ext cx="510336" cy="524347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rgbClr val="51597F">
              <a:alpha val="17000"/>
            </a:srgb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D51E63-FE83-9E6D-D41D-FC56628DF5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51E63-FE83-9E6D-D41D-FC56628DF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7CFF29-C2F2-4907-601B-6A805368B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en-US" err="1"/>
              <a:t>Ikon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målepunkter</a:t>
            </a:r>
            <a:r>
              <a:rPr lang="en-US"/>
              <a:t> – med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uden</a:t>
            </a:r>
            <a:r>
              <a:rPr lang="en-US"/>
              <a:t> </a:t>
            </a:r>
            <a:r>
              <a:rPr lang="en-US" err="1"/>
              <a:t>baggrun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0AACA-3E2F-C960-8445-FA4425157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7</a:t>
            </a:fld>
            <a:endParaRPr lang="da-DK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9CD223-06FE-68DD-C04E-79F2136B21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987B936E-D8F7-13E0-1AAA-4AA130BDB7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4121" y="1482961"/>
            <a:ext cx="675177" cy="528399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9B4E23A0-4BFF-6019-8737-ECD530A66F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4121" y="2743296"/>
            <a:ext cx="675177" cy="528399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44CE0C17-2DE6-C568-D778-DCD5BBF7C0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95498" y="3962917"/>
            <a:ext cx="610595" cy="634079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4009CBF-D6E2-DBD3-FD9B-E125FDD51D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95499" y="5290868"/>
            <a:ext cx="610595" cy="634079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326F54CB-92C8-38A9-CD45-6FE4EF99C0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41580" y="3939432"/>
            <a:ext cx="639950" cy="657564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813C7CEC-9F47-5064-865D-EA90554E297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441580" y="5267383"/>
            <a:ext cx="639950" cy="657564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844B1A34-07A0-1586-452B-BEB9A59E738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410764" y="3951702"/>
            <a:ext cx="657564" cy="645821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0B3A85CF-DF9C-1048-FA00-BD4020AB2F9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10764" y="5279653"/>
            <a:ext cx="657564" cy="645821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B1EC6E3-61ED-02F0-B0C5-2811BCE5021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84671" y="3927903"/>
            <a:ext cx="657563" cy="651692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2B11E00F-ACDA-C20C-9217-936DE281765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084671" y="5255854"/>
            <a:ext cx="657563" cy="651692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16C078B5-3436-4744-C8C0-BBDFD2C7245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73089" y="3927903"/>
            <a:ext cx="575368" cy="675177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0406DD4-CA6B-DA3F-CF4E-8941629AE0D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52803" y="5255854"/>
            <a:ext cx="604724" cy="675177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D52B4FEE-4E18-77EF-5610-9DD9228B9B8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545484" y="1549488"/>
            <a:ext cx="657563" cy="634079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9A47D004-3D8B-F859-B17F-6290C0C560B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545484" y="2762107"/>
            <a:ext cx="657563" cy="634079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61CD73A5-7E2F-908D-190B-DD9DCB3E14FF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8444717" y="1494090"/>
            <a:ext cx="675177" cy="557755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CA43A97D-260E-5511-12DA-19272345535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454856" y="2754425"/>
            <a:ext cx="675176" cy="604723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608051DA-1CE6-97F9-0951-6895A785D6FD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6395499" y="1517975"/>
            <a:ext cx="675176" cy="499043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800B98AF-4C7B-A7D3-B2E5-ECE00B7AEB16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395499" y="2778310"/>
            <a:ext cx="675176" cy="504914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94CB4FBF-A7ED-753D-BB0B-D2D03927C373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441580" y="1494490"/>
            <a:ext cx="616465" cy="651692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89918D1C-BB6A-A7AF-D867-7D8D907AC4A5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441580" y="2754825"/>
            <a:ext cx="616465" cy="651692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6C3F698C-8758-8E27-C689-70E087DD0FA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4410765" y="1506760"/>
            <a:ext cx="575368" cy="675177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E61CE466-9640-8B02-A0B0-FCD4A52B8A7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4416511" y="2682176"/>
            <a:ext cx="604724" cy="675177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B9844C75-C19F-24AB-9115-039C954E47B9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100658" y="1435072"/>
            <a:ext cx="639950" cy="52839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F08F7BB-A4AF-5754-702B-0333BBA354B7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8454855" y="3849162"/>
            <a:ext cx="791759" cy="79175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8ED2484-AAB1-B1B3-B45C-C379D63D0B43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7434463" y="3834036"/>
            <a:ext cx="791759" cy="79175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F8BCA12-53AF-BA9E-44D2-89CD9D62F3E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7347559" y="5070304"/>
            <a:ext cx="854643" cy="85464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F082E66-C70D-22B5-09D9-F8A850D9DCBD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11403" y="5055800"/>
            <a:ext cx="854643" cy="85464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18A2450-2353-1AD3-64C8-B435C972D1D0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334552" y="2606140"/>
            <a:ext cx="854643" cy="85464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9A23CCA-3D7C-7A7A-8FED-B6A67229CC83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9334552" y="1437211"/>
            <a:ext cx="854643" cy="854643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96A5D84-5A0E-1A29-F231-FF68B7E1EDF7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0492970" y="3973362"/>
            <a:ext cx="854643" cy="85464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13F12D0-5AE8-BCF2-10B8-CAFCDC466237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0545484" y="5088881"/>
            <a:ext cx="854643" cy="85464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D87E170-CB6F-8D0A-3659-930A1247233F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9464742" y="5064780"/>
            <a:ext cx="854643" cy="854643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86EF6D2F-8BA3-6FEA-8076-ECFB50088F08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9391870" y="3878421"/>
            <a:ext cx="854643" cy="85464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22979DA-0E0A-2A25-D585-DC899B14DEAB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3249823" y="5156488"/>
            <a:ext cx="791759" cy="79175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E2FD7CC0-804C-25B9-D491-DB45FAF0138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3217428" y="3849162"/>
            <a:ext cx="791759" cy="791759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1CE5C9B-9D2E-BC7B-C3E5-0AB6E9819223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7352799" y="2688998"/>
            <a:ext cx="854643" cy="854643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1AE7033C-3200-3B8A-6DB3-D2E220D1D573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7268977" y="1437211"/>
            <a:ext cx="854643" cy="854643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A59545DC-CB43-258E-8CE5-0A4A087A97FD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3155628" y="1385883"/>
            <a:ext cx="850491" cy="850491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57750476-8B75-55C9-B1CD-1F605FB36966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3145555" y="2563175"/>
            <a:ext cx="854643" cy="854643"/>
          </a:xfrm>
          <a:prstGeom prst="rect">
            <a:avLst/>
          </a:prstGeom>
        </p:spPr>
      </p:pic>
      <p:pic>
        <p:nvPicPr>
          <p:cNvPr id="67" name="Graphic 62">
            <a:extLst>
              <a:ext uri="{FF2B5EF4-FFF2-40B4-BE49-F238E27FC236}">
                <a16:creationId xmlns:a16="http://schemas.microsoft.com/office/drawing/2014/main" id="{9A1BCB54-BAB6-A653-6D59-14175931CCF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100658" y="2694405"/>
            <a:ext cx="639950" cy="5283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1497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DE1A-9045-96FD-F29C-11AA6DB1D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CD9697-2840-7FE6-C644-B89C19B03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483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CD9697-2840-7FE6-C644-B89C19B03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96981AC-7C70-840C-E6F7-7E4344A95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En branche med stort ansva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F393681-5B61-7A57-65EF-6D092CA845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9B71137-60EB-9A75-E109-EC16DE0ACC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155389-BBF9-7854-0F91-29FE48ED60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/>
              <a:t>Men hvad er ESG? </a:t>
            </a:r>
          </a:p>
        </p:txBody>
      </p:sp>
      <p:sp>
        <p:nvSpPr>
          <p:cNvPr id="16" name="Rectangle: Rounded Corners 3">
            <a:extLst>
              <a:ext uri="{FF2B5EF4-FFF2-40B4-BE49-F238E27FC236}">
                <a16:creationId xmlns:a16="http://schemas.microsoft.com/office/drawing/2014/main" id="{E9DDE379-14BA-AC67-78BB-C67D2B6D14A5}"/>
              </a:ext>
            </a:extLst>
          </p:cNvPr>
          <p:cNvSpPr/>
          <p:nvPr/>
        </p:nvSpPr>
        <p:spPr>
          <a:xfrm>
            <a:off x="359999" y="1590992"/>
            <a:ext cx="5564551" cy="4685983"/>
          </a:xfrm>
          <a:prstGeom prst="roundRect">
            <a:avLst>
              <a:gd name="adj" fmla="val 6666"/>
            </a:avLst>
          </a:prstGeom>
          <a:solidFill>
            <a:schemeClr val="bg1">
              <a:lumMod val="95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vad er ESG? </a:t>
            </a:r>
            <a:endParaRPr lang="da-DK" sz="1400" b="1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(E</a:t>
            </a:r>
            <a:r>
              <a:rPr lang="da-DK" sz="1400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vironment, </a:t>
            </a:r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S</a:t>
            </a:r>
            <a:r>
              <a:rPr lang="da-DK" sz="1400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cial og </a:t>
            </a:r>
            <a:r>
              <a:rPr lang="da-DK" sz="1400" b="1" i="0" err="1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  <a:r>
              <a:rPr lang="da-DK" sz="1400" i="0" err="1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vernance</a:t>
            </a:r>
            <a:r>
              <a:rPr lang="da-DK" sz="1400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  <a:endParaRPr lang="da-DK" sz="1400" b="1" i="0">
              <a:solidFill>
                <a:srgbClr val="1A1A1A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r er ingen universelt accepteret definition af ESG, men det bliver generelt forstået som standardiserede målinger og metoder til at opgøre organisationers påvirkning på disse 3 ikke-finansielle faktorer</a:t>
            </a:r>
          </a:p>
          <a:p>
            <a:endParaRPr lang="da-DK" sz="1400">
              <a:solidFill>
                <a:srgbClr val="3C404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 b="1">
                <a:solidFill>
                  <a:srgbClr val="3C404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vad er det nye?</a:t>
            </a:r>
          </a:p>
          <a:p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bejdet med bæredygtighed er en del af den almene branches DNA. Alle boligorganisationer arbejder med både E, S og G i forvejen.</a:t>
            </a:r>
          </a:p>
          <a:p>
            <a:endParaRPr lang="da-DK" sz="140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 nye bliver at arbejde mere </a:t>
            </a:r>
            <a:r>
              <a:rPr lang="da-DK" sz="1400" b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uktureret og målbart </a:t>
            </a: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 de mest </a:t>
            </a:r>
            <a:r>
              <a:rPr lang="da-DK" sz="1400" b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æsentlige </a:t>
            </a: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ner og blive i stand til at </a:t>
            </a:r>
            <a:r>
              <a:rPr lang="da-DK" sz="1400" b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kumentere</a:t>
            </a: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ffekten af vores indsatser. </a:t>
            </a:r>
          </a:p>
          <a:p>
            <a:endParaRPr lang="da-DK" sz="1400" b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A3AD64FC-C415-FE68-0388-0DD390CEBDDD}"/>
              </a:ext>
            </a:extLst>
          </p:cNvPr>
          <p:cNvSpPr/>
          <p:nvPr/>
        </p:nvSpPr>
        <p:spPr>
          <a:xfrm>
            <a:off x="7632697" y="2538883"/>
            <a:ext cx="2731806" cy="2137740"/>
          </a:xfrm>
          <a:custGeom>
            <a:avLst/>
            <a:gdLst>
              <a:gd name="connsiteX0" fmla="*/ 955524 w 2201080"/>
              <a:gd name="connsiteY0" fmla="*/ 77131 h 1722428"/>
              <a:gd name="connsiteX1" fmla="*/ 1245557 w 2201080"/>
              <a:gd name="connsiteY1" fmla="*/ 77131 h 1722428"/>
              <a:gd name="connsiteX2" fmla="*/ 2170909 w 2201080"/>
              <a:gd name="connsiteY2" fmla="*/ 1449776 h 1722428"/>
              <a:gd name="connsiteX3" fmla="*/ 2025893 w 2201080"/>
              <a:gd name="connsiteY3" fmla="*/ 1722429 h 1722428"/>
              <a:gd name="connsiteX4" fmla="*/ 175189 w 2201080"/>
              <a:gd name="connsiteY4" fmla="*/ 1722429 h 1722428"/>
              <a:gd name="connsiteX5" fmla="*/ 30172 w 2201080"/>
              <a:gd name="connsiteY5" fmla="*/ 1449776 h 1722428"/>
              <a:gd name="connsiteX6" fmla="*/ 955524 w 2201080"/>
              <a:gd name="connsiteY6" fmla="*/ 77131 h 172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1080" h="1722427">
                <a:moveTo>
                  <a:pt x="955524" y="77131"/>
                </a:moveTo>
                <a:cubicBezTo>
                  <a:pt x="1024853" y="-25710"/>
                  <a:pt x="1176228" y="-25710"/>
                  <a:pt x="1245557" y="77131"/>
                </a:cubicBezTo>
                <a:lnTo>
                  <a:pt x="2170909" y="1449776"/>
                </a:lnTo>
                <a:cubicBezTo>
                  <a:pt x="2249219" y="1565938"/>
                  <a:pt x="2165987" y="1722429"/>
                  <a:pt x="2025893" y="1722429"/>
                </a:cubicBezTo>
                <a:lnTo>
                  <a:pt x="175189" y="1722429"/>
                </a:lnTo>
                <a:cubicBezTo>
                  <a:pt x="35095" y="1722429"/>
                  <a:pt x="-48139" y="1565938"/>
                  <a:pt x="30172" y="1449776"/>
                </a:cubicBezTo>
                <a:lnTo>
                  <a:pt x="955524" y="77131"/>
                </a:lnTo>
                <a:close/>
              </a:path>
            </a:pathLst>
          </a:custGeom>
          <a:noFill/>
          <a:ln w="139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Graphic 9">
            <a:extLst>
              <a:ext uri="{FF2B5EF4-FFF2-40B4-BE49-F238E27FC236}">
                <a16:creationId xmlns:a16="http://schemas.microsoft.com/office/drawing/2014/main" id="{87F5E7A9-A47B-15F0-4431-A02C78A32372}"/>
              </a:ext>
            </a:extLst>
          </p:cNvPr>
          <p:cNvSpPr/>
          <p:nvPr/>
        </p:nvSpPr>
        <p:spPr>
          <a:xfrm>
            <a:off x="6279659" y="3705620"/>
            <a:ext cx="2534606" cy="2525684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6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45D1812B-8624-70D8-2CF0-1C75E07F7942}"/>
              </a:ext>
            </a:extLst>
          </p:cNvPr>
          <p:cNvSpPr/>
          <p:nvPr/>
        </p:nvSpPr>
        <p:spPr>
          <a:xfrm>
            <a:off x="7710095" y="1576753"/>
            <a:ext cx="2586558" cy="2586559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rgbClr val="88BCAD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Graphic 5">
            <a:extLst>
              <a:ext uri="{FF2B5EF4-FFF2-40B4-BE49-F238E27FC236}">
                <a16:creationId xmlns:a16="http://schemas.microsoft.com/office/drawing/2014/main" id="{1329A0DB-3A07-B539-1D0E-898A2D84D2F5}"/>
              </a:ext>
            </a:extLst>
          </p:cNvPr>
          <p:cNvSpPr/>
          <p:nvPr/>
        </p:nvSpPr>
        <p:spPr>
          <a:xfrm>
            <a:off x="9192484" y="3741319"/>
            <a:ext cx="2507833" cy="2489985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4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Graphic 7">
            <a:extLst>
              <a:ext uri="{FF2B5EF4-FFF2-40B4-BE49-F238E27FC236}">
                <a16:creationId xmlns:a16="http://schemas.microsoft.com/office/drawing/2014/main" id="{9516E953-3AB2-827A-F477-D47B25EF0B4E}"/>
              </a:ext>
            </a:extLst>
          </p:cNvPr>
          <p:cNvSpPr/>
          <p:nvPr/>
        </p:nvSpPr>
        <p:spPr>
          <a:xfrm>
            <a:off x="7795821" y="1662479"/>
            <a:ext cx="2415106" cy="2415106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88BCAD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lang="da-DK" sz="3200" b="1"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</a:p>
        </p:txBody>
      </p:sp>
      <p:sp>
        <p:nvSpPr>
          <p:cNvPr id="28" name="Graphic 5">
            <a:extLst>
              <a:ext uri="{FF2B5EF4-FFF2-40B4-BE49-F238E27FC236}">
                <a16:creationId xmlns:a16="http://schemas.microsoft.com/office/drawing/2014/main" id="{8E46D492-1160-8BEE-A87A-5B524F562120}"/>
              </a:ext>
            </a:extLst>
          </p:cNvPr>
          <p:cNvSpPr/>
          <p:nvPr/>
        </p:nvSpPr>
        <p:spPr>
          <a:xfrm>
            <a:off x="9288247" y="3826425"/>
            <a:ext cx="2336402" cy="2319774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rgbClr val="97A2BB"/>
          </a:solidFill>
          <a:ln w="5206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  <a:endParaRPr lang="da-DK" sz="32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Graphic 9">
            <a:extLst>
              <a:ext uri="{FF2B5EF4-FFF2-40B4-BE49-F238E27FC236}">
                <a16:creationId xmlns:a16="http://schemas.microsoft.com/office/drawing/2014/main" id="{BD6CDE2D-6B24-104B-503D-630100C8E6F6}"/>
              </a:ext>
            </a:extLst>
          </p:cNvPr>
          <p:cNvSpPr/>
          <p:nvPr/>
        </p:nvSpPr>
        <p:spPr>
          <a:xfrm>
            <a:off x="6374923" y="3830356"/>
            <a:ext cx="2344078" cy="2335826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rgbClr val="FACCD0"/>
          </a:solidFill>
          <a:ln w="5213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</a:t>
            </a:r>
            <a:endParaRPr lang="da-DK" sz="32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063E1F94-0C3B-E639-8A94-4589967BCEDE}"/>
              </a:ext>
            </a:extLst>
          </p:cNvPr>
          <p:cNvSpPr txBox="1"/>
          <p:nvPr/>
        </p:nvSpPr>
        <p:spPr>
          <a:xfrm>
            <a:off x="9387564" y="4676074"/>
            <a:ext cx="2137768" cy="58477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100.000+ engageret i det formelle beboerdemokrati</a:t>
            </a:r>
          </a:p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500 Boligorganisationer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E0C5B58-7E9F-E8DB-7D4B-D3744DD0D5A7}"/>
              </a:ext>
            </a:extLst>
          </p:cNvPr>
          <p:cNvSpPr txBox="1"/>
          <p:nvPr/>
        </p:nvSpPr>
        <p:spPr>
          <a:xfrm>
            <a:off x="6470692" y="4678077"/>
            <a:ext cx="2188134" cy="6617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13.000 medarbejdere</a:t>
            </a:r>
          </a:p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7.000 afdelinger</a:t>
            </a:r>
          </a:p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1.000.000 beboere</a:t>
            </a:r>
          </a:p>
        </p:txBody>
      </p:sp>
      <p:sp>
        <p:nvSpPr>
          <p:cNvPr id="33" name="Oval 24">
            <a:extLst>
              <a:ext uri="{FF2B5EF4-FFF2-40B4-BE49-F238E27FC236}">
                <a16:creationId xmlns:a16="http://schemas.microsoft.com/office/drawing/2014/main" id="{812D4FAD-4F45-2208-6BAD-FFC8B7F67B33}"/>
              </a:ext>
            </a:extLst>
          </p:cNvPr>
          <p:cNvSpPr/>
          <p:nvPr/>
        </p:nvSpPr>
        <p:spPr>
          <a:xfrm>
            <a:off x="10077201" y="2438402"/>
            <a:ext cx="251208" cy="251208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34925">
            <a:solidFill>
              <a:srgbClr val="88BCA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392BF207-5BE0-0504-BE5F-4560680AECA5}"/>
              </a:ext>
            </a:extLst>
          </p:cNvPr>
          <p:cNvSpPr/>
          <p:nvPr/>
        </p:nvSpPr>
        <p:spPr>
          <a:xfrm>
            <a:off x="11554309" y="4849167"/>
            <a:ext cx="251208" cy="251208"/>
          </a:xfrm>
          <a:prstGeom prst="ellipse">
            <a:avLst/>
          </a:prstGeom>
          <a:solidFill>
            <a:schemeClr val="accent4"/>
          </a:solidFill>
          <a:ln w="34925">
            <a:solidFill>
              <a:srgbClr val="97A2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5" name="Oval 26">
            <a:extLst>
              <a:ext uri="{FF2B5EF4-FFF2-40B4-BE49-F238E27FC236}">
                <a16:creationId xmlns:a16="http://schemas.microsoft.com/office/drawing/2014/main" id="{2CA10AED-823D-B81D-9489-FCCAE60B4DCF}"/>
              </a:ext>
            </a:extLst>
          </p:cNvPr>
          <p:cNvSpPr/>
          <p:nvPr/>
        </p:nvSpPr>
        <p:spPr>
          <a:xfrm>
            <a:off x="6154994" y="4849167"/>
            <a:ext cx="251208" cy="251208"/>
          </a:xfrm>
          <a:prstGeom prst="ellipse">
            <a:avLst/>
          </a:prstGeom>
          <a:solidFill>
            <a:schemeClr val="accent6"/>
          </a:solidFill>
          <a:ln w="34925">
            <a:solidFill>
              <a:srgbClr val="FACC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22">
            <a:extLst>
              <a:ext uri="{FF2B5EF4-FFF2-40B4-BE49-F238E27FC236}">
                <a16:creationId xmlns:a16="http://schemas.microsoft.com/office/drawing/2014/main" id="{9E1DED2A-0E54-51EF-BDFF-40F000BA8D50}"/>
              </a:ext>
            </a:extLst>
          </p:cNvPr>
          <p:cNvSpPr txBox="1"/>
          <p:nvPr/>
        </p:nvSpPr>
        <p:spPr>
          <a:xfrm>
            <a:off x="7840785" y="2444478"/>
            <a:ext cx="2415106" cy="6617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600.000 boliger</a:t>
            </a:r>
          </a:p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90.000 bygninger</a:t>
            </a:r>
          </a:p>
          <a:p>
            <a:pPr algn="ctr">
              <a:spcAft>
                <a:spcPts val="600"/>
              </a:spcAft>
            </a:pPr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100 km2 udeområ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89070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E92EB-B352-22A5-B1F2-033E35D0B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EAEFD9-5334-C83B-6B08-29D5B560B4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EFD9-5334-C83B-6B08-29D5B560B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7" name="Freeform: Shape 636">
            <a:extLst>
              <a:ext uri="{FF2B5EF4-FFF2-40B4-BE49-F238E27FC236}">
                <a16:creationId xmlns:a16="http://schemas.microsoft.com/office/drawing/2014/main" id="{C2F9A8EB-579C-2964-4550-3D2560197A29}"/>
              </a:ext>
            </a:extLst>
          </p:cNvPr>
          <p:cNvSpPr/>
          <p:nvPr/>
        </p:nvSpPr>
        <p:spPr>
          <a:xfrm>
            <a:off x="3758279" y="1598358"/>
            <a:ext cx="2311092" cy="2311090"/>
          </a:xfrm>
          <a:custGeom>
            <a:avLst/>
            <a:gdLst>
              <a:gd name="connsiteX0" fmla="*/ 1983858 w 1983858"/>
              <a:gd name="connsiteY0" fmla="*/ 0 h 1983856"/>
              <a:gd name="connsiteX1" fmla="*/ 1983858 w 1983858"/>
              <a:gd name="connsiteY1" fmla="*/ 1983856 h 1983856"/>
              <a:gd name="connsiteX2" fmla="*/ 0 w 1983858"/>
              <a:gd name="connsiteY2" fmla="*/ 1983856 h 1983856"/>
              <a:gd name="connsiteX3" fmla="*/ 9212 w 1983858"/>
              <a:gd name="connsiteY3" fmla="*/ 1801423 h 1983856"/>
              <a:gd name="connsiteX4" fmla="*/ 1801423 w 1983858"/>
              <a:gd name="connsiteY4" fmla="*/ 9212 h 1983856"/>
              <a:gd name="connsiteX5" fmla="*/ 1983858 w 1983858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6">
                <a:moveTo>
                  <a:pt x="1983858" y="0"/>
                </a:moveTo>
                <a:lnTo>
                  <a:pt x="1983858" y="1983856"/>
                </a:lnTo>
                <a:lnTo>
                  <a:pt x="0" y="1983856"/>
                </a:lnTo>
                <a:lnTo>
                  <a:pt x="9212" y="1801423"/>
                </a:lnTo>
                <a:cubicBezTo>
                  <a:pt x="105181" y="856441"/>
                  <a:pt x="856441" y="105180"/>
                  <a:pt x="1801423" y="9212"/>
                </a:cubicBezTo>
                <a:lnTo>
                  <a:pt x="1983858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/>
          </a:p>
        </p:txBody>
      </p:sp>
      <p:sp>
        <p:nvSpPr>
          <p:cNvPr id="636" name="Freeform: Shape 635">
            <a:extLst>
              <a:ext uri="{FF2B5EF4-FFF2-40B4-BE49-F238E27FC236}">
                <a16:creationId xmlns:a16="http://schemas.microsoft.com/office/drawing/2014/main" id="{A305F7F9-5B6E-A1E8-B6F6-160547707401}"/>
              </a:ext>
            </a:extLst>
          </p:cNvPr>
          <p:cNvSpPr/>
          <p:nvPr/>
        </p:nvSpPr>
        <p:spPr>
          <a:xfrm>
            <a:off x="6122632" y="1598358"/>
            <a:ext cx="2311089" cy="2311090"/>
          </a:xfrm>
          <a:custGeom>
            <a:avLst/>
            <a:gdLst>
              <a:gd name="connsiteX0" fmla="*/ 0 w 1983855"/>
              <a:gd name="connsiteY0" fmla="*/ 0 h 1983856"/>
              <a:gd name="connsiteX1" fmla="*/ 182432 w 1983855"/>
              <a:gd name="connsiteY1" fmla="*/ 9212 h 1983856"/>
              <a:gd name="connsiteX2" fmla="*/ 1974643 w 1983855"/>
              <a:gd name="connsiteY2" fmla="*/ 1801423 h 1983856"/>
              <a:gd name="connsiteX3" fmla="*/ 1983855 w 1983855"/>
              <a:gd name="connsiteY3" fmla="*/ 1983856 h 1983856"/>
              <a:gd name="connsiteX4" fmla="*/ 0 w 1983855"/>
              <a:gd name="connsiteY4" fmla="*/ 1983856 h 1983856"/>
              <a:gd name="connsiteX5" fmla="*/ 0 w 1983855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6">
                <a:moveTo>
                  <a:pt x="0" y="0"/>
                </a:moveTo>
                <a:lnTo>
                  <a:pt x="182432" y="9212"/>
                </a:lnTo>
                <a:cubicBezTo>
                  <a:pt x="1127414" y="105180"/>
                  <a:pt x="1878675" y="856441"/>
                  <a:pt x="1974643" y="1801423"/>
                </a:cubicBezTo>
                <a:lnTo>
                  <a:pt x="1983855" y="1983856"/>
                </a:lnTo>
                <a:lnTo>
                  <a:pt x="0" y="1983856"/>
                </a:ln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/>
          </a:p>
        </p:txBody>
      </p:sp>
      <p:sp>
        <p:nvSpPr>
          <p:cNvPr id="632" name="Freeform: Shape 631">
            <a:extLst>
              <a:ext uri="{FF2B5EF4-FFF2-40B4-BE49-F238E27FC236}">
                <a16:creationId xmlns:a16="http://schemas.microsoft.com/office/drawing/2014/main" id="{F082C510-B89C-A999-656D-0C42495AAA9A}"/>
              </a:ext>
            </a:extLst>
          </p:cNvPr>
          <p:cNvSpPr/>
          <p:nvPr/>
        </p:nvSpPr>
        <p:spPr>
          <a:xfrm>
            <a:off x="3758279" y="3962709"/>
            <a:ext cx="2311092" cy="2311091"/>
          </a:xfrm>
          <a:custGeom>
            <a:avLst/>
            <a:gdLst>
              <a:gd name="connsiteX0" fmla="*/ 0 w 1983858"/>
              <a:gd name="connsiteY0" fmla="*/ 0 h 1983857"/>
              <a:gd name="connsiteX1" fmla="*/ 1983858 w 1983858"/>
              <a:gd name="connsiteY1" fmla="*/ 0 h 1983857"/>
              <a:gd name="connsiteX2" fmla="*/ 1983858 w 1983858"/>
              <a:gd name="connsiteY2" fmla="*/ 1983857 h 1983857"/>
              <a:gd name="connsiteX3" fmla="*/ 1801423 w 1983858"/>
              <a:gd name="connsiteY3" fmla="*/ 1974645 h 1983857"/>
              <a:gd name="connsiteX4" fmla="*/ 9212 w 1983858"/>
              <a:gd name="connsiteY4" fmla="*/ 182434 h 1983857"/>
              <a:gd name="connsiteX5" fmla="*/ 0 w 1983858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7">
                <a:moveTo>
                  <a:pt x="0" y="0"/>
                </a:moveTo>
                <a:lnTo>
                  <a:pt x="1983858" y="0"/>
                </a:lnTo>
                <a:lnTo>
                  <a:pt x="1983858" y="1983857"/>
                </a:lnTo>
                <a:lnTo>
                  <a:pt x="1801423" y="1974645"/>
                </a:lnTo>
                <a:cubicBezTo>
                  <a:pt x="856441" y="1878677"/>
                  <a:pt x="105181" y="1127416"/>
                  <a:pt x="9212" y="182434"/>
                </a:cubicBez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/>
          </a:p>
        </p:txBody>
      </p:sp>
      <p:sp>
        <p:nvSpPr>
          <p:cNvPr id="631" name="Freeform: Shape 630">
            <a:extLst>
              <a:ext uri="{FF2B5EF4-FFF2-40B4-BE49-F238E27FC236}">
                <a16:creationId xmlns:a16="http://schemas.microsoft.com/office/drawing/2014/main" id="{5CAAF290-B831-42DF-9A24-B97589A7F2CA}"/>
              </a:ext>
            </a:extLst>
          </p:cNvPr>
          <p:cNvSpPr/>
          <p:nvPr/>
        </p:nvSpPr>
        <p:spPr>
          <a:xfrm>
            <a:off x="6122632" y="3962709"/>
            <a:ext cx="2311089" cy="2311091"/>
          </a:xfrm>
          <a:custGeom>
            <a:avLst/>
            <a:gdLst>
              <a:gd name="connsiteX0" fmla="*/ 0 w 1983855"/>
              <a:gd name="connsiteY0" fmla="*/ 0 h 1983857"/>
              <a:gd name="connsiteX1" fmla="*/ 1983855 w 1983855"/>
              <a:gd name="connsiteY1" fmla="*/ 0 h 1983857"/>
              <a:gd name="connsiteX2" fmla="*/ 1974643 w 1983855"/>
              <a:gd name="connsiteY2" fmla="*/ 182434 h 1983857"/>
              <a:gd name="connsiteX3" fmla="*/ 182432 w 1983855"/>
              <a:gd name="connsiteY3" fmla="*/ 1974645 h 1983857"/>
              <a:gd name="connsiteX4" fmla="*/ 0 w 1983855"/>
              <a:gd name="connsiteY4" fmla="*/ 1983857 h 1983857"/>
              <a:gd name="connsiteX5" fmla="*/ 0 w 1983855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7">
                <a:moveTo>
                  <a:pt x="0" y="0"/>
                </a:moveTo>
                <a:lnTo>
                  <a:pt x="1983855" y="0"/>
                </a:lnTo>
                <a:lnTo>
                  <a:pt x="1974643" y="182434"/>
                </a:lnTo>
                <a:cubicBezTo>
                  <a:pt x="1878675" y="1127416"/>
                  <a:pt x="1127414" y="1878677"/>
                  <a:pt x="182432" y="1974645"/>
                </a:cubicBezTo>
                <a:lnTo>
                  <a:pt x="0" y="1983857"/>
                </a:lnTo>
                <a:lnTo>
                  <a:pt x="0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4E8C577-B051-C40A-877A-D2736C28766B}"/>
              </a:ext>
            </a:extLst>
          </p:cNvPr>
          <p:cNvGrpSpPr/>
          <p:nvPr/>
        </p:nvGrpSpPr>
        <p:grpSpPr>
          <a:xfrm>
            <a:off x="3735250" y="1598219"/>
            <a:ext cx="4699956" cy="4675441"/>
            <a:chOff x="3725522" y="1637131"/>
            <a:chExt cx="4699956" cy="4675441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661BAA2-AC22-729A-23AF-D69A7C3FA1BB}"/>
                </a:ext>
              </a:extLst>
            </p:cNvPr>
            <p:cNvGrpSpPr/>
            <p:nvPr/>
          </p:nvGrpSpPr>
          <p:grpSpPr>
            <a:xfrm>
              <a:off x="3725522" y="1637131"/>
              <a:ext cx="4699956" cy="2311090"/>
              <a:chOff x="3725522" y="1637131"/>
              <a:chExt cx="4699956" cy="2311090"/>
            </a:xfrm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6E2CAC1-0D57-EC15-EB39-80F09BD02E32}"/>
                  </a:ext>
                </a:extLst>
              </p:cNvPr>
              <p:cNvSpPr/>
              <p:nvPr/>
            </p:nvSpPr>
            <p:spPr>
              <a:xfrm>
                <a:off x="3725522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5C3CA1FB-18E9-6F84-895A-5D086FEDAB1C}"/>
                  </a:ext>
                </a:extLst>
              </p:cNvPr>
              <p:cNvSpPr/>
              <p:nvPr/>
            </p:nvSpPr>
            <p:spPr>
              <a:xfrm flipH="1">
                <a:off x="6102131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/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61ADFE9-5880-28F4-1DB2-8B583ACF3D58}"/>
                </a:ext>
              </a:extLst>
            </p:cNvPr>
            <p:cNvGrpSpPr/>
            <p:nvPr/>
          </p:nvGrpSpPr>
          <p:grpSpPr>
            <a:xfrm flipH="1">
              <a:off x="3725522" y="4001482"/>
              <a:ext cx="4699956" cy="2311090"/>
              <a:chOff x="3725522" y="4001482"/>
              <a:chExt cx="4699956" cy="2311090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520873D-68AC-C041-6CE1-0767000BA4E4}"/>
                  </a:ext>
                </a:extLst>
              </p:cNvPr>
              <p:cNvSpPr/>
              <p:nvPr/>
            </p:nvSpPr>
            <p:spPr>
              <a:xfrm flipV="1">
                <a:off x="3725522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170BD7D-BC01-44E0-4506-C51D1B9F7AEB}"/>
                  </a:ext>
                </a:extLst>
              </p:cNvPr>
              <p:cNvSpPr/>
              <p:nvPr/>
            </p:nvSpPr>
            <p:spPr>
              <a:xfrm flipH="1" flipV="1">
                <a:off x="6102131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F72F5E-769F-5096-AD32-D77564E42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Hvorfor en branchestandard for bæredygtighed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68B2AC-395B-84C8-FEEF-2ABAA341EB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F24D2F-939A-0D87-527A-25396D357D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0C73026F-C78E-C90D-649E-4EB67EA69283}"/>
              </a:ext>
            </a:extLst>
          </p:cNvPr>
          <p:cNvSpPr txBox="1">
            <a:spLocks/>
          </p:cNvSpPr>
          <p:nvPr/>
        </p:nvSpPr>
        <p:spPr>
          <a:xfrm>
            <a:off x="360000" y="1144705"/>
            <a:ext cx="11472000" cy="445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da-DK" altLang="da-DK" i="0" u="none" strike="noStrike" cap="none" normalizeH="0" baseline="0">
                <a:ln>
                  <a:noFill/>
                </a:ln>
                <a:effectLst/>
                <a:latin typeface="DM Sans 18pt 18pt"/>
              </a:rPr>
              <a:t>Den almene sektor har en unik mulighed for at vise, hvordan man skaber målbar bæredygtig forandring – i praksis og i stor skala</a:t>
            </a:r>
            <a:endParaRPr lang="da-DK">
              <a:latin typeface="DM Sans 18pt 18pt"/>
            </a:endParaRPr>
          </a:p>
        </p:txBody>
      </p: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A4BAD1D2-1C90-0284-F298-38B3D27AD52C}"/>
              </a:ext>
            </a:extLst>
          </p:cNvPr>
          <p:cNvGrpSpPr/>
          <p:nvPr/>
        </p:nvGrpSpPr>
        <p:grpSpPr>
          <a:xfrm>
            <a:off x="4416358" y="2408377"/>
            <a:ext cx="1141332" cy="783257"/>
            <a:chOff x="352425" y="1598747"/>
            <a:chExt cx="1288710" cy="1107284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85ECFA5-812A-FFEC-7E2C-15E6191745C8}"/>
                </a:ext>
              </a:extLst>
            </p:cNvPr>
            <p:cNvSpPr/>
            <p:nvPr/>
          </p:nvSpPr>
          <p:spPr>
            <a:xfrm>
              <a:off x="566976" y="2207574"/>
              <a:ext cx="358866" cy="268904"/>
            </a:xfrm>
            <a:custGeom>
              <a:avLst/>
              <a:gdLst>
                <a:gd name="connsiteX0" fmla="*/ 1290066 w 1449374"/>
                <a:gd name="connsiteY0" fmla="*/ 412909 h 1086040"/>
                <a:gd name="connsiteX1" fmla="*/ 1148143 w 1449374"/>
                <a:gd name="connsiteY1" fmla="*/ 478060 h 1086040"/>
                <a:gd name="connsiteX2" fmla="*/ 1112901 w 1449374"/>
                <a:gd name="connsiteY2" fmla="*/ 478060 h 1086040"/>
                <a:gd name="connsiteX3" fmla="*/ 1112901 w 1449374"/>
                <a:gd name="connsiteY3" fmla="*/ 0 h 1086040"/>
                <a:gd name="connsiteX4" fmla="*/ 680657 w 1449374"/>
                <a:gd name="connsiteY4" fmla="*/ 0 h 1086040"/>
                <a:gd name="connsiteX5" fmla="*/ 680657 w 1449374"/>
                <a:gd name="connsiteY5" fmla="*/ 61436 h 1086040"/>
                <a:gd name="connsiteX6" fmla="*/ 745808 w 1449374"/>
                <a:gd name="connsiteY6" fmla="*/ 203264 h 1086040"/>
                <a:gd name="connsiteX7" fmla="*/ 588645 w 1449374"/>
                <a:gd name="connsiteY7" fmla="*/ 362236 h 1086040"/>
                <a:gd name="connsiteX8" fmla="*/ 409575 w 1449374"/>
                <a:gd name="connsiteY8" fmla="*/ 194310 h 1086040"/>
                <a:gd name="connsiteX9" fmla="*/ 474917 w 1449374"/>
                <a:gd name="connsiteY9" fmla="*/ 61436 h 1086040"/>
                <a:gd name="connsiteX10" fmla="*/ 474917 w 1449374"/>
                <a:gd name="connsiteY10" fmla="*/ 0 h 1086040"/>
                <a:gd name="connsiteX11" fmla="*/ 0 w 1449374"/>
                <a:gd name="connsiteY11" fmla="*/ 0 h 1086040"/>
                <a:gd name="connsiteX12" fmla="*/ 0 w 1449374"/>
                <a:gd name="connsiteY12" fmla="*/ 1004697 h 1086040"/>
                <a:gd name="connsiteX13" fmla="*/ 81344 w 1449374"/>
                <a:gd name="connsiteY13" fmla="*/ 1086041 h 1086040"/>
                <a:gd name="connsiteX14" fmla="*/ 1112996 w 1449374"/>
                <a:gd name="connsiteY14" fmla="*/ 1086041 h 1086040"/>
                <a:gd name="connsiteX15" fmla="*/ 1112996 w 1449374"/>
                <a:gd name="connsiteY15" fmla="*/ 683800 h 1086040"/>
                <a:gd name="connsiteX16" fmla="*/ 1148239 w 1449374"/>
                <a:gd name="connsiteY16" fmla="*/ 683800 h 1086040"/>
                <a:gd name="connsiteX17" fmla="*/ 1281113 w 1449374"/>
                <a:gd name="connsiteY17" fmla="*/ 749141 h 1086040"/>
                <a:gd name="connsiteX18" fmla="*/ 1449038 w 1449374"/>
                <a:gd name="connsiteY18" fmla="*/ 570071 h 1086040"/>
                <a:gd name="connsiteX19" fmla="*/ 1290066 w 1449374"/>
                <a:gd name="connsiteY19" fmla="*/ 412909 h 1086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9374" h="1086040">
                  <a:moveTo>
                    <a:pt x="1290066" y="412909"/>
                  </a:moveTo>
                  <a:cubicBezTo>
                    <a:pt x="1232345" y="409861"/>
                    <a:pt x="1180624" y="436150"/>
                    <a:pt x="1148143" y="478060"/>
                  </a:cubicBezTo>
                  <a:lnTo>
                    <a:pt x="1112901" y="478060"/>
                  </a:lnTo>
                  <a:lnTo>
                    <a:pt x="1112901" y="0"/>
                  </a:lnTo>
                  <a:lnTo>
                    <a:pt x="680657" y="0"/>
                  </a:lnTo>
                  <a:lnTo>
                    <a:pt x="680657" y="61436"/>
                  </a:lnTo>
                  <a:cubicBezTo>
                    <a:pt x="722567" y="93917"/>
                    <a:pt x="748760" y="145542"/>
                    <a:pt x="745808" y="203264"/>
                  </a:cubicBezTo>
                  <a:cubicBezTo>
                    <a:pt x="741426" y="287750"/>
                    <a:pt x="673037" y="356902"/>
                    <a:pt x="588645" y="362236"/>
                  </a:cubicBezTo>
                  <a:cubicBezTo>
                    <a:pt x="490823" y="368332"/>
                    <a:pt x="409575" y="290798"/>
                    <a:pt x="409575" y="194310"/>
                  </a:cubicBezTo>
                  <a:cubicBezTo>
                    <a:pt x="409575" y="140208"/>
                    <a:pt x="435197" y="92202"/>
                    <a:pt x="474917" y="61436"/>
                  </a:cubicBezTo>
                  <a:lnTo>
                    <a:pt x="474917" y="0"/>
                  </a:lnTo>
                  <a:lnTo>
                    <a:pt x="0" y="0"/>
                  </a:lnTo>
                  <a:lnTo>
                    <a:pt x="0" y="1004697"/>
                  </a:lnTo>
                  <a:cubicBezTo>
                    <a:pt x="0" y="1049560"/>
                    <a:pt x="36385" y="1086041"/>
                    <a:pt x="81344" y="1086041"/>
                  </a:cubicBezTo>
                  <a:lnTo>
                    <a:pt x="1112996" y="1086041"/>
                  </a:lnTo>
                  <a:lnTo>
                    <a:pt x="1112996" y="683800"/>
                  </a:lnTo>
                  <a:lnTo>
                    <a:pt x="1148239" y="683800"/>
                  </a:lnTo>
                  <a:cubicBezTo>
                    <a:pt x="1179005" y="723519"/>
                    <a:pt x="1227011" y="749141"/>
                    <a:pt x="1281113" y="749141"/>
                  </a:cubicBezTo>
                  <a:cubicBezTo>
                    <a:pt x="1377601" y="749141"/>
                    <a:pt x="1455134" y="667893"/>
                    <a:pt x="1449038" y="570071"/>
                  </a:cubicBezTo>
                  <a:cubicBezTo>
                    <a:pt x="1443704" y="485680"/>
                    <a:pt x="1374553" y="417290"/>
                    <a:pt x="1290066" y="412909"/>
                  </a:cubicBezTo>
                  <a:close/>
                </a:path>
              </a:pathLst>
            </a:custGeom>
            <a:solidFill>
              <a:srgbClr val="B6C1D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3CDAF8F-BC0B-2B52-60A1-36437ABE2FFD}"/>
                </a:ext>
              </a:extLst>
            </p:cNvPr>
            <p:cNvSpPr/>
            <p:nvPr/>
          </p:nvSpPr>
          <p:spPr>
            <a:xfrm>
              <a:off x="564051" y="2369303"/>
              <a:ext cx="221420" cy="335727"/>
            </a:xfrm>
            <a:custGeom>
              <a:avLst/>
              <a:gdLst>
                <a:gd name="connsiteX0" fmla="*/ 615791 w 894261"/>
                <a:gd name="connsiteY0" fmla="*/ 432856 h 1355923"/>
                <a:gd name="connsiteX1" fmla="*/ 721424 w 894261"/>
                <a:gd name="connsiteY1" fmla="*/ 163489 h 1355923"/>
                <a:gd name="connsiteX2" fmla="*/ 764286 w 894261"/>
                <a:gd name="connsiteY2" fmla="*/ 17566 h 1355923"/>
                <a:gd name="connsiteX3" fmla="*/ 868775 w 894261"/>
                <a:gd name="connsiteY3" fmla="*/ 62048 h 1355923"/>
                <a:gd name="connsiteX4" fmla="*/ 844486 w 894261"/>
                <a:gd name="connsiteY4" fmla="*/ 433713 h 1355923"/>
                <a:gd name="connsiteX5" fmla="*/ 829151 w 894261"/>
                <a:gd name="connsiteY5" fmla="*/ 921869 h 1355923"/>
                <a:gd name="connsiteX6" fmla="*/ 699707 w 894261"/>
                <a:gd name="connsiteY6" fmla="*/ 1355924 h 1355923"/>
                <a:gd name="connsiteX7" fmla="*/ 0 w 894261"/>
                <a:gd name="connsiteY7" fmla="*/ 1352495 h 1355923"/>
                <a:gd name="connsiteX8" fmla="*/ 355378 w 894261"/>
                <a:gd name="connsiteY8" fmla="*/ 858242 h 1355923"/>
                <a:gd name="connsiteX9" fmla="*/ 107156 w 894261"/>
                <a:gd name="connsiteY9" fmla="*/ 432856 h 1355923"/>
                <a:gd name="connsiteX10" fmla="*/ 615791 w 894261"/>
                <a:gd name="connsiteY10" fmla="*/ 432856 h 135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4261" h="1355923">
                  <a:moveTo>
                    <a:pt x="615791" y="432856"/>
                  </a:moveTo>
                  <a:cubicBezTo>
                    <a:pt x="677608" y="380659"/>
                    <a:pt x="684466" y="334558"/>
                    <a:pt x="721424" y="163489"/>
                  </a:cubicBezTo>
                  <a:cubicBezTo>
                    <a:pt x="736664" y="93194"/>
                    <a:pt x="740854" y="41664"/>
                    <a:pt x="764286" y="17566"/>
                  </a:cubicBezTo>
                  <a:cubicBezTo>
                    <a:pt x="797814" y="-16724"/>
                    <a:pt x="859727" y="-246"/>
                    <a:pt x="868775" y="62048"/>
                  </a:cubicBezTo>
                  <a:cubicBezTo>
                    <a:pt x="882015" y="152630"/>
                    <a:pt x="844486" y="433713"/>
                    <a:pt x="844486" y="433713"/>
                  </a:cubicBezTo>
                  <a:cubicBezTo>
                    <a:pt x="960882" y="859100"/>
                    <a:pt x="837819" y="913583"/>
                    <a:pt x="829151" y="921869"/>
                  </a:cubicBezTo>
                  <a:lnTo>
                    <a:pt x="699707" y="1355924"/>
                  </a:lnTo>
                  <a:lnTo>
                    <a:pt x="0" y="1352495"/>
                  </a:lnTo>
                  <a:lnTo>
                    <a:pt x="355378" y="858242"/>
                  </a:lnTo>
                  <a:lnTo>
                    <a:pt x="107156" y="432856"/>
                  </a:lnTo>
                  <a:lnTo>
                    <a:pt x="615791" y="43285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2626875-A0B3-2DD3-258D-BCC47EDA530B}"/>
                </a:ext>
              </a:extLst>
            </p:cNvPr>
            <p:cNvGrpSpPr/>
            <p:nvPr/>
          </p:nvGrpSpPr>
          <p:grpSpPr>
            <a:xfrm>
              <a:off x="352425" y="1598747"/>
              <a:ext cx="485782" cy="592405"/>
              <a:chOff x="5228432" y="1281113"/>
              <a:chExt cx="797683" cy="972765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7389DA3-65F5-1136-A153-E6AF7B37699F}"/>
                  </a:ext>
                </a:extLst>
              </p:cNvPr>
              <p:cNvSpPr/>
              <p:nvPr/>
            </p:nvSpPr>
            <p:spPr>
              <a:xfrm>
                <a:off x="5573637" y="1664078"/>
                <a:ext cx="452478" cy="589800"/>
              </a:xfrm>
              <a:custGeom>
                <a:avLst/>
                <a:gdLst>
                  <a:gd name="connsiteX0" fmla="*/ 1112901 w 1112900"/>
                  <a:gd name="connsiteY0" fmla="*/ 1086041 h 1450657"/>
                  <a:gd name="connsiteX1" fmla="*/ 1112901 w 1112900"/>
                  <a:gd name="connsiteY1" fmla="*/ 640175 h 1450657"/>
                  <a:gd name="connsiteX2" fmla="*/ 1047179 w 1112900"/>
                  <a:gd name="connsiteY2" fmla="*/ 640175 h 1450657"/>
                  <a:gd name="connsiteX3" fmla="*/ 914305 w 1112900"/>
                  <a:gd name="connsiteY3" fmla="*/ 705517 h 1450657"/>
                  <a:gd name="connsiteX4" fmla="*/ 746093 w 1112900"/>
                  <a:gd name="connsiteY4" fmla="*/ 537305 h 1450657"/>
                  <a:gd name="connsiteX5" fmla="*/ 914305 w 1112900"/>
                  <a:gd name="connsiteY5" fmla="*/ 369094 h 1450657"/>
                  <a:gd name="connsiteX6" fmla="*/ 1047179 w 1112900"/>
                  <a:gd name="connsiteY6" fmla="*/ 434435 h 1450657"/>
                  <a:gd name="connsiteX7" fmla="*/ 1112901 w 1112900"/>
                  <a:gd name="connsiteY7" fmla="*/ 434435 h 1450657"/>
                  <a:gd name="connsiteX8" fmla="*/ 1112901 w 1112900"/>
                  <a:gd name="connsiteY8" fmla="*/ 0 h 1450657"/>
                  <a:gd name="connsiteX9" fmla="*/ 0 w 1112900"/>
                  <a:gd name="connsiteY9" fmla="*/ 0 h 1450657"/>
                  <a:gd name="connsiteX10" fmla="*/ 0 w 1112900"/>
                  <a:gd name="connsiteY10" fmla="*/ 1086041 h 1450657"/>
                  <a:gd name="connsiteX11" fmla="*/ 474917 w 1112900"/>
                  <a:gd name="connsiteY11" fmla="*/ 1086041 h 1450657"/>
                  <a:gd name="connsiteX12" fmla="*/ 474917 w 1112900"/>
                  <a:gd name="connsiteY12" fmla="*/ 1149572 h 1450657"/>
                  <a:gd name="connsiteX13" fmla="*/ 409575 w 1112900"/>
                  <a:gd name="connsiteY13" fmla="*/ 1282446 h 1450657"/>
                  <a:gd name="connsiteX14" fmla="*/ 577787 w 1112900"/>
                  <a:gd name="connsiteY14" fmla="*/ 1450658 h 1450657"/>
                  <a:gd name="connsiteX15" fmla="*/ 745998 w 1112900"/>
                  <a:gd name="connsiteY15" fmla="*/ 1282446 h 1450657"/>
                  <a:gd name="connsiteX16" fmla="*/ 680657 w 1112900"/>
                  <a:gd name="connsiteY16" fmla="*/ 1149572 h 1450657"/>
                  <a:gd name="connsiteX17" fmla="*/ 680657 w 1112900"/>
                  <a:gd name="connsiteY17" fmla="*/ 1086041 h 1450657"/>
                  <a:gd name="connsiteX18" fmla="*/ 1112901 w 1112900"/>
                  <a:gd name="connsiteY18" fmla="*/ 1086041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12900" h="1450657">
                    <a:moveTo>
                      <a:pt x="1112901" y="1086041"/>
                    </a:moveTo>
                    <a:lnTo>
                      <a:pt x="1112901" y="640175"/>
                    </a:lnTo>
                    <a:lnTo>
                      <a:pt x="1047179" y="640175"/>
                    </a:lnTo>
                    <a:cubicBezTo>
                      <a:pt x="1016413" y="679895"/>
                      <a:pt x="968407" y="705517"/>
                      <a:pt x="914305" y="705517"/>
                    </a:cubicBezTo>
                    <a:cubicBezTo>
                      <a:pt x="821341" y="705517"/>
                      <a:pt x="746093" y="630174"/>
                      <a:pt x="746093" y="537305"/>
                    </a:cubicBezTo>
                    <a:cubicBezTo>
                      <a:pt x="746093" y="444341"/>
                      <a:pt x="821436" y="369094"/>
                      <a:pt x="914305" y="369094"/>
                    </a:cubicBezTo>
                    <a:cubicBezTo>
                      <a:pt x="968407" y="369094"/>
                      <a:pt x="1016413" y="394716"/>
                      <a:pt x="1047179" y="434435"/>
                    </a:cubicBezTo>
                    <a:lnTo>
                      <a:pt x="1112901" y="434435"/>
                    </a:lnTo>
                    <a:lnTo>
                      <a:pt x="1112901" y="0"/>
                    </a:lnTo>
                    <a:lnTo>
                      <a:pt x="0" y="0"/>
                    </a:lnTo>
                    <a:lnTo>
                      <a:pt x="0" y="1086041"/>
                    </a:lnTo>
                    <a:lnTo>
                      <a:pt x="474917" y="1086041"/>
                    </a:lnTo>
                    <a:lnTo>
                      <a:pt x="474917" y="1149572"/>
                    </a:lnTo>
                    <a:cubicBezTo>
                      <a:pt x="435197" y="1180338"/>
                      <a:pt x="409575" y="1228344"/>
                      <a:pt x="409575" y="1282446"/>
                    </a:cubicBezTo>
                    <a:cubicBezTo>
                      <a:pt x="409575" y="1375410"/>
                      <a:pt x="484918" y="1450658"/>
                      <a:pt x="577787" y="1450658"/>
                    </a:cubicBezTo>
                    <a:cubicBezTo>
                      <a:pt x="670751" y="1450658"/>
                      <a:pt x="745998" y="1375315"/>
                      <a:pt x="745998" y="1282446"/>
                    </a:cubicBezTo>
                    <a:cubicBezTo>
                      <a:pt x="745998" y="1228344"/>
                      <a:pt x="720376" y="1180338"/>
                      <a:pt x="680657" y="1149572"/>
                    </a:cubicBezTo>
                    <a:lnTo>
                      <a:pt x="680657" y="1086041"/>
                    </a:lnTo>
                    <a:lnTo>
                      <a:pt x="1112901" y="1086041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B3137BD0-5380-6A40-44D7-60831C5F1F3F}"/>
                  </a:ext>
                </a:extLst>
              </p:cNvPr>
              <p:cNvGrpSpPr/>
              <p:nvPr/>
            </p:nvGrpSpPr>
            <p:grpSpPr>
              <a:xfrm>
                <a:off x="5228432" y="1281113"/>
                <a:ext cx="658203" cy="598591"/>
                <a:chOff x="5264150" y="1671638"/>
                <a:chExt cx="658203" cy="598591"/>
              </a:xfrm>
            </p:grpSpPr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884D1EC6-3DD5-1FB2-20EE-10F06AE5DB42}"/>
                    </a:ext>
                  </a:extLst>
                </p:cNvPr>
                <p:cNvSpPr/>
                <p:nvPr/>
              </p:nvSpPr>
              <p:spPr>
                <a:xfrm>
                  <a:off x="5264150" y="1671638"/>
                  <a:ext cx="3873" cy="38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25" h="9525"/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F20BA2D1-5604-867E-16D5-572D353AB68D}"/>
                    </a:ext>
                  </a:extLst>
                </p:cNvPr>
                <p:cNvSpPr/>
                <p:nvPr/>
              </p:nvSpPr>
              <p:spPr>
                <a:xfrm>
                  <a:off x="5266074" y="1674504"/>
                  <a:ext cx="656279" cy="595725"/>
                </a:xfrm>
                <a:custGeom>
                  <a:avLst/>
                  <a:gdLst>
                    <a:gd name="connsiteX0" fmla="*/ 769173 w 1614165"/>
                    <a:gd name="connsiteY0" fmla="*/ 460439 h 1465230"/>
                    <a:gd name="connsiteX1" fmla="*/ 1480976 w 1614165"/>
                    <a:gd name="connsiteY1" fmla="*/ 732663 h 1465230"/>
                    <a:gd name="connsiteX2" fmla="*/ 1613278 w 1614165"/>
                    <a:gd name="connsiteY2" fmla="*/ 1169194 h 1465230"/>
                    <a:gd name="connsiteX3" fmla="*/ 1437161 w 1614165"/>
                    <a:gd name="connsiteY3" fmla="*/ 1465231 h 1465230"/>
                    <a:gd name="connsiteX4" fmla="*/ 1348197 w 1614165"/>
                    <a:gd name="connsiteY4" fmla="*/ 1376839 h 1465230"/>
                    <a:gd name="connsiteX5" fmla="*/ 1400680 w 1614165"/>
                    <a:gd name="connsiteY5" fmla="*/ 1263872 h 1465230"/>
                    <a:gd name="connsiteX6" fmla="*/ 1154650 w 1614165"/>
                    <a:gd name="connsiteY6" fmla="*/ 1427702 h 1465230"/>
                    <a:gd name="connsiteX7" fmla="*/ 1091880 w 1614165"/>
                    <a:gd name="connsiteY7" fmla="*/ 1352360 h 1465230"/>
                    <a:gd name="connsiteX8" fmla="*/ 1019299 w 1614165"/>
                    <a:gd name="connsiteY8" fmla="*/ 1364932 h 1465230"/>
                    <a:gd name="connsiteX9" fmla="*/ 954720 w 1614165"/>
                    <a:gd name="connsiteY9" fmla="*/ 1326166 h 1465230"/>
                    <a:gd name="connsiteX10" fmla="*/ 973770 w 1614165"/>
                    <a:gd name="connsiteY10" fmla="*/ 1272921 h 1465230"/>
                    <a:gd name="connsiteX11" fmla="*/ 897951 w 1614165"/>
                    <a:gd name="connsiteY11" fmla="*/ 1281398 h 1465230"/>
                    <a:gd name="connsiteX12" fmla="*/ 868518 w 1614165"/>
                    <a:gd name="connsiteY12" fmla="*/ 1256252 h 1465230"/>
                    <a:gd name="connsiteX13" fmla="*/ 888045 w 1614165"/>
                    <a:gd name="connsiteY13" fmla="*/ 1196721 h 1465230"/>
                    <a:gd name="connsiteX14" fmla="*/ 1005393 w 1614165"/>
                    <a:gd name="connsiteY14" fmla="*/ 1123950 h 1465230"/>
                    <a:gd name="connsiteX15" fmla="*/ 991962 w 1614165"/>
                    <a:gd name="connsiteY15" fmla="*/ 1060133 h 1465230"/>
                    <a:gd name="connsiteX16" fmla="*/ 973675 w 1614165"/>
                    <a:gd name="connsiteY16" fmla="*/ 963359 h 1465230"/>
                    <a:gd name="connsiteX17" fmla="*/ 584769 w 1614165"/>
                    <a:gd name="connsiteY17" fmla="*/ 916400 h 1465230"/>
                    <a:gd name="connsiteX18" fmla="*/ 479803 w 1614165"/>
                    <a:gd name="connsiteY18" fmla="*/ 739235 h 1465230"/>
                    <a:gd name="connsiteX19" fmla="*/ 29 w 1614165"/>
                    <a:gd name="connsiteY19" fmla="*/ 385477 h 1465230"/>
                    <a:gd name="connsiteX20" fmla="*/ 351216 w 1614165"/>
                    <a:gd name="connsiteY20" fmla="*/ 0 h 1465230"/>
                    <a:gd name="connsiteX21" fmla="*/ 769173 w 1614165"/>
                    <a:gd name="connsiteY21" fmla="*/ 460439 h 1465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14165" h="1465230">
                      <a:moveTo>
                        <a:pt x="769173" y="460439"/>
                      </a:moveTo>
                      <a:cubicBezTo>
                        <a:pt x="769173" y="460439"/>
                        <a:pt x="1419730" y="697421"/>
                        <a:pt x="1480976" y="732663"/>
                      </a:cubicBezTo>
                      <a:cubicBezTo>
                        <a:pt x="1542222" y="767906"/>
                        <a:pt x="1623565" y="1143857"/>
                        <a:pt x="1613278" y="1169194"/>
                      </a:cubicBezTo>
                      <a:cubicBezTo>
                        <a:pt x="1602991" y="1194626"/>
                        <a:pt x="1437161" y="1465231"/>
                        <a:pt x="1437161" y="1465231"/>
                      </a:cubicBezTo>
                      <a:cubicBezTo>
                        <a:pt x="1437161" y="1465231"/>
                        <a:pt x="1326862" y="1464564"/>
                        <a:pt x="1348197" y="1376839"/>
                      </a:cubicBezTo>
                      <a:cubicBezTo>
                        <a:pt x="1364390" y="1310069"/>
                        <a:pt x="1400680" y="1263872"/>
                        <a:pt x="1400680" y="1263872"/>
                      </a:cubicBezTo>
                      <a:cubicBezTo>
                        <a:pt x="1400680" y="1263872"/>
                        <a:pt x="1199798" y="1432084"/>
                        <a:pt x="1154650" y="1427702"/>
                      </a:cubicBezTo>
                      <a:cubicBezTo>
                        <a:pt x="1076068" y="1419987"/>
                        <a:pt x="1091880" y="1352360"/>
                        <a:pt x="1091880" y="1352360"/>
                      </a:cubicBezTo>
                      <a:lnTo>
                        <a:pt x="1019299" y="1364932"/>
                      </a:lnTo>
                      <a:cubicBezTo>
                        <a:pt x="991200" y="1369790"/>
                        <a:pt x="962816" y="1353598"/>
                        <a:pt x="954720" y="1326166"/>
                      </a:cubicBezTo>
                      <a:cubicBezTo>
                        <a:pt x="949671" y="1309211"/>
                        <a:pt x="951958" y="1289876"/>
                        <a:pt x="973770" y="1272921"/>
                      </a:cubicBezTo>
                      <a:lnTo>
                        <a:pt x="897951" y="1281398"/>
                      </a:lnTo>
                      <a:cubicBezTo>
                        <a:pt x="882711" y="1283113"/>
                        <a:pt x="869185" y="1271588"/>
                        <a:pt x="868518" y="1256252"/>
                      </a:cubicBezTo>
                      <a:cubicBezTo>
                        <a:pt x="867947" y="1241774"/>
                        <a:pt x="871947" y="1221867"/>
                        <a:pt x="888045" y="1196721"/>
                      </a:cubicBezTo>
                      <a:cubicBezTo>
                        <a:pt x="924240" y="1140238"/>
                        <a:pt x="1003773" y="1128713"/>
                        <a:pt x="1005393" y="1123950"/>
                      </a:cubicBezTo>
                      <a:cubicBezTo>
                        <a:pt x="1006917" y="1119283"/>
                        <a:pt x="991962" y="1060133"/>
                        <a:pt x="991962" y="1060133"/>
                      </a:cubicBezTo>
                      <a:lnTo>
                        <a:pt x="973675" y="963359"/>
                      </a:lnTo>
                      <a:cubicBezTo>
                        <a:pt x="973675" y="963359"/>
                        <a:pt x="674399" y="980885"/>
                        <a:pt x="584769" y="916400"/>
                      </a:cubicBezTo>
                      <a:cubicBezTo>
                        <a:pt x="495138" y="851916"/>
                        <a:pt x="488280" y="743522"/>
                        <a:pt x="479803" y="739235"/>
                      </a:cubicBezTo>
                      <a:cubicBezTo>
                        <a:pt x="471421" y="735140"/>
                        <a:pt x="3839" y="391763"/>
                        <a:pt x="29" y="385477"/>
                      </a:cubicBezTo>
                      <a:cubicBezTo>
                        <a:pt x="-3686" y="379286"/>
                        <a:pt x="351216" y="0"/>
                        <a:pt x="351216" y="0"/>
                      </a:cubicBezTo>
                      <a:lnTo>
                        <a:pt x="769173" y="4604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55135AFF-9A6C-D6FD-2705-1E2E4ADD3B2D}"/>
                    </a:ext>
                  </a:extLst>
                </p:cNvPr>
                <p:cNvSpPr/>
                <p:nvPr/>
              </p:nvSpPr>
              <p:spPr>
                <a:xfrm>
                  <a:off x="5661905" y="2027140"/>
                  <a:ext cx="74832" cy="164906"/>
                </a:xfrm>
                <a:custGeom>
                  <a:avLst/>
                  <a:gdLst>
                    <a:gd name="connsiteX0" fmla="*/ 131735 w 184055"/>
                    <a:gd name="connsiteY0" fmla="*/ 10 h 405598"/>
                    <a:gd name="connsiteX1" fmla="*/ 135354 w 184055"/>
                    <a:gd name="connsiteY1" fmla="*/ 1820 h 405598"/>
                    <a:gd name="connsiteX2" fmla="*/ 143641 w 184055"/>
                    <a:gd name="connsiteY2" fmla="*/ 10202 h 405598"/>
                    <a:gd name="connsiteX3" fmla="*/ 158500 w 184055"/>
                    <a:gd name="connsiteY3" fmla="*/ 51636 h 405598"/>
                    <a:gd name="connsiteX4" fmla="*/ 158500 w 184055"/>
                    <a:gd name="connsiteY4" fmla="*/ 51445 h 405598"/>
                    <a:gd name="connsiteX5" fmla="*/ 174692 w 184055"/>
                    <a:gd name="connsiteY5" fmla="*/ 135265 h 405598"/>
                    <a:gd name="connsiteX6" fmla="*/ 181550 w 184055"/>
                    <a:gd name="connsiteY6" fmla="*/ 187653 h 405598"/>
                    <a:gd name="connsiteX7" fmla="*/ 183646 w 184055"/>
                    <a:gd name="connsiteY7" fmla="*/ 245279 h 405598"/>
                    <a:gd name="connsiteX8" fmla="*/ 179169 w 184055"/>
                    <a:gd name="connsiteY8" fmla="*/ 271568 h 405598"/>
                    <a:gd name="connsiteX9" fmla="*/ 167453 w 184055"/>
                    <a:gd name="connsiteY9" fmla="*/ 294523 h 405598"/>
                    <a:gd name="connsiteX10" fmla="*/ 136307 w 184055"/>
                    <a:gd name="connsiteY10" fmla="*/ 331480 h 405598"/>
                    <a:gd name="connsiteX11" fmla="*/ 69155 w 184055"/>
                    <a:gd name="connsiteY11" fmla="*/ 377295 h 405598"/>
                    <a:gd name="connsiteX12" fmla="*/ 19149 w 184055"/>
                    <a:gd name="connsiteY12" fmla="*/ 399584 h 405598"/>
                    <a:gd name="connsiteX13" fmla="*/ 5052 w 184055"/>
                    <a:gd name="connsiteY13" fmla="*/ 404346 h 405598"/>
                    <a:gd name="connsiteX14" fmla="*/ 4 w 184055"/>
                    <a:gd name="connsiteY14" fmla="*/ 405585 h 405598"/>
                    <a:gd name="connsiteX15" fmla="*/ 4766 w 184055"/>
                    <a:gd name="connsiteY15" fmla="*/ 403394 h 405598"/>
                    <a:gd name="connsiteX16" fmla="*/ 18482 w 184055"/>
                    <a:gd name="connsiteY16" fmla="*/ 397774 h 405598"/>
                    <a:gd name="connsiteX17" fmla="*/ 67536 w 184055"/>
                    <a:gd name="connsiteY17" fmla="*/ 374152 h 405598"/>
                    <a:gd name="connsiteX18" fmla="*/ 133259 w 184055"/>
                    <a:gd name="connsiteY18" fmla="*/ 328051 h 405598"/>
                    <a:gd name="connsiteX19" fmla="*/ 163358 w 184055"/>
                    <a:gd name="connsiteY19" fmla="*/ 291856 h 405598"/>
                    <a:gd name="connsiteX20" fmla="*/ 174502 w 184055"/>
                    <a:gd name="connsiteY20" fmla="*/ 269758 h 405598"/>
                    <a:gd name="connsiteX21" fmla="*/ 177359 w 184055"/>
                    <a:gd name="connsiteY21" fmla="*/ 257661 h 405598"/>
                    <a:gd name="connsiteX22" fmla="*/ 178693 w 184055"/>
                    <a:gd name="connsiteY22" fmla="*/ 244898 h 405598"/>
                    <a:gd name="connsiteX23" fmla="*/ 176693 w 184055"/>
                    <a:gd name="connsiteY23" fmla="*/ 188034 h 405598"/>
                    <a:gd name="connsiteX24" fmla="*/ 170216 w 184055"/>
                    <a:gd name="connsiteY24" fmla="*/ 135932 h 405598"/>
                    <a:gd name="connsiteX25" fmla="*/ 155357 w 184055"/>
                    <a:gd name="connsiteY25" fmla="*/ 52112 h 405598"/>
                    <a:gd name="connsiteX26" fmla="*/ 155357 w 184055"/>
                    <a:gd name="connsiteY26" fmla="*/ 52017 h 405598"/>
                    <a:gd name="connsiteX27" fmla="*/ 155357 w 184055"/>
                    <a:gd name="connsiteY27" fmla="*/ 51921 h 405598"/>
                    <a:gd name="connsiteX28" fmla="*/ 142212 w 184055"/>
                    <a:gd name="connsiteY28" fmla="*/ 11059 h 405598"/>
                    <a:gd name="connsiteX29" fmla="*/ 131735 w 184055"/>
                    <a:gd name="connsiteY29" fmla="*/ 10 h 4055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84055" h="405598">
                      <a:moveTo>
                        <a:pt x="131735" y="10"/>
                      </a:moveTo>
                      <a:cubicBezTo>
                        <a:pt x="131830" y="-85"/>
                        <a:pt x="133068" y="486"/>
                        <a:pt x="135354" y="1820"/>
                      </a:cubicBezTo>
                      <a:cubicBezTo>
                        <a:pt x="137545" y="3344"/>
                        <a:pt x="140688" y="5916"/>
                        <a:pt x="143641" y="10202"/>
                      </a:cubicBezTo>
                      <a:cubicBezTo>
                        <a:pt x="149737" y="18584"/>
                        <a:pt x="155642" y="32871"/>
                        <a:pt x="158500" y="51636"/>
                      </a:cubicBezTo>
                      <a:lnTo>
                        <a:pt x="158500" y="51445"/>
                      </a:lnTo>
                      <a:cubicBezTo>
                        <a:pt x="163643" y="73829"/>
                        <a:pt x="169454" y="102404"/>
                        <a:pt x="174692" y="135265"/>
                      </a:cubicBezTo>
                      <a:cubicBezTo>
                        <a:pt x="177359" y="151648"/>
                        <a:pt x="179741" y="169174"/>
                        <a:pt x="181550" y="187653"/>
                      </a:cubicBezTo>
                      <a:cubicBezTo>
                        <a:pt x="183360" y="206036"/>
                        <a:pt x="184789" y="225276"/>
                        <a:pt x="183646" y="245279"/>
                      </a:cubicBezTo>
                      <a:cubicBezTo>
                        <a:pt x="183074" y="254137"/>
                        <a:pt x="181836" y="262995"/>
                        <a:pt x="179169" y="271568"/>
                      </a:cubicBezTo>
                      <a:cubicBezTo>
                        <a:pt x="175359" y="279378"/>
                        <a:pt x="172502" y="287665"/>
                        <a:pt x="167453" y="294523"/>
                      </a:cubicBezTo>
                      <a:cubicBezTo>
                        <a:pt x="158881" y="309192"/>
                        <a:pt x="147260" y="320717"/>
                        <a:pt x="136307" y="331480"/>
                      </a:cubicBezTo>
                      <a:cubicBezTo>
                        <a:pt x="113351" y="352054"/>
                        <a:pt x="89539" y="366437"/>
                        <a:pt x="69155" y="377295"/>
                      </a:cubicBezTo>
                      <a:cubicBezTo>
                        <a:pt x="48677" y="388059"/>
                        <a:pt x="31246" y="395107"/>
                        <a:pt x="19149" y="399584"/>
                      </a:cubicBezTo>
                      <a:cubicBezTo>
                        <a:pt x="13053" y="401870"/>
                        <a:pt x="8291" y="403394"/>
                        <a:pt x="5052" y="404346"/>
                      </a:cubicBezTo>
                      <a:cubicBezTo>
                        <a:pt x="1814" y="405299"/>
                        <a:pt x="4" y="405680"/>
                        <a:pt x="4" y="405585"/>
                      </a:cubicBezTo>
                      <a:cubicBezTo>
                        <a:pt x="-92" y="405394"/>
                        <a:pt x="1623" y="404727"/>
                        <a:pt x="4766" y="403394"/>
                      </a:cubicBezTo>
                      <a:cubicBezTo>
                        <a:pt x="8386" y="401870"/>
                        <a:pt x="12958" y="400060"/>
                        <a:pt x="18482" y="397774"/>
                      </a:cubicBezTo>
                      <a:cubicBezTo>
                        <a:pt x="30293" y="392726"/>
                        <a:pt x="47343" y="385201"/>
                        <a:pt x="67536" y="374152"/>
                      </a:cubicBezTo>
                      <a:cubicBezTo>
                        <a:pt x="87539" y="363008"/>
                        <a:pt x="110970" y="348530"/>
                        <a:pt x="133259" y="328051"/>
                      </a:cubicBezTo>
                      <a:cubicBezTo>
                        <a:pt x="143831" y="317383"/>
                        <a:pt x="155166" y="306048"/>
                        <a:pt x="163358" y="291856"/>
                      </a:cubicBezTo>
                      <a:cubicBezTo>
                        <a:pt x="168215" y="285189"/>
                        <a:pt x="170882" y="277283"/>
                        <a:pt x="174502" y="269758"/>
                      </a:cubicBezTo>
                      <a:cubicBezTo>
                        <a:pt x="175359" y="265758"/>
                        <a:pt x="176883" y="261852"/>
                        <a:pt x="177359" y="257661"/>
                      </a:cubicBezTo>
                      <a:cubicBezTo>
                        <a:pt x="177740" y="253375"/>
                        <a:pt x="178598" y="249184"/>
                        <a:pt x="178693" y="244898"/>
                      </a:cubicBezTo>
                      <a:cubicBezTo>
                        <a:pt x="179836" y="225467"/>
                        <a:pt x="178407" y="206322"/>
                        <a:pt x="176693" y="188034"/>
                      </a:cubicBezTo>
                      <a:cubicBezTo>
                        <a:pt x="174978" y="169746"/>
                        <a:pt x="172692" y="152315"/>
                        <a:pt x="170216" y="135932"/>
                      </a:cubicBezTo>
                      <a:cubicBezTo>
                        <a:pt x="165263" y="103166"/>
                        <a:pt x="159929" y="74591"/>
                        <a:pt x="155357" y="52112"/>
                      </a:cubicBezTo>
                      <a:lnTo>
                        <a:pt x="155357" y="52017"/>
                      </a:lnTo>
                      <a:lnTo>
                        <a:pt x="155357" y="51921"/>
                      </a:lnTo>
                      <a:cubicBezTo>
                        <a:pt x="152975" y="33633"/>
                        <a:pt x="147737" y="19441"/>
                        <a:pt x="142212" y="11059"/>
                      </a:cubicBezTo>
                      <a:cubicBezTo>
                        <a:pt x="136878" y="2582"/>
                        <a:pt x="131354" y="486"/>
                        <a:pt x="131735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E2C3FCB-2649-0D0D-E6BF-5B4EFF093EFE}"/>
                    </a:ext>
                  </a:extLst>
                </p:cNvPr>
                <p:cNvSpPr/>
                <p:nvPr/>
              </p:nvSpPr>
              <p:spPr>
                <a:xfrm>
                  <a:off x="5710003" y="2025747"/>
                  <a:ext cx="93970" cy="198602"/>
                </a:xfrm>
                <a:custGeom>
                  <a:avLst/>
                  <a:gdLst>
                    <a:gd name="connsiteX0" fmla="*/ 4 w 231127"/>
                    <a:gd name="connsiteY0" fmla="*/ 488449 h 488475"/>
                    <a:gd name="connsiteX1" fmla="*/ 5242 w 231127"/>
                    <a:gd name="connsiteY1" fmla="*/ 485115 h 488475"/>
                    <a:gd name="connsiteX2" fmla="*/ 20482 w 231127"/>
                    <a:gd name="connsiteY2" fmla="*/ 476162 h 488475"/>
                    <a:gd name="connsiteX3" fmla="*/ 75727 w 231127"/>
                    <a:gd name="connsiteY3" fmla="*/ 441777 h 488475"/>
                    <a:gd name="connsiteX4" fmla="*/ 152880 w 231127"/>
                    <a:gd name="connsiteY4" fmla="*/ 384055 h 488475"/>
                    <a:gd name="connsiteX5" fmla="*/ 192790 w 231127"/>
                    <a:gd name="connsiteY5" fmla="*/ 343860 h 488475"/>
                    <a:gd name="connsiteX6" fmla="*/ 222222 w 231127"/>
                    <a:gd name="connsiteY6" fmla="*/ 291948 h 488475"/>
                    <a:gd name="connsiteX7" fmla="*/ 225079 w 231127"/>
                    <a:gd name="connsiteY7" fmla="*/ 231750 h 488475"/>
                    <a:gd name="connsiteX8" fmla="*/ 219269 w 231127"/>
                    <a:gd name="connsiteY8" fmla="*/ 174981 h 488475"/>
                    <a:gd name="connsiteX9" fmla="*/ 207839 w 231127"/>
                    <a:gd name="connsiteY9" fmla="*/ 79065 h 488475"/>
                    <a:gd name="connsiteX10" fmla="*/ 202791 w 231127"/>
                    <a:gd name="connsiteY10" fmla="*/ 42298 h 488475"/>
                    <a:gd name="connsiteX11" fmla="*/ 193361 w 231127"/>
                    <a:gd name="connsiteY11" fmla="*/ 16485 h 488475"/>
                    <a:gd name="connsiteX12" fmla="*/ 176692 w 231127"/>
                    <a:gd name="connsiteY12" fmla="*/ 7 h 488475"/>
                    <a:gd name="connsiteX13" fmla="*/ 182217 w 231127"/>
                    <a:gd name="connsiteY13" fmla="*/ 2865 h 488475"/>
                    <a:gd name="connsiteX14" fmla="*/ 194980 w 231127"/>
                    <a:gd name="connsiteY14" fmla="*/ 15438 h 488475"/>
                    <a:gd name="connsiteX15" fmla="*/ 205553 w 231127"/>
                    <a:gd name="connsiteY15" fmla="*/ 41727 h 488475"/>
                    <a:gd name="connsiteX16" fmla="*/ 211363 w 231127"/>
                    <a:gd name="connsiteY16" fmla="*/ 78493 h 488475"/>
                    <a:gd name="connsiteX17" fmla="*/ 223936 w 231127"/>
                    <a:gd name="connsiteY17" fmla="*/ 174505 h 488475"/>
                    <a:gd name="connsiteX18" fmla="*/ 230032 w 231127"/>
                    <a:gd name="connsiteY18" fmla="*/ 231369 h 488475"/>
                    <a:gd name="connsiteX19" fmla="*/ 227175 w 231127"/>
                    <a:gd name="connsiteY19" fmla="*/ 293187 h 488475"/>
                    <a:gd name="connsiteX20" fmla="*/ 196695 w 231127"/>
                    <a:gd name="connsiteY20" fmla="*/ 347003 h 488475"/>
                    <a:gd name="connsiteX21" fmla="*/ 156023 w 231127"/>
                    <a:gd name="connsiteY21" fmla="*/ 387579 h 488475"/>
                    <a:gd name="connsiteX22" fmla="*/ 77728 w 231127"/>
                    <a:gd name="connsiteY22" fmla="*/ 444729 h 488475"/>
                    <a:gd name="connsiteX23" fmla="*/ 21530 w 231127"/>
                    <a:gd name="connsiteY23" fmla="*/ 477876 h 488475"/>
                    <a:gd name="connsiteX24" fmla="*/ 5814 w 231127"/>
                    <a:gd name="connsiteY24" fmla="*/ 486068 h 488475"/>
                    <a:gd name="connsiteX25" fmla="*/ 4 w 231127"/>
                    <a:gd name="connsiteY25" fmla="*/ 488449 h 488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31127" h="488475">
                      <a:moveTo>
                        <a:pt x="4" y="488449"/>
                      </a:moveTo>
                      <a:cubicBezTo>
                        <a:pt x="-92" y="488259"/>
                        <a:pt x="1718" y="487211"/>
                        <a:pt x="5242" y="485115"/>
                      </a:cubicBezTo>
                      <a:cubicBezTo>
                        <a:pt x="9148" y="482829"/>
                        <a:pt x="14291" y="479781"/>
                        <a:pt x="20482" y="476162"/>
                      </a:cubicBezTo>
                      <a:cubicBezTo>
                        <a:pt x="33722" y="468351"/>
                        <a:pt x="52867" y="456921"/>
                        <a:pt x="75727" y="441777"/>
                      </a:cubicBezTo>
                      <a:cubicBezTo>
                        <a:pt x="98587" y="426537"/>
                        <a:pt x="125448" y="407772"/>
                        <a:pt x="152880" y="384055"/>
                      </a:cubicBezTo>
                      <a:cubicBezTo>
                        <a:pt x="166310" y="371958"/>
                        <a:pt x="180407" y="359100"/>
                        <a:pt x="192790" y="343860"/>
                      </a:cubicBezTo>
                      <a:cubicBezTo>
                        <a:pt x="205648" y="329096"/>
                        <a:pt x="216602" y="311570"/>
                        <a:pt x="222222" y="291948"/>
                      </a:cubicBezTo>
                      <a:cubicBezTo>
                        <a:pt x="227175" y="271946"/>
                        <a:pt x="226508" y="251372"/>
                        <a:pt x="225079" y="231750"/>
                      </a:cubicBezTo>
                      <a:cubicBezTo>
                        <a:pt x="223365" y="212129"/>
                        <a:pt x="221650" y="192984"/>
                        <a:pt x="219269" y="174981"/>
                      </a:cubicBezTo>
                      <a:cubicBezTo>
                        <a:pt x="214983" y="138977"/>
                        <a:pt x="211078" y="106497"/>
                        <a:pt x="207839" y="79065"/>
                      </a:cubicBezTo>
                      <a:cubicBezTo>
                        <a:pt x="206029" y="65349"/>
                        <a:pt x="204791" y="52966"/>
                        <a:pt x="202791" y="42298"/>
                      </a:cubicBezTo>
                      <a:cubicBezTo>
                        <a:pt x="200695" y="31630"/>
                        <a:pt x="197552" y="22867"/>
                        <a:pt x="193361" y="16485"/>
                      </a:cubicBezTo>
                      <a:cubicBezTo>
                        <a:pt x="184979" y="3722"/>
                        <a:pt x="176216" y="579"/>
                        <a:pt x="176692" y="7"/>
                      </a:cubicBezTo>
                      <a:cubicBezTo>
                        <a:pt x="176788" y="-88"/>
                        <a:pt x="178693" y="769"/>
                        <a:pt x="182217" y="2865"/>
                      </a:cubicBezTo>
                      <a:cubicBezTo>
                        <a:pt x="185551" y="5151"/>
                        <a:pt x="190504" y="8961"/>
                        <a:pt x="194980" y="15438"/>
                      </a:cubicBezTo>
                      <a:cubicBezTo>
                        <a:pt x="199552" y="21819"/>
                        <a:pt x="203172" y="30963"/>
                        <a:pt x="205553" y="41727"/>
                      </a:cubicBezTo>
                      <a:cubicBezTo>
                        <a:pt x="207839" y="52585"/>
                        <a:pt x="209363" y="64968"/>
                        <a:pt x="211363" y="78493"/>
                      </a:cubicBezTo>
                      <a:cubicBezTo>
                        <a:pt x="214983" y="106020"/>
                        <a:pt x="219174" y="138501"/>
                        <a:pt x="223936" y="174505"/>
                      </a:cubicBezTo>
                      <a:cubicBezTo>
                        <a:pt x="226413" y="192603"/>
                        <a:pt x="228223" y="211462"/>
                        <a:pt x="230032" y="231369"/>
                      </a:cubicBezTo>
                      <a:cubicBezTo>
                        <a:pt x="231461" y="251181"/>
                        <a:pt x="232318" y="272136"/>
                        <a:pt x="227175" y="293187"/>
                      </a:cubicBezTo>
                      <a:cubicBezTo>
                        <a:pt x="221269" y="313951"/>
                        <a:pt x="209839" y="332049"/>
                        <a:pt x="196695" y="347003"/>
                      </a:cubicBezTo>
                      <a:cubicBezTo>
                        <a:pt x="184027" y="362529"/>
                        <a:pt x="169739" y="375483"/>
                        <a:pt x="156023" y="387579"/>
                      </a:cubicBezTo>
                      <a:cubicBezTo>
                        <a:pt x="128115" y="411297"/>
                        <a:pt x="100969" y="429870"/>
                        <a:pt x="77728" y="444729"/>
                      </a:cubicBezTo>
                      <a:cubicBezTo>
                        <a:pt x="54487" y="459588"/>
                        <a:pt x="35056" y="470542"/>
                        <a:pt x="21530" y="477876"/>
                      </a:cubicBezTo>
                      <a:cubicBezTo>
                        <a:pt x="14767" y="481496"/>
                        <a:pt x="9433" y="484258"/>
                        <a:pt x="5814" y="486068"/>
                      </a:cubicBezTo>
                      <a:cubicBezTo>
                        <a:pt x="2004" y="487782"/>
                        <a:pt x="4" y="488640"/>
                        <a:pt x="4" y="48844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E545740A-EBF1-8D7F-79E1-B03252922B7E}"/>
                    </a:ext>
                  </a:extLst>
                </p:cNvPr>
                <p:cNvSpPr/>
                <p:nvPr/>
              </p:nvSpPr>
              <p:spPr>
                <a:xfrm>
                  <a:off x="5834004" y="2039227"/>
                  <a:ext cx="34501" cy="151233"/>
                </a:xfrm>
                <a:custGeom>
                  <a:avLst/>
                  <a:gdLst>
                    <a:gd name="connsiteX0" fmla="*/ 7 w 84858"/>
                    <a:gd name="connsiteY0" fmla="*/ 371953 h 371968"/>
                    <a:gd name="connsiteX1" fmla="*/ 10198 w 84858"/>
                    <a:gd name="connsiteY1" fmla="*/ 359951 h 371968"/>
                    <a:gd name="connsiteX2" fmla="*/ 35440 w 84858"/>
                    <a:gd name="connsiteY2" fmla="*/ 325375 h 371968"/>
                    <a:gd name="connsiteX3" fmla="*/ 65444 w 84858"/>
                    <a:gd name="connsiteY3" fmla="*/ 269464 h 371968"/>
                    <a:gd name="connsiteX4" fmla="*/ 72587 w 84858"/>
                    <a:gd name="connsiteY4" fmla="*/ 252509 h 371968"/>
                    <a:gd name="connsiteX5" fmla="*/ 78493 w 84858"/>
                    <a:gd name="connsiteY5" fmla="*/ 234697 h 371968"/>
                    <a:gd name="connsiteX6" fmla="*/ 78588 w 84858"/>
                    <a:gd name="connsiteY6" fmla="*/ 195169 h 371968"/>
                    <a:gd name="connsiteX7" fmla="*/ 64681 w 84858"/>
                    <a:gd name="connsiteY7" fmla="*/ 118588 h 371968"/>
                    <a:gd name="connsiteX8" fmla="*/ 48965 w 84858"/>
                    <a:gd name="connsiteY8" fmla="*/ 56770 h 371968"/>
                    <a:gd name="connsiteX9" fmla="*/ 37440 w 84858"/>
                    <a:gd name="connsiteY9" fmla="*/ 15337 h 371968"/>
                    <a:gd name="connsiteX10" fmla="*/ 33535 w 84858"/>
                    <a:gd name="connsiteY10" fmla="*/ 1 h 371968"/>
                    <a:gd name="connsiteX11" fmla="*/ 39250 w 84858"/>
                    <a:gd name="connsiteY11" fmla="*/ 14765 h 371968"/>
                    <a:gd name="connsiteX12" fmla="*/ 52299 w 84858"/>
                    <a:gd name="connsiteY12" fmla="*/ 55818 h 371968"/>
                    <a:gd name="connsiteX13" fmla="*/ 69063 w 84858"/>
                    <a:gd name="connsiteY13" fmla="*/ 117540 h 371968"/>
                    <a:gd name="connsiteX14" fmla="*/ 83446 w 84858"/>
                    <a:gd name="connsiteY14" fmla="*/ 194597 h 371968"/>
                    <a:gd name="connsiteX15" fmla="*/ 83255 w 84858"/>
                    <a:gd name="connsiteY15" fmla="*/ 235650 h 371968"/>
                    <a:gd name="connsiteX16" fmla="*/ 76969 w 84858"/>
                    <a:gd name="connsiteY16" fmla="*/ 254224 h 371968"/>
                    <a:gd name="connsiteX17" fmla="*/ 69635 w 84858"/>
                    <a:gd name="connsiteY17" fmla="*/ 271273 h 371968"/>
                    <a:gd name="connsiteX18" fmla="*/ 38392 w 84858"/>
                    <a:gd name="connsiteY18" fmla="*/ 327185 h 371968"/>
                    <a:gd name="connsiteX19" fmla="*/ 11627 w 84858"/>
                    <a:gd name="connsiteY19" fmla="*/ 361094 h 371968"/>
                    <a:gd name="connsiteX20" fmla="*/ 7 w 84858"/>
                    <a:gd name="connsiteY20" fmla="*/ 371953 h 371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858" h="371968">
                      <a:moveTo>
                        <a:pt x="7" y="371953"/>
                      </a:moveTo>
                      <a:cubicBezTo>
                        <a:pt x="-184" y="371667"/>
                        <a:pt x="3721" y="367762"/>
                        <a:pt x="10198" y="359951"/>
                      </a:cubicBezTo>
                      <a:cubicBezTo>
                        <a:pt x="16675" y="352236"/>
                        <a:pt x="25629" y="340520"/>
                        <a:pt x="35440" y="325375"/>
                      </a:cubicBezTo>
                      <a:cubicBezTo>
                        <a:pt x="45250" y="310135"/>
                        <a:pt x="55823" y="291371"/>
                        <a:pt x="65444" y="269464"/>
                      </a:cubicBezTo>
                      <a:cubicBezTo>
                        <a:pt x="67729" y="263939"/>
                        <a:pt x="70396" y="258415"/>
                        <a:pt x="72587" y="252509"/>
                      </a:cubicBezTo>
                      <a:cubicBezTo>
                        <a:pt x="74778" y="246699"/>
                        <a:pt x="77540" y="240698"/>
                        <a:pt x="78493" y="234697"/>
                      </a:cubicBezTo>
                      <a:cubicBezTo>
                        <a:pt x="80779" y="222410"/>
                        <a:pt x="80017" y="208789"/>
                        <a:pt x="78588" y="195169"/>
                      </a:cubicBezTo>
                      <a:cubicBezTo>
                        <a:pt x="75540" y="167832"/>
                        <a:pt x="70015" y="141924"/>
                        <a:pt x="64681" y="118588"/>
                      </a:cubicBezTo>
                      <a:cubicBezTo>
                        <a:pt x="59348" y="95251"/>
                        <a:pt x="53728" y="74296"/>
                        <a:pt x="48965" y="56770"/>
                      </a:cubicBezTo>
                      <a:cubicBezTo>
                        <a:pt x="44298" y="39911"/>
                        <a:pt x="40393" y="25909"/>
                        <a:pt x="37440" y="15337"/>
                      </a:cubicBezTo>
                      <a:cubicBezTo>
                        <a:pt x="34678" y="5526"/>
                        <a:pt x="33249" y="97"/>
                        <a:pt x="33535" y="1"/>
                      </a:cubicBezTo>
                      <a:cubicBezTo>
                        <a:pt x="33820" y="-94"/>
                        <a:pt x="35916" y="5145"/>
                        <a:pt x="39250" y="14765"/>
                      </a:cubicBezTo>
                      <a:cubicBezTo>
                        <a:pt x="42583" y="24385"/>
                        <a:pt x="47156" y="38387"/>
                        <a:pt x="52299" y="55818"/>
                      </a:cubicBezTo>
                      <a:cubicBezTo>
                        <a:pt x="57442" y="73249"/>
                        <a:pt x="63443" y="94108"/>
                        <a:pt x="69063" y="117540"/>
                      </a:cubicBezTo>
                      <a:cubicBezTo>
                        <a:pt x="74683" y="140971"/>
                        <a:pt x="80398" y="166879"/>
                        <a:pt x="83446" y="194597"/>
                      </a:cubicBezTo>
                      <a:cubicBezTo>
                        <a:pt x="84970" y="208408"/>
                        <a:pt x="85732" y="222220"/>
                        <a:pt x="83255" y="235650"/>
                      </a:cubicBezTo>
                      <a:cubicBezTo>
                        <a:pt x="82017" y="242603"/>
                        <a:pt x="79350" y="248318"/>
                        <a:pt x="76969" y="254224"/>
                      </a:cubicBezTo>
                      <a:cubicBezTo>
                        <a:pt x="74683" y="260129"/>
                        <a:pt x="72016" y="265749"/>
                        <a:pt x="69635" y="271273"/>
                      </a:cubicBezTo>
                      <a:cubicBezTo>
                        <a:pt x="59633" y="293276"/>
                        <a:pt x="48584" y="312136"/>
                        <a:pt x="38392" y="327185"/>
                      </a:cubicBezTo>
                      <a:cubicBezTo>
                        <a:pt x="28106" y="342330"/>
                        <a:pt x="18676" y="353760"/>
                        <a:pt x="11627" y="361094"/>
                      </a:cubicBezTo>
                      <a:cubicBezTo>
                        <a:pt x="4674" y="368714"/>
                        <a:pt x="197" y="372238"/>
                        <a:pt x="7" y="37195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91A336EA-39B2-9E8C-6942-98B2025EF08D}"/>
                    </a:ext>
                  </a:extLst>
                </p:cNvPr>
                <p:cNvSpPr/>
                <p:nvPr/>
              </p:nvSpPr>
              <p:spPr>
                <a:xfrm>
                  <a:off x="5835478" y="2066220"/>
                  <a:ext cx="38340" cy="122181"/>
                </a:xfrm>
                <a:custGeom>
                  <a:avLst/>
                  <a:gdLst>
                    <a:gd name="connsiteX0" fmla="*/ 49816 w 94300"/>
                    <a:gd name="connsiteY0" fmla="*/ 0 h 300513"/>
                    <a:gd name="connsiteX1" fmla="*/ 93440 w 94300"/>
                    <a:gd name="connsiteY1" fmla="*/ 168878 h 300513"/>
                    <a:gd name="connsiteX2" fmla="*/ 0 w 94300"/>
                    <a:gd name="connsiteY2" fmla="*/ 300514 h 300513"/>
                    <a:gd name="connsiteX3" fmla="*/ 78581 w 94300"/>
                    <a:gd name="connsiteY3" fmla="*/ 157353 h 300513"/>
                    <a:gd name="connsiteX4" fmla="*/ 49816 w 94300"/>
                    <a:gd name="connsiteY4" fmla="*/ 0 h 300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300" h="300513">
                      <a:moveTo>
                        <a:pt x="49816" y="0"/>
                      </a:moveTo>
                      <a:cubicBezTo>
                        <a:pt x="49816" y="0"/>
                        <a:pt x="101537" y="139541"/>
                        <a:pt x="93440" y="168878"/>
                      </a:cubicBezTo>
                      <a:cubicBezTo>
                        <a:pt x="85439" y="198120"/>
                        <a:pt x="55340" y="267271"/>
                        <a:pt x="0" y="300514"/>
                      </a:cubicBezTo>
                      <a:cubicBezTo>
                        <a:pt x="0" y="300514"/>
                        <a:pt x="76676" y="207073"/>
                        <a:pt x="78581" y="157353"/>
                      </a:cubicBezTo>
                      <a:cubicBezTo>
                        <a:pt x="80486" y="108490"/>
                        <a:pt x="49816" y="0"/>
                        <a:pt x="498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21651E5-66A7-19A9-9AC2-9CBA6FEC0C42}"/>
                </a:ext>
              </a:extLst>
            </p:cNvPr>
            <p:cNvGrpSpPr/>
            <p:nvPr/>
          </p:nvGrpSpPr>
          <p:grpSpPr>
            <a:xfrm>
              <a:off x="843776" y="2117162"/>
              <a:ext cx="536181" cy="588869"/>
              <a:chOff x="6061253" y="2348279"/>
              <a:chExt cx="880441" cy="966957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4FBDF7A-E6C2-CAA6-0DA6-4C5EB91D0BB1}"/>
                  </a:ext>
                </a:extLst>
              </p:cNvPr>
              <p:cNvSpPr/>
              <p:nvPr/>
            </p:nvSpPr>
            <p:spPr>
              <a:xfrm>
                <a:off x="6061253" y="2348279"/>
                <a:ext cx="452476" cy="589801"/>
              </a:xfrm>
              <a:custGeom>
                <a:avLst/>
                <a:gdLst>
                  <a:gd name="connsiteX0" fmla="*/ 680656 w 1112900"/>
                  <a:gd name="connsiteY0" fmla="*/ 364617 h 1450657"/>
                  <a:gd name="connsiteX1" fmla="*/ 680656 w 1112900"/>
                  <a:gd name="connsiteY1" fmla="*/ 301085 h 1450657"/>
                  <a:gd name="connsiteX2" fmla="*/ 745998 w 1112900"/>
                  <a:gd name="connsiteY2" fmla="*/ 168211 h 1450657"/>
                  <a:gd name="connsiteX3" fmla="*/ 577787 w 1112900"/>
                  <a:gd name="connsiteY3" fmla="*/ 0 h 1450657"/>
                  <a:gd name="connsiteX4" fmla="*/ 409575 w 1112900"/>
                  <a:gd name="connsiteY4" fmla="*/ 168211 h 1450657"/>
                  <a:gd name="connsiteX5" fmla="*/ 474916 w 1112900"/>
                  <a:gd name="connsiteY5" fmla="*/ 301085 h 1450657"/>
                  <a:gd name="connsiteX6" fmla="*/ 474916 w 1112900"/>
                  <a:gd name="connsiteY6" fmla="*/ 364617 h 1450657"/>
                  <a:gd name="connsiteX7" fmla="*/ 0 w 1112900"/>
                  <a:gd name="connsiteY7" fmla="*/ 364617 h 1450657"/>
                  <a:gd name="connsiteX8" fmla="*/ 0 w 1112900"/>
                  <a:gd name="connsiteY8" fmla="*/ 365665 h 1450657"/>
                  <a:gd name="connsiteX9" fmla="*/ 0 w 1112900"/>
                  <a:gd name="connsiteY9" fmla="*/ 843724 h 1450657"/>
                  <a:gd name="connsiteX10" fmla="*/ 35242 w 1112900"/>
                  <a:gd name="connsiteY10" fmla="*/ 843724 h 1450657"/>
                  <a:gd name="connsiteX11" fmla="*/ 168116 w 1112900"/>
                  <a:gd name="connsiteY11" fmla="*/ 778383 h 1450657"/>
                  <a:gd name="connsiteX12" fmla="*/ 336328 w 1112900"/>
                  <a:gd name="connsiteY12" fmla="*/ 946595 h 1450657"/>
                  <a:gd name="connsiteX13" fmla="*/ 168116 w 1112900"/>
                  <a:gd name="connsiteY13" fmla="*/ 1114806 h 1450657"/>
                  <a:gd name="connsiteX14" fmla="*/ 35242 w 1112900"/>
                  <a:gd name="connsiteY14" fmla="*/ 1049464 h 1450657"/>
                  <a:gd name="connsiteX15" fmla="*/ 0 w 1112900"/>
                  <a:gd name="connsiteY15" fmla="*/ 1049464 h 1450657"/>
                  <a:gd name="connsiteX16" fmla="*/ 0 w 1112900"/>
                  <a:gd name="connsiteY16" fmla="*/ 1450657 h 1450657"/>
                  <a:gd name="connsiteX17" fmla="*/ 1112901 w 1112900"/>
                  <a:gd name="connsiteY17" fmla="*/ 1450657 h 1450657"/>
                  <a:gd name="connsiteX18" fmla="*/ 1112901 w 1112900"/>
                  <a:gd name="connsiteY18" fmla="*/ 364617 h 1450657"/>
                  <a:gd name="connsiteX19" fmla="*/ 680656 w 1112900"/>
                  <a:gd name="connsiteY19" fmla="*/ 364617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12900" h="1450657">
                    <a:moveTo>
                      <a:pt x="680656" y="364617"/>
                    </a:moveTo>
                    <a:lnTo>
                      <a:pt x="680656" y="301085"/>
                    </a:lnTo>
                    <a:cubicBezTo>
                      <a:pt x="720376" y="270319"/>
                      <a:pt x="745998" y="222313"/>
                      <a:pt x="745998" y="168211"/>
                    </a:cubicBezTo>
                    <a:cubicBezTo>
                      <a:pt x="745998" y="75247"/>
                      <a:pt x="670655" y="0"/>
                      <a:pt x="577787" y="0"/>
                    </a:cubicBezTo>
                    <a:cubicBezTo>
                      <a:pt x="484822" y="0"/>
                      <a:pt x="409575" y="75343"/>
                      <a:pt x="409575" y="168211"/>
                    </a:cubicBezTo>
                    <a:cubicBezTo>
                      <a:pt x="409575" y="222313"/>
                      <a:pt x="435197" y="270319"/>
                      <a:pt x="474916" y="301085"/>
                    </a:cubicBezTo>
                    <a:lnTo>
                      <a:pt x="474916" y="364617"/>
                    </a:lnTo>
                    <a:lnTo>
                      <a:pt x="0" y="364617"/>
                    </a:lnTo>
                    <a:lnTo>
                      <a:pt x="0" y="365665"/>
                    </a:lnTo>
                    <a:lnTo>
                      <a:pt x="0" y="843724"/>
                    </a:lnTo>
                    <a:lnTo>
                      <a:pt x="35242" y="843724"/>
                    </a:lnTo>
                    <a:cubicBezTo>
                      <a:pt x="66008" y="804005"/>
                      <a:pt x="114014" y="778383"/>
                      <a:pt x="168116" y="778383"/>
                    </a:cubicBezTo>
                    <a:cubicBezTo>
                      <a:pt x="261080" y="778383"/>
                      <a:pt x="336328" y="853726"/>
                      <a:pt x="336328" y="946595"/>
                    </a:cubicBezTo>
                    <a:cubicBezTo>
                      <a:pt x="336328" y="1039558"/>
                      <a:pt x="260985" y="1114806"/>
                      <a:pt x="168116" y="1114806"/>
                    </a:cubicBezTo>
                    <a:cubicBezTo>
                      <a:pt x="114014" y="1114806"/>
                      <a:pt x="66008" y="1089184"/>
                      <a:pt x="35242" y="1049464"/>
                    </a:cubicBezTo>
                    <a:lnTo>
                      <a:pt x="0" y="1049464"/>
                    </a:lnTo>
                    <a:lnTo>
                      <a:pt x="0" y="1450657"/>
                    </a:lnTo>
                    <a:lnTo>
                      <a:pt x="1112901" y="1450657"/>
                    </a:lnTo>
                    <a:lnTo>
                      <a:pt x="1112901" y="364617"/>
                    </a:lnTo>
                    <a:lnTo>
                      <a:pt x="680656" y="364617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168A90A6-5D30-74EA-1571-53EBB4216F98}"/>
                  </a:ext>
                </a:extLst>
              </p:cNvPr>
              <p:cNvGrpSpPr/>
              <p:nvPr/>
            </p:nvGrpSpPr>
            <p:grpSpPr>
              <a:xfrm>
                <a:off x="6346077" y="2580489"/>
                <a:ext cx="595617" cy="734747"/>
                <a:chOff x="6346077" y="2578108"/>
                <a:chExt cx="595617" cy="734747"/>
              </a:xfrm>
            </p:grpSpPr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013FB340-7358-360A-1B88-CFF3F7C9A6FB}"/>
                    </a:ext>
                  </a:extLst>
                </p:cNvPr>
                <p:cNvSpPr/>
                <p:nvPr/>
              </p:nvSpPr>
              <p:spPr>
                <a:xfrm>
                  <a:off x="6346077" y="2578108"/>
                  <a:ext cx="595617" cy="734747"/>
                </a:xfrm>
                <a:custGeom>
                  <a:avLst/>
                  <a:gdLst>
                    <a:gd name="connsiteX0" fmla="*/ 2495 w 1464963"/>
                    <a:gd name="connsiteY0" fmla="*/ 754745 h 1807162"/>
                    <a:gd name="connsiteX1" fmla="*/ 18211 w 1464963"/>
                    <a:gd name="connsiteY1" fmla="*/ 793036 h 1807162"/>
                    <a:gd name="connsiteX2" fmla="*/ 260051 w 1464963"/>
                    <a:gd name="connsiteY2" fmla="*/ 1003253 h 1807162"/>
                    <a:gd name="connsiteX3" fmla="*/ 633622 w 1464963"/>
                    <a:gd name="connsiteY3" fmla="*/ 1226233 h 1807162"/>
                    <a:gd name="connsiteX4" fmla="*/ 763257 w 1464963"/>
                    <a:gd name="connsiteY4" fmla="*/ 1308148 h 1807162"/>
                    <a:gd name="connsiteX5" fmla="*/ 887939 w 1464963"/>
                    <a:gd name="connsiteY5" fmla="*/ 1807162 h 1807162"/>
                    <a:gd name="connsiteX6" fmla="*/ 1464964 w 1464963"/>
                    <a:gd name="connsiteY6" fmla="*/ 1807162 h 1807162"/>
                    <a:gd name="connsiteX7" fmla="*/ 1085393 w 1464963"/>
                    <a:gd name="connsiteY7" fmla="*/ 1058497 h 1807162"/>
                    <a:gd name="connsiteX8" fmla="*/ 1039673 w 1464963"/>
                    <a:gd name="connsiteY8" fmla="*/ 521002 h 1807162"/>
                    <a:gd name="connsiteX9" fmla="*/ 859936 w 1464963"/>
                    <a:gd name="connsiteY9" fmla="*/ 254587 h 1807162"/>
                    <a:gd name="connsiteX10" fmla="*/ 798404 w 1464963"/>
                    <a:gd name="connsiteY10" fmla="*/ 262684 h 1807162"/>
                    <a:gd name="connsiteX11" fmla="*/ 674103 w 1464963"/>
                    <a:gd name="connsiteY11" fmla="*/ 156670 h 1807162"/>
                    <a:gd name="connsiteX12" fmla="*/ 596379 w 1464963"/>
                    <a:gd name="connsiteY12" fmla="*/ 163433 h 1807162"/>
                    <a:gd name="connsiteX13" fmla="*/ 442169 w 1464963"/>
                    <a:gd name="connsiteY13" fmla="*/ 1889 h 1807162"/>
                    <a:gd name="connsiteX14" fmla="*/ 423595 w 1464963"/>
                    <a:gd name="connsiteY14" fmla="*/ 101235 h 1807162"/>
                    <a:gd name="connsiteX15" fmla="*/ 600665 w 1464963"/>
                    <a:gd name="connsiteY15" fmla="*/ 478901 h 1807162"/>
                    <a:gd name="connsiteX16" fmla="*/ 589426 w 1464963"/>
                    <a:gd name="connsiteY16" fmla="*/ 496903 h 1807162"/>
                    <a:gd name="connsiteX17" fmla="*/ 300151 w 1464963"/>
                    <a:gd name="connsiteY17" fmla="*/ 82375 h 1807162"/>
                    <a:gd name="connsiteX18" fmla="*/ 237286 w 1464963"/>
                    <a:gd name="connsiteY18" fmla="*/ 168100 h 1807162"/>
                    <a:gd name="connsiteX19" fmla="*/ 442931 w 1464963"/>
                    <a:gd name="connsiteY19" fmla="*/ 597106 h 1807162"/>
                    <a:gd name="connsiteX20" fmla="*/ 494938 w 1464963"/>
                    <a:gd name="connsiteY20" fmla="*/ 886952 h 1807162"/>
                    <a:gd name="connsiteX21" fmla="*/ 488937 w 1464963"/>
                    <a:gd name="connsiteY21" fmla="*/ 893429 h 1807162"/>
                    <a:gd name="connsiteX22" fmla="*/ 299770 w 1464963"/>
                    <a:gd name="connsiteY22" fmla="*/ 829993 h 1807162"/>
                    <a:gd name="connsiteX23" fmla="*/ 2495 w 1464963"/>
                    <a:gd name="connsiteY23" fmla="*/ 754745 h 1807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464963" h="1807162">
                      <a:moveTo>
                        <a:pt x="2495" y="754745"/>
                      </a:moveTo>
                      <a:cubicBezTo>
                        <a:pt x="-6744" y="768747"/>
                        <a:pt x="12211" y="787892"/>
                        <a:pt x="18211" y="793036"/>
                      </a:cubicBezTo>
                      <a:cubicBezTo>
                        <a:pt x="60693" y="829231"/>
                        <a:pt x="215284" y="955151"/>
                        <a:pt x="260051" y="1003253"/>
                      </a:cubicBezTo>
                      <a:cubicBezTo>
                        <a:pt x="311486" y="1058497"/>
                        <a:pt x="591712" y="1199563"/>
                        <a:pt x="633622" y="1226233"/>
                      </a:cubicBezTo>
                      <a:cubicBezTo>
                        <a:pt x="675532" y="1252903"/>
                        <a:pt x="721347" y="1249093"/>
                        <a:pt x="763257" y="1308148"/>
                      </a:cubicBezTo>
                      <a:cubicBezTo>
                        <a:pt x="805167" y="1367203"/>
                        <a:pt x="887939" y="1807162"/>
                        <a:pt x="887939" y="1807162"/>
                      </a:cubicBezTo>
                      <a:lnTo>
                        <a:pt x="1464964" y="1807162"/>
                      </a:lnTo>
                      <a:lnTo>
                        <a:pt x="1085393" y="1058497"/>
                      </a:lnTo>
                      <a:cubicBezTo>
                        <a:pt x="1085393" y="1058497"/>
                        <a:pt x="1053008" y="574341"/>
                        <a:pt x="1039673" y="521002"/>
                      </a:cubicBezTo>
                      <a:cubicBezTo>
                        <a:pt x="1026337" y="467662"/>
                        <a:pt x="899941" y="267922"/>
                        <a:pt x="859936" y="254587"/>
                      </a:cubicBezTo>
                      <a:cubicBezTo>
                        <a:pt x="819931" y="241252"/>
                        <a:pt x="798404" y="262684"/>
                        <a:pt x="798404" y="262684"/>
                      </a:cubicBezTo>
                      <a:cubicBezTo>
                        <a:pt x="798404" y="262684"/>
                        <a:pt x="727538" y="164290"/>
                        <a:pt x="674103" y="156670"/>
                      </a:cubicBezTo>
                      <a:cubicBezTo>
                        <a:pt x="620763" y="149050"/>
                        <a:pt x="596379" y="163433"/>
                        <a:pt x="596379" y="163433"/>
                      </a:cubicBezTo>
                      <a:cubicBezTo>
                        <a:pt x="596379" y="163433"/>
                        <a:pt x="500653" y="-20495"/>
                        <a:pt x="442169" y="1889"/>
                      </a:cubicBezTo>
                      <a:cubicBezTo>
                        <a:pt x="401783" y="17320"/>
                        <a:pt x="398164" y="45323"/>
                        <a:pt x="423595" y="101235"/>
                      </a:cubicBezTo>
                      <a:cubicBezTo>
                        <a:pt x="442645" y="143050"/>
                        <a:pt x="557612" y="372793"/>
                        <a:pt x="600665" y="478901"/>
                      </a:cubicBezTo>
                      <a:cubicBezTo>
                        <a:pt x="616191" y="517096"/>
                        <a:pt x="589426" y="496903"/>
                        <a:pt x="589426" y="496903"/>
                      </a:cubicBezTo>
                      <a:cubicBezTo>
                        <a:pt x="589426" y="496903"/>
                        <a:pt x="356349" y="106188"/>
                        <a:pt x="300151" y="82375"/>
                      </a:cubicBezTo>
                      <a:cubicBezTo>
                        <a:pt x="254241" y="62944"/>
                        <a:pt x="202901" y="103330"/>
                        <a:pt x="237286" y="168100"/>
                      </a:cubicBezTo>
                      <a:cubicBezTo>
                        <a:pt x="271576" y="232870"/>
                        <a:pt x="442931" y="597106"/>
                        <a:pt x="442931" y="597106"/>
                      </a:cubicBezTo>
                      <a:cubicBezTo>
                        <a:pt x="471697" y="687118"/>
                        <a:pt x="487889" y="800370"/>
                        <a:pt x="494938" y="886952"/>
                      </a:cubicBezTo>
                      <a:cubicBezTo>
                        <a:pt x="495700" y="890572"/>
                        <a:pt x="492652" y="893905"/>
                        <a:pt x="488937" y="893429"/>
                      </a:cubicBezTo>
                      <a:cubicBezTo>
                        <a:pt x="460457" y="889429"/>
                        <a:pt x="348729" y="865807"/>
                        <a:pt x="299770" y="829993"/>
                      </a:cubicBezTo>
                      <a:cubicBezTo>
                        <a:pt x="244716" y="789797"/>
                        <a:pt x="69170" y="653875"/>
                        <a:pt x="2495" y="75474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3C89E12D-1D1C-A98E-16FF-2DBA9152FD18}"/>
                    </a:ext>
                  </a:extLst>
                </p:cNvPr>
                <p:cNvSpPr/>
                <p:nvPr/>
              </p:nvSpPr>
              <p:spPr>
                <a:xfrm>
                  <a:off x="6576188" y="2623370"/>
                  <a:ext cx="79408" cy="153939"/>
                </a:xfrm>
                <a:custGeom>
                  <a:avLst/>
                  <a:gdLst>
                    <a:gd name="connsiteX0" fmla="*/ 21 w 195309"/>
                    <a:gd name="connsiteY0" fmla="*/ 5 h 378625"/>
                    <a:gd name="connsiteX1" fmla="*/ 8974 w 195309"/>
                    <a:gd name="connsiteY1" fmla="*/ 14198 h 378625"/>
                    <a:gd name="connsiteX2" fmla="*/ 31930 w 195309"/>
                    <a:gd name="connsiteY2" fmla="*/ 53726 h 378625"/>
                    <a:gd name="connsiteX3" fmla="*/ 104986 w 195309"/>
                    <a:gd name="connsiteY3" fmla="*/ 185552 h 378625"/>
                    <a:gd name="connsiteX4" fmla="*/ 171471 w 195309"/>
                    <a:gd name="connsiteY4" fmla="*/ 320902 h 378625"/>
                    <a:gd name="connsiteX5" fmla="*/ 189473 w 195309"/>
                    <a:gd name="connsiteY5" fmla="*/ 362908 h 378625"/>
                    <a:gd name="connsiteX6" fmla="*/ 195283 w 195309"/>
                    <a:gd name="connsiteY6" fmla="*/ 378624 h 378625"/>
                    <a:gd name="connsiteX7" fmla="*/ 187663 w 195309"/>
                    <a:gd name="connsiteY7" fmla="*/ 363670 h 378625"/>
                    <a:gd name="connsiteX8" fmla="*/ 168232 w 195309"/>
                    <a:gd name="connsiteY8" fmla="*/ 322331 h 378625"/>
                    <a:gd name="connsiteX9" fmla="*/ 100605 w 195309"/>
                    <a:gd name="connsiteY9" fmla="*/ 187838 h 378625"/>
                    <a:gd name="connsiteX10" fmla="*/ 28882 w 195309"/>
                    <a:gd name="connsiteY10" fmla="*/ 55441 h 378625"/>
                    <a:gd name="connsiteX11" fmla="*/ 7355 w 195309"/>
                    <a:gd name="connsiteY11" fmla="*/ 15150 h 378625"/>
                    <a:gd name="connsiteX12" fmla="*/ 21 w 195309"/>
                    <a:gd name="connsiteY12" fmla="*/ 5 h 37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5309" h="378625">
                      <a:moveTo>
                        <a:pt x="21" y="5"/>
                      </a:moveTo>
                      <a:cubicBezTo>
                        <a:pt x="307" y="-185"/>
                        <a:pt x="3545" y="4863"/>
                        <a:pt x="8974" y="14198"/>
                      </a:cubicBezTo>
                      <a:cubicBezTo>
                        <a:pt x="14784" y="24199"/>
                        <a:pt x="22500" y="37534"/>
                        <a:pt x="31930" y="53726"/>
                      </a:cubicBezTo>
                      <a:cubicBezTo>
                        <a:pt x="51075" y="87159"/>
                        <a:pt x="77364" y="133546"/>
                        <a:pt x="104986" y="185552"/>
                      </a:cubicBezTo>
                      <a:cubicBezTo>
                        <a:pt x="132609" y="237559"/>
                        <a:pt x="155755" y="285660"/>
                        <a:pt x="171471" y="320902"/>
                      </a:cubicBezTo>
                      <a:cubicBezTo>
                        <a:pt x="179281" y="338524"/>
                        <a:pt x="185473" y="352906"/>
                        <a:pt x="189473" y="362908"/>
                      </a:cubicBezTo>
                      <a:cubicBezTo>
                        <a:pt x="193474" y="372909"/>
                        <a:pt x="195569" y="378529"/>
                        <a:pt x="195283" y="378624"/>
                      </a:cubicBezTo>
                      <a:cubicBezTo>
                        <a:pt x="194998" y="378719"/>
                        <a:pt x="192331" y="373385"/>
                        <a:pt x="187663" y="363670"/>
                      </a:cubicBezTo>
                      <a:cubicBezTo>
                        <a:pt x="182710" y="353192"/>
                        <a:pt x="176233" y="339286"/>
                        <a:pt x="168232" y="322331"/>
                      </a:cubicBezTo>
                      <a:cubicBezTo>
                        <a:pt x="151754" y="287470"/>
                        <a:pt x="128132" y="239845"/>
                        <a:pt x="100605" y="187838"/>
                      </a:cubicBezTo>
                      <a:cubicBezTo>
                        <a:pt x="73077" y="135927"/>
                        <a:pt x="47265" y="89350"/>
                        <a:pt x="28882" y="55441"/>
                      </a:cubicBezTo>
                      <a:cubicBezTo>
                        <a:pt x="20023" y="38962"/>
                        <a:pt x="12784" y="25437"/>
                        <a:pt x="7355" y="15150"/>
                      </a:cubicBezTo>
                      <a:cubicBezTo>
                        <a:pt x="2402" y="5530"/>
                        <a:pt x="-265" y="196"/>
                        <a:pt x="21" y="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927A901A-010B-512F-2172-0305B34E4AF5}"/>
                    </a:ext>
                  </a:extLst>
                </p:cNvPr>
                <p:cNvSpPr/>
                <p:nvPr/>
              </p:nvSpPr>
              <p:spPr>
                <a:xfrm>
                  <a:off x="6663939" y="2679096"/>
                  <a:ext cx="52475" cy="93761"/>
                </a:xfrm>
                <a:custGeom>
                  <a:avLst/>
                  <a:gdLst>
                    <a:gd name="connsiteX0" fmla="*/ 26 w 129066"/>
                    <a:gd name="connsiteY0" fmla="*/ 10 h 230611"/>
                    <a:gd name="connsiteX1" fmla="*/ 7170 w 129066"/>
                    <a:gd name="connsiteY1" fmla="*/ 7629 h 230611"/>
                    <a:gd name="connsiteX2" fmla="*/ 24981 w 129066"/>
                    <a:gd name="connsiteY2" fmla="*/ 29823 h 230611"/>
                    <a:gd name="connsiteX3" fmla="*/ 76226 w 129066"/>
                    <a:gd name="connsiteY3" fmla="*/ 108690 h 230611"/>
                    <a:gd name="connsiteX4" fmla="*/ 115755 w 129066"/>
                    <a:gd name="connsiteY4" fmla="*/ 194034 h 230611"/>
                    <a:gd name="connsiteX5" fmla="*/ 125946 w 129066"/>
                    <a:gd name="connsiteY5" fmla="*/ 220608 h 230611"/>
                    <a:gd name="connsiteX6" fmla="*/ 128994 w 129066"/>
                    <a:gd name="connsiteY6" fmla="*/ 230610 h 230611"/>
                    <a:gd name="connsiteX7" fmla="*/ 124137 w 129066"/>
                    <a:gd name="connsiteY7" fmla="*/ 221370 h 230611"/>
                    <a:gd name="connsiteX8" fmla="*/ 112421 w 129066"/>
                    <a:gd name="connsiteY8" fmla="*/ 195462 h 230611"/>
                    <a:gd name="connsiteX9" fmla="*/ 71844 w 129066"/>
                    <a:gd name="connsiteY9" fmla="*/ 111071 h 230611"/>
                    <a:gd name="connsiteX10" fmla="*/ 22124 w 129066"/>
                    <a:gd name="connsiteY10" fmla="*/ 31918 h 230611"/>
                    <a:gd name="connsiteX11" fmla="*/ 5550 w 129066"/>
                    <a:gd name="connsiteY11" fmla="*/ 8772 h 230611"/>
                    <a:gd name="connsiteX12" fmla="*/ 26 w 129066"/>
                    <a:gd name="connsiteY12" fmla="*/ 10 h 230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9066" h="230611">
                      <a:moveTo>
                        <a:pt x="26" y="10"/>
                      </a:moveTo>
                      <a:cubicBezTo>
                        <a:pt x="312" y="-181"/>
                        <a:pt x="2883" y="2486"/>
                        <a:pt x="7170" y="7629"/>
                      </a:cubicBezTo>
                      <a:cubicBezTo>
                        <a:pt x="11551" y="12678"/>
                        <a:pt x="17647" y="20298"/>
                        <a:pt x="24981" y="29823"/>
                      </a:cubicBezTo>
                      <a:cubicBezTo>
                        <a:pt x="39555" y="48968"/>
                        <a:pt x="58700" y="76400"/>
                        <a:pt x="76226" y="108690"/>
                      </a:cubicBezTo>
                      <a:cubicBezTo>
                        <a:pt x="93752" y="141075"/>
                        <a:pt x="106706" y="171840"/>
                        <a:pt x="115755" y="194034"/>
                      </a:cubicBezTo>
                      <a:cubicBezTo>
                        <a:pt x="120231" y="205178"/>
                        <a:pt x="123756" y="214322"/>
                        <a:pt x="125946" y="220608"/>
                      </a:cubicBezTo>
                      <a:cubicBezTo>
                        <a:pt x="128232" y="226895"/>
                        <a:pt x="129375" y="230514"/>
                        <a:pt x="128994" y="230610"/>
                      </a:cubicBezTo>
                      <a:cubicBezTo>
                        <a:pt x="128708" y="230705"/>
                        <a:pt x="126994" y="227466"/>
                        <a:pt x="124137" y="221370"/>
                      </a:cubicBezTo>
                      <a:cubicBezTo>
                        <a:pt x="120898" y="214227"/>
                        <a:pt x="117088" y="205559"/>
                        <a:pt x="112421" y="195462"/>
                      </a:cubicBezTo>
                      <a:cubicBezTo>
                        <a:pt x="102610" y="173555"/>
                        <a:pt x="89180" y="143265"/>
                        <a:pt x="71844" y="111071"/>
                      </a:cubicBezTo>
                      <a:cubicBezTo>
                        <a:pt x="54414" y="78972"/>
                        <a:pt x="35935" y="51445"/>
                        <a:pt x="22124" y="31918"/>
                      </a:cubicBezTo>
                      <a:cubicBezTo>
                        <a:pt x="15647" y="22870"/>
                        <a:pt x="10122" y="15154"/>
                        <a:pt x="5550" y="8772"/>
                      </a:cubicBezTo>
                      <a:cubicBezTo>
                        <a:pt x="1836" y="3438"/>
                        <a:pt x="-260" y="295"/>
                        <a:pt x="26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1E255F-4DD0-13D8-93DE-9F8577A05B8F}"/>
                </a:ext>
              </a:extLst>
            </p:cNvPr>
            <p:cNvGrpSpPr/>
            <p:nvPr/>
          </p:nvGrpSpPr>
          <p:grpSpPr>
            <a:xfrm>
              <a:off x="956162" y="1753808"/>
              <a:ext cx="684973" cy="426799"/>
              <a:chOff x="5907860" y="1720676"/>
              <a:chExt cx="1124765" cy="700830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F0DA413-EDD2-38B5-8671-6646C7DB7AD0}"/>
                  </a:ext>
                </a:extLst>
              </p:cNvPr>
              <p:cNvSpPr/>
              <p:nvPr/>
            </p:nvSpPr>
            <p:spPr>
              <a:xfrm>
                <a:off x="5907860" y="1979949"/>
                <a:ext cx="601612" cy="441557"/>
              </a:xfrm>
              <a:custGeom>
                <a:avLst/>
                <a:gdLst>
                  <a:gd name="connsiteX0" fmla="*/ 366808 w 1479708"/>
                  <a:gd name="connsiteY0" fmla="*/ 0 h 1086040"/>
                  <a:gd name="connsiteX1" fmla="*/ 366808 w 1479708"/>
                  <a:gd name="connsiteY1" fmla="*/ 435483 h 1086040"/>
                  <a:gd name="connsiteX2" fmla="*/ 301085 w 1479708"/>
                  <a:gd name="connsiteY2" fmla="*/ 435483 h 1086040"/>
                  <a:gd name="connsiteX3" fmla="*/ 168212 w 1479708"/>
                  <a:gd name="connsiteY3" fmla="*/ 370141 h 1086040"/>
                  <a:gd name="connsiteX4" fmla="*/ 0 w 1479708"/>
                  <a:gd name="connsiteY4" fmla="*/ 538353 h 1086040"/>
                  <a:gd name="connsiteX5" fmla="*/ 168212 w 1479708"/>
                  <a:gd name="connsiteY5" fmla="*/ 706565 h 1086040"/>
                  <a:gd name="connsiteX6" fmla="*/ 301085 w 1479708"/>
                  <a:gd name="connsiteY6" fmla="*/ 641223 h 1086040"/>
                  <a:gd name="connsiteX7" fmla="*/ 366808 w 1479708"/>
                  <a:gd name="connsiteY7" fmla="*/ 641223 h 1086040"/>
                  <a:gd name="connsiteX8" fmla="*/ 366808 w 1479708"/>
                  <a:gd name="connsiteY8" fmla="*/ 1086041 h 1086040"/>
                  <a:gd name="connsiteX9" fmla="*/ 841724 w 1479708"/>
                  <a:gd name="connsiteY9" fmla="*/ 1086041 h 1086040"/>
                  <a:gd name="connsiteX10" fmla="*/ 841724 w 1479708"/>
                  <a:gd name="connsiteY10" fmla="*/ 1024604 h 1086040"/>
                  <a:gd name="connsiteX11" fmla="*/ 776383 w 1479708"/>
                  <a:gd name="connsiteY11" fmla="*/ 891731 h 1086040"/>
                  <a:gd name="connsiteX12" fmla="*/ 944594 w 1479708"/>
                  <a:gd name="connsiteY12" fmla="*/ 723519 h 1086040"/>
                  <a:gd name="connsiteX13" fmla="*/ 1112806 w 1479708"/>
                  <a:gd name="connsiteY13" fmla="*/ 891731 h 1086040"/>
                  <a:gd name="connsiteX14" fmla="*/ 1047464 w 1479708"/>
                  <a:gd name="connsiteY14" fmla="*/ 1024604 h 1086040"/>
                  <a:gd name="connsiteX15" fmla="*/ 1047464 w 1479708"/>
                  <a:gd name="connsiteY15" fmla="*/ 1086041 h 1086040"/>
                  <a:gd name="connsiteX16" fmla="*/ 1479709 w 1479708"/>
                  <a:gd name="connsiteY16" fmla="*/ 1086041 h 1086040"/>
                  <a:gd name="connsiteX17" fmla="*/ 1479709 w 1479708"/>
                  <a:gd name="connsiteY17" fmla="*/ 0 h 1086040"/>
                  <a:gd name="connsiteX18" fmla="*/ 366808 w 1479708"/>
                  <a:gd name="connsiteY18" fmla="*/ 0 h 10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79708" h="1086040">
                    <a:moveTo>
                      <a:pt x="366808" y="0"/>
                    </a:moveTo>
                    <a:lnTo>
                      <a:pt x="366808" y="435483"/>
                    </a:lnTo>
                    <a:lnTo>
                      <a:pt x="301085" y="435483"/>
                    </a:lnTo>
                    <a:cubicBezTo>
                      <a:pt x="270320" y="395764"/>
                      <a:pt x="222313" y="370141"/>
                      <a:pt x="168212" y="370141"/>
                    </a:cubicBezTo>
                    <a:cubicBezTo>
                      <a:pt x="75247" y="370141"/>
                      <a:pt x="0" y="445484"/>
                      <a:pt x="0" y="538353"/>
                    </a:cubicBezTo>
                    <a:cubicBezTo>
                      <a:pt x="0" y="631317"/>
                      <a:pt x="75343" y="706565"/>
                      <a:pt x="168212" y="706565"/>
                    </a:cubicBezTo>
                    <a:cubicBezTo>
                      <a:pt x="222313" y="706565"/>
                      <a:pt x="270320" y="680942"/>
                      <a:pt x="301085" y="641223"/>
                    </a:cubicBezTo>
                    <a:lnTo>
                      <a:pt x="366808" y="641223"/>
                    </a:lnTo>
                    <a:lnTo>
                      <a:pt x="366808" y="1086041"/>
                    </a:lnTo>
                    <a:lnTo>
                      <a:pt x="841724" y="1086041"/>
                    </a:lnTo>
                    <a:lnTo>
                      <a:pt x="841724" y="1024604"/>
                    </a:lnTo>
                    <a:cubicBezTo>
                      <a:pt x="802005" y="993839"/>
                      <a:pt x="776383" y="945832"/>
                      <a:pt x="776383" y="891731"/>
                    </a:cubicBezTo>
                    <a:cubicBezTo>
                      <a:pt x="776383" y="798766"/>
                      <a:pt x="851726" y="723519"/>
                      <a:pt x="944594" y="723519"/>
                    </a:cubicBezTo>
                    <a:cubicBezTo>
                      <a:pt x="1037558" y="723519"/>
                      <a:pt x="1112806" y="798862"/>
                      <a:pt x="1112806" y="891731"/>
                    </a:cubicBezTo>
                    <a:cubicBezTo>
                      <a:pt x="1112806" y="945832"/>
                      <a:pt x="1087184" y="993839"/>
                      <a:pt x="1047464" y="1024604"/>
                    </a:cubicBezTo>
                    <a:lnTo>
                      <a:pt x="1047464" y="1086041"/>
                    </a:lnTo>
                    <a:lnTo>
                      <a:pt x="1479709" y="1086041"/>
                    </a:lnTo>
                    <a:lnTo>
                      <a:pt x="1479709" y="0"/>
                    </a:lnTo>
                    <a:lnTo>
                      <a:pt x="366808" y="0"/>
                    </a:lnTo>
                    <a:close/>
                  </a:path>
                </a:pathLst>
              </a:custGeom>
              <a:solidFill>
                <a:srgbClr val="E1EBE5"/>
              </a:solidFill>
              <a:ln w="63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3B19B2E5-3F74-E610-D614-479F7EE2D8CE}"/>
                  </a:ext>
                </a:extLst>
              </p:cNvPr>
              <p:cNvGrpSpPr/>
              <p:nvPr/>
            </p:nvGrpSpPr>
            <p:grpSpPr>
              <a:xfrm>
                <a:off x="6219684" y="1720676"/>
                <a:ext cx="812941" cy="467929"/>
                <a:chOff x="6219684" y="1720676"/>
                <a:chExt cx="812941" cy="467929"/>
              </a:xfrm>
            </p:grpSpPr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CB9A95F-9EC7-A7AA-FE70-83FD7A60B316}"/>
                    </a:ext>
                  </a:extLst>
                </p:cNvPr>
                <p:cNvSpPr/>
                <p:nvPr/>
              </p:nvSpPr>
              <p:spPr>
                <a:xfrm>
                  <a:off x="6219684" y="1720676"/>
                  <a:ext cx="812941" cy="467929"/>
                </a:xfrm>
                <a:custGeom>
                  <a:avLst/>
                  <a:gdLst>
                    <a:gd name="connsiteX0" fmla="*/ 1742789 w 1999487"/>
                    <a:gd name="connsiteY0" fmla="*/ 0 h 1150904"/>
                    <a:gd name="connsiteX1" fmla="*/ 1253681 w 1999487"/>
                    <a:gd name="connsiteY1" fmla="*/ 394621 h 1150904"/>
                    <a:gd name="connsiteX2" fmla="*/ 1112806 w 1999487"/>
                    <a:gd name="connsiteY2" fmla="*/ 435864 h 1150904"/>
                    <a:gd name="connsiteX3" fmla="*/ 1112806 w 1999487"/>
                    <a:gd name="connsiteY3" fmla="*/ 435864 h 1150904"/>
                    <a:gd name="connsiteX4" fmla="*/ 797338 w 1999487"/>
                    <a:gd name="connsiteY4" fmla="*/ 340233 h 1150904"/>
                    <a:gd name="connsiteX5" fmla="*/ 368046 w 1999487"/>
                    <a:gd name="connsiteY5" fmla="*/ 310134 h 1150904"/>
                    <a:gd name="connsiteX6" fmla="*/ 149447 w 1999487"/>
                    <a:gd name="connsiteY6" fmla="*/ 403003 h 1150904"/>
                    <a:gd name="connsiteX7" fmla="*/ 0 w 1999487"/>
                    <a:gd name="connsiteY7" fmla="*/ 632936 h 1150904"/>
                    <a:gd name="connsiteX8" fmla="*/ 260318 w 1999487"/>
                    <a:gd name="connsiteY8" fmla="*/ 632936 h 1150904"/>
                    <a:gd name="connsiteX9" fmla="*/ 397002 w 1999487"/>
                    <a:gd name="connsiteY9" fmla="*/ 572262 h 1150904"/>
                    <a:gd name="connsiteX10" fmla="*/ 707803 w 1999487"/>
                    <a:gd name="connsiteY10" fmla="*/ 660368 h 1150904"/>
                    <a:gd name="connsiteX11" fmla="*/ 529971 w 1999487"/>
                    <a:gd name="connsiteY11" fmla="*/ 913352 h 1150904"/>
                    <a:gd name="connsiteX12" fmla="*/ 449104 w 1999487"/>
                    <a:gd name="connsiteY12" fmla="*/ 1142714 h 1150904"/>
                    <a:gd name="connsiteX13" fmla="*/ 639509 w 1999487"/>
                    <a:gd name="connsiteY13" fmla="*/ 1016699 h 1150904"/>
                    <a:gd name="connsiteX14" fmla="*/ 868680 w 1999487"/>
                    <a:gd name="connsiteY14" fmla="*/ 946785 h 1150904"/>
                    <a:gd name="connsiteX15" fmla="*/ 1319689 w 1999487"/>
                    <a:gd name="connsiteY15" fmla="*/ 769239 h 1150904"/>
                    <a:gd name="connsiteX16" fmla="*/ 1999488 w 1999487"/>
                    <a:gd name="connsiteY16" fmla="*/ 468344 h 1150904"/>
                    <a:gd name="connsiteX17" fmla="*/ 1742789 w 1999487"/>
                    <a:gd name="connsiteY17" fmla="*/ 0 h 1150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99487" h="1150904">
                      <a:moveTo>
                        <a:pt x="1742789" y="0"/>
                      </a:moveTo>
                      <a:lnTo>
                        <a:pt x="1253681" y="394621"/>
                      </a:lnTo>
                      <a:cubicBezTo>
                        <a:pt x="1213866" y="426053"/>
                        <a:pt x="1163384" y="440817"/>
                        <a:pt x="1112806" y="435864"/>
                      </a:cubicBezTo>
                      <a:lnTo>
                        <a:pt x="1112806" y="435864"/>
                      </a:lnTo>
                      <a:lnTo>
                        <a:pt x="797338" y="340233"/>
                      </a:lnTo>
                      <a:lnTo>
                        <a:pt x="368046" y="310134"/>
                      </a:lnTo>
                      <a:cubicBezTo>
                        <a:pt x="368046" y="310134"/>
                        <a:pt x="160496" y="388525"/>
                        <a:pt x="149447" y="403003"/>
                      </a:cubicBezTo>
                      <a:cubicBezTo>
                        <a:pt x="138398" y="417481"/>
                        <a:pt x="0" y="632936"/>
                        <a:pt x="0" y="632936"/>
                      </a:cubicBezTo>
                      <a:lnTo>
                        <a:pt x="260318" y="632936"/>
                      </a:lnTo>
                      <a:cubicBezTo>
                        <a:pt x="260318" y="632936"/>
                        <a:pt x="381667" y="576644"/>
                        <a:pt x="397002" y="572262"/>
                      </a:cubicBezTo>
                      <a:cubicBezTo>
                        <a:pt x="412337" y="567881"/>
                        <a:pt x="674560" y="623030"/>
                        <a:pt x="707803" y="660368"/>
                      </a:cubicBezTo>
                      <a:cubicBezTo>
                        <a:pt x="741140" y="697706"/>
                        <a:pt x="653606" y="803243"/>
                        <a:pt x="529971" y="913352"/>
                      </a:cubicBezTo>
                      <a:cubicBezTo>
                        <a:pt x="406336" y="1023461"/>
                        <a:pt x="395002" y="1103090"/>
                        <a:pt x="449104" y="1142714"/>
                      </a:cubicBezTo>
                      <a:cubicBezTo>
                        <a:pt x="506635" y="1184815"/>
                        <a:pt x="592169" y="1052703"/>
                        <a:pt x="639509" y="1016699"/>
                      </a:cubicBezTo>
                      <a:cubicBezTo>
                        <a:pt x="686848" y="980694"/>
                        <a:pt x="703326" y="1001173"/>
                        <a:pt x="868680" y="946785"/>
                      </a:cubicBezTo>
                      <a:cubicBezTo>
                        <a:pt x="1034034" y="892397"/>
                        <a:pt x="1319689" y="769239"/>
                        <a:pt x="1319689" y="769239"/>
                      </a:cubicBezTo>
                      <a:lnTo>
                        <a:pt x="1999488" y="468344"/>
                      </a:lnTo>
                      <a:lnTo>
                        <a:pt x="1742789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7BAB0B02-4218-8760-16F7-A633E9A3862F}"/>
                    </a:ext>
                  </a:extLst>
                </p:cNvPr>
                <p:cNvSpPr/>
                <p:nvPr/>
              </p:nvSpPr>
              <p:spPr>
                <a:xfrm>
                  <a:off x="6246319" y="1877595"/>
                  <a:ext cx="238872" cy="100844"/>
                </a:xfrm>
                <a:custGeom>
                  <a:avLst/>
                  <a:gdLst>
                    <a:gd name="connsiteX0" fmla="*/ 20 w 587522"/>
                    <a:gd name="connsiteY0" fmla="*/ 248031 h 248034"/>
                    <a:gd name="connsiteX1" fmla="*/ 3164 w 587522"/>
                    <a:gd name="connsiteY1" fmla="*/ 241840 h 248034"/>
                    <a:gd name="connsiteX2" fmla="*/ 13070 w 587522"/>
                    <a:gd name="connsiteY2" fmla="*/ 224409 h 248034"/>
                    <a:gd name="connsiteX3" fmla="*/ 50217 w 587522"/>
                    <a:gd name="connsiteY3" fmla="*/ 160973 h 248034"/>
                    <a:gd name="connsiteX4" fmla="*/ 63743 w 587522"/>
                    <a:gd name="connsiteY4" fmla="*/ 140398 h 248034"/>
                    <a:gd name="connsiteX5" fmla="*/ 84412 w 587522"/>
                    <a:gd name="connsiteY5" fmla="*/ 123158 h 248034"/>
                    <a:gd name="connsiteX6" fmla="*/ 133561 w 587522"/>
                    <a:gd name="connsiteY6" fmla="*/ 91821 h 248034"/>
                    <a:gd name="connsiteX7" fmla="*/ 246337 w 587522"/>
                    <a:gd name="connsiteY7" fmla="*/ 20193 h 248034"/>
                    <a:gd name="connsiteX8" fmla="*/ 262815 w 587522"/>
                    <a:gd name="connsiteY8" fmla="*/ 9715 h 248034"/>
                    <a:gd name="connsiteX9" fmla="*/ 263387 w 587522"/>
                    <a:gd name="connsiteY9" fmla="*/ 9334 h 248034"/>
                    <a:gd name="connsiteX10" fmla="*/ 264054 w 587522"/>
                    <a:gd name="connsiteY10" fmla="*/ 9334 h 248034"/>
                    <a:gd name="connsiteX11" fmla="*/ 493511 w 587522"/>
                    <a:gd name="connsiteY11" fmla="*/ 1905 h 248034"/>
                    <a:gd name="connsiteX12" fmla="*/ 562377 w 587522"/>
                    <a:gd name="connsiteY12" fmla="*/ 190 h 248034"/>
                    <a:gd name="connsiteX13" fmla="*/ 581046 w 587522"/>
                    <a:gd name="connsiteY13" fmla="*/ 0 h 248034"/>
                    <a:gd name="connsiteX14" fmla="*/ 587522 w 587522"/>
                    <a:gd name="connsiteY14" fmla="*/ 286 h 248034"/>
                    <a:gd name="connsiteX15" fmla="*/ 581046 w 587522"/>
                    <a:gd name="connsiteY15" fmla="*/ 952 h 248034"/>
                    <a:gd name="connsiteX16" fmla="*/ 562377 w 587522"/>
                    <a:gd name="connsiteY16" fmla="*/ 2096 h 248034"/>
                    <a:gd name="connsiteX17" fmla="*/ 493511 w 587522"/>
                    <a:gd name="connsiteY17" fmla="*/ 5334 h 248034"/>
                    <a:gd name="connsiteX18" fmla="*/ 264149 w 587522"/>
                    <a:gd name="connsiteY18" fmla="*/ 14288 h 248034"/>
                    <a:gd name="connsiteX19" fmla="*/ 265387 w 587522"/>
                    <a:gd name="connsiteY19" fmla="*/ 13906 h 248034"/>
                    <a:gd name="connsiteX20" fmla="*/ 248909 w 587522"/>
                    <a:gd name="connsiteY20" fmla="*/ 24384 h 248034"/>
                    <a:gd name="connsiteX21" fmla="*/ 135942 w 587522"/>
                    <a:gd name="connsiteY21" fmla="*/ 95631 h 248034"/>
                    <a:gd name="connsiteX22" fmla="*/ 53170 w 587522"/>
                    <a:gd name="connsiteY22" fmla="*/ 162782 h 248034"/>
                    <a:gd name="connsiteX23" fmla="*/ 14689 w 587522"/>
                    <a:gd name="connsiteY23" fmla="*/ 225457 h 248034"/>
                    <a:gd name="connsiteX24" fmla="*/ 4021 w 587522"/>
                    <a:gd name="connsiteY24" fmla="*/ 242316 h 248034"/>
                    <a:gd name="connsiteX25" fmla="*/ 20 w 587522"/>
                    <a:gd name="connsiteY25" fmla="*/ 248031 h 248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87522" h="248034">
                      <a:moveTo>
                        <a:pt x="20" y="248031"/>
                      </a:moveTo>
                      <a:cubicBezTo>
                        <a:pt x="-170" y="247936"/>
                        <a:pt x="973" y="245840"/>
                        <a:pt x="3164" y="241840"/>
                      </a:cubicBezTo>
                      <a:cubicBezTo>
                        <a:pt x="5640" y="237458"/>
                        <a:pt x="8974" y="231648"/>
                        <a:pt x="13070" y="224409"/>
                      </a:cubicBezTo>
                      <a:cubicBezTo>
                        <a:pt x="22119" y="208978"/>
                        <a:pt x="34787" y="187357"/>
                        <a:pt x="50217" y="160973"/>
                      </a:cubicBezTo>
                      <a:cubicBezTo>
                        <a:pt x="54218" y="154400"/>
                        <a:pt x="58028" y="146971"/>
                        <a:pt x="63743" y="140398"/>
                      </a:cubicBezTo>
                      <a:cubicBezTo>
                        <a:pt x="69362" y="133826"/>
                        <a:pt x="76506" y="127921"/>
                        <a:pt x="84412" y="123158"/>
                      </a:cubicBezTo>
                      <a:cubicBezTo>
                        <a:pt x="99843" y="113348"/>
                        <a:pt x="116226" y="102870"/>
                        <a:pt x="133561" y="91821"/>
                      </a:cubicBezTo>
                      <a:cubicBezTo>
                        <a:pt x="168232" y="69818"/>
                        <a:pt x="206332" y="45625"/>
                        <a:pt x="246337" y="20193"/>
                      </a:cubicBezTo>
                      <a:cubicBezTo>
                        <a:pt x="251957" y="16573"/>
                        <a:pt x="257577" y="13049"/>
                        <a:pt x="262815" y="9715"/>
                      </a:cubicBezTo>
                      <a:lnTo>
                        <a:pt x="263387" y="9334"/>
                      </a:lnTo>
                      <a:lnTo>
                        <a:pt x="264054" y="9334"/>
                      </a:lnTo>
                      <a:cubicBezTo>
                        <a:pt x="354065" y="6477"/>
                        <a:pt x="434742" y="3810"/>
                        <a:pt x="493511" y="1905"/>
                      </a:cubicBezTo>
                      <a:cubicBezTo>
                        <a:pt x="522276" y="1238"/>
                        <a:pt x="545613" y="667"/>
                        <a:pt x="562377" y="190"/>
                      </a:cubicBezTo>
                      <a:cubicBezTo>
                        <a:pt x="570092" y="95"/>
                        <a:pt x="576283" y="0"/>
                        <a:pt x="581046" y="0"/>
                      </a:cubicBezTo>
                      <a:cubicBezTo>
                        <a:pt x="585332" y="0"/>
                        <a:pt x="587522" y="95"/>
                        <a:pt x="587522" y="286"/>
                      </a:cubicBezTo>
                      <a:cubicBezTo>
                        <a:pt x="587522" y="476"/>
                        <a:pt x="585332" y="667"/>
                        <a:pt x="581046" y="952"/>
                      </a:cubicBezTo>
                      <a:cubicBezTo>
                        <a:pt x="576283" y="1238"/>
                        <a:pt x="570092" y="1619"/>
                        <a:pt x="562377" y="2096"/>
                      </a:cubicBezTo>
                      <a:cubicBezTo>
                        <a:pt x="545613" y="2857"/>
                        <a:pt x="522276" y="4000"/>
                        <a:pt x="493511" y="5334"/>
                      </a:cubicBezTo>
                      <a:cubicBezTo>
                        <a:pt x="434742" y="7620"/>
                        <a:pt x="354065" y="10763"/>
                        <a:pt x="264149" y="14288"/>
                      </a:cubicBezTo>
                      <a:lnTo>
                        <a:pt x="265387" y="13906"/>
                      </a:lnTo>
                      <a:cubicBezTo>
                        <a:pt x="260148" y="17240"/>
                        <a:pt x="254529" y="20765"/>
                        <a:pt x="248909" y="24384"/>
                      </a:cubicBezTo>
                      <a:cubicBezTo>
                        <a:pt x="208904" y="49625"/>
                        <a:pt x="170709" y="73723"/>
                        <a:pt x="135942" y="95631"/>
                      </a:cubicBezTo>
                      <a:cubicBezTo>
                        <a:pt x="102224" y="118586"/>
                        <a:pt x="65648" y="132874"/>
                        <a:pt x="53170" y="162782"/>
                      </a:cubicBezTo>
                      <a:cubicBezTo>
                        <a:pt x="37168" y="188881"/>
                        <a:pt x="24024" y="210121"/>
                        <a:pt x="14689" y="225457"/>
                      </a:cubicBezTo>
                      <a:cubicBezTo>
                        <a:pt x="10212" y="232505"/>
                        <a:pt x="6688" y="238125"/>
                        <a:pt x="4021" y="242316"/>
                      </a:cubicBezTo>
                      <a:cubicBezTo>
                        <a:pt x="1545" y="246126"/>
                        <a:pt x="211" y="248126"/>
                        <a:pt x="20" y="24803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20FE026A-E4E4-129D-EE00-F87E56B50B22}"/>
                    </a:ext>
                  </a:extLst>
                </p:cNvPr>
                <p:cNvSpPr/>
                <p:nvPr/>
              </p:nvSpPr>
              <p:spPr>
                <a:xfrm>
                  <a:off x="6667861" y="1896970"/>
                  <a:ext cx="45971" cy="7768"/>
                </a:xfrm>
                <a:custGeom>
                  <a:avLst/>
                  <a:gdLst>
                    <a:gd name="connsiteX0" fmla="*/ 113066 w 113070"/>
                    <a:gd name="connsiteY0" fmla="*/ 10068 h 19106"/>
                    <a:gd name="connsiteX1" fmla="*/ 96969 w 113070"/>
                    <a:gd name="connsiteY1" fmla="*/ 16164 h 19106"/>
                    <a:gd name="connsiteX2" fmla="*/ 55535 w 113070"/>
                    <a:gd name="connsiteY2" fmla="*/ 17784 h 19106"/>
                    <a:gd name="connsiteX3" fmla="*/ 15626 w 113070"/>
                    <a:gd name="connsiteY3" fmla="*/ 7020 h 19106"/>
                    <a:gd name="connsiteX4" fmla="*/ 4 w 113070"/>
                    <a:gd name="connsiteY4" fmla="*/ 162 h 19106"/>
                    <a:gd name="connsiteX5" fmla="*/ 16673 w 113070"/>
                    <a:gd name="connsiteY5" fmla="*/ 3687 h 19106"/>
                    <a:gd name="connsiteX6" fmla="*/ 56202 w 113070"/>
                    <a:gd name="connsiteY6" fmla="*/ 12831 h 19106"/>
                    <a:gd name="connsiteX7" fmla="*/ 113066 w 113070"/>
                    <a:gd name="connsiteY7" fmla="*/ 10068 h 19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070" h="19106">
                      <a:moveTo>
                        <a:pt x="113066" y="10068"/>
                      </a:moveTo>
                      <a:cubicBezTo>
                        <a:pt x="113257" y="10640"/>
                        <a:pt x="107351" y="13497"/>
                        <a:pt x="96969" y="16164"/>
                      </a:cubicBezTo>
                      <a:cubicBezTo>
                        <a:pt x="86682" y="18831"/>
                        <a:pt x="71632" y="20355"/>
                        <a:pt x="55535" y="17784"/>
                      </a:cubicBezTo>
                      <a:cubicBezTo>
                        <a:pt x="39438" y="15402"/>
                        <a:pt x="25531" y="10545"/>
                        <a:pt x="15626" y="7020"/>
                      </a:cubicBezTo>
                      <a:cubicBezTo>
                        <a:pt x="5720" y="3401"/>
                        <a:pt x="-186" y="734"/>
                        <a:pt x="4" y="162"/>
                      </a:cubicBezTo>
                      <a:cubicBezTo>
                        <a:pt x="195" y="-504"/>
                        <a:pt x="6577" y="924"/>
                        <a:pt x="16673" y="3687"/>
                      </a:cubicBezTo>
                      <a:cubicBezTo>
                        <a:pt x="26770" y="6258"/>
                        <a:pt x="40676" y="10545"/>
                        <a:pt x="56202" y="12831"/>
                      </a:cubicBezTo>
                      <a:cubicBezTo>
                        <a:pt x="87635" y="17974"/>
                        <a:pt x="112685" y="8163"/>
                        <a:pt x="113066" y="100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8B2E7B9-81A2-7566-290E-3CD8C63FD73C}"/>
              </a:ext>
            </a:extLst>
          </p:cNvPr>
          <p:cNvGrpSpPr/>
          <p:nvPr/>
        </p:nvGrpSpPr>
        <p:grpSpPr>
          <a:xfrm>
            <a:off x="6677585" y="2363449"/>
            <a:ext cx="1211548" cy="877691"/>
            <a:chOff x="378476" y="2833201"/>
            <a:chExt cx="1236608" cy="1011508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C704AD98-433B-7B41-E49B-EA89E2A48AE4}"/>
                </a:ext>
              </a:extLst>
            </p:cNvPr>
            <p:cNvGrpSpPr/>
            <p:nvPr/>
          </p:nvGrpSpPr>
          <p:grpSpPr>
            <a:xfrm>
              <a:off x="594876" y="2833201"/>
              <a:ext cx="803808" cy="411649"/>
              <a:chOff x="482194" y="2777240"/>
              <a:chExt cx="1029172" cy="527063"/>
            </a:xfrm>
          </p:grpSpPr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23040967-F649-ADD8-ED80-CDD97EC6BEC8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57245 w 57340"/>
                  <a:gd name="connsiteY0" fmla="*/ 0 h 65436"/>
                  <a:gd name="connsiteX1" fmla="*/ 57341 w 57340"/>
                  <a:gd name="connsiteY1" fmla="*/ 65342 h 65436"/>
                  <a:gd name="connsiteX2" fmla="*/ 95 w 57340"/>
                  <a:gd name="connsiteY2" fmla="*/ 65437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57245" y="0"/>
                    </a:moveTo>
                    <a:lnTo>
                      <a:pt x="57341" y="65342"/>
                    </a:lnTo>
                    <a:lnTo>
                      <a:pt x="95" y="65437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672D4E8E-351B-526E-157A-F8227774ED9D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57245 w 57435"/>
                  <a:gd name="connsiteY0" fmla="*/ 0 h 65436"/>
                  <a:gd name="connsiteX1" fmla="*/ 57436 w 57435"/>
                  <a:gd name="connsiteY1" fmla="*/ 65342 h 65436"/>
                  <a:gd name="connsiteX2" fmla="*/ 95 w 57435"/>
                  <a:gd name="connsiteY2" fmla="*/ 65437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245" y="0"/>
                    </a:moveTo>
                    <a:lnTo>
                      <a:pt x="57436" y="65342"/>
                    </a:lnTo>
                    <a:lnTo>
                      <a:pt x="95" y="65437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496B788D-96FB-59D6-96E7-081150E8F6BE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1 w 65246"/>
                  <a:gd name="connsiteY2" fmla="*/ 74295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1" y="74295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685FABF7-51EF-1CB1-1738-C6D1CE578493}"/>
                  </a:ext>
                </a:extLst>
              </p:cNvPr>
              <p:cNvSpPr/>
              <p:nvPr/>
            </p:nvSpPr>
            <p:spPr>
              <a:xfrm rot="21595581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9C4A5B94-2991-8F05-4D4E-7D6FCEBEA709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419202A2-6C64-E303-F3C5-4651AE1D2B64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B1E209DB-8186-AE5E-034B-BFE8A06C24AF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52102 w 323659"/>
                  <a:gd name="connsiteY0" fmla="*/ 571024 h 620934"/>
                  <a:gd name="connsiteX1" fmla="*/ 52197 w 323659"/>
                  <a:gd name="connsiteY1" fmla="*/ 620840 h 620934"/>
                  <a:gd name="connsiteX2" fmla="*/ 1143 w 323659"/>
                  <a:gd name="connsiteY2" fmla="*/ 620935 h 620934"/>
                  <a:gd name="connsiteX3" fmla="*/ 0 w 323659"/>
                  <a:gd name="connsiteY3" fmla="*/ 572 h 620934"/>
                  <a:gd name="connsiteX4" fmla="*/ 322516 w 323659"/>
                  <a:gd name="connsiteY4" fmla="*/ 0 h 620934"/>
                  <a:gd name="connsiteX5" fmla="*/ 323660 w 323659"/>
                  <a:gd name="connsiteY5" fmla="*/ 620363 h 620934"/>
                  <a:gd name="connsiteX6" fmla="*/ 272605 w 323659"/>
                  <a:gd name="connsiteY6" fmla="*/ 620459 h 620934"/>
                  <a:gd name="connsiteX7" fmla="*/ 272510 w 323659"/>
                  <a:gd name="connsiteY7" fmla="*/ 570643 h 620934"/>
                  <a:gd name="connsiteX8" fmla="*/ 272415 w 323659"/>
                  <a:gd name="connsiteY8" fmla="*/ 520732 h 620934"/>
                  <a:gd name="connsiteX9" fmla="*/ 272320 w 323659"/>
                  <a:gd name="connsiteY9" fmla="*/ 470916 h 620934"/>
                  <a:gd name="connsiteX10" fmla="*/ 271748 w 323659"/>
                  <a:gd name="connsiteY10" fmla="*/ 118491 h 620934"/>
                  <a:gd name="connsiteX11" fmla="*/ 51244 w 323659"/>
                  <a:gd name="connsiteY11" fmla="*/ 118872 h 620934"/>
                  <a:gd name="connsiteX12" fmla="*/ 51911 w 323659"/>
                  <a:gd name="connsiteY12" fmla="*/ 471297 h 620934"/>
                  <a:gd name="connsiteX13" fmla="*/ 52006 w 323659"/>
                  <a:gd name="connsiteY13" fmla="*/ 521208 h 620934"/>
                  <a:gd name="connsiteX14" fmla="*/ 52102 w 323659"/>
                  <a:gd name="connsiteY14" fmla="*/ 571024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52102" y="571024"/>
                    </a:move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BCA9722-B397-9E28-A230-3031FCE526DF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604" cy="24040"/>
              </a:xfrm>
              <a:custGeom>
                <a:avLst/>
                <a:gdLst>
                  <a:gd name="connsiteX0" fmla="*/ 220504 w 220503"/>
                  <a:gd name="connsiteY0" fmla="*/ 49816 h 50196"/>
                  <a:gd name="connsiteX1" fmla="*/ 95 w 220503"/>
                  <a:gd name="connsiteY1" fmla="*/ 50197 h 50196"/>
                  <a:gd name="connsiteX2" fmla="*/ 0 w 220503"/>
                  <a:gd name="connsiteY2" fmla="*/ 381 h 50196"/>
                  <a:gd name="connsiteX3" fmla="*/ 220409 w 220503"/>
                  <a:gd name="connsiteY3" fmla="*/ 0 h 50196"/>
                  <a:gd name="connsiteX4" fmla="*/ 220504 w 220503"/>
                  <a:gd name="connsiteY4" fmla="*/ 49816 h 50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196">
                    <a:moveTo>
                      <a:pt x="220504" y="49816"/>
                    </a:moveTo>
                    <a:lnTo>
                      <a:pt x="95" y="50197"/>
                    </a:lnTo>
                    <a:cubicBezTo>
                      <a:pt x="95" y="36671"/>
                      <a:pt x="0" y="19717"/>
                      <a:pt x="0" y="381"/>
                    </a:cubicBezTo>
                    <a:lnTo>
                      <a:pt x="220409" y="0"/>
                    </a:lnTo>
                    <a:cubicBezTo>
                      <a:pt x="220409" y="19336"/>
                      <a:pt x="220504" y="36290"/>
                      <a:pt x="220504" y="49816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63FD8B42-F9AC-2E1C-3CE1-14EEFA4F0336}"/>
                  </a:ext>
                </a:extLst>
              </p:cNvPr>
              <p:cNvSpPr/>
              <p:nvPr/>
            </p:nvSpPr>
            <p:spPr>
              <a:xfrm rot="215949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2E1DF37D-C2F1-C431-77EA-E91D8051B04A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35255 w 135445"/>
                  <a:gd name="connsiteY0" fmla="*/ 0 h 108013"/>
                  <a:gd name="connsiteX1" fmla="*/ 135446 w 135445"/>
                  <a:gd name="connsiteY1" fmla="*/ 107728 h 108013"/>
                  <a:gd name="connsiteX2" fmla="*/ 96488 w 135445"/>
                  <a:gd name="connsiteY2" fmla="*/ 107823 h 108013"/>
                  <a:gd name="connsiteX3" fmla="*/ 96393 w 135445"/>
                  <a:gd name="connsiteY3" fmla="*/ 42481 h 108013"/>
                  <a:gd name="connsiteX4" fmla="*/ 39053 w 135445"/>
                  <a:gd name="connsiteY4" fmla="*/ 42577 h 108013"/>
                  <a:gd name="connsiteX5" fmla="*/ 39148 w 135445"/>
                  <a:gd name="connsiteY5" fmla="*/ 107918 h 108013"/>
                  <a:gd name="connsiteX6" fmla="*/ 191 w 135445"/>
                  <a:gd name="connsiteY6" fmla="*/ 108013 h 108013"/>
                  <a:gd name="connsiteX7" fmla="*/ 0 w 135445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8013">
                    <a:moveTo>
                      <a:pt x="135255" y="0"/>
                    </a:moveTo>
                    <a:lnTo>
                      <a:pt x="135446" y="107728"/>
                    </a:lnTo>
                    <a:lnTo>
                      <a:pt x="96488" y="107823"/>
                    </a:lnTo>
                    <a:lnTo>
                      <a:pt x="96393" y="42481"/>
                    </a:lnTo>
                    <a:lnTo>
                      <a:pt x="39053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D7AFD7DA-5E1E-7588-4FA3-8A5A0FB2F388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341 w 57435"/>
                  <a:gd name="connsiteY0" fmla="*/ 0 h 65436"/>
                  <a:gd name="connsiteX1" fmla="*/ 57436 w 57435"/>
                  <a:gd name="connsiteY1" fmla="*/ 65342 h 65436"/>
                  <a:gd name="connsiteX2" fmla="*/ 191 w 57435"/>
                  <a:gd name="connsiteY2" fmla="*/ 65437 h 65436"/>
                  <a:gd name="connsiteX3" fmla="*/ 0 w 57435"/>
                  <a:gd name="connsiteY3" fmla="*/ 95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341" y="0"/>
                    </a:moveTo>
                    <a:lnTo>
                      <a:pt x="57436" y="65342"/>
                    </a:lnTo>
                    <a:lnTo>
                      <a:pt x="191" y="65437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BF1AD755-6F53-D053-08A6-DEE84C32DD03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35160 w 135350"/>
                  <a:gd name="connsiteY0" fmla="*/ 0 h 108013"/>
                  <a:gd name="connsiteX1" fmla="*/ 135350 w 135350"/>
                  <a:gd name="connsiteY1" fmla="*/ 107728 h 108013"/>
                  <a:gd name="connsiteX2" fmla="*/ 96393 w 135350"/>
                  <a:gd name="connsiteY2" fmla="*/ 107823 h 108013"/>
                  <a:gd name="connsiteX3" fmla="*/ 96298 w 135350"/>
                  <a:gd name="connsiteY3" fmla="*/ 42481 h 108013"/>
                  <a:gd name="connsiteX4" fmla="*/ 38957 w 135350"/>
                  <a:gd name="connsiteY4" fmla="*/ 42577 h 108013"/>
                  <a:gd name="connsiteX5" fmla="*/ 39148 w 135350"/>
                  <a:gd name="connsiteY5" fmla="*/ 107918 h 108013"/>
                  <a:gd name="connsiteX6" fmla="*/ 191 w 135350"/>
                  <a:gd name="connsiteY6" fmla="*/ 108013 h 108013"/>
                  <a:gd name="connsiteX7" fmla="*/ 0 w 135350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8013">
                    <a:moveTo>
                      <a:pt x="135160" y="0"/>
                    </a:moveTo>
                    <a:lnTo>
                      <a:pt x="135350" y="107728"/>
                    </a:lnTo>
                    <a:lnTo>
                      <a:pt x="96393" y="107823"/>
                    </a:lnTo>
                    <a:lnTo>
                      <a:pt x="96298" y="42481"/>
                    </a:lnTo>
                    <a:lnTo>
                      <a:pt x="38957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8B3AB1DF-9E5F-B083-E644-A02CB7BDED33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135160 w 135350"/>
                  <a:gd name="connsiteY0" fmla="*/ 0 h 66675"/>
                  <a:gd name="connsiteX1" fmla="*/ 135350 w 135350"/>
                  <a:gd name="connsiteY1" fmla="*/ 66485 h 66675"/>
                  <a:gd name="connsiteX2" fmla="*/ 95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160" y="0"/>
                    </a:moveTo>
                    <a:lnTo>
                      <a:pt x="135350" y="66485"/>
                    </a:lnTo>
                    <a:lnTo>
                      <a:pt x="95" y="66675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3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0AA4006-C50F-4C5A-9F65-D203D5DAF374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135255 w 135350"/>
                  <a:gd name="connsiteY0" fmla="*/ 0 h 66675"/>
                  <a:gd name="connsiteX1" fmla="*/ 135350 w 135350"/>
                  <a:gd name="connsiteY1" fmla="*/ 66485 h 66675"/>
                  <a:gd name="connsiteX2" fmla="*/ 191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1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255" y="0"/>
                    </a:moveTo>
                    <a:lnTo>
                      <a:pt x="135350" y="66485"/>
                    </a:lnTo>
                    <a:lnTo>
                      <a:pt x="191" y="66675"/>
                    </a:lnTo>
                    <a:lnTo>
                      <a:pt x="0" y="286"/>
                    </a:lnTo>
                    <a:lnTo>
                      <a:pt x="38957" y="191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B305E4D8-262A-9809-DF57-5D1A4C3954FE}"/>
                  </a:ext>
                </a:extLst>
              </p:cNvPr>
              <p:cNvSpPr/>
              <p:nvPr/>
            </p:nvSpPr>
            <p:spPr>
              <a:xfrm>
                <a:off x="751975" y="2989041"/>
                <a:ext cx="131377" cy="314760"/>
              </a:xfrm>
              <a:custGeom>
                <a:avLst/>
                <a:gdLst>
                  <a:gd name="connsiteX0" fmla="*/ 273177 w 274319"/>
                  <a:gd name="connsiteY0" fmla="*/ 36385 h 657225"/>
                  <a:gd name="connsiteX1" fmla="*/ 274320 w 274319"/>
                  <a:gd name="connsiteY1" fmla="*/ 656749 h 657225"/>
                  <a:gd name="connsiteX2" fmla="*/ 1238 w 274319"/>
                  <a:gd name="connsiteY2" fmla="*/ 657225 h 657225"/>
                  <a:gd name="connsiteX3" fmla="*/ 952 w 274319"/>
                  <a:gd name="connsiteY3" fmla="*/ 526923 h 657225"/>
                  <a:gd name="connsiteX4" fmla="*/ 95 w 274319"/>
                  <a:gd name="connsiteY4" fmla="*/ 35719 h 657225"/>
                  <a:gd name="connsiteX5" fmla="*/ 0 w 274319"/>
                  <a:gd name="connsiteY5" fmla="*/ 476 h 657225"/>
                  <a:gd name="connsiteX6" fmla="*/ 232791 w 274319"/>
                  <a:gd name="connsiteY6" fmla="*/ 0 h 657225"/>
                  <a:gd name="connsiteX7" fmla="*/ 232886 w 274319"/>
                  <a:gd name="connsiteY7" fmla="*/ 36481 h 657225"/>
                  <a:gd name="connsiteX8" fmla="*/ 273177 w 274319"/>
                  <a:gd name="connsiteY8" fmla="*/ 36385 h 657225"/>
                  <a:gd name="connsiteX9" fmla="*/ 214313 w 274319"/>
                  <a:gd name="connsiteY9" fmla="*/ 570071 h 657225"/>
                  <a:gd name="connsiteX10" fmla="*/ 214217 w 274319"/>
                  <a:gd name="connsiteY10" fmla="*/ 494633 h 657225"/>
                  <a:gd name="connsiteX11" fmla="*/ 214027 w 274319"/>
                  <a:gd name="connsiteY11" fmla="*/ 372332 h 657225"/>
                  <a:gd name="connsiteX12" fmla="*/ 60484 w 274319"/>
                  <a:gd name="connsiteY12" fmla="*/ 372618 h 657225"/>
                  <a:gd name="connsiteX13" fmla="*/ 60865 w 274319"/>
                  <a:gd name="connsiteY13" fmla="*/ 570357 h 657225"/>
                  <a:gd name="connsiteX14" fmla="*/ 214313 w 274319"/>
                  <a:gd name="connsiteY14" fmla="*/ 570071 h 657225"/>
                  <a:gd name="connsiteX15" fmla="*/ 213836 w 274319"/>
                  <a:gd name="connsiteY15" fmla="*/ 287465 h 657225"/>
                  <a:gd name="connsiteX16" fmla="*/ 213646 w 274319"/>
                  <a:gd name="connsiteY16" fmla="*/ 212027 h 657225"/>
                  <a:gd name="connsiteX17" fmla="*/ 213455 w 274319"/>
                  <a:gd name="connsiteY17" fmla="*/ 89821 h 657225"/>
                  <a:gd name="connsiteX18" fmla="*/ 60007 w 274319"/>
                  <a:gd name="connsiteY18" fmla="*/ 90106 h 657225"/>
                  <a:gd name="connsiteX19" fmla="*/ 60198 w 274319"/>
                  <a:gd name="connsiteY19" fmla="*/ 212312 h 657225"/>
                  <a:gd name="connsiteX20" fmla="*/ 60389 w 274319"/>
                  <a:gd name="connsiteY20" fmla="*/ 287750 h 657225"/>
                  <a:gd name="connsiteX21" fmla="*/ 213836 w 274319"/>
                  <a:gd name="connsiteY21" fmla="*/ 287465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319" h="657225">
                    <a:moveTo>
                      <a:pt x="273177" y="36385"/>
                    </a:moveTo>
                    <a:lnTo>
                      <a:pt x="274320" y="656749"/>
                    </a:lnTo>
                    <a:cubicBezTo>
                      <a:pt x="203930" y="656844"/>
                      <a:pt x="106966" y="657035"/>
                      <a:pt x="1238" y="657225"/>
                    </a:cubicBezTo>
                    <a:lnTo>
                      <a:pt x="952" y="526923"/>
                    </a:lnTo>
                    <a:lnTo>
                      <a:pt x="95" y="35719"/>
                    </a:lnTo>
                    <a:lnTo>
                      <a:pt x="0" y="476"/>
                    </a:lnTo>
                    <a:lnTo>
                      <a:pt x="232791" y="0"/>
                    </a:lnTo>
                    <a:cubicBezTo>
                      <a:pt x="232791" y="13525"/>
                      <a:pt x="232791" y="27813"/>
                      <a:pt x="232886" y="36481"/>
                    </a:cubicBezTo>
                    <a:lnTo>
                      <a:pt x="273177" y="36385"/>
                    </a:lnTo>
                    <a:close/>
                    <a:moveTo>
                      <a:pt x="214313" y="570071"/>
                    </a:moveTo>
                    <a:lnTo>
                      <a:pt x="214217" y="494633"/>
                    </a:lnTo>
                    <a:lnTo>
                      <a:pt x="214027" y="372332"/>
                    </a:lnTo>
                    <a:lnTo>
                      <a:pt x="60484" y="372618"/>
                    </a:lnTo>
                    <a:lnTo>
                      <a:pt x="60865" y="570357"/>
                    </a:lnTo>
                    <a:lnTo>
                      <a:pt x="214313" y="570071"/>
                    </a:lnTo>
                    <a:close/>
                    <a:moveTo>
                      <a:pt x="213836" y="287465"/>
                    </a:moveTo>
                    <a:lnTo>
                      <a:pt x="213646" y="212027"/>
                    </a:lnTo>
                    <a:lnTo>
                      <a:pt x="213455" y="89821"/>
                    </a:lnTo>
                    <a:lnTo>
                      <a:pt x="60007" y="90106"/>
                    </a:lnTo>
                    <a:lnTo>
                      <a:pt x="60198" y="212312"/>
                    </a:lnTo>
                    <a:lnTo>
                      <a:pt x="60389" y="287750"/>
                    </a:lnTo>
                    <a:lnTo>
                      <a:pt x="213836" y="287465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B38FDC94-8724-AC61-B7F1-BAA3A0B4C01F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0 w 65246"/>
                  <a:gd name="connsiteY2" fmla="*/ 74295 h 74294"/>
                  <a:gd name="connsiteX3" fmla="*/ 0 w 65246"/>
                  <a:gd name="connsiteY3" fmla="*/ 19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0" y="74295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292EEF04-FFB4-C82D-4DA6-92236CBDBA19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153448 w 153543"/>
                  <a:gd name="connsiteY0" fmla="*/ 0 h 75723"/>
                  <a:gd name="connsiteX1" fmla="*/ 153543 w 153543"/>
                  <a:gd name="connsiteY1" fmla="*/ 75438 h 75723"/>
                  <a:gd name="connsiteX2" fmla="*/ 95 w 153543"/>
                  <a:gd name="connsiteY2" fmla="*/ 75724 h 75723"/>
                  <a:gd name="connsiteX3" fmla="*/ 0 w 153543"/>
                  <a:gd name="connsiteY3" fmla="*/ 286 h 75723"/>
                  <a:gd name="connsiteX4" fmla="*/ 44196 w 153543"/>
                  <a:gd name="connsiteY4" fmla="*/ 19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153448" y="0"/>
                    </a:moveTo>
                    <a:lnTo>
                      <a:pt x="153543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CB526F70-70C0-3F57-32D2-FFFDB69F017F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DD5CE23B-ED7A-B9E2-1DB0-8DF3B75AA2A8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850D8053-1EE7-3FB5-E717-B131B5F545FE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34A1555B-729B-4482-258B-C19F08945CCB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604" cy="24085"/>
              </a:xfrm>
              <a:custGeom>
                <a:avLst/>
                <a:gdLst>
                  <a:gd name="connsiteX0" fmla="*/ 220409 w 220503"/>
                  <a:gd name="connsiteY0" fmla="*/ 0 h 50291"/>
                  <a:gd name="connsiteX1" fmla="*/ 220504 w 220503"/>
                  <a:gd name="connsiteY1" fmla="*/ 49816 h 50291"/>
                  <a:gd name="connsiteX2" fmla="*/ 95 w 220503"/>
                  <a:gd name="connsiteY2" fmla="*/ 50292 h 50291"/>
                  <a:gd name="connsiteX3" fmla="*/ 0 w 220503"/>
                  <a:gd name="connsiteY3" fmla="*/ 381 h 50291"/>
                  <a:gd name="connsiteX4" fmla="*/ 220409 w 220503"/>
                  <a:gd name="connsiteY4" fmla="*/ 0 h 5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1">
                    <a:moveTo>
                      <a:pt x="220409" y="0"/>
                    </a:moveTo>
                    <a:cubicBezTo>
                      <a:pt x="220504" y="17240"/>
                      <a:pt x="220504" y="34004"/>
                      <a:pt x="220504" y="49816"/>
                    </a:cubicBezTo>
                    <a:lnTo>
                      <a:pt x="95" y="50292"/>
                    </a:lnTo>
                    <a:cubicBezTo>
                      <a:pt x="95" y="34385"/>
                      <a:pt x="0" y="17717"/>
                      <a:pt x="0" y="381"/>
                    </a:cubicBezTo>
                    <a:cubicBezTo>
                      <a:pt x="54959" y="286"/>
                      <a:pt x="165449" y="95"/>
                      <a:pt x="220409" y="0"/>
                    </a:cubicBez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EF824EE2-F724-8E99-D22B-A1294E3E7CA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95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1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1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A1E7FBDF-6E89-5915-6A75-0BBFFF5D409A}"/>
                  </a:ext>
                </a:extLst>
              </p:cNvPr>
              <p:cNvSpPr/>
              <p:nvPr/>
            </p:nvSpPr>
            <p:spPr>
              <a:xfrm rot="21595581">
                <a:off x="1160980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26441D99-D1F8-0436-F4AF-0F351DAE6CF9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255 w 135445"/>
                  <a:gd name="connsiteY0" fmla="*/ 0 h 107918"/>
                  <a:gd name="connsiteX1" fmla="*/ 135446 w 135445"/>
                  <a:gd name="connsiteY1" fmla="*/ 107633 h 107918"/>
                  <a:gd name="connsiteX2" fmla="*/ 96488 w 135445"/>
                  <a:gd name="connsiteY2" fmla="*/ 107728 h 107918"/>
                  <a:gd name="connsiteX3" fmla="*/ 96298 w 135445"/>
                  <a:gd name="connsiteY3" fmla="*/ 42386 h 107918"/>
                  <a:gd name="connsiteX4" fmla="*/ 39052 w 135445"/>
                  <a:gd name="connsiteY4" fmla="*/ 42577 h 107918"/>
                  <a:gd name="connsiteX5" fmla="*/ 39148 w 135445"/>
                  <a:gd name="connsiteY5" fmla="*/ 107823 h 107918"/>
                  <a:gd name="connsiteX6" fmla="*/ 191 w 135445"/>
                  <a:gd name="connsiteY6" fmla="*/ 107918 h 107918"/>
                  <a:gd name="connsiteX7" fmla="*/ 0 w 135445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7918">
                    <a:moveTo>
                      <a:pt x="135255" y="0"/>
                    </a:moveTo>
                    <a:lnTo>
                      <a:pt x="135446" y="107633"/>
                    </a:lnTo>
                    <a:lnTo>
                      <a:pt x="96488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A4F6256E-675F-335D-89FF-72B68A798C76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160 w 135350"/>
                  <a:gd name="connsiteY0" fmla="*/ 0 h 107918"/>
                  <a:gd name="connsiteX1" fmla="*/ 135350 w 135350"/>
                  <a:gd name="connsiteY1" fmla="*/ 107633 h 107918"/>
                  <a:gd name="connsiteX2" fmla="*/ 96393 w 135350"/>
                  <a:gd name="connsiteY2" fmla="*/ 107728 h 107918"/>
                  <a:gd name="connsiteX3" fmla="*/ 96298 w 135350"/>
                  <a:gd name="connsiteY3" fmla="*/ 42386 h 107918"/>
                  <a:gd name="connsiteX4" fmla="*/ 39052 w 135350"/>
                  <a:gd name="connsiteY4" fmla="*/ 42577 h 107918"/>
                  <a:gd name="connsiteX5" fmla="*/ 39148 w 135350"/>
                  <a:gd name="connsiteY5" fmla="*/ 107823 h 107918"/>
                  <a:gd name="connsiteX6" fmla="*/ 191 w 135350"/>
                  <a:gd name="connsiteY6" fmla="*/ 107918 h 107918"/>
                  <a:gd name="connsiteX7" fmla="*/ 0 w 135350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7918">
                    <a:moveTo>
                      <a:pt x="135160" y="0"/>
                    </a:moveTo>
                    <a:lnTo>
                      <a:pt x="135350" y="107633"/>
                    </a:lnTo>
                    <a:lnTo>
                      <a:pt x="96393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39CA878F-17CB-0B41-8A8B-32292BBF270D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135160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02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160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D4100A2B-1AAF-82BA-C890-CC7E883A4833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135255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98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255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1ED43422-E6C7-B710-7D14-B3A706C06D7A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291 w 153638"/>
                  <a:gd name="connsiteY4" fmla="*/ 190 h 75723"/>
                  <a:gd name="connsiteX5" fmla="*/ 109347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  <a:lnTo>
                      <a:pt x="109347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AD777B94-10B6-B0D9-DE93-9E5C87F058D3}"/>
                  </a:ext>
                </a:extLst>
              </p:cNvPr>
              <p:cNvSpPr/>
              <p:nvPr/>
            </p:nvSpPr>
            <p:spPr>
              <a:xfrm>
                <a:off x="1110801" y="2988357"/>
                <a:ext cx="131377" cy="314760"/>
              </a:xfrm>
              <a:custGeom>
                <a:avLst/>
                <a:gdLst>
                  <a:gd name="connsiteX0" fmla="*/ 274034 w 274319"/>
                  <a:gd name="connsiteY0" fmla="*/ 526447 h 657225"/>
                  <a:gd name="connsiteX1" fmla="*/ 274320 w 274319"/>
                  <a:gd name="connsiteY1" fmla="*/ 656749 h 657225"/>
                  <a:gd name="connsiteX2" fmla="*/ 1143 w 274319"/>
                  <a:gd name="connsiteY2" fmla="*/ 657225 h 657225"/>
                  <a:gd name="connsiteX3" fmla="*/ 0 w 274319"/>
                  <a:gd name="connsiteY3" fmla="*/ 36957 h 657225"/>
                  <a:gd name="connsiteX4" fmla="*/ 40291 w 274319"/>
                  <a:gd name="connsiteY4" fmla="*/ 36862 h 657225"/>
                  <a:gd name="connsiteX5" fmla="*/ 40195 w 274319"/>
                  <a:gd name="connsiteY5" fmla="*/ 381 h 657225"/>
                  <a:gd name="connsiteX6" fmla="*/ 40291 w 274319"/>
                  <a:gd name="connsiteY6" fmla="*/ 381 h 657225"/>
                  <a:gd name="connsiteX7" fmla="*/ 273082 w 274319"/>
                  <a:gd name="connsiteY7" fmla="*/ 0 h 657225"/>
                  <a:gd name="connsiteX8" fmla="*/ 273177 w 274319"/>
                  <a:gd name="connsiteY8" fmla="*/ 35243 h 657225"/>
                  <a:gd name="connsiteX9" fmla="*/ 274034 w 274319"/>
                  <a:gd name="connsiteY9" fmla="*/ 526447 h 657225"/>
                  <a:gd name="connsiteX10" fmla="*/ 214313 w 274319"/>
                  <a:gd name="connsiteY10" fmla="*/ 570071 h 657225"/>
                  <a:gd name="connsiteX11" fmla="*/ 214122 w 274319"/>
                  <a:gd name="connsiteY11" fmla="*/ 494633 h 657225"/>
                  <a:gd name="connsiteX12" fmla="*/ 213931 w 274319"/>
                  <a:gd name="connsiteY12" fmla="*/ 372428 h 657225"/>
                  <a:gd name="connsiteX13" fmla="*/ 60484 w 274319"/>
                  <a:gd name="connsiteY13" fmla="*/ 372713 h 657225"/>
                  <a:gd name="connsiteX14" fmla="*/ 60674 w 274319"/>
                  <a:gd name="connsiteY14" fmla="*/ 494919 h 657225"/>
                  <a:gd name="connsiteX15" fmla="*/ 60769 w 274319"/>
                  <a:gd name="connsiteY15" fmla="*/ 570357 h 657225"/>
                  <a:gd name="connsiteX16" fmla="*/ 214313 w 274319"/>
                  <a:gd name="connsiteY16" fmla="*/ 570071 h 657225"/>
                  <a:gd name="connsiteX17" fmla="*/ 213741 w 274319"/>
                  <a:gd name="connsiteY17" fmla="*/ 287560 h 657225"/>
                  <a:gd name="connsiteX18" fmla="*/ 213646 w 274319"/>
                  <a:gd name="connsiteY18" fmla="*/ 212122 h 657225"/>
                  <a:gd name="connsiteX19" fmla="*/ 213550 w 274319"/>
                  <a:gd name="connsiteY19" fmla="*/ 212122 h 657225"/>
                  <a:gd name="connsiteX20" fmla="*/ 213360 w 274319"/>
                  <a:gd name="connsiteY20" fmla="*/ 89821 h 657225"/>
                  <a:gd name="connsiteX21" fmla="*/ 59912 w 274319"/>
                  <a:gd name="connsiteY21" fmla="*/ 90107 h 657225"/>
                  <a:gd name="connsiteX22" fmla="*/ 60103 w 274319"/>
                  <a:gd name="connsiteY22" fmla="*/ 212408 h 657225"/>
                  <a:gd name="connsiteX23" fmla="*/ 60293 w 274319"/>
                  <a:gd name="connsiteY23" fmla="*/ 287846 h 657225"/>
                  <a:gd name="connsiteX24" fmla="*/ 213741 w 274319"/>
                  <a:gd name="connsiteY24" fmla="*/ 28756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74319" h="657225">
                    <a:moveTo>
                      <a:pt x="274034" y="526447"/>
                    </a:moveTo>
                    <a:lnTo>
                      <a:pt x="274320" y="656749"/>
                    </a:lnTo>
                    <a:lnTo>
                      <a:pt x="1143" y="657225"/>
                    </a:lnTo>
                    <a:lnTo>
                      <a:pt x="0" y="36957"/>
                    </a:lnTo>
                    <a:lnTo>
                      <a:pt x="40291" y="36862"/>
                    </a:lnTo>
                    <a:lnTo>
                      <a:pt x="40195" y="381"/>
                    </a:lnTo>
                    <a:lnTo>
                      <a:pt x="40291" y="381"/>
                    </a:lnTo>
                    <a:lnTo>
                      <a:pt x="273082" y="0"/>
                    </a:lnTo>
                    <a:lnTo>
                      <a:pt x="273177" y="35243"/>
                    </a:lnTo>
                    <a:lnTo>
                      <a:pt x="274034" y="526447"/>
                    </a:lnTo>
                    <a:close/>
                    <a:moveTo>
                      <a:pt x="214313" y="570071"/>
                    </a:moveTo>
                    <a:lnTo>
                      <a:pt x="214122" y="494633"/>
                    </a:lnTo>
                    <a:lnTo>
                      <a:pt x="213931" y="372428"/>
                    </a:lnTo>
                    <a:lnTo>
                      <a:pt x="60484" y="372713"/>
                    </a:lnTo>
                    <a:lnTo>
                      <a:pt x="60674" y="494919"/>
                    </a:lnTo>
                    <a:lnTo>
                      <a:pt x="60769" y="570357"/>
                    </a:lnTo>
                    <a:lnTo>
                      <a:pt x="214313" y="570071"/>
                    </a:lnTo>
                    <a:close/>
                    <a:moveTo>
                      <a:pt x="213741" y="287560"/>
                    </a:moveTo>
                    <a:lnTo>
                      <a:pt x="213646" y="212122"/>
                    </a:lnTo>
                    <a:lnTo>
                      <a:pt x="213550" y="212122"/>
                    </a:lnTo>
                    <a:lnTo>
                      <a:pt x="213360" y="89821"/>
                    </a:lnTo>
                    <a:lnTo>
                      <a:pt x="59912" y="90107"/>
                    </a:lnTo>
                    <a:lnTo>
                      <a:pt x="60103" y="212408"/>
                    </a:lnTo>
                    <a:lnTo>
                      <a:pt x="60293" y="287846"/>
                    </a:lnTo>
                    <a:lnTo>
                      <a:pt x="213741" y="28756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20CABBC3-3397-3C92-6E4B-C53E9CE2EC9F}"/>
                  </a:ext>
                </a:extLst>
              </p:cNvPr>
              <p:cNvSpPr/>
              <p:nvPr/>
            </p:nvSpPr>
            <p:spPr>
              <a:xfrm>
                <a:off x="1241585" y="2975630"/>
                <a:ext cx="269781" cy="29606"/>
              </a:xfrm>
              <a:custGeom>
                <a:avLst/>
                <a:gdLst>
                  <a:gd name="connsiteX0" fmla="*/ 563213 w 563308"/>
                  <a:gd name="connsiteY0" fmla="*/ 0 h 61817"/>
                  <a:gd name="connsiteX1" fmla="*/ 563309 w 563308"/>
                  <a:gd name="connsiteY1" fmla="*/ 60769 h 61817"/>
                  <a:gd name="connsiteX2" fmla="*/ 520922 w 563308"/>
                  <a:gd name="connsiteY2" fmla="*/ 60865 h 61817"/>
                  <a:gd name="connsiteX3" fmla="*/ 7620 w 563308"/>
                  <a:gd name="connsiteY3" fmla="*/ 61817 h 61817"/>
                  <a:gd name="connsiteX4" fmla="*/ 95 w 563308"/>
                  <a:gd name="connsiteY4" fmla="*/ 61817 h 61817"/>
                  <a:gd name="connsiteX5" fmla="*/ 0 w 563308"/>
                  <a:gd name="connsiteY5" fmla="*/ 26575 h 61817"/>
                  <a:gd name="connsiteX6" fmla="*/ 119634 w 563308"/>
                  <a:gd name="connsiteY6" fmla="*/ 26384 h 61817"/>
                  <a:gd name="connsiteX7" fmla="*/ 119634 w 563308"/>
                  <a:gd name="connsiteY7" fmla="*/ 857 h 61817"/>
                  <a:gd name="connsiteX8" fmla="*/ 520827 w 563308"/>
                  <a:gd name="connsiteY8" fmla="*/ 95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308" h="61817">
                    <a:moveTo>
                      <a:pt x="563213" y="0"/>
                    </a:moveTo>
                    <a:lnTo>
                      <a:pt x="563309" y="60769"/>
                    </a:lnTo>
                    <a:lnTo>
                      <a:pt x="520922" y="60865"/>
                    </a:lnTo>
                    <a:lnTo>
                      <a:pt x="7620" y="61817"/>
                    </a:lnTo>
                    <a:lnTo>
                      <a:pt x="95" y="61817"/>
                    </a:lnTo>
                    <a:lnTo>
                      <a:pt x="0" y="26575"/>
                    </a:lnTo>
                    <a:lnTo>
                      <a:pt x="119634" y="26384"/>
                    </a:lnTo>
                    <a:lnTo>
                      <a:pt x="119634" y="857"/>
                    </a:lnTo>
                    <a:lnTo>
                      <a:pt x="520827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4A5CBCBF-E347-1F94-9472-9C91BC7015BE}"/>
                  </a:ext>
                </a:extLst>
              </p:cNvPr>
              <p:cNvSpPr/>
              <p:nvPr/>
            </p:nvSpPr>
            <p:spPr>
              <a:xfrm>
                <a:off x="1086761" y="2955239"/>
                <a:ext cx="212120" cy="33300"/>
              </a:xfrm>
              <a:custGeom>
                <a:avLst/>
                <a:gdLst>
                  <a:gd name="connsiteX0" fmla="*/ 90488 w 442912"/>
                  <a:gd name="connsiteY0" fmla="*/ 69532 h 69532"/>
                  <a:gd name="connsiteX1" fmla="*/ 90392 w 442912"/>
                  <a:gd name="connsiteY1" fmla="*/ 69532 h 69532"/>
                  <a:gd name="connsiteX2" fmla="*/ 90392 w 442912"/>
                  <a:gd name="connsiteY2" fmla="*/ 42863 h 69532"/>
                  <a:gd name="connsiteX3" fmla="*/ 32480 w 442912"/>
                  <a:gd name="connsiteY3" fmla="*/ 43053 h 69532"/>
                  <a:gd name="connsiteX4" fmla="*/ 0 w 442912"/>
                  <a:gd name="connsiteY4" fmla="*/ 3429 h 69532"/>
                  <a:gd name="connsiteX5" fmla="*/ 3238 w 442912"/>
                  <a:gd name="connsiteY5" fmla="*/ 762 h 69532"/>
                  <a:gd name="connsiteX6" fmla="*/ 412909 w 442912"/>
                  <a:gd name="connsiteY6" fmla="*/ 95 h 69532"/>
                  <a:gd name="connsiteX7" fmla="*/ 442817 w 442912"/>
                  <a:gd name="connsiteY7" fmla="*/ 0 h 69532"/>
                  <a:gd name="connsiteX8" fmla="*/ 442913 w 442912"/>
                  <a:gd name="connsiteY8" fmla="*/ 43434 h 69532"/>
                  <a:gd name="connsiteX9" fmla="*/ 442913 w 442912"/>
                  <a:gd name="connsiteY9" fmla="*/ 68961 h 69532"/>
                  <a:gd name="connsiteX10" fmla="*/ 323279 w 442912"/>
                  <a:gd name="connsiteY10" fmla="*/ 69151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2912" h="69532">
                    <a:moveTo>
                      <a:pt x="90488" y="69532"/>
                    </a:moveTo>
                    <a:lnTo>
                      <a:pt x="90392" y="69532"/>
                    </a:lnTo>
                    <a:lnTo>
                      <a:pt x="90392" y="42863"/>
                    </a:lnTo>
                    <a:lnTo>
                      <a:pt x="32480" y="43053"/>
                    </a:lnTo>
                    <a:lnTo>
                      <a:pt x="0" y="3429"/>
                    </a:lnTo>
                    <a:lnTo>
                      <a:pt x="3238" y="762"/>
                    </a:lnTo>
                    <a:lnTo>
                      <a:pt x="412909" y="95"/>
                    </a:lnTo>
                    <a:lnTo>
                      <a:pt x="442817" y="0"/>
                    </a:lnTo>
                    <a:lnTo>
                      <a:pt x="442913" y="43434"/>
                    </a:lnTo>
                    <a:lnTo>
                      <a:pt x="442913" y="68961"/>
                    </a:lnTo>
                    <a:lnTo>
                      <a:pt x="323279" y="6915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06C9B88C-2C1C-DCE2-B0A1-C0A1FB0BD898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408432 w 440912"/>
                  <a:gd name="connsiteY0" fmla="*/ 229267 h 269652"/>
                  <a:gd name="connsiteX1" fmla="*/ 440912 w 440912"/>
                  <a:gd name="connsiteY1" fmla="*/ 268891 h 269652"/>
                  <a:gd name="connsiteX2" fmla="*/ 220504 w 440912"/>
                  <a:gd name="connsiteY2" fmla="*/ 269272 h 269652"/>
                  <a:gd name="connsiteX3" fmla="*/ 0 w 440912"/>
                  <a:gd name="connsiteY3" fmla="*/ 269653 h 269652"/>
                  <a:gd name="connsiteX4" fmla="*/ 34481 w 440912"/>
                  <a:gd name="connsiteY4" fmla="*/ 227362 h 269652"/>
                  <a:gd name="connsiteX5" fmla="*/ 34576 w 440912"/>
                  <a:gd name="connsiteY5" fmla="*/ 227362 h 269652"/>
                  <a:gd name="connsiteX6" fmla="*/ 220027 w 440912"/>
                  <a:gd name="connsiteY6" fmla="*/ 0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408432" y="229267"/>
                    </a:moveTo>
                    <a:lnTo>
                      <a:pt x="440912" y="268891"/>
                    </a:lnTo>
                    <a:lnTo>
                      <a:pt x="220504" y="269272"/>
                    </a:lnTo>
                    <a:lnTo>
                      <a:pt x="0" y="269653"/>
                    </a:lnTo>
                    <a:lnTo>
                      <a:pt x="34481" y="227362"/>
                    </a:lnTo>
                    <a:lnTo>
                      <a:pt x="34576" y="227362"/>
                    </a:lnTo>
                    <a:lnTo>
                      <a:pt x="220027" y="0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2DE60482-D4F3-D658-5486-3627D5A2BCCF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29908 w 444912"/>
                  <a:gd name="connsiteY0" fmla="*/ 667 h 69722"/>
                  <a:gd name="connsiteX1" fmla="*/ 444913 w 444912"/>
                  <a:gd name="connsiteY1" fmla="*/ 0 h 69722"/>
                  <a:gd name="connsiteX2" fmla="*/ 410432 w 444912"/>
                  <a:gd name="connsiteY2" fmla="*/ 42291 h 69722"/>
                  <a:gd name="connsiteX3" fmla="*/ 352615 w 444912"/>
                  <a:gd name="connsiteY3" fmla="*/ 42386 h 69722"/>
                  <a:gd name="connsiteX4" fmla="*/ 352615 w 444912"/>
                  <a:gd name="connsiteY4" fmla="*/ 69056 h 69722"/>
                  <a:gd name="connsiteX5" fmla="*/ 119824 w 444912"/>
                  <a:gd name="connsiteY5" fmla="*/ 69532 h 69722"/>
                  <a:gd name="connsiteX6" fmla="*/ 190 w 444912"/>
                  <a:gd name="connsiteY6" fmla="*/ 69723 h 69722"/>
                  <a:gd name="connsiteX7" fmla="*/ 95 w 444912"/>
                  <a:gd name="connsiteY7" fmla="*/ 44196 h 69722"/>
                  <a:gd name="connsiteX8" fmla="*/ 0 w 444912"/>
                  <a:gd name="connsiteY8" fmla="*/ 762 h 69722"/>
                  <a:gd name="connsiteX9" fmla="*/ 29908 w 444912"/>
                  <a:gd name="connsiteY9" fmla="*/ 667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4912" h="69722">
                    <a:moveTo>
                      <a:pt x="29908" y="667"/>
                    </a:moveTo>
                    <a:lnTo>
                      <a:pt x="444913" y="0"/>
                    </a:lnTo>
                    <a:lnTo>
                      <a:pt x="410432" y="42291"/>
                    </a:lnTo>
                    <a:lnTo>
                      <a:pt x="352615" y="42386"/>
                    </a:lnTo>
                    <a:cubicBezTo>
                      <a:pt x="352615" y="48863"/>
                      <a:pt x="352615" y="58769"/>
                      <a:pt x="352615" y="69056"/>
                    </a:cubicBez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A98EF304-DC26-AC88-AAF1-3746965ACBC2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9826" cy="29514"/>
              </a:xfrm>
              <a:custGeom>
                <a:avLst/>
                <a:gdLst>
                  <a:gd name="connsiteX0" fmla="*/ 563309 w 563403"/>
                  <a:gd name="connsiteY0" fmla="*/ 25336 h 61626"/>
                  <a:gd name="connsiteX1" fmla="*/ 563404 w 563403"/>
                  <a:gd name="connsiteY1" fmla="*/ 60579 h 61626"/>
                  <a:gd name="connsiteX2" fmla="*/ 555784 w 563403"/>
                  <a:gd name="connsiteY2" fmla="*/ 60579 h 61626"/>
                  <a:gd name="connsiteX3" fmla="*/ 42482 w 563403"/>
                  <a:gd name="connsiteY3" fmla="*/ 61531 h 61626"/>
                  <a:gd name="connsiteX4" fmla="*/ 95 w 563403"/>
                  <a:gd name="connsiteY4" fmla="*/ 61627 h 61626"/>
                  <a:gd name="connsiteX5" fmla="*/ 0 w 563403"/>
                  <a:gd name="connsiteY5" fmla="*/ 857 h 61626"/>
                  <a:gd name="connsiteX6" fmla="*/ 42386 w 563403"/>
                  <a:gd name="connsiteY6" fmla="*/ 762 h 61626"/>
                  <a:gd name="connsiteX7" fmla="*/ 443579 w 563403"/>
                  <a:gd name="connsiteY7" fmla="*/ 0 h 61626"/>
                  <a:gd name="connsiteX8" fmla="*/ 443675 w 563403"/>
                  <a:gd name="connsiteY8" fmla="*/ 25527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403" h="61626">
                    <a:moveTo>
                      <a:pt x="563309" y="25336"/>
                    </a:moveTo>
                    <a:lnTo>
                      <a:pt x="563404" y="60579"/>
                    </a:lnTo>
                    <a:lnTo>
                      <a:pt x="555784" y="60579"/>
                    </a:ln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  <a:lnTo>
                      <a:pt x="443675" y="2552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7FA8931E-93D9-C964-4ABE-7090419513AE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7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7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B2100291-83B0-0BB6-0FCD-AF70F7050B3C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581" cy="58709"/>
              </a:xfrm>
              <a:custGeom>
                <a:avLst/>
                <a:gdLst>
                  <a:gd name="connsiteX0" fmla="*/ 153448 w 153638"/>
                  <a:gd name="connsiteY0" fmla="*/ 0 h 122586"/>
                  <a:gd name="connsiteX1" fmla="*/ 153638 w 153638"/>
                  <a:gd name="connsiteY1" fmla="*/ 122301 h 122586"/>
                  <a:gd name="connsiteX2" fmla="*/ 109538 w 153638"/>
                  <a:gd name="connsiteY2" fmla="*/ 122396 h 122586"/>
                  <a:gd name="connsiteX3" fmla="*/ 109347 w 153638"/>
                  <a:gd name="connsiteY3" fmla="*/ 48197 h 122586"/>
                  <a:gd name="connsiteX4" fmla="*/ 44291 w 153638"/>
                  <a:gd name="connsiteY4" fmla="*/ 48387 h 122586"/>
                  <a:gd name="connsiteX5" fmla="*/ 44482 w 153638"/>
                  <a:gd name="connsiteY5" fmla="*/ 122492 h 122586"/>
                  <a:gd name="connsiteX6" fmla="*/ 191 w 153638"/>
                  <a:gd name="connsiteY6" fmla="*/ 122587 h 122586"/>
                  <a:gd name="connsiteX7" fmla="*/ 0 w 153638"/>
                  <a:gd name="connsiteY7" fmla="*/ 286 h 12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586">
                    <a:moveTo>
                      <a:pt x="153448" y="0"/>
                    </a:moveTo>
                    <a:lnTo>
                      <a:pt x="153638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191" y="122587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BA9A0FB2-09A6-BCB0-FDDE-1A805210E0AA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6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6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DC714E00-DE09-03C8-FFBC-694D205DD8A4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153543 w 153733"/>
                  <a:gd name="connsiteY0" fmla="*/ 0 h 198024"/>
                  <a:gd name="connsiteX1" fmla="*/ 153734 w 153733"/>
                  <a:gd name="connsiteY1" fmla="*/ 122301 h 198024"/>
                  <a:gd name="connsiteX2" fmla="*/ 109538 w 153733"/>
                  <a:gd name="connsiteY2" fmla="*/ 122396 h 198024"/>
                  <a:gd name="connsiteX3" fmla="*/ 109347 w 153733"/>
                  <a:gd name="connsiteY3" fmla="*/ 48197 h 198024"/>
                  <a:gd name="connsiteX4" fmla="*/ 44291 w 153733"/>
                  <a:gd name="connsiteY4" fmla="*/ 48387 h 198024"/>
                  <a:gd name="connsiteX5" fmla="*/ 44482 w 153733"/>
                  <a:gd name="connsiteY5" fmla="*/ 122492 h 198024"/>
                  <a:gd name="connsiteX6" fmla="*/ 286 w 153733"/>
                  <a:gd name="connsiteY6" fmla="*/ 122587 h 198024"/>
                  <a:gd name="connsiteX7" fmla="*/ 381 w 153733"/>
                  <a:gd name="connsiteY7" fmla="*/ 198025 h 198024"/>
                  <a:gd name="connsiteX8" fmla="*/ 0 w 153733"/>
                  <a:gd name="connsiteY8" fmla="*/ 286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733" h="198024">
                    <a:moveTo>
                      <a:pt x="153543" y="0"/>
                    </a:moveTo>
                    <a:lnTo>
                      <a:pt x="153734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286" y="122587"/>
                    </a:lnTo>
                    <a:lnTo>
                      <a:pt x="381" y="198025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C7EC04F7-F9C8-A6C6-71AE-7FD56638E9F1}"/>
                  </a:ext>
                </a:extLst>
              </p:cNvPr>
              <p:cNvSpPr/>
              <p:nvPr/>
            </p:nvSpPr>
            <p:spPr>
              <a:xfrm>
                <a:off x="944480" y="3255492"/>
                <a:ext cx="105604" cy="24086"/>
              </a:xfrm>
              <a:custGeom>
                <a:avLst/>
                <a:gdLst>
                  <a:gd name="connsiteX0" fmla="*/ 220409 w 220503"/>
                  <a:gd name="connsiteY0" fmla="*/ 0 h 50292"/>
                  <a:gd name="connsiteX1" fmla="*/ 220504 w 220503"/>
                  <a:gd name="connsiteY1" fmla="*/ 49911 h 50292"/>
                  <a:gd name="connsiteX2" fmla="*/ 95 w 220503"/>
                  <a:gd name="connsiteY2" fmla="*/ 50292 h 50292"/>
                  <a:gd name="connsiteX3" fmla="*/ 0 w 220503"/>
                  <a:gd name="connsiteY3" fmla="*/ 476 h 50292"/>
                  <a:gd name="connsiteX4" fmla="*/ 220409 w 220503"/>
                  <a:gd name="connsiteY4" fmla="*/ 0 h 50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2">
                    <a:moveTo>
                      <a:pt x="220409" y="0"/>
                    </a:moveTo>
                    <a:cubicBezTo>
                      <a:pt x="220409" y="17907"/>
                      <a:pt x="220504" y="34671"/>
                      <a:pt x="220504" y="49911"/>
                    </a:cubicBezTo>
                    <a:lnTo>
                      <a:pt x="95" y="50292"/>
                    </a:lnTo>
                    <a:cubicBezTo>
                      <a:pt x="95" y="35052"/>
                      <a:pt x="0" y="18288"/>
                      <a:pt x="0" y="476"/>
                    </a:cubicBezTo>
                    <a:lnTo>
                      <a:pt x="220409" y="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6B3C9BCF-E0AE-E475-3928-E81828B16E4F}"/>
                  </a:ext>
                </a:extLst>
              </p:cNvPr>
              <p:cNvSpPr/>
              <p:nvPr/>
            </p:nvSpPr>
            <p:spPr>
              <a:xfrm>
                <a:off x="863464" y="2975767"/>
                <a:ext cx="266633" cy="30746"/>
              </a:xfrm>
              <a:custGeom>
                <a:avLst/>
                <a:gdLst>
                  <a:gd name="connsiteX0" fmla="*/ 556641 w 556736"/>
                  <a:gd name="connsiteY0" fmla="*/ 26670 h 64198"/>
                  <a:gd name="connsiteX1" fmla="*/ 556736 w 556736"/>
                  <a:gd name="connsiteY1" fmla="*/ 63151 h 64198"/>
                  <a:gd name="connsiteX2" fmla="*/ 516446 w 556736"/>
                  <a:gd name="connsiteY2" fmla="*/ 63246 h 64198"/>
                  <a:gd name="connsiteX3" fmla="*/ 439674 w 556736"/>
                  <a:gd name="connsiteY3" fmla="*/ 63341 h 64198"/>
                  <a:gd name="connsiteX4" fmla="*/ 117158 w 556736"/>
                  <a:gd name="connsiteY4" fmla="*/ 63913 h 64198"/>
                  <a:gd name="connsiteX5" fmla="*/ 40386 w 556736"/>
                  <a:gd name="connsiteY5" fmla="*/ 64103 h 64198"/>
                  <a:gd name="connsiteX6" fmla="*/ 95 w 556736"/>
                  <a:gd name="connsiteY6" fmla="*/ 64198 h 64198"/>
                  <a:gd name="connsiteX7" fmla="*/ 0 w 556736"/>
                  <a:gd name="connsiteY7" fmla="*/ 27718 h 64198"/>
                  <a:gd name="connsiteX8" fmla="*/ 0 w 556736"/>
                  <a:gd name="connsiteY8" fmla="*/ 1048 h 64198"/>
                  <a:gd name="connsiteX9" fmla="*/ 57817 w 556736"/>
                  <a:gd name="connsiteY9" fmla="*/ 952 h 64198"/>
                  <a:gd name="connsiteX10" fmla="*/ 278321 w 556736"/>
                  <a:gd name="connsiteY10" fmla="*/ 572 h 64198"/>
                  <a:gd name="connsiteX11" fmla="*/ 498729 w 556736"/>
                  <a:gd name="connsiteY11" fmla="*/ 191 h 64198"/>
                  <a:gd name="connsiteX12" fmla="*/ 556641 w 556736"/>
                  <a:gd name="connsiteY12" fmla="*/ 0 h 64198"/>
                  <a:gd name="connsiteX13" fmla="*/ 556641 w 556736"/>
                  <a:gd name="connsiteY13" fmla="*/ 26670 h 6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56736" h="64198">
                    <a:moveTo>
                      <a:pt x="556641" y="26670"/>
                    </a:moveTo>
                    <a:lnTo>
                      <a:pt x="556736" y="63151"/>
                    </a:lnTo>
                    <a:lnTo>
                      <a:pt x="516446" y="63246"/>
                    </a:lnTo>
                    <a:lnTo>
                      <a:pt x="439674" y="63341"/>
                    </a:lnTo>
                    <a:cubicBezTo>
                      <a:pt x="359283" y="63437"/>
                      <a:pt x="197548" y="63818"/>
                      <a:pt x="117158" y="63913"/>
                    </a:cubicBezTo>
                    <a:lnTo>
                      <a:pt x="40386" y="64103"/>
                    </a:lnTo>
                    <a:lnTo>
                      <a:pt x="95" y="64198"/>
                    </a:lnTo>
                    <a:cubicBezTo>
                      <a:pt x="0" y="55531"/>
                      <a:pt x="0" y="41243"/>
                      <a:pt x="0" y="27718"/>
                    </a:cubicBezTo>
                    <a:cubicBezTo>
                      <a:pt x="0" y="17431"/>
                      <a:pt x="0" y="7525"/>
                      <a:pt x="0" y="1048"/>
                    </a:cubicBezTo>
                    <a:lnTo>
                      <a:pt x="57817" y="952"/>
                    </a:lnTo>
                    <a:lnTo>
                      <a:pt x="278321" y="572"/>
                    </a:lnTo>
                    <a:lnTo>
                      <a:pt x="498729" y="191"/>
                    </a:lnTo>
                    <a:lnTo>
                      <a:pt x="556641" y="0"/>
                    </a:lnTo>
                    <a:lnTo>
                      <a:pt x="556641" y="2667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EE234C4-2158-29B7-C775-3AD9D5DC1B4C}"/>
                  </a:ext>
                </a:extLst>
              </p:cNvPr>
              <p:cNvSpPr/>
              <p:nvPr/>
            </p:nvSpPr>
            <p:spPr>
              <a:xfrm>
                <a:off x="944115" y="3062850"/>
                <a:ext cx="105878" cy="168967"/>
              </a:xfrm>
              <a:custGeom>
                <a:avLst/>
                <a:gdLst>
                  <a:gd name="connsiteX0" fmla="*/ 220504 w 221075"/>
                  <a:gd name="connsiteY0" fmla="*/ 0 h 352806"/>
                  <a:gd name="connsiteX1" fmla="*/ 221075 w 221075"/>
                  <a:gd name="connsiteY1" fmla="*/ 352425 h 352806"/>
                  <a:gd name="connsiteX2" fmla="*/ 667 w 221075"/>
                  <a:gd name="connsiteY2" fmla="*/ 352806 h 352806"/>
                  <a:gd name="connsiteX3" fmla="*/ 0 w 221075"/>
                  <a:gd name="connsiteY3" fmla="*/ 381 h 352806"/>
                  <a:gd name="connsiteX4" fmla="*/ 220504 w 221075"/>
                  <a:gd name="connsiteY4" fmla="*/ 0 h 352806"/>
                  <a:gd name="connsiteX5" fmla="*/ 176117 w 221075"/>
                  <a:gd name="connsiteY5" fmla="*/ 306229 h 352806"/>
                  <a:gd name="connsiteX6" fmla="*/ 175927 w 221075"/>
                  <a:gd name="connsiteY6" fmla="*/ 217551 h 352806"/>
                  <a:gd name="connsiteX7" fmla="*/ 45339 w 221075"/>
                  <a:gd name="connsiteY7" fmla="*/ 217837 h 352806"/>
                  <a:gd name="connsiteX8" fmla="*/ 45529 w 221075"/>
                  <a:gd name="connsiteY8" fmla="*/ 306419 h 352806"/>
                  <a:gd name="connsiteX9" fmla="*/ 176117 w 221075"/>
                  <a:gd name="connsiteY9" fmla="*/ 306229 h 352806"/>
                  <a:gd name="connsiteX10" fmla="*/ 175831 w 221075"/>
                  <a:gd name="connsiteY10" fmla="*/ 145352 h 352806"/>
                  <a:gd name="connsiteX11" fmla="*/ 175641 w 221075"/>
                  <a:gd name="connsiteY11" fmla="*/ 56674 h 352806"/>
                  <a:gd name="connsiteX12" fmla="*/ 45053 w 221075"/>
                  <a:gd name="connsiteY12" fmla="*/ 56959 h 352806"/>
                  <a:gd name="connsiteX13" fmla="*/ 45244 w 221075"/>
                  <a:gd name="connsiteY13" fmla="*/ 145542 h 352806"/>
                  <a:gd name="connsiteX14" fmla="*/ 175831 w 221075"/>
                  <a:gd name="connsiteY14" fmla="*/ 145352 h 352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1075" h="352806">
                    <a:moveTo>
                      <a:pt x="220504" y="0"/>
                    </a:moveTo>
                    <a:cubicBezTo>
                      <a:pt x="220599" y="71342"/>
                      <a:pt x="220885" y="226886"/>
                      <a:pt x="221075" y="352425"/>
                    </a:cubicBezTo>
                    <a:cubicBezTo>
                      <a:pt x="166116" y="352520"/>
                      <a:pt x="55626" y="352711"/>
                      <a:pt x="667" y="352806"/>
                    </a:cubicBezTo>
                    <a:cubicBezTo>
                      <a:pt x="381" y="227362"/>
                      <a:pt x="95" y="72009"/>
                      <a:pt x="0" y="381"/>
                    </a:cubicBezTo>
                    <a:cubicBezTo>
                      <a:pt x="54959" y="286"/>
                      <a:pt x="165545" y="95"/>
                      <a:pt x="220504" y="0"/>
                    </a:cubicBezTo>
                    <a:close/>
                    <a:moveTo>
                      <a:pt x="176117" y="306229"/>
                    </a:moveTo>
                    <a:lnTo>
                      <a:pt x="175927" y="217551"/>
                    </a:lnTo>
                    <a:lnTo>
                      <a:pt x="45339" y="217837"/>
                    </a:lnTo>
                    <a:lnTo>
                      <a:pt x="45529" y="306419"/>
                    </a:lnTo>
                    <a:lnTo>
                      <a:pt x="176117" y="306229"/>
                    </a:lnTo>
                    <a:close/>
                    <a:moveTo>
                      <a:pt x="175831" y="145352"/>
                    </a:moveTo>
                    <a:lnTo>
                      <a:pt x="175641" y="56674"/>
                    </a:lnTo>
                    <a:lnTo>
                      <a:pt x="45053" y="56959"/>
                    </a:lnTo>
                    <a:lnTo>
                      <a:pt x="45244" y="145542"/>
                    </a:lnTo>
                    <a:lnTo>
                      <a:pt x="175831" y="14535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108F8ACD-E075-7D78-968D-91689B1E4F5C}"/>
                  </a:ext>
                </a:extLst>
              </p:cNvPr>
              <p:cNvSpPr/>
              <p:nvPr/>
            </p:nvSpPr>
            <p:spPr>
              <a:xfrm rot="21593666">
                <a:off x="883080" y="3006422"/>
                <a:ext cx="36767" cy="297106"/>
              </a:xfrm>
              <a:custGeom>
                <a:avLst/>
                <a:gdLst>
                  <a:gd name="connsiteX0" fmla="*/ 0 w 76771"/>
                  <a:gd name="connsiteY0" fmla="*/ 0 h 620364"/>
                  <a:gd name="connsiteX1" fmla="*/ 76772 w 76771"/>
                  <a:gd name="connsiteY1" fmla="*/ 0 h 620364"/>
                  <a:gd name="connsiteX2" fmla="*/ 76772 w 76771"/>
                  <a:gd name="connsiteY2" fmla="*/ 620364 h 620364"/>
                  <a:gd name="connsiteX3" fmla="*/ 0 w 76771"/>
                  <a:gd name="connsiteY3" fmla="*/ 620364 h 620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771" h="620364">
                    <a:moveTo>
                      <a:pt x="0" y="0"/>
                    </a:moveTo>
                    <a:lnTo>
                      <a:pt x="76772" y="0"/>
                    </a:lnTo>
                    <a:lnTo>
                      <a:pt x="76772" y="620364"/>
                    </a:lnTo>
                    <a:lnTo>
                      <a:pt x="0" y="620364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2F3BA9CC-AD8D-6AE8-2A81-A15ADAE5A5DC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76772 w 77914"/>
                  <a:gd name="connsiteY0" fmla="*/ 0 h 620458"/>
                  <a:gd name="connsiteX1" fmla="*/ 77915 w 77914"/>
                  <a:gd name="connsiteY1" fmla="*/ 620268 h 620458"/>
                  <a:gd name="connsiteX2" fmla="*/ 1143 w 77914"/>
                  <a:gd name="connsiteY2" fmla="*/ 620459 h 620458"/>
                  <a:gd name="connsiteX3" fmla="*/ 0 w 77914"/>
                  <a:gd name="connsiteY3" fmla="*/ 95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76772" y="0"/>
                    </a:moveTo>
                    <a:lnTo>
                      <a:pt x="77915" y="620268"/>
                    </a:lnTo>
                    <a:lnTo>
                      <a:pt x="1143" y="620459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35C45182-801F-2859-4A64-105DA7337460}"/>
                  </a:ext>
                </a:extLst>
              </p:cNvPr>
              <p:cNvSpPr/>
              <p:nvPr/>
            </p:nvSpPr>
            <p:spPr>
              <a:xfrm>
                <a:off x="1241631" y="3004780"/>
                <a:ext cx="249846" cy="235705"/>
              </a:xfrm>
              <a:custGeom>
                <a:avLst/>
                <a:gdLst>
                  <a:gd name="connsiteX0" fmla="*/ 520827 w 521684"/>
                  <a:gd name="connsiteY0" fmla="*/ 1143 h 492156"/>
                  <a:gd name="connsiteX1" fmla="*/ 521684 w 521684"/>
                  <a:gd name="connsiteY1" fmla="*/ 491204 h 492156"/>
                  <a:gd name="connsiteX2" fmla="*/ 857 w 521684"/>
                  <a:gd name="connsiteY2" fmla="*/ 492157 h 492156"/>
                  <a:gd name="connsiteX3" fmla="*/ 0 w 521684"/>
                  <a:gd name="connsiteY3" fmla="*/ 952 h 492156"/>
                  <a:gd name="connsiteX4" fmla="*/ 7525 w 521684"/>
                  <a:gd name="connsiteY4" fmla="*/ 952 h 492156"/>
                  <a:gd name="connsiteX5" fmla="*/ 520827 w 521684"/>
                  <a:gd name="connsiteY5" fmla="*/ 0 h 492156"/>
                  <a:gd name="connsiteX6" fmla="*/ 520827 w 521684"/>
                  <a:gd name="connsiteY6" fmla="*/ 1143 h 492156"/>
                  <a:gd name="connsiteX7" fmla="*/ 451675 w 521684"/>
                  <a:gd name="connsiteY7" fmla="*/ 297656 h 492156"/>
                  <a:gd name="connsiteX8" fmla="*/ 451485 w 521684"/>
                  <a:gd name="connsiteY8" fmla="*/ 231172 h 492156"/>
                  <a:gd name="connsiteX9" fmla="*/ 451295 w 521684"/>
                  <a:gd name="connsiteY9" fmla="*/ 123539 h 492156"/>
                  <a:gd name="connsiteX10" fmla="*/ 316135 w 521684"/>
                  <a:gd name="connsiteY10" fmla="*/ 123730 h 492156"/>
                  <a:gd name="connsiteX11" fmla="*/ 316325 w 521684"/>
                  <a:gd name="connsiteY11" fmla="*/ 231458 h 492156"/>
                  <a:gd name="connsiteX12" fmla="*/ 316421 w 521684"/>
                  <a:gd name="connsiteY12" fmla="*/ 297942 h 492156"/>
                  <a:gd name="connsiteX13" fmla="*/ 451675 w 521684"/>
                  <a:gd name="connsiteY13" fmla="*/ 297656 h 492156"/>
                  <a:gd name="connsiteX14" fmla="*/ 245554 w 521684"/>
                  <a:gd name="connsiteY14" fmla="*/ 298037 h 492156"/>
                  <a:gd name="connsiteX15" fmla="*/ 245459 w 521684"/>
                  <a:gd name="connsiteY15" fmla="*/ 231553 h 492156"/>
                  <a:gd name="connsiteX16" fmla="*/ 245269 w 521684"/>
                  <a:gd name="connsiteY16" fmla="*/ 123920 h 492156"/>
                  <a:gd name="connsiteX17" fmla="*/ 110014 w 521684"/>
                  <a:gd name="connsiteY17" fmla="*/ 124111 h 492156"/>
                  <a:gd name="connsiteX18" fmla="*/ 110204 w 521684"/>
                  <a:gd name="connsiteY18" fmla="*/ 231839 h 492156"/>
                  <a:gd name="connsiteX19" fmla="*/ 110300 w 521684"/>
                  <a:gd name="connsiteY19" fmla="*/ 298323 h 492156"/>
                  <a:gd name="connsiteX20" fmla="*/ 245554 w 521684"/>
                  <a:gd name="connsiteY20" fmla="*/ 298037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1684" h="492156">
                    <a:moveTo>
                      <a:pt x="520827" y="1143"/>
                    </a:moveTo>
                    <a:lnTo>
                      <a:pt x="521684" y="491204"/>
                    </a:lnTo>
                    <a:lnTo>
                      <a:pt x="857" y="492157"/>
                    </a:lnTo>
                    <a:lnTo>
                      <a:pt x="0" y="952"/>
                    </a:lnTo>
                    <a:lnTo>
                      <a:pt x="7525" y="952"/>
                    </a:lnTo>
                    <a:lnTo>
                      <a:pt x="520827" y="0"/>
                    </a:lnTo>
                    <a:lnTo>
                      <a:pt x="520827" y="1143"/>
                    </a:lnTo>
                    <a:close/>
                    <a:moveTo>
                      <a:pt x="451675" y="297656"/>
                    </a:moveTo>
                    <a:lnTo>
                      <a:pt x="451485" y="231172"/>
                    </a:lnTo>
                    <a:lnTo>
                      <a:pt x="451295" y="123539"/>
                    </a:lnTo>
                    <a:lnTo>
                      <a:pt x="316135" y="123730"/>
                    </a:lnTo>
                    <a:lnTo>
                      <a:pt x="316325" y="231458"/>
                    </a:lnTo>
                    <a:lnTo>
                      <a:pt x="316421" y="297942"/>
                    </a:lnTo>
                    <a:lnTo>
                      <a:pt x="451675" y="297656"/>
                    </a:lnTo>
                    <a:close/>
                    <a:moveTo>
                      <a:pt x="245554" y="298037"/>
                    </a:moveTo>
                    <a:lnTo>
                      <a:pt x="245459" y="231553"/>
                    </a:lnTo>
                    <a:lnTo>
                      <a:pt x="245269" y="123920"/>
                    </a:lnTo>
                    <a:lnTo>
                      <a:pt x="110014" y="124111"/>
                    </a:lnTo>
                    <a:lnTo>
                      <a:pt x="110204" y="231839"/>
                    </a:lnTo>
                    <a:lnTo>
                      <a:pt x="110300" y="298323"/>
                    </a:lnTo>
                    <a:lnTo>
                      <a:pt x="245554" y="298037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87CEB7DD-729C-7569-A759-8EC7498CBAD6}"/>
                  </a:ext>
                </a:extLst>
              </p:cNvPr>
              <p:cNvSpPr/>
              <p:nvPr/>
            </p:nvSpPr>
            <p:spPr>
              <a:xfrm>
                <a:off x="502540" y="3006148"/>
                <a:ext cx="249891" cy="235705"/>
              </a:xfrm>
              <a:custGeom>
                <a:avLst/>
                <a:gdLst>
                  <a:gd name="connsiteX0" fmla="*/ 520922 w 521779"/>
                  <a:gd name="connsiteY0" fmla="*/ 0 h 492156"/>
                  <a:gd name="connsiteX1" fmla="*/ 521779 w 521779"/>
                  <a:gd name="connsiteY1" fmla="*/ 491204 h 492156"/>
                  <a:gd name="connsiteX2" fmla="*/ 952 w 521779"/>
                  <a:gd name="connsiteY2" fmla="*/ 492157 h 492156"/>
                  <a:gd name="connsiteX3" fmla="*/ 857 w 521779"/>
                  <a:gd name="connsiteY3" fmla="*/ 492157 h 492156"/>
                  <a:gd name="connsiteX4" fmla="*/ 0 w 521779"/>
                  <a:gd name="connsiteY4" fmla="*/ 2096 h 492156"/>
                  <a:gd name="connsiteX5" fmla="*/ 0 w 521779"/>
                  <a:gd name="connsiteY5" fmla="*/ 952 h 492156"/>
                  <a:gd name="connsiteX6" fmla="*/ 513302 w 521779"/>
                  <a:gd name="connsiteY6" fmla="*/ 0 h 492156"/>
                  <a:gd name="connsiteX7" fmla="*/ 520922 w 521779"/>
                  <a:gd name="connsiteY7" fmla="*/ 0 h 492156"/>
                  <a:gd name="connsiteX8" fmla="*/ 411575 w 521779"/>
                  <a:gd name="connsiteY8" fmla="*/ 297752 h 492156"/>
                  <a:gd name="connsiteX9" fmla="*/ 411480 w 521779"/>
                  <a:gd name="connsiteY9" fmla="*/ 231267 h 492156"/>
                  <a:gd name="connsiteX10" fmla="*/ 411290 w 521779"/>
                  <a:gd name="connsiteY10" fmla="*/ 123539 h 492156"/>
                  <a:gd name="connsiteX11" fmla="*/ 276035 w 521779"/>
                  <a:gd name="connsiteY11" fmla="*/ 123825 h 492156"/>
                  <a:gd name="connsiteX12" fmla="*/ 276225 w 521779"/>
                  <a:gd name="connsiteY12" fmla="*/ 231553 h 492156"/>
                  <a:gd name="connsiteX13" fmla="*/ 276416 w 521779"/>
                  <a:gd name="connsiteY13" fmla="*/ 297942 h 492156"/>
                  <a:gd name="connsiteX14" fmla="*/ 411575 w 521779"/>
                  <a:gd name="connsiteY14" fmla="*/ 297752 h 492156"/>
                  <a:gd name="connsiteX15" fmla="*/ 205550 w 521779"/>
                  <a:gd name="connsiteY15" fmla="*/ 298133 h 492156"/>
                  <a:gd name="connsiteX16" fmla="*/ 205359 w 521779"/>
                  <a:gd name="connsiteY16" fmla="*/ 231648 h 492156"/>
                  <a:gd name="connsiteX17" fmla="*/ 205169 w 521779"/>
                  <a:gd name="connsiteY17" fmla="*/ 123920 h 492156"/>
                  <a:gd name="connsiteX18" fmla="*/ 70009 w 521779"/>
                  <a:gd name="connsiteY18" fmla="*/ 124206 h 492156"/>
                  <a:gd name="connsiteX19" fmla="*/ 70199 w 521779"/>
                  <a:gd name="connsiteY19" fmla="*/ 231934 h 492156"/>
                  <a:gd name="connsiteX20" fmla="*/ 70295 w 521779"/>
                  <a:gd name="connsiteY20" fmla="*/ 298323 h 492156"/>
                  <a:gd name="connsiteX21" fmla="*/ 205550 w 521779"/>
                  <a:gd name="connsiteY21" fmla="*/ 298133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1779" h="492156">
                    <a:moveTo>
                      <a:pt x="520922" y="0"/>
                    </a:moveTo>
                    <a:lnTo>
                      <a:pt x="521779" y="491204"/>
                    </a:lnTo>
                    <a:lnTo>
                      <a:pt x="952" y="492157"/>
                    </a:lnTo>
                    <a:lnTo>
                      <a:pt x="857" y="492157"/>
                    </a:lnTo>
                    <a:lnTo>
                      <a:pt x="0" y="2096"/>
                    </a:lnTo>
                    <a:lnTo>
                      <a:pt x="0" y="952"/>
                    </a:lnTo>
                    <a:lnTo>
                      <a:pt x="513302" y="0"/>
                    </a:lnTo>
                    <a:lnTo>
                      <a:pt x="520922" y="0"/>
                    </a:lnTo>
                    <a:close/>
                    <a:moveTo>
                      <a:pt x="411575" y="297752"/>
                    </a:moveTo>
                    <a:lnTo>
                      <a:pt x="411480" y="231267"/>
                    </a:lnTo>
                    <a:lnTo>
                      <a:pt x="411290" y="123539"/>
                    </a:lnTo>
                    <a:lnTo>
                      <a:pt x="276035" y="123825"/>
                    </a:lnTo>
                    <a:lnTo>
                      <a:pt x="276225" y="231553"/>
                    </a:lnTo>
                    <a:lnTo>
                      <a:pt x="276416" y="297942"/>
                    </a:lnTo>
                    <a:lnTo>
                      <a:pt x="411575" y="297752"/>
                    </a:lnTo>
                    <a:close/>
                    <a:moveTo>
                      <a:pt x="205550" y="298133"/>
                    </a:moveTo>
                    <a:lnTo>
                      <a:pt x="205359" y="231648"/>
                    </a:lnTo>
                    <a:lnTo>
                      <a:pt x="205169" y="123920"/>
                    </a:lnTo>
                    <a:lnTo>
                      <a:pt x="70009" y="124206"/>
                    </a:lnTo>
                    <a:lnTo>
                      <a:pt x="70199" y="231934"/>
                    </a:lnTo>
                    <a:lnTo>
                      <a:pt x="70295" y="298323"/>
                    </a:lnTo>
                    <a:lnTo>
                      <a:pt x="205550" y="29813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7D3C4918-1CB3-1302-CECB-EBFBEA5AB784}"/>
                  </a:ext>
                </a:extLst>
              </p:cNvPr>
              <p:cNvSpPr/>
              <p:nvPr/>
            </p:nvSpPr>
            <p:spPr>
              <a:xfrm>
                <a:off x="502950" y="3241397"/>
                <a:ext cx="249618" cy="62861"/>
              </a:xfrm>
              <a:custGeom>
                <a:avLst/>
                <a:gdLst>
                  <a:gd name="connsiteX0" fmla="*/ 520922 w 521208"/>
                  <a:gd name="connsiteY0" fmla="*/ 0 h 131254"/>
                  <a:gd name="connsiteX1" fmla="*/ 521208 w 521208"/>
                  <a:gd name="connsiteY1" fmla="*/ 130302 h 131254"/>
                  <a:gd name="connsiteX2" fmla="*/ 286 w 521208"/>
                  <a:gd name="connsiteY2" fmla="*/ 131254 h 131254"/>
                  <a:gd name="connsiteX3" fmla="*/ 0 w 521208"/>
                  <a:gd name="connsiteY3" fmla="*/ 952 h 131254"/>
                  <a:gd name="connsiteX4" fmla="*/ 95 w 521208"/>
                  <a:gd name="connsiteY4" fmla="*/ 952 h 131254"/>
                  <a:gd name="connsiteX5" fmla="*/ 520922 w 521208"/>
                  <a:gd name="connsiteY5" fmla="*/ 0 h 131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208" h="131254">
                    <a:moveTo>
                      <a:pt x="520922" y="0"/>
                    </a:moveTo>
                    <a:lnTo>
                      <a:pt x="521208" y="130302"/>
                    </a:lnTo>
                    <a:cubicBezTo>
                      <a:pt x="343948" y="130683"/>
                      <a:pt x="142208" y="131064"/>
                      <a:pt x="286" y="131254"/>
                    </a:cubicBezTo>
                    <a:lnTo>
                      <a:pt x="0" y="952"/>
                    </a:lnTo>
                    <a:lnTo>
                      <a:pt x="95" y="952"/>
                    </a:lnTo>
                    <a:lnTo>
                      <a:pt x="520922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B3206BA5-D951-D0D1-BFA5-3EA148C54C4C}"/>
                  </a:ext>
                </a:extLst>
              </p:cNvPr>
              <p:cNvSpPr/>
              <p:nvPr/>
            </p:nvSpPr>
            <p:spPr>
              <a:xfrm rot="21592461">
                <a:off x="1242089" y="3240257"/>
                <a:ext cx="249436" cy="62405"/>
              </a:xfrm>
              <a:custGeom>
                <a:avLst/>
                <a:gdLst>
                  <a:gd name="connsiteX0" fmla="*/ 0 w 520828"/>
                  <a:gd name="connsiteY0" fmla="*/ 0 h 130302"/>
                  <a:gd name="connsiteX1" fmla="*/ 520828 w 520828"/>
                  <a:gd name="connsiteY1" fmla="*/ 0 h 130302"/>
                  <a:gd name="connsiteX2" fmla="*/ 520828 w 520828"/>
                  <a:gd name="connsiteY2" fmla="*/ 130302 h 130302"/>
                  <a:gd name="connsiteX3" fmla="*/ 0 w 520828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8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DF340203-0991-94A3-CD40-B86420931A44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641"/>
              </a:xfrm>
              <a:custGeom>
                <a:avLst/>
                <a:gdLst>
                  <a:gd name="connsiteX0" fmla="*/ 1201864 w 1201864"/>
                  <a:gd name="connsiteY0" fmla="*/ 371666 h 375094"/>
                  <a:gd name="connsiteX1" fmla="*/ 1201864 w 1201864"/>
                  <a:gd name="connsiteY1" fmla="*/ 371666 h 375094"/>
                  <a:gd name="connsiteX2" fmla="*/ 792194 w 1201864"/>
                  <a:gd name="connsiteY2" fmla="*/ 372428 h 375094"/>
                  <a:gd name="connsiteX3" fmla="*/ 788956 w 1201864"/>
                  <a:gd name="connsiteY3" fmla="*/ 375095 h 375094"/>
                  <a:gd name="connsiteX4" fmla="*/ 600551 w 1201864"/>
                  <a:gd name="connsiteY4" fmla="*/ 145828 h 375094"/>
                  <a:gd name="connsiteX5" fmla="*/ 415100 w 1201864"/>
                  <a:gd name="connsiteY5" fmla="*/ 373190 h 375094"/>
                  <a:gd name="connsiteX6" fmla="*/ 415004 w 1201864"/>
                  <a:gd name="connsiteY6" fmla="*/ 373190 h 375094"/>
                  <a:gd name="connsiteX7" fmla="*/ 0 w 1201864"/>
                  <a:gd name="connsiteY7" fmla="*/ 373856 h 375094"/>
                  <a:gd name="connsiteX8" fmla="*/ 84011 w 1201864"/>
                  <a:gd name="connsiteY8" fmla="*/ 134588 h 375094"/>
                  <a:gd name="connsiteX9" fmla="*/ 130683 w 1201864"/>
                  <a:gd name="connsiteY9" fmla="*/ 1714 h 375094"/>
                  <a:gd name="connsiteX10" fmla="*/ 1069753 w 1201864"/>
                  <a:gd name="connsiteY10" fmla="*/ 0 h 375094"/>
                  <a:gd name="connsiteX11" fmla="*/ 1116902 w 1201864"/>
                  <a:gd name="connsiteY11" fmla="*/ 132683 h 375094"/>
                  <a:gd name="connsiteX12" fmla="*/ 1201864 w 1201864"/>
                  <a:gd name="connsiteY12" fmla="*/ 371666 h 375094"/>
                  <a:gd name="connsiteX13" fmla="*/ 866204 w 1201864"/>
                  <a:gd name="connsiteY13" fmla="*/ 330137 h 375094"/>
                  <a:gd name="connsiteX14" fmla="*/ 1019651 w 1201864"/>
                  <a:gd name="connsiteY14" fmla="*/ 329851 h 375094"/>
                  <a:gd name="connsiteX15" fmla="*/ 942594 w 1201864"/>
                  <a:gd name="connsiteY15" fmla="*/ 132207 h 375094"/>
                  <a:gd name="connsiteX16" fmla="*/ 866204 w 1201864"/>
                  <a:gd name="connsiteY16" fmla="*/ 330137 h 375094"/>
                  <a:gd name="connsiteX17" fmla="*/ 182023 w 1201864"/>
                  <a:gd name="connsiteY17" fmla="*/ 331375 h 375094"/>
                  <a:gd name="connsiteX18" fmla="*/ 335566 w 1201864"/>
                  <a:gd name="connsiteY18" fmla="*/ 331089 h 375094"/>
                  <a:gd name="connsiteX19" fmla="*/ 258604 w 1201864"/>
                  <a:gd name="connsiteY19" fmla="*/ 133541 h 375094"/>
                  <a:gd name="connsiteX20" fmla="*/ 182023 w 1201864"/>
                  <a:gd name="connsiteY20" fmla="*/ 331375 h 37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01864" h="375094">
                    <a:moveTo>
                      <a:pt x="1201864" y="371666"/>
                    </a:moveTo>
                    <a:lnTo>
                      <a:pt x="1201864" y="371666"/>
                    </a:lnTo>
                    <a:lnTo>
                      <a:pt x="792194" y="372428"/>
                    </a:lnTo>
                    <a:lnTo>
                      <a:pt x="788956" y="375095"/>
                    </a:lnTo>
                    <a:lnTo>
                      <a:pt x="600551" y="145828"/>
                    </a:lnTo>
                    <a:lnTo>
                      <a:pt x="415100" y="373190"/>
                    </a:lnTo>
                    <a:lnTo>
                      <a:pt x="415004" y="373190"/>
                    </a:lnTo>
                    <a:lnTo>
                      <a:pt x="0" y="373856"/>
                    </a:lnTo>
                    <a:lnTo>
                      <a:pt x="84011" y="134588"/>
                    </a:lnTo>
                    <a:lnTo>
                      <a:pt x="130683" y="1714"/>
                    </a:lnTo>
                    <a:cubicBezTo>
                      <a:pt x="364712" y="1238"/>
                      <a:pt x="835724" y="381"/>
                      <a:pt x="1069753" y="0"/>
                    </a:cubicBezTo>
                    <a:lnTo>
                      <a:pt x="1116902" y="132683"/>
                    </a:lnTo>
                    <a:lnTo>
                      <a:pt x="1201864" y="371666"/>
                    </a:lnTo>
                    <a:close/>
                    <a:moveTo>
                      <a:pt x="866204" y="330137"/>
                    </a:moveTo>
                    <a:lnTo>
                      <a:pt x="1019651" y="329851"/>
                    </a:lnTo>
                    <a:cubicBezTo>
                      <a:pt x="1016603" y="267081"/>
                      <a:pt x="1043178" y="130112"/>
                      <a:pt x="942594" y="132207"/>
                    </a:cubicBezTo>
                    <a:cubicBezTo>
                      <a:pt x="842010" y="130493"/>
                      <a:pt x="869061" y="267176"/>
                      <a:pt x="866204" y="330137"/>
                    </a:cubicBezTo>
                    <a:close/>
                    <a:moveTo>
                      <a:pt x="182023" y="331375"/>
                    </a:moveTo>
                    <a:lnTo>
                      <a:pt x="335566" y="331089"/>
                    </a:lnTo>
                    <a:cubicBezTo>
                      <a:pt x="332423" y="268415"/>
                      <a:pt x="358997" y="131445"/>
                      <a:pt x="258604" y="133541"/>
                    </a:cubicBezTo>
                    <a:cubicBezTo>
                      <a:pt x="157734" y="131636"/>
                      <a:pt x="184975" y="268415"/>
                      <a:pt x="182023" y="3313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F548B31A-9B30-D480-1E18-30EB1531E98A}"/>
                  </a:ext>
                </a:extLst>
              </p:cNvPr>
              <p:cNvSpPr/>
              <p:nvPr/>
            </p:nvSpPr>
            <p:spPr>
              <a:xfrm>
                <a:off x="1243821" y="2840055"/>
                <a:ext cx="247200" cy="135985"/>
              </a:xfrm>
              <a:custGeom>
                <a:avLst/>
                <a:gdLst>
                  <a:gd name="connsiteX0" fmla="*/ 516160 w 516159"/>
                  <a:gd name="connsiteY0" fmla="*/ 282035 h 283940"/>
                  <a:gd name="connsiteX1" fmla="*/ 516160 w 516159"/>
                  <a:gd name="connsiteY1" fmla="*/ 283178 h 283940"/>
                  <a:gd name="connsiteX2" fmla="*/ 114967 w 516159"/>
                  <a:gd name="connsiteY2" fmla="*/ 283940 h 283940"/>
                  <a:gd name="connsiteX3" fmla="*/ 114871 w 516159"/>
                  <a:gd name="connsiteY3" fmla="*/ 240506 h 283940"/>
                  <a:gd name="connsiteX4" fmla="*/ 84963 w 516159"/>
                  <a:gd name="connsiteY4" fmla="*/ 240601 h 283940"/>
                  <a:gd name="connsiteX5" fmla="*/ 84963 w 516159"/>
                  <a:gd name="connsiteY5" fmla="*/ 240506 h 283940"/>
                  <a:gd name="connsiteX6" fmla="*/ 0 w 516159"/>
                  <a:gd name="connsiteY6" fmla="*/ 1524 h 283940"/>
                  <a:gd name="connsiteX7" fmla="*/ 2286 w 516159"/>
                  <a:gd name="connsiteY7" fmla="*/ 762 h 283940"/>
                  <a:gd name="connsiteX8" fmla="*/ 415957 w 516159"/>
                  <a:gd name="connsiteY8" fmla="*/ 0 h 28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6159" h="283940">
                    <a:moveTo>
                      <a:pt x="516160" y="282035"/>
                    </a:moveTo>
                    <a:lnTo>
                      <a:pt x="516160" y="283178"/>
                    </a:lnTo>
                    <a:lnTo>
                      <a:pt x="114967" y="283940"/>
                    </a:lnTo>
                    <a:lnTo>
                      <a:pt x="114871" y="240506"/>
                    </a:lnTo>
                    <a:lnTo>
                      <a:pt x="84963" y="240601"/>
                    </a:lnTo>
                    <a:lnTo>
                      <a:pt x="84963" y="240506"/>
                    </a:lnTo>
                    <a:lnTo>
                      <a:pt x="0" y="1524"/>
                    </a:lnTo>
                    <a:lnTo>
                      <a:pt x="2286" y="762"/>
                    </a:lnTo>
                    <a:lnTo>
                      <a:pt x="415957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2A3B7110-7280-7B1A-5A55-D8FDBC0B3073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6652" cy="136168"/>
              </a:xfrm>
              <a:custGeom>
                <a:avLst/>
                <a:gdLst>
                  <a:gd name="connsiteX0" fmla="*/ 515017 w 515016"/>
                  <a:gd name="connsiteY0" fmla="*/ 762 h 284321"/>
                  <a:gd name="connsiteX1" fmla="*/ 431006 w 515016"/>
                  <a:gd name="connsiteY1" fmla="*/ 240030 h 284321"/>
                  <a:gd name="connsiteX2" fmla="*/ 401098 w 515016"/>
                  <a:gd name="connsiteY2" fmla="*/ 240125 h 284321"/>
                  <a:gd name="connsiteX3" fmla="*/ 401193 w 515016"/>
                  <a:gd name="connsiteY3" fmla="*/ 283559 h 284321"/>
                  <a:gd name="connsiteX4" fmla="*/ 0 w 515016"/>
                  <a:gd name="connsiteY4" fmla="*/ 284321 h 284321"/>
                  <a:gd name="connsiteX5" fmla="*/ 0 w 515016"/>
                  <a:gd name="connsiteY5" fmla="*/ 283178 h 284321"/>
                  <a:gd name="connsiteX6" fmla="*/ 99155 w 515016"/>
                  <a:gd name="connsiteY6" fmla="*/ 762 h 284321"/>
                  <a:gd name="connsiteX7" fmla="*/ 512826 w 515016"/>
                  <a:gd name="connsiteY7" fmla="*/ 0 h 2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5016" h="284321">
                    <a:moveTo>
                      <a:pt x="515017" y="762"/>
                    </a:moveTo>
                    <a:lnTo>
                      <a:pt x="431006" y="240030"/>
                    </a:lnTo>
                    <a:lnTo>
                      <a:pt x="401098" y="240125"/>
                    </a:lnTo>
                    <a:lnTo>
                      <a:pt x="401193" y="283559"/>
                    </a:lnTo>
                    <a:lnTo>
                      <a:pt x="0" y="284321"/>
                    </a:lnTo>
                    <a:lnTo>
                      <a:pt x="0" y="283178"/>
                    </a:lnTo>
                    <a:lnTo>
                      <a:pt x="99155" y="762"/>
                    </a:lnTo>
                    <a:lnTo>
                      <a:pt x="512826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61085AE-7999-CE11-B422-0A2AC8940B75}"/>
                  </a:ext>
                </a:extLst>
              </p:cNvPr>
              <p:cNvSpPr/>
              <p:nvPr/>
            </p:nvSpPr>
            <p:spPr>
              <a:xfrm>
                <a:off x="882805" y="3006376"/>
                <a:ext cx="37315" cy="297197"/>
              </a:xfrm>
              <a:custGeom>
                <a:avLst/>
                <a:gdLst>
                  <a:gd name="connsiteX0" fmla="*/ 77915 w 77914"/>
                  <a:gd name="connsiteY0" fmla="*/ 620363 h 620553"/>
                  <a:gd name="connsiteX1" fmla="*/ 1143 w 77914"/>
                  <a:gd name="connsiteY1" fmla="*/ 620554 h 620553"/>
                  <a:gd name="connsiteX2" fmla="*/ 0 w 77914"/>
                  <a:gd name="connsiteY2" fmla="*/ 191 h 620553"/>
                  <a:gd name="connsiteX3" fmla="*/ 76772 w 77914"/>
                  <a:gd name="connsiteY3" fmla="*/ 0 h 62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553">
                    <a:moveTo>
                      <a:pt x="77915" y="620363"/>
                    </a:moveTo>
                    <a:lnTo>
                      <a:pt x="1143" y="620554"/>
                    </a:lnTo>
                    <a:lnTo>
                      <a:pt x="0" y="191"/>
                    </a:lnTo>
                    <a:lnTo>
                      <a:pt x="76772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54843815-7A63-D6CE-246C-78F73133C6F6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FC3DE896-30ED-8C83-08AE-6EF6B57AA106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44196 w 153638"/>
                  <a:gd name="connsiteY0" fmla="*/ 190 h 75723"/>
                  <a:gd name="connsiteX1" fmla="*/ 0 w 153638"/>
                  <a:gd name="connsiteY1" fmla="*/ 286 h 75723"/>
                  <a:gd name="connsiteX2" fmla="*/ 190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190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578849BE-A1D7-8F26-DA26-5C7437E0C442}"/>
                  </a:ext>
                </a:extLst>
              </p:cNvPr>
              <p:cNvSpPr/>
              <p:nvPr/>
            </p:nvSpPr>
            <p:spPr>
              <a:xfrm rot="21594967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368817BA-9EB4-AE34-6797-4BF328081AA9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381 w 153733"/>
                  <a:gd name="connsiteY0" fmla="*/ 198025 h 198024"/>
                  <a:gd name="connsiteX1" fmla="*/ 0 w 153733"/>
                  <a:gd name="connsiteY1" fmla="*/ 286 h 198024"/>
                  <a:gd name="connsiteX2" fmla="*/ 153543 w 153733"/>
                  <a:gd name="connsiteY2" fmla="*/ 0 h 198024"/>
                  <a:gd name="connsiteX3" fmla="*/ 153734 w 153733"/>
                  <a:gd name="connsiteY3" fmla="*/ 122301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733" h="198024">
                    <a:moveTo>
                      <a:pt x="381" y="198025"/>
                    </a:moveTo>
                    <a:lnTo>
                      <a:pt x="0" y="286"/>
                    </a:lnTo>
                    <a:lnTo>
                      <a:pt x="153543" y="0"/>
                    </a:lnTo>
                    <a:lnTo>
                      <a:pt x="153734" y="12230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487FFA96-5351-7B0E-2360-50947018C79C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44196 w 153543"/>
                  <a:gd name="connsiteY0" fmla="*/ 190 h 75723"/>
                  <a:gd name="connsiteX1" fmla="*/ 0 w 153543"/>
                  <a:gd name="connsiteY1" fmla="*/ 286 h 75723"/>
                  <a:gd name="connsiteX2" fmla="*/ 95 w 153543"/>
                  <a:gd name="connsiteY2" fmla="*/ 75724 h 75723"/>
                  <a:gd name="connsiteX3" fmla="*/ 153543 w 153543"/>
                  <a:gd name="connsiteY3" fmla="*/ 75438 h 75723"/>
                  <a:gd name="connsiteX4" fmla="*/ 153448 w 153543"/>
                  <a:gd name="connsiteY4" fmla="*/ 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543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0ABCC108-84F3-E50A-512D-99AAF6507B57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246 w 65246"/>
                  <a:gd name="connsiteY0" fmla="*/ 74200 h 74294"/>
                  <a:gd name="connsiteX1" fmla="*/ 190 w 65246"/>
                  <a:gd name="connsiteY1" fmla="*/ 74295 h 74294"/>
                  <a:gd name="connsiteX2" fmla="*/ 0 w 65246"/>
                  <a:gd name="connsiteY2" fmla="*/ 190 h 74294"/>
                  <a:gd name="connsiteX3" fmla="*/ 65056 w 65246"/>
                  <a:gd name="connsiteY3" fmla="*/ 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246" y="74200"/>
                    </a:moveTo>
                    <a:lnTo>
                      <a:pt x="190" y="74295"/>
                    </a:lnTo>
                    <a:lnTo>
                      <a:pt x="0" y="190"/>
                    </a:lnTo>
                    <a:lnTo>
                      <a:pt x="65056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AEC0CBBB-1F20-3BC3-9C68-3EE30D524187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4AF7C1CC-C922-31AE-355B-2C54CA869B4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44196 w 153638"/>
                  <a:gd name="connsiteY0" fmla="*/ 191 h 75723"/>
                  <a:gd name="connsiteX1" fmla="*/ 0 w 153638"/>
                  <a:gd name="connsiteY1" fmla="*/ 286 h 75723"/>
                  <a:gd name="connsiteX2" fmla="*/ 95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1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9EFE9F2B-09D3-D406-06F5-D93083E5D28B}"/>
                  </a:ext>
                </a:extLst>
              </p:cNvPr>
              <p:cNvSpPr/>
              <p:nvPr/>
            </p:nvSpPr>
            <p:spPr>
              <a:xfrm rot="21594967">
                <a:off x="1160981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C81BF508-130E-A2A2-B587-9A9B8A6F47BB}"/>
                  </a:ext>
                </a:extLst>
              </p:cNvPr>
              <p:cNvSpPr/>
              <p:nvPr/>
            </p:nvSpPr>
            <p:spPr>
              <a:xfrm>
                <a:off x="751975" y="2989269"/>
                <a:ext cx="593" cy="314531"/>
              </a:xfrm>
              <a:custGeom>
                <a:avLst/>
                <a:gdLst>
                  <a:gd name="connsiteX0" fmla="*/ 0 w 1238"/>
                  <a:gd name="connsiteY0" fmla="*/ 0 h 656748"/>
                  <a:gd name="connsiteX1" fmla="*/ 95 w 1238"/>
                  <a:gd name="connsiteY1" fmla="*/ 35243 h 656748"/>
                  <a:gd name="connsiteX2" fmla="*/ 952 w 1238"/>
                  <a:gd name="connsiteY2" fmla="*/ 526447 h 656748"/>
                  <a:gd name="connsiteX3" fmla="*/ 1238 w 1238"/>
                  <a:gd name="connsiteY3" fmla="*/ 656749 h 65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656748">
                    <a:moveTo>
                      <a:pt x="0" y="0"/>
                    </a:moveTo>
                    <a:lnTo>
                      <a:pt x="95" y="35243"/>
                    </a:lnTo>
                    <a:lnTo>
                      <a:pt x="952" y="526447"/>
                    </a:lnTo>
                    <a:lnTo>
                      <a:pt x="1238" y="65674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ECECEBE3-B253-A6EF-8738-08BCA41B98A8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352615 w 444912"/>
                  <a:gd name="connsiteY0" fmla="*/ 69056 h 69722"/>
                  <a:gd name="connsiteX1" fmla="*/ 119824 w 444912"/>
                  <a:gd name="connsiteY1" fmla="*/ 69532 h 69722"/>
                  <a:gd name="connsiteX2" fmla="*/ 190 w 444912"/>
                  <a:gd name="connsiteY2" fmla="*/ 69723 h 69722"/>
                  <a:gd name="connsiteX3" fmla="*/ 95 w 444912"/>
                  <a:gd name="connsiteY3" fmla="*/ 44196 h 69722"/>
                  <a:gd name="connsiteX4" fmla="*/ 0 w 444912"/>
                  <a:gd name="connsiteY4" fmla="*/ 762 h 69722"/>
                  <a:gd name="connsiteX5" fmla="*/ 29908 w 444912"/>
                  <a:gd name="connsiteY5" fmla="*/ 667 h 69722"/>
                  <a:gd name="connsiteX6" fmla="*/ 444913 w 444912"/>
                  <a:gd name="connsiteY6" fmla="*/ 0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912" h="69722">
                    <a:moveTo>
                      <a:pt x="352615" y="69056"/>
                    </a:move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lnTo>
                      <a:pt x="444913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C398A659-FD87-5C31-22C9-F565DF00D340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0 w 440912"/>
                  <a:gd name="connsiteY0" fmla="*/ 269653 h 269652"/>
                  <a:gd name="connsiteX1" fmla="*/ 220504 w 440912"/>
                  <a:gd name="connsiteY1" fmla="*/ 269272 h 269652"/>
                  <a:gd name="connsiteX2" fmla="*/ 440912 w 440912"/>
                  <a:gd name="connsiteY2" fmla="*/ 268891 h 269652"/>
                  <a:gd name="connsiteX3" fmla="*/ 408432 w 440912"/>
                  <a:gd name="connsiteY3" fmla="*/ 229267 h 269652"/>
                  <a:gd name="connsiteX4" fmla="*/ 220027 w 440912"/>
                  <a:gd name="connsiteY4" fmla="*/ 0 h 269652"/>
                  <a:gd name="connsiteX5" fmla="*/ 34576 w 440912"/>
                  <a:gd name="connsiteY5" fmla="*/ 227362 h 269652"/>
                  <a:gd name="connsiteX6" fmla="*/ 34481 w 440912"/>
                  <a:gd name="connsiteY6" fmla="*/ 227362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0" y="269653"/>
                    </a:moveTo>
                    <a:lnTo>
                      <a:pt x="220504" y="269272"/>
                    </a:lnTo>
                    <a:lnTo>
                      <a:pt x="440912" y="268891"/>
                    </a:lnTo>
                    <a:lnTo>
                      <a:pt x="408432" y="229267"/>
                    </a:lnTo>
                    <a:lnTo>
                      <a:pt x="220027" y="0"/>
                    </a:lnTo>
                    <a:lnTo>
                      <a:pt x="34576" y="227362"/>
                    </a:lnTo>
                    <a:lnTo>
                      <a:pt x="34481" y="22736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420678C2-FD1E-A410-231C-50439D063438}"/>
                  </a:ext>
                </a:extLst>
              </p:cNvPr>
              <p:cNvSpPr/>
              <p:nvPr/>
            </p:nvSpPr>
            <p:spPr>
              <a:xfrm>
                <a:off x="863464" y="2976223"/>
                <a:ext cx="27689" cy="30289"/>
              </a:xfrm>
              <a:custGeom>
                <a:avLst/>
                <a:gdLst>
                  <a:gd name="connsiteX0" fmla="*/ 57817 w 57816"/>
                  <a:gd name="connsiteY0" fmla="*/ 0 h 63245"/>
                  <a:gd name="connsiteX1" fmla="*/ 0 w 57816"/>
                  <a:gd name="connsiteY1" fmla="*/ 95 h 63245"/>
                  <a:gd name="connsiteX2" fmla="*/ 0 w 57816"/>
                  <a:gd name="connsiteY2" fmla="*/ 26765 h 63245"/>
                  <a:gd name="connsiteX3" fmla="*/ 95 w 57816"/>
                  <a:gd name="connsiteY3" fmla="*/ 63246 h 63245"/>
                  <a:gd name="connsiteX4" fmla="*/ 40386 w 57816"/>
                  <a:gd name="connsiteY4" fmla="*/ 63151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16" h="63245">
                    <a:moveTo>
                      <a:pt x="57817" y="0"/>
                    </a:moveTo>
                    <a:lnTo>
                      <a:pt x="0" y="95"/>
                    </a:lnTo>
                    <a:cubicBezTo>
                      <a:pt x="0" y="6572"/>
                      <a:pt x="0" y="16478"/>
                      <a:pt x="0" y="26765"/>
                    </a:cubicBezTo>
                    <a:cubicBezTo>
                      <a:pt x="0" y="40291"/>
                      <a:pt x="0" y="54578"/>
                      <a:pt x="95" y="63246"/>
                    </a:cubicBezTo>
                    <a:lnTo>
                      <a:pt x="40386" y="631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52C7C06B-B576-1D4F-FD21-36E38AF2BCCF}"/>
                  </a:ext>
                </a:extLst>
              </p:cNvPr>
              <p:cNvSpPr/>
              <p:nvPr/>
            </p:nvSpPr>
            <p:spPr>
              <a:xfrm>
                <a:off x="1102316" y="2975767"/>
                <a:ext cx="27781" cy="30289"/>
              </a:xfrm>
              <a:custGeom>
                <a:avLst/>
                <a:gdLst>
                  <a:gd name="connsiteX0" fmla="*/ 0 w 58007"/>
                  <a:gd name="connsiteY0" fmla="*/ 191 h 63245"/>
                  <a:gd name="connsiteX1" fmla="*/ 57912 w 58007"/>
                  <a:gd name="connsiteY1" fmla="*/ 0 h 63245"/>
                  <a:gd name="connsiteX2" fmla="*/ 57912 w 58007"/>
                  <a:gd name="connsiteY2" fmla="*/ 26670 h 63245"/>
                  <a:gd name="connsiteX3" fmla="*/ 58007 w 58007"/>
                  <a:gd name="connsiteY3" fmla="*/ 63151 h 63245"/>
                  <a:gd name="connsiteX4" fmla="*/ 17717 w 58007"/>
                  <a:gd name="connsiteY4" fmla="*/ 63246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007" h="63245">
                    <a:moveTo>
                      <a:pt x="0" y="191"/>
                    </a:moveTo>
                    <a:lnTo>
                      <a:pt x="57912" y="0"/>
                    </a:lnTo>
                    <a:lnTo>
                      <a:pt x="57912" y="26670"/>
                    </a:lnTo>
                    <a:lnTo>
                      <a:pt x="58007" y="63151"/>
                    </a:lnTo>
                    <a:lnTo>
                      <a:pt x="17717" y="6324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073AC9AD-B87F-95F9-DAEE-AC543E6509A4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0 w 77914"/>
                  <a:gd name="connsiteY0" fmla="*/ 95 h 620458"/>
                  <a:gd name="connsiteX1" fmla="*/ 76772 w 77914"/>
                  <a:gd name="connsiteY1" fmla="*/ 0 h 620458"/>
                  <a:gd name="connsiteX2" fmla="*/ 77915 w 77914"/>
                  <a:gd name="connsiteY2" fmla="*/ 620268 h 620458"/>
                  <a:gd name="connsiteX3" fmla="*/ 1143 w 77914"/>
                  <a:gd name="connsiteY3" fmla="*/ 620459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0" y="95"/>
                    </a:moveTo>
                    <a:lnTo>
                      <a:pt x="76772" y="0"/>
                    </a:lnTo>
                    <a:lnTo>
                      <a:pt x="77915" y="620268"/>
                    </a:lnTo>
                    <a:lnTo>
                      <a:pt x="1143" y="62045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CBAA9C48-0DBC-DD8D-D6D5-B7109926FCDE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672" cy="94702"/>
              </a:xfrm>
              <a:custGeom>
                <a:avLst/>
                <a:gdLst>
                  <a:gd name="connsiteX0" fmla="*/ 153829 w 153828"/>
                  <a:gd name="connsiteY0" fmla="*/ 197739 h 197739"/>
                  <a:gd name="connsiteX1" fmla="*/ 153638 w 153828"/>
                  <a:gd name="connsiteY1" fmla="*/ 122301 h 197739"/>
                  <a:gd name="connsiteX2" fmla="*/ 153448 w 153828"/>
                  <a:gd name="connsiteY2" fmla="*/ 0 h 197739"/>
                  <a:gd name="connsiteX3" fmla="*/ 0 w 153828"/>
                  <a:gd name="connsiteY3" fmla="*/ 286 h 197739"/>
                  <a:gd name="connsiteX4" fmla="*/ 191 w 153828"/>
                  <a:gd name="connsiteY4" fmla="*/ 122587 h 1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828" h="197739">
                    <a:moveTo>
                      <a:pt x="153829" y="197739"/>
                    </a:moveTo>
                    <a:lnTo>
                      <a:pt x="153638" y="122301"/>
                    </a:lnTo>
                    <a:lnTo>
                      <a:pt x="153448" y="0"/>
                    </a:lnTo>
                    <a:lnTo>
                      <a:pt x="0" y="286"/>
                    </a:lnTo>
                    <a:lnTo>
                      <a:pt x="191" y="12258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2ADDFC45-1725-28A6-4BD1-71823A1D4A60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10AB66D3-5A52-CE61-CF96-E43D8F1D54FE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9553CE29-2131-975B-59AA-7AE8E6979992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09347 w 153638"/>
                  <a:gd name="connsiteY0" fmla="*/ 95 h 75723"/>
                  <a:gd name="connsiteX1" fmla="*/ 153448 w 153638"/>
                  <a:gd name="connsiteY1" fmla="*/ 0 h 75723"/>
                  <a:gd name="connsiteX2" fmla="*/ 153543 w 153638"/>
                  <a:gd name="connsiteY2" fmla="*/ 0 h 75723"/>
                  <a:gd name="connsiteX3" fmla="*/ 153638 w 153638"/>
                  <a:gd name="connsiteY3" fmla="*/ 75438 h 75723"/>
                  <a:gd name="connsiteX4" fmla="*/ 190 w 153638"/>
                  <a:gd name="connsiteY4" fmla="*/ 75724 h 75723"/>
                  <a:gd name="connsiteX5" fmla="*/ 0 w 153638"/>
                  <a:gd name="connsiteY5" fmla="*/ 286 h 75723"/>
                  <a:gd name="connsiteX6" fmla="*/ 44291 w 153638"/>
                  <a:gd name="connsiteY6" fmla="*/ 190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638" h="75723">
                    <a:moveTo>
                      <a:pt x="109347" y="95"/>
                    </a:moveTo>
                    <a:lnTo>
                      <a:pt x="153448" y="0"/>
                    </a:lnTo>
                    <a:lnTo>
                      <a:pt x="153543" y="0"/>
                    </a:ln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5F3A70DB-0CEF-5EE0-891E-854D76538D6A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191 w 65246"/>
                  <a:gd name="connsiteY0" fmla="*/ 74295 h 74294"/>
                  <a:gd name="connsiteX1" fmla="*/ 65246 w 65246"/>
                  <a:gd name="connsiteY1" fmla="*/ 74200 h 74294"/>
                  <a:gd name="connsiteX2" fmla="*/ 65056 w 65246"/>
                  <a:gd name="connsiteY2" fmla="*/ 0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191" y="74295"/>
                    </a:moveTo>
                    <a:lnTo>
                      <a:pt x="65246" y="74200"/>
                    </a:lnTo>
                    <a:lnTo>
                      <a:pt x="65056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1264E869-7AB9-3F5E-67B4-10423FF9043C}"/>
                  </a:ext>
                </a:extLst>
              </p:cNvPr>
              <p:cNvSpPr/>
              <p:nvPr/>
            </p:nvSpPr>
            <p:spPr>
              <a:xfrm>
                <a:off x="1241585" y="2988357"/>
                <a:ext cx="456" cy="252127"/>
              </a:xfrm>
              <a:custGeom>
                <a:avLst/>
                <a:gdLst>
                  <a:gd name="connsiteX0" fmla="*/ 952 w 952"/>
                  <a:gd name="connsiteY0" fmla="*/ 526447 h 526446"/>
                  <a:gd name="connsiteX1" fmla="*/ 95 w 952"/>
                  <a:gd name="connsiteY1" fmla="*/ 35243 h 526446"/>
                  <a:gd name="connsiteX2" fmla="*/ 0 w 952"/>
                  <a:gd name="connsiteY2" fmla="*/ 0 h 526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" h="526446">
                    <a:moveTo>
                      <a:pt x="952" y="526447"/>
                    </a:moveTo>
                    <a:lnTo>
                      <a:pt x="95" y="35243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D1E13C16-06D9-64AB-96C8-4E8C1CE98721}"/>
                  </a:ext>
                </a:extLst>
              </p:cNvPr>
              <p:cNvSpPr/>
              <p:nvPr/>
            </p:nvSpPr>
            <p:spPr>
              <a:xfrm>
                <a:off x="1088311" y="2955239"/>
                <a:ext cx="210570" cy="33300"/>
              </a:xfrm>
              <a:custGeom>
                <a:avLst/>
                <a:gdLst>
                  <a:gd name="connsiteX0" fmla="*/ 87249 w 439674"/>
                  <a:gd name="connsiteY0" fmla="*/ 69532 h 69532"/>
                  <a:gd name="connsiteX1" fmla="*/ 320040 w 439674"/>
                  <a:gd name="connsiteY1" fmla="*/ 69151 h 69532"/>
                  <a:gd name="connsiteX2" fmla="*/ 439674 w 439674"/>
                  <a:gd name="connsiteY2" fmla="*/ 68961 h 69532"/>
                  <a:gd name="connsiteX3" fmla="*/ 439674 w 439674"/>
                  <a:gd name="connsiteY3" fmla="*/ 43434 h 69532"/>
                  <a:gd name="connsiteX4" fmla="*/ 439579 w 439674"/>
                  <a:gd name="connsiteY4" fmla="*/ 0 h 69532"/>
                  <a:gd name="connsiteX5" fmla="*/ 409670 w 439674"/>
                  <a:gd name="connsiteY5" fmla="*/ 95 h 69532"/>
                  <a:gd name="connsiteX6" fmla="*/ 0 w 439674"/>
                  <a:gd name="connsiteY6" fmla="*/ 762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9674" h="69532">
                    <a:moveTo>
                      <a:pt x="87249" y="69532"/>
                    </a:moveTo>
                    <a:lnTo>
                      <a:pt x="320040" y="69151"/>
                    </a:lnTo>
                    <a:lnTo>
                      <a:pt x="439674" y="68961"/>
                    </a:lnTo>
                    <a:lnTo>
                      <a:pt x="439674" y="43434"/>
                    </a:lnTo>
                    <a:lnTo>
                      <a:pt x="439579" y="0"/>
                    </a:lnTo>
                    <a:lnTo>
                      <a:pt x="409670" y="95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C4D675CB-20FF-A480-0BCF-D01489D08A9A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094"/>
              </a:xfrm>
              <a:custGeom>
                <a:avLst/>
                <a:gdLst>
                  <a:gd name="connsiteX0" fmla="*/ 1201864 w 1201864"/>
                  <a:gd name="connsiteY0" fmla="*/ 371666 h 373951"/>
                  <a:gd name="connsiteX1" fmla="*/ 1116902 w 1201864"/>
                  <a:gd name="connsiteY1" fmla="*/ 132683 h 373951"/>
                  <a:gd name="connsiteX2" fmla="*/ 1069753 w 1201864"/>
                  <a:gd name="connsiteY2" fmla="*/ 0 h 373951"/>
                  <a:gd name="connsiteX3" fmla="*/ 130683 w 1201864"/>
                  <a:gd name="connsiteY3" fmla="*/ 1714 h 373951"/>
                  <a:gd name="connsiteX4" fmla="*/ 84011 w 1201864"/>
                  <a:gd name="connsiteY4" fmla="*/ 134588 h 373951"/>
                  <a:gd name="connsiteX5" fmla="*/ 0 w 1201864"/>
                  <a:gd name="connsiteY5" fmla="*/ 373856 h 373951"/>
                  <a:gd name="connsiteX6" fmla="*/ 0 w 1201864"/>
                  <a:gd name="connsiteY6" fmla="*/ 373951 h 37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1864" h="373951">
                    <a:moveTo>
                      <a:pt x="1201864" y="371666"/>
                    </a:moveTo>
                    <a:lnTo>
                      <a:pt x="1116902" y="132683"/>
                    </a:lnTo>
                    <a:lnTo>
                      <a:pt x="1069753" y="0"/>
                    </a:lnTo>
                    <a:cubicBezTo>
                      <a:pt x="835724" y="381"/>
                      <a:pt x="364712" y="1238"/>
                      <a:pt x="130683" y="1714"/>
                    </a:cubicBezTo>
                    <a:lnTo>
                      <a:pt x="84011" y="134588"/>
                    </a:lnTo>
                    <a:lnTo>
                      <a:pt x="0" y="373856"/>
                    </a:lnTo>
                    <a:lnTo>
                      <a:pt x="0" y="3739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438CF64B-E9CD-0680-2D73-393A36DAB0B0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cubicBezTo>
                      <a:pt x="54959" y="286"/>
                      <a:pt x="165449" y="95"/>
                      <a:pt x="220409" y="0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0D5E4842-65ED-5946-5031-36452A130FBC}"/>
                  </a:ext>
                </a:extLst>
              </p:cNvPr>
              <p:cNvSpPr/>
              <p:nvPr/>
            </p:nvSpPr>
            <p:spPr>
              <a:xfrm>
                <a:off x="944480" y="3255493"/>
                <a:ext cx="105558" cy="228"/>
              </a:xfrm>
              <a:custGeom>
                <a:avLst/>
                <a:gdLst>
                  <a:gd name="connsiteX0" fmla="*/ 0 w 220408"/>
                  <a:gd name="connsiteY0" fmla="*/ 476 h 476"/>
                  <a:gd name="connsiteX1" fmla="*/ 220409 w 220408"/>
                  <a:gd name="connsiteY1" fmla="*/ 0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476">
                    <a:moveTo>
                      <a:pt x="0" y="476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C908090D-B657-CFB9-4314-02A324E9593C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7731CC6D-A4D5-FBDE-BB98-C600F26A0B94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4DB5DAE8-300B-F7D1-B2A7-88602226CF05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09A2F246-E930-DDEE-25CB-CC710D4780E3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350 w 135350"/>
                  <a:gd name="connsiteY0" fmla="*/ 107633 h 107918"/>
                  <a:gd name="connsiteX1" fmla="*/ 135160 w 135350"/>
                  <a:gd name="connsiteY1" fmla="*/ 0 h 107918"/>
                  <a:gd name="connsiteX2" fmla="*/ 0 w 135350"/>
                  <a:gd name="connsiteY2" fmla="*/ 191 h 107918"/>
                  <a:gd name="connsiteX3" fmla="*/ 191 w 135350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7918">
                    <a:moveTo>
                      <a:pt x="135350" y="107633"/>
                    </a:moveTo>
                    <a:lnTo>
                      <a:pt x="135160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10AE10F8-AAC0-4119-EB4C-B1A407247A01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96202 w 135350"/>
                  <a:gd name="connsiteY0" fmla="*/ 95 h 66770"/>
                  <a:gd name="connsiteX1" fmla="*/ 135160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02" y="95"/>
                    </a:moveTo>
                    <a:lnTo>
                      <a:pt x="135160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3291918F-FDB0-2722-1E32-6F6B95556929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95 w 57340"/>
                  <a:gd name="connsiteY0" fmla="*/ 65437 h 65436"/>
                  <a:gd name="connsiteX1" fmla="*/ 57341 w 57340"/>
                  <a:gd name="connsiteY1" fmla="*/ 65342 h 65436"/>
                  <a:gd name="connsiteX2" fmla="*/ 57245 w 57340"/>
                  <a:gd name="connsiteY2" fmla="*/ 0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95" y="65437"/>
                    </a:moveTo>
                    <a:lnTo>
                      <a:pt x="57341" y="65342"/>
                    </a:lnTo>
                    <a:lnTo>
                      <a:pt x="57245" y="0"/>
                    </a:lnTo>
                    <a:lnTo>
                      <a:pt x="0" y="19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3AD84D10-7FF0-911D-48DB-BC72CD99A383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446 w 135445"/>
                  <a:gd name="connsiteY0" fmla="*/ 107633 h 107918"/>
                  <a:gd name="connsiteX1" fmla="*/ 135255 w 135445"/>
                  <a:gd name="connsiteY1" fmla="*/ 0 h 107918"/>
                  <a:gd name="connsiteX2" fmla="*/ 0 w 135445"/>
                  <a:gd name="connsiteY2" fmla="*/ 191 h 107918"/>
                  <a:gd name="connsiteX3" fmla="*/ 191 w 135445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7918">
                    <a:moveTo>
                      <a:pt x="135446" y="107633"/>
                    </a:moveTo>
                    <a:lnTo>
                      <a:pt x="135255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800CB52A-D3C8-B587-EC72-DB946521642A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96298 w 135350"/>
                  <a:gd name="connsiteY0" fmla="*/ 95 h 66770"/>
                  <a:gd name="connsiteX1" fmla="*/ 135255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98" y="95"/>
                    </a:moveTo>
                    <a:lnTo>
                      <a:pt x="135255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6DFA8813-6F4A-C310-36D2-82F928D1DC24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95 w 57435"/>
                  <a:gd name="connsiteY0" fmla="*/ 65437 h 65436"/>
                  <a:gd name="connsiteX1" fmla="*/ 57436 w 57435"/>
                  <a:gd name="connsiteY1" fmla="*/ 65342 h 65436"/>
                  <a:gd name="connsiteX2" fmla="*/ 57245 w 57435"/>
                  <a:gd name="connsiteY2" fmla="*/ 0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95" y="65437"/>
                    </a:moveTo>
                    <a:lnTo>
                      <a:pt x="57436" y="65342"/>
                    </a:lnTo>
                    <a:lnTo>
                      <a:pt x="57245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7325792C-8E70-DDB8-BCCF-C9575F1D9887}"/>
                  </a:ext>
                </a:extLst>
              </p:cNvPr>
              <p:cNvSpPr/>
              <p:nvPr/>
            </p:nvSpPr>
            <p:spPr>
              <a:xfrm rot="21593713">
                <a:off x="1242089" y="3240257"/>
                <a:ext cx="249435" cy="62405"/>
              </a:xfrm>
              <a:custGeom>
                <a:avLst/>
                <a:gdLst>
                  <a:gd name="connsiteX0" fmla="*/ 0 w 520827"/>
                  <a:gd name="connsiteY0" fmla="*/ 0 h 130302"/>
                  <a:gd name="connsiteX1" fmla="*/ 520828 w 520827"/>
                  <a:gd name="connsiteY1" fmla="*/ 0 h 130302"/>
                  <a:gd name="connsiteX2" fmla="*/ 520828 w 520827"/>
                  <a:gd name="connsiteY2" fmla="*/ 130302 h 130302"/>
                  <a:gd name="connsiteX3" fmla="*/ 0 w 520827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7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5F0265-675F-1DC6-7CB4-B7C96D6333BA}"/>
                  </a:ext>
                </a:extLst>
              </p:cNvPr>
              <p:cNvSpPr/>
              <p:nvPr/>
            </p:nvSpPr>
            <p:spPr>
              <a:xfrm>
                <a:off x="1491066" y="3005327"/>
                <a:ext cx="410" cy="234701"/>
              </a:xfrm>
              <a:custGeom>
                <a:avLst/>
                <a:gdLst>
                  <a:gd name="connsiteX0" fmla="*/ 857 w 857"/>
                  <a:gd name="connsiteY0" fmla="*/ 490061 h 490061"/>
                  <a:gd name="connsiteX1" fmla="*/ 0 w 857"/>
                  <a:gd name="connsiteY1" fmla="*/ 0 h 49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" h="490061">
                    <a:moveTo>
                      <a:pt x="857" y="490061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D51A3A67-80FE-CBBC-2FD7-27B9FD10ACE3}"/>
                  </a:ext>
                </a:extLst>
              </p:cNvPr>
              <p:cNvSpPr/>
              <p:nvPr/>
            </p:nvSpPr>
            <p:spPr>
              <a:xfrm>
                <a:off x="1245235" y="2975630"/>
                <a:ext cx="266131" cy="29606"/>
              </a:xfrm>
              <a:custGeom>
                <a:avLst/>
                <a:gdLst>
                  <a:gd name="connsiteX0" fmla="*/ 0 w 555688"/>
                  <a:gd name="connsiteY0" fmla="*/ 61817 h 61817"/>
                  <a:gd name="connsiteX1" fmla="*/ 513302 w 555688"/>
                  <a:gd name="connsiteY1" fmla="*/ 60865 h 61817"/>
                  <a:gd name="connsiteX2" fmla="*/ 555689 w 555688"/>
                  <a:gd name="connsiteY2" fmla="*/ 60769 h 61817"/>
                  <a:gd name="connsiteX3" fmla="*/ 555593 w 555688"/>
                  <a:gd name="connsiteY3" fmla="*/ 0 h 61817"/>
                  <a:gd name="connsiteX4" fmla="*/ 513207 w 555688"/>
                  <a:gd name="connsiteY4" fmla="*/ 95 h 61817"/>
                  <a:gd name="connsiteX5" fmla="*/ 112014 w 555688"/>
                  <a:gd name="connsiteY5" fmla="*/ 857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88" h="61817">
                    <a:moveTo>
                      <a:pt x="0" y="61817"/>
                    </a:moveTo>
                    <a:lnTo>
                      <a:pt x="513302" y="60865"/>
                    </a:lnTo>
                    <a:lnTo>
                      <a:pt x="555689" y="60769"/>
                    </a:lnTo>
                    <a:lnTo>
                      <a:pt x="555593" y="0"/>
                    </a:lnTo>
                    <a:lnTo>
                      <a:pt x="513207" y="95"/>
                    </a:lnTo>
                    <a:lnTo>
                      <a:pt x="112014" y="85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2D03BC18-110D-B71D-833A-1BA83C77C919}"/>
                  </a:ext>
                </a:extLst>
              </p:cNvPr>
              <p:cNvSpPr/>
              <p:nvPr/>
            </p:nvSpPr>
            <p:spPr>
              <a:xfrm>
                <a:off x="1244915" y="2840055"/>
                <a:ext cx="246105" cy="135073"/>
              </a:xfrm>
              <a:custGeom>
                <a:avLst/>
                <a:gdLst>
                  <a:gd name="connsiteX0" fmla="*/ 513874 w 513873"/>
                  <a:gd name="connsiteY0" fmla="*/ 282035 h 282035"/>
                  <a:gd name="connsiteX1" fmla="*/ 413671 w 513873"/>
                  <a:gd name="connsiteY1" fmla="*/ 0 h 282035"/>
                  <a:gd name="connsiteX2" fmla="*/ 0 w 513873"/>
                  <a:gd name="connsiteY2" fmla="*/ 762 h 28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3873" h="282035">
                    <a:moveTo>
                      <a:pt x="513874" y="282035"/>
                    </a:moveTo>
                    <a:lnTo>
                      <a:pt x="413671" y="0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4D2BCF86-FB50-B1C1-B7D8-05836C34C505}"/>
                  </a:ext>
                </a:extLst>
              </p:cNvPr>
              <p:cNvSpPr/>
              <p:nvPr/>
            </p:nvSpPr>
            <p:spPr>
              <a:xfrm>
                <a:off x="502995" y="3241397"/>
                <a:ext cx="249435" cy="456"/>
              </a:xfrm>
              <a:custGeom>
                <a:avLst/>
                <a:gdLst>
                  <a:gd name="connsiteX0" fmla="*/ 520827 w 520827"/>
                  <a:gd name="connsiteY0" fmla="*/ 0 h 952"/>
                  <a:gd name="connsiteX1" fmla="*/ 0 w 520827"/>
                  <a:gd name="connsiteY1" fmla="*/ 952 h 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827" h="952">
                    <a:moveTo>
                      <a:pt x="520827" y="0"/>
                    </a:moveTo>
                    <a:lnTo>
                      <a:pt x="0" y="952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CEF8886E-65FD-DAE9-640B-FA5096DF6C89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91 w 135350"/>
                  <a:gd name="connsiteY0" fmla="*/ 108013 h 108013"/>
                  <a:gd name="connsiteX1" fmla="*/ 0 w 135350"/>
                  <a:gd name="connsiteY1" fmla="*/ 286 h 108013"/>
                  <a:gd name="connsiteX2" fmla="*/ 135160 w 135350"/>
                  <a:gd name="connsiteY2" fmla="*/ 0 h 108013"/>
                  <a:gd name="connsiteX3" fmla="*/ 135350 w 135350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160" y="0"/>
                    </a:lnTo>
                    <a:lnTo>
                      <a:pt x="135350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96DB8551-E36C-2060-1171-5419BB215C6C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38957 w 135350"/>
                  <a:gd name="connsiteY0" fmla="*/ 190 h 66675"/>
                  <a:gd name="connsiteX1" fmla="*/ 0 w 135350"/>
                  <a:gd name="connsiteY1" fmla="*/ 286 h 66675"/>
                  <a:gd name="connsiteX2" fmla="*/ 95 w 135350"/>
                  <a:gd name="connsiteY2" fmla="*/ 66675 h 66675"/>
                  <a:gd name="connsiteX3" fmla="*/ 135350 w 135350"/>
                  <a:gd name="connsiteY3" fmla="*/ 66485 h 66675"/>
                  <a:gd name="connsiteX4" fmla="*/ 135160 w 135350"/>
                  <a:gd name="connsiteY4" fmla="*/ 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0"/>
                    </a:moveTo>
                    <a:lnTo>
                      <a:pt x="0" y="286"/>
                    </a:lnTo>
                    <a:lnTo>
                      <a:pt x="95" y="66675"/>
                    </a:lnTo>
                    <a:lnTo>
                      <a:pt x="135350" y="66485"/>
                    </a:lnTo>
                    <a:lnTo>
                      <a:pt x="135160" y="0"/>
                    </a:lnTo>
                    <a:lnTo>
                      <a:pt x="96203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37E5E377-13B5-E2CF-C8CC-22CBCE79DC21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436 w 57435"/>
                  <a:gd name="connsiteY0" fmla="*/ 65342 h 65436"/>
                  <a:gd name="connsiteX1" fmla="*/ 191 w 57435"/>
                  <a:gd name="connsiteY1" fmla="*/ 65437 h 65436"/>
                  <a:gd name="connsiteX2" fmla="*/ 0 w 57435"/>
                  <a:gd name="connsiteY2" fmla="*/ 95 h 65436"/>
                  <a:gd name="connsiteX3" fmla="*/ 57341 w 57435"/>
                  <a:gd name="connsiteY3" fmla="*/ 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436" y="65342"/>
                    </a:moveTo>
                    <a:lnTo>
                      <a:pt x="191" y="65437"/>
                    </a:lnTo>
                    <a:lnTo>
                      <a:pt x="0" y="95"/>
                    </a:lnTo>
                    <a:lnTo>
                      <a:pt x="57341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7FBA1551-F7C8-0C9C-A9A1-600256ADBFC4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91 w 135445"/>
                  <a:gd name="connsiteY0" fmla="*/ 108013 h 108013"/>
                  <a:gd name="connsiteX1" fmla="*/ 0 w 135445"/>
                  <a:gd name="connsiteY1" fmla="*/ 286 h 108013"/>
                  <a:gd name="connsiteX2" fmla="*/ 135255 w 135445"/>
                  <a:gd name="connsiteY2" fmla="*/ 0 h 108013"/>
                  <a:gd name="connsiteX3" fmla="*/ 135446 w 135445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255" y="0"/>
                    </a:lnTo>
                    <a:lnTo>
                      <a:pt x="135446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CD2CC81B-B1CE-F0B7-DFD1-BC46AED82181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38957 w 135350"/>
                  <a:gd name="connsiteY0" fmla="*/ 191 h 66675"/>
                  <a:gd name="connsiteX1" fmla="*/ 0 w 135350"/>
                  <a:gd name="connsiteY1" fmla="*/ 286 h 66675"/>
                  <a:gd name="connsiteX2" fmla="*/ 191 w 135350"/>
                  <a:gd name="connsiteY2" fmla="*/ 66675 h 66675"/>
                  <a:gd name="connsiteX3" fmla="*/ 135350 w 135350"/>
                  <a:gd name="connsiteY3" fmla="*/ 66485 h 66675"/>
                  <a:gd name="connsiteX4" fmla="*/ 135255 w 135350"/>
                  <a:gd name="connsiteY4" fmla="*/ 0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1"/>
                    </a:moveTo>
                    <a:lnTo>
                      <a:pt x="0" y="286"/>
                    </a:lnTo>
                    <a:lnTo>
                      <a:pt x="191" y="66675"/>
                    </a:lnTo>
                    <a:lnTo>
                      <a:pt x="135350" y="66485"/>
                    </a:lnTo>
                    <a:lnTo>
                      <a:pt x="135255" y="0"/>
                    </a:lnTo>
                    <a:lnTo>
                      <a:pt x="96298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1B9E62C6-49BE-DA68-1793-C249E0C6F03D}"/>
                  </a:ext>
                </a:extLst>
              </p:cNvPr>
              <p:cNvSpPr/>
              <p:nvPr/>
            </p:nvSpPr>
            <p:spPr>
              <a:xfrm rot="215942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14D1B248-5BA2-8F67-3191-ABED51DE6FCB}"/>
                  </a:ext>
                </a:extLst>
              </p:cNvPr>
              <p:cNvSpPr/>
              <p:nvPr/>
            </p:nvSpPr>
            <p:spPr>
              <a:xfrm>
                <a:off x="502540" y="3007152"/>
                <a:ext cx="547" cy="297106"/>
              </a:xfrm>
              <a:custGeom>
                <a:avLst/>
                <a:gdLst>
                  <a:gd name="connsiteX0" fmla="*/ 0 w 1142"/>
                  <a:gd name="connsiteY0" fmla="*/ 0 h 620363"/>
                  <a:gd name="connsiteX1" fmla="*/ 857 w 1142"/>
                  <a:gd name="connsiteY1" fmla="*/ 490061 h 620363"/>
                  <a:gd name="connsiteX2" fmla="*/ 1143 w 1142"/>
                  <a:gd name="connsiteY2" fmla="*/ 620363 h 620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2" h="620363">
                    <a:moveTo>
                      <a:pt x="0" y="0"/>
                    </a:moveTo>
                    <a:lnTo>
                      <a:pt x="857" y="490061"/>
                    </a:lnTo>
                    <a:lnTo>
                      <a:pt x="1143" y="620363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8F52768D-86B7-FF13-C33D-C973152963F9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6177" cy="29514"/>
              </a:xfrm>
              <a:custGeom>
                <a:avLst/>
                <a:gdLst>
                  <a:gd name="connsiteX0" fmla="*/ 555784 w 555783"/>
                  <a:gd name="connsiteY0" fmla="*/ 60579 h 61626"/>
                  <a:gd name="connsiteX1" fmla="*/ 42482 w 555783"/>
                  <a:gd name="connsiteY1" fmla="*/ 61531 h 61626"/>
                  <a:gd name="connsiteX2" fmla="*/ 95 w 555783"/>
                  <a:gd name="connsiteY2" fmla="*/ 61627 h 61626"/>
                  <a:gd name="connsiteX3" fmla="*/ 0 w 555783"/>
                  <a:gd name="connsiteY3" fmla="*/ 857 h 61626"/>
                  <a:gd name="connsiteX4" fmla="*/ 42386 w 555783"/>
                  <a:gd name="connsiteY4" fmla="*/ 762 h 61626"/>
                  <a:gd name="connsiteX5" fmla="*/ 443579 w 555783"/>
                  <a:gd name="connsiteY5" fmla="*/ 0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783" h="61626">
                    <a:moveTo>
                      <a:pt x="555784" y="60579"/>
                    </a:move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865ADE9E-A62A-A6BB-3E02-837238C1A5F4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5604" cy="135620"/>
              </a:xfrm>
              <a:custGeom>
                <a:avLst/>
                <a:gdLst>
                  <a:gd name="connsiteX0" fmla="*/ 0 w 512826"/>
                  <a:gd name="connsiteY0" fmla="*/ 283178 h 283178"/>
                  <a:gd name="connsiteX1" fmla="*/ 99155 w 512826"/>
                  <a:gd name="connsiteY1" fmla="*/ 762 h 283178"/>
                  <a:gd name="connsiteX2" fmla="*/ 512826 w 512826"/>
                  <a:gd name="connsiteY2" fmla="*/ 0 h 283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2826" h="283178">
                    <a:moveTo>
                      <a:pt x="0" y="283178"/>
                    </a:moveTo>
                    <a:lnTo>
                      <a:pt x="99155" y="762"/>
                    </a:lnTo>
                    <a:lnTo>
                      <a:pt x="512826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85E2D7DA-5742-16DF-EE5A-12DC580F2284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323660 w 323659"/>
                  <a:gd name="connsiteY0" fmla="*/ 620363 h 620934"/>
                  <a:gd name="connsiteX1" fmla="*/ 272605 w 323659"/>
                  <a:gd name="connsiteY1" fmla="*/ 620459 h 620934"/>
                  <a:gd name="connsiteX2" fmla="*/ 272510 w 323659"/>
                  <a:gd name="connsiteY2" fmla="*/ 570643 h 620934"/>
                  <a:gd name="connsiteX3" fmla="*/ 272415 w 323659"/>
                  <a:gd name="connsiteY3" fmla="*/ 520732 h 620934"/>
                  <a:gd name="connsiteX4" fmla="*/ 272320 w 323659"/>
                  <a:gd name="connsiteY4" fmla="*/ 470916 h 620934"/>
                  <a:gd name="connsiteX5" fmla="*/ 271748 w 323659"/>
                  <a:gd name="connsiteY5" fmla="*/ 118491 h 620934"/>
                  <a:gd name="connsiteX6" fmla="*/ 51244 w 323659"/>
                  <a:gd name="connsiteY6" fmla="*/ 118872 h 620934"/>
                  <a:gd name="connsiteX7" fmla="*/ 51911 w 323659"/>
                  <a:gd name="connsiteY7" fmla="*/ 471297 h 620934"/>
                  <a:gd name="connsiteX8" fmla="*/ 52006 w 323659"/>
                  <a:gd name="connsiteY8" fmla="*/ 521208 h 620934"/>
                  <a:gd name="connsiteX9" fmla="*/ 52102 w 323659"/>
                  <a:gd name="connsiteY9" fmla="*/ 571024 h 620934"/>
                  <a:gd name="connsiteX10" fmla="*/ 52197 w 323659"/>
                  <a:gd name="connsiteY10" fmla="*/ 620840 h 620934"/>
                  <a:gd name="connsiteX11" fmla="*/ 1143 w 323659"/>
                  <a:gd name="connsiteY11" fmla="*/ 620935 h 620934"/>
                  <a:gd name="connsiteX12" fmla="*/ 0 w 323659"/>
                  <a:gd name="connsiteY12" fmla="*/ 572 h 620934"/>
                  <a:gd name="connsiteX13" fmla="*/ 322516 w 323659"/>
                  <a:gd name="connsiteY13" fmla="*/ 0 h 620934"/>
                  <a:gd name="connsiteX14" fmla="*/ 323660 w 323659"/>
                  <a:gd name="connsiteY14" fmla="*/ 620363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323660" y="620363"/>
                    </a:move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AAB47C42-E8CD-3A29-8504-80CCB7727869}"/>
                  </a:ext>
                </a:extLst>
              </p:cNvPr>
              <p:cNvSpPr/>
              <p:nvPr/>
            </p:nvSpPr>
            <p:spPr>
              <a:xfrm>
                <a:off x="944571" y="3303254"/>
                <a:ext cx="105558" cy="182"/>
              </a:xfrm>
              <a:custGeom>
                <a:avLst/>
                <a:gdLst>
                  <a:gd name="connsiteX0" fmla="*/ 220408 w 220408"/>
                  <a:gd name="connsiteY0" fmla="*/ 0 h 380"/>
                  <a:gd name="connsiteX1" fmla="*/ 0 w 220408"/>
                  <a:gd name="connsiteY1" fmla="*/ 381 h 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0">
                    <a:moveTo>
                      <a:pt x="220408" y="0"/>
                    </a:moveTo>
                    <a:lnTo>
                      <a:pt x="0" y="381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09BCFBF3-5AA9-CF5F-EA94-8D75A5C1143D}"/>
                  </a:ext>
                </a:extLst>
              </p:cNvPr>
              <p:cNvSpPr/>
              <p:nvPr/>
            </p:nvSpPr>
            <p:spPr>
              <a:xfrm>
                <a:off x="1111348" y="3302889"/>
                <a:ext cx="130830" cy="228"/>
              </a:xfrm>
              <a:custGeom>
                <a:avLst/>
                <a:gdLst>
                  <a:gd name="connsiteX0" fmla="*/ 273177 w 273177"/>
                  <a:gd name="connsiteY0" fmla="*/ 0 h 476"/>
                  <a:gd name="connsiteX1" fmla="*/ 0 w 273177"/>
                  <a:gd name="connsiteY1" fmla="*/ 476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3177" h="476">
                    <a:moveTo>
                      <a:pt x="273177" y="0"/>
                    </a:moveTo>
                    <a:lnTo>
                      <a:pt x="0" y="476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BE49E8DF-4644-1C88-21CB-34EE263E862E}"/>
                  </a:ext>
                </a:extLst>
              </p:cNvPr>
              <p:cNvSpPr/>
              <p:nvPr/>
            </p:nvSpPr>
            <p:spPr>
              <a:xfrm>
                <a:off x="502540" y="3303573"/>
                <a:ext cx="380813" cy="730"/>
              </a:xfrm>
              <a:custGeom>
                <a:avLst/>
                <a:gdLst>
                  <a:gd name="connsiteX0" fmla="*/ 859250 w 859250"/>
                  <a:gd name="connsiteY0" fmla="*/ 0 h 1524"/>
                  <a:gd name="connsiteX1" fmla="*/ 586169 w 859250"/>
                  <a:gd name="connsiteY1" fmla="*/ 476 h 1524"/>
                  <a:gd name="connsiteX2" fmla="*/ 65246 w 859250"/>
                  <a:gd name="connsiteY2" fmla="*/ 1429 h 1524"/>
                  <a:gd name="connsiteX3" fmla="*/ 0 w 859250"/>
                  <a:gd name="connsiteY3" fmla="*/ 1524 h 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9250" h="1524">
                    <a:moveTo>
                      <a:pt x="859250" y="0"/>
                    </a:moveTo>
                    <a:cubicBezTo>
                      <a:pt x="788861" y="95"/>
                      <a:pt x="691896" y="286"/>
                      <a:pt x="586169" y="476"/>
                    </a:cubicBezTo>
                    <a:cubicBezTo>
                      <a:pt x="408908" y="857"/>
                      <a:pt x="207169" y="1238"/>
                      <a:pt x="65246" y="1429"/>
                    </a:cubicBezTo>
                    <a:cubicBezTo>
                      <a:pt x="41720" y="1429"/>
                      <a:pt x="19812" y="1524"/>
                      <a:pt x="0" y="1524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26C01D-5326-0696-7A99-EDD055BC67CD}"/>
                </a:ext>
              </a:extLst>
            </p:cNvPr>
            <p:cNvGrpSpPr/>
            <p:nvPr/>
          </p:nvGrpSpPr>
          <p:grpSpPr>
            <a:xfrm>
              <a:off x="378476" y="3187484"/>
              <a:ext cx="1236608" cy="657225"/>
              <a:chOff x="378476" y="3187484"/>
              <a:chExt cx="1236608" cy="657225"/>
            </a:xfrm>
          </p:grpSpPr>
          <p:grpSp>
            <p:nvGrpSpPr>
              <p:cNvPr id="343" name="Group 342">
                <a:extLst>
                  <a:ext uri="{FF2B5EF4-FFF2-40B4-BE49-F238E27FC236}">
                    <a16:creationId xmlns:a16="http://schemas.microsoft.com/office/drawing/2014/main" id="{85F62388-1DE5-C009-A43C-813046C6F572}"/>
                  </a:ext>
                </a:extLst>
              </p:cNvPr>
              <p:cNvGrpSpPr/>
              <p:nvPr/>
            </p:nvGrpSpPr>
            <p:grpSpPr>
              <a:xfrm>
                <a:off x="378476" y="3187484"/>
                <a:ext cx="1236608" cy="657225"/>
                <a:chOff x="4964810" y="2791431"/>
                <a:chExt cx="1104805" cy="587175"/>
              </a:xfrm>
            </p:grpSpPr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285C2C47-673A-F596-98BD-D9F2547932C4}"/>
                    </a:ext>
                  </a:extLst>
                </p:cNvPr>
                <p:cNvSpPr/>
                <p:nvPr/>
              </p:nvSpPr>
              <p:spPr>
                <a:xfrm rot="15133802">
                  <a:off x="5076434" y="2886990"/>
                  <a:ext cx="72197" cy="133677"/>
                </a:xfrm>
                <a:custGeom>
                  <a:avLst/>
                  <a:gdLst>
                    <a:gd name="connsiteX0" fmla="*/ 0 w 40315"/>
                    <a:gd name="connsiteY0" fmla="*/ 0 h 133677"/>
                    <a:gd name="connsiteX1" fmla="*/ 17621 w 40315"/>
                    <a:gd name="connsiteY1" fmla="*/ 38862 h 133677"/>
                    <a:gd name="connsiteX2" fmla="*/ 21431 w 40315"/>
                    <a:gd name="connsiteY2" fmla="*/ 61151 h 133677"/>
                    <a:gd name="connsiteX3" fmla="*/ 36767 w 40315"/>
                    <a:gd name="connsiteY3" fmla="*/ 105442 h 133677"/>
                    <a:gd name="connsiteX4" fmla="*/ 38481 w 40315"/>
                    <a:gd name="connsiteY4" fmla="*/ 115824 h 133677"/>
                    <a:gd name="connsiteX5" fmla="*/ 40195 w 40315"/>
                    <a:gd name="connsiteY5" fmla="*/ 128778 h 133677"/>
                    <a:gd name="connsiteX6" fmla="*/ 39433 w 40315"/>
                    <a:gd name="connsiteY6" fmla="*/ 132969 h 133677"/>
                    <a:gd name="connsiteX7" fmla="*/ 34481 w 40315"/>
                    <a:gd name="connsiteY7" fmla="*/ 132683 h 133677"/>
                    <a:gd name="connsiteX8" fmla="*/ 26289 w 40315"/>
                    <a:gd name="connsiteY8" fmla="*/ 120968 h 133677"/>
                    <a:gd name="connsiteX9" fmla="*/ 1619 w 40315"/>
                    <a:gd name="connsiteY9" fmla="*/ 69723 h 133677"/>
                    <a:gd name="connsiteX0" fmla="*/ 31881 w 72196"/>
                    <a:gd name="connsiteY0" fmla="*/ 0 h 133677"/>
                    <a:gd name="connsiteX1" fmla="*/ 49502 w 72196"/>
                    <a:gd name="connsiteY1" fmla="*/ 38862 h 133677"/>
                    <a:gd name="connsiteX2" fmla="*/ 53312 w 72196"/>
                    <a:gd name="connsiteY2" fmla="*/ 61151 h 133677"/>
                    <a:gd name="connsiteX3" fmla="*/ 68648 w 72196"/>
                    <a:gd name="connsiteY3" fmla="*/ 105442 h 133677"/>
                    <a:gd name="connsiteX4" fmla="*/ 70362 w 72196"/>
                    <a:gd name="connsiteY4" fmla="*/ 115824 h 133677"/>
                    <a:gd name="connsiteX5" fmla="*/ 72076 w 72196"/>
                    <a:gd name="connsiteY5" fmla="*/ 128778 h 133677"/>
                    <a:gd name="connsiteX6" fmla="*/ 71314 w 72196"/>
                    <a:gd name="connsiteY6" fmla="*/ 132969 h 133677"/>
                    <a:gd name="connsiteX7" fmla="*/ 66362 w 72196"/>
                    <a:gd name="connsiteY7" fmla="*/ 132683 h 133677"/>
                    <a:gd name="connsiteX8" fmla="*/ 58170 w 72196"/>
                    <a:gd name="connsiteY8" fmla="*/ 120968 h 133677"/>
                    <a:gd name="connsiteX9" fmla="*/ 0 w 72196"/>
                    <a:gd name="connsiteY9" fmla="*/ 20467 h 133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2196" h="133677">
                      <a:moveTo>
                        <a:pt x="31881" y="0"/>
                      </a:moveTo>
                      <a:cubicBezTo>
                        <a:pt x="39025" y="12383"/>
                        <a:pt x="46359" y="24956"/>
                        <a:pt x="49502" y="38862"/>
                      </a:cubicBezTo>
                      <a:cubicBezTo>
                        <a:pt x="51217" y="46196"/>
                        <a:pt x="51693" y="53816"/>
                        <a:pt x="53312" y="61151"/>
                      </a:cubicBezTo>
                      <a:cubicBezTo>
                        <a:pt x="56836" y="76391"/>
                        <a:pt x="65314" y="90107"/>
                        <a:pt x="68648" y="105442"/>
                      </a:cubicBezTo>
                      <a:cubicBezTo>
                        <a:pt x="69410" y="108871"/>
                        <a:pt x="69886" y="112395"/>
                        <a:pt x="70362" y="115824"/>
                      </a:cubicBezTo>
                      <a:cubicBezTo>
                        <a:pt x="70934" y="120110"/>
                        <a:pt x="71505" y="124492"/>
                        <a:pt x="72076" y="128778"/>
                      </a:cubicBezTo>
                      <a:cubicBezTo>
                        <a:pt x="72267" y="130207"/>
                        <a:pt x="72362" y="131921"/>
                        <a:pt x="71314" y="132969"/>
                      </a:cubicBezTo>
                      <a:cubicBezTo>
                        <a:pt x="70076" y="134207"/>
                        <a:pt x="67886" y="133636"/>
                        <a:pt x="66362" y="132683"/>
                      </a:cubicBezTo>
                      <a:cubicBezTo>
                        <a:pt x="62266" y="130112"/>
                        <a:pt x="60170" y="125349"/>
                        <a:pt x="58170" y="120968"/>
                      </a:cubicBezTo>
                      <a:cubicBezTo>
                        <a:pt x="50550" y="103632"/>
                        <a:pt x="8763" y="37231"/>
                        <a:pt x="0" y="20467"/>
                      </a:cubicBezTo>
                    </a:path>
                  </a:pathLst>
                </a:custGeom>
                <a:solidFill>
                  <a:srgbClr val="E1EBE5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A74D84B8-406A-3AD2-8174-B20D6E546B40}"/>
                    </a:ext>
                  </a:extLst>
                </p:cNvPr>
                <p:cNvSpPr/>
                <p:nvPr/>
              </p:nvSpPr>
              <p:spPr>
                <a:xfrm>
                  <a:off x="5773388" y="2846042"/>
                  <a:ext cx="154082" cy="531946"/>
                </a:xfrm>
                <a:custGeom>
                  <a:avLst/>
                  <a:gdLst>
                    <a:gd name="connsiteX0" fmla="*/ 40672 w 154082"/>
                    <a:gd name="connsiteY0" fmla="*/ 196840 h 539496"/>
                    <a:gd name="connsiteX1" fmla="*/ 35433 w 154082"/>
                    <a:gd name="connsiteY1" fmla="*/ 314855 h 539496"/>
                    <a:gd name="connsiteX2" fmla="*/ 49816 w 154082"/>
                    <a:gd name="connsiteY2" fmla="*/ 500878 h 539496"/>
                    <a:gd name="connsiteX3" fmla="*/ 2477 w 154082"/>
                    <a:gd name="connsiteY3" fmla="*/ 526976 h 539496"/>
                    <a:gd name="connsiteX4" fmla="*/ 0 w 154082"/>
                    <a:gd name="connsiteY4" fmla="*/ 528977 h 539496"/>
                    <a:gd name="connsiteX5" fmla="*/ 0 w 154082"/>
                    <a:gd name="connsiteY5" fmla="*/ 532501 h 539496"/>
                    <a:gd name="connsiteX6" fmla="*/ 5906 w 154082"/>
                    <a:gd name="connsiteY6" fmla="*/ 532501 h 539496"/>
                    <a:gd name="connsiteX7" fmla="*/ 64865 w 154082"/>
                    <a:gd name="connsiteY7" fmla="*/ 524500 h 539496"/>
                    <a:gd name="connsiteX8" fmla="*/ 68866 w 154082"/>
                    <a:gd name="connsiteY8" fmla="*/ 500878 h 539496"/>
                    <a:gd name="connsiteX9" fmla="*/ 70866 w 154082"/>
                    <a:gd name="connsiteY9" fmla="*/ 524500 h 539496"/>
                    <a:gd name="connsiteX10" fmla="*/ 140208 w 154082"/>
                    <a:gd name="connsiteY10" fmla="*/ 538025 h 539496"/>
                    <a:gd name="connsiteX11" fmla="*/ 87440 w 154082"/>
                    <a:gd name="connsiteY11" fmla="*/ 500878 h 539496"/>
                    <a:gd name="connsiteX12" fmla="*/ 119444 w 154082"/>
                    <a:gd name="connsiteY12" fmla="*/ 402008 h 539496"/>
                    <a:gd name="connsiteX13" fmla="*/ 119634 w 154082"/>
                    <a:gd name="connsiteY13" fmla="*/ 402008 h 539496"/>
                    <a:gd name="connsiteX14" fmla="*/ 133445 w 154082"/>
                    <a:gd name="connsiteY14" fmla="*/ 363146 h 539496"/>
                    <a:gd name="connsiteX15" fmla="*/ 137731 w 154082"/>
                    <a:gd name="connsiteY15" fmla="*/ 336762 h 539496"/>
                    <a:gd name="connsiteX16" fmla="*/ 139827 w 154082"/>
                    <a:gd name="connsiteY16" fmla="*/ 336762 h 539496"/>
                    <a:gd name="connsiteX17" fmla="*/ 140780 w 154082"/>
                    <a:gd name="connsiteY17" fmla="*/ 313140 h 539496"/>
                    <a:gd name="connsiteX18" fmla="*/ 146018 w 154082"/>
                    <a:gd name="connsiteY18" fmla="*/ 303329 h 539496"/>
                    <a:gd name="connsiteX19" fmla="*/ 153924 w 154082"/>
                    <a:gd name="connsiteY19" fmla="*/ 304853 h 539496"/>
                    <a:gd name="connsiteX20" fmla="*/ 153924 w 154082"/>
                    <a:gd name="connsiteY20" fmla="*/ 304853 h 539496"/>
                    <a:gd name="connsiteX21" fmla="*/ 153924 w 154082"/>
                    <a:gd name="connsiteY21" fmla="*/ 304853 h 539496"/>
                    <a:gd name="connsiteX22" fmla="*/ 153924 w 154082"/>
                    <a:gd name="connsiteY22" fmla="*/ 304853 h 539496"/>
                    <a:gd name="connsiteX23" fmla="*/ 119729 w 154082"/>
                    <a:gd name="connsiteY23" fmla="*/ 138642 h 539496"/>
                    <a:gd name="connsiteX24" fmla="*/ 136874 w 154082"/>
                    <a:gd name="connsiteY24" fmla="*/ 22628 h 539496"/>
                    <a:gd name="connsiteX25" fmla="*/ 96203 w 154082"/>
                    <a:gd name="connsiteY25" fmla="*/ 9864 h 539496"/>
                    <a:gd name="connsiteX26" fmla="*/ 101060 w 154082"/>
                    <a:gd name="connsiteY26" fmla="*/ 12817 h 539496"/>
                    <a:gd name="connsiteX27" fmla="*/ 57912 w 154082"/>
                    <a:gd name="connsiteY27" fmla="*/ 1482 h 539496"/>
                    <a:gd name="connsiteX28" fmla="*/ 79153 w 154082"/>
                    <a:gd name="connsiteY28" fmla="*/ 17389 h 539496"/>
                    <a:gd name="connsiteX29" fmla="*/ 42196 w 154082"/>
                    <a:gd name="connsiteY29" fmla="*/ 131879 h 539496"/>
                    <a:gd name="connsiteX30" fmla="*/ 41434 w 154082"/>
                    <a:gd name="connsiteY30" fmla="*/ 150739 h 539496"/>
                    <a:gd name="connsiteX0" fmla="*/ 40672 w 154082"/>
                    <a:gd name="connsiteY0" fmla="*/ 189290 h 531946"/>
                    <a:gd name="connsiteX1" fmla="*/ 35433 w 154082"/>
                    <a:gd name="connsiteY1" fmla="*/ 307305 h 531946"/>
                    <a:gd name="connsiteX2" fmla="*/ 49816 w 154082"/>
                    <a:gd name="connsiteY2" fmla="*/ 493328 h 531946"/>
                    <a:gd name="connsiteX3" fmla="*/ 2477 w 154082"/>
                    <a:gd name="connsiteY3" fmla="*/ 519426 h 531946"/>
                    <a:gd name="connsiteX4" fmla="*/ 0 w 154082"/>
                    <a:gd name="connsiteY4" fmla="*/ 521427 h 531946"/>
                    <a:gd name="connsiteX5" fmla="*/ 0 w 154082"/>
                    <a:gd name="connsiteY5" fmla="*/ 524951 h 531946"/>
                    <a:gd name="connsiteX6" fmla="*/ 5906 w 154082"/>
                    <a:gd name="connsiteY6" fmla="*/ 524951 h 531946"/>
                    <a:gd name="connsiteX7" fmla="*/ 64865 w 154082"/>
                    <a:gd name="connsiteY7" fmla="*/ 516950 h 531946"/>
                    <a:gd name="connsiteX8" fmla="*/ 68866 w 154082"/>
                    <a:gd name="connsiteY8" fmla="*/ 493328 h 531946"/>
                    <a:gd name="connsiteX9" fmla="*/ 70866 w 154082"/>
                    <a:gd name="connsiteY9" fmla="*/ 516950 h 531946"/>
                    <a:gd name="connsiteX10" fmla="*/ 140208 w 154082"/>
                    <a:gd name="connsiteY10" fmla="*/ 530475 h 531946"/>
                    <a:gd name="connsiteX11" fmla="*/ 87440 w 154082"/>
                    <a:gd name="connsiteY11" fmla="*/ 493328 h 531946"/>
                    <a:gd name="connsiteX12" fmla="*/ 119444 w 154082"/>
                    <a:gd name="connsiteY12" fmla="*/ 394458 h 531946"/>
                    <a:gd name="connsiteX13" fmla="*/ 119634 w 154082"/>
                    <a:gd name="connsiteY13" fmla="*/ 394458 h 531946"/>
                    <a:gd name="connsiteX14" fmla="*/ 133445 w 154082"/>
                    <a:gd name="connsiteY14" fmla="*/ 355596 h 531946"/>
                    <a:gd name="connsiteX15" fmla="*/ 137731 w 154082"/>
                    <a:gd name="connsiteY15" fmla="*/ 329212 h 531946"/>
                    <a:gd name="connsiteX16" fmla="*/ 139827 w 154082"/>
                    <a:gd name="connsiteY16" fmla="*/ 329212 h 531946"/>
                    <a:gd name="connsiteX17" fmla="*/ 140780 w 154082"/>
                    <a:gd name="connsiteY17" fmla="*/ 305590 h 531946"/>
                    <a:gd name="connsiteX18" fmla="*/ 146018 w 154082"/>
                    <a:gd name="connsiteY18" fmla="*/ 295779 h 531946"/>
                    <a:gd name="connsiteX19" fmla="*/ 153924 w 154082"/>
                    <a:gd name="connsiteY19" fmla="*/ 297303 h 531946"/>
                    <a:gd name="connsiteX20" fmla="*/ 153924 w 154082"/>
                    <a:gd name="connsiteY20" fmla="*/ 297303 h 531946"/>
                    <a:gd name="connsiteX21" fmla="*/ 153924 w 154082"/>
                    <a:gd name="connsiteY21" fmla="*/ 297303 h 531946"/>
                    <a:gd name="connsiteX22" fmla="*/ 153924 w 154082"/>
                    <a:gd name="connsiteY22" fmla="*/ 297303 h 531946"/>
                    <a:gd name="connsiteX23" fmla="*/ 119729 w 154082"/>
                    <a:gd name="connsiteY23" fmla="*/ 131092 h 531946"/>
                    <a:gd name="connsiteX24" fmla="*/ 136874 w 154082"/>
                    <a:gd name="connsiteY24" fmla="*/ 15078 h 531946"/>
                    <a:gd name="connsiteX25" fmla="*/ 96203 w 154082"/>
                    <a:gd name="connsiteY25" fmla="*/ 2314 h 531946"/>
                    <a:gd name="connsiteX26" fmla="*/ 101060 w 154082"/>
                    <a:gd name="connsiteY26" fmla="*/ 5267 h 531946"/>
                    <a:gd name="connsiteX27" fmla="*/ 79153 w 154082"/>
                    <a:gd name="connsiteY27" fmla="*/ 9839 h 531946"/>
                    <a:gd name="connsiteX28" fmla="*/ 42196 w 154082"/>
                    <a:gd name="connsiteY28" fmla="*/ 124329 h 531946"/>
                    <a:gd name="connsiteX29" fmla="*/ 41434 w 154082"/>
                    <a:gd name="connsiteY29" fmla="*/ 143189 h 531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46">
                      <a:moveTo>
                        <a:pt x="40672" y="189290"/>
                      </a:moveTo>
                      <a:cubicBezTo>
                        <a:pt x="39433" y="196053"/>
                        <a:pt x="35433" y="307305"/>
                        <a:pt x="35433" y="307305"/>
                      </a:cubicBezTo>
                      <a:lnTo>
                        <a:pt x="49816" y="493328"/>
                      </a:lnTo>
                      <a:lnTo>
                        <a:pt x="2477" y="519426"/>
                      </a:lnTo>
                      <a:lnTo>
                        <a:pt x="0" y="521427"/>
                      </a:lnTo>
                      <a:lnTo>
                        <a:pt x="0" y="524951"/>
                      </a:lnTo>
                      <a:lnTo>
                        <a:pt x="5906" y="524951"/>
                      </a:lnTo>
                      <a:cubicBezTo>
                        <a:pt x="5906" y="524951"/>
                        <a:pt x="58960" y="520950"/>
                        <a:pt x="64865" y="516950"/>
                      </a:cubicBezTo>
                      <a:cubicBezTo>
                        <a:pt x="67056" y="502662"/>
                        <a:pt x="68866" y="493328"/>
                        <a:pt x="68866" y="493328"/>
                      </a:cubicBezTo>
                      <a:lnTo>
                        <a:pt x="70866" y="516950"/>
                      </a:lnTo>
                      <a:cubicBezTo>
                        <a:pt x="70866" y="516950"/>
                        <a:pt x="131826" y="537524"/>
                        <a:pt x="140208" y="530475"/>
                      </a:cubicBezTo>
                      <a:cubicBezTo>
                        <a:pt x="148590" y="523713"/>
                        <a:pt x="87440" y="493328"/>
                        <a:pt x="87440" y="493328"/>
                      </a:cubicBezTo>
                      <a:lnTo>
                        <a:pt x="119444" y="394458"/>
                      </a:lnTo>
                      <a:lnTo>
                        <a:pt x="119634" y="394458"/>
                      </a:lnTo>
                      <a:lnTo>
                        <a:pt x="133445" y="355596"/>
                      </a:lnTo>
                      <a:lnTo>
                        <a:pt x="137731" y="329212"/>
                      </a:lnTo>
                      <a:lnTo>
                        <a:pt x="139827" y="329212"/>
                      </a:lnTo>
                      <a:cubicBezTo>
                        <a:pt x="140145" y="321338"/>
                        <a:pt x="140462" y="313464"/>
                        <a:pt x="140780" y="305590"/>
                      </a:cubicBezTo>
                      <a:lnTo>
                        <a:pt x="146018" y="295779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cubicBezTo>
                        <a:pt x="153924" y="297303"/>
                        <a:pt x="158401" y="261108"/>
                        <a:pt x="119729" y="131092"/>
                      </a:cubicBezTo>
                      <a:cubicBezTo>
                        <a:pt x="139827" y="108994"/>
                        <a:pt x="169545" y="64322"/>
                        <a:pt x="136874" y="15078"/>
                      </a:cubicBezTo>
                      <a:cubicBezTo>
                        <a:pt x="125254" y="-3020"/>
                        <a:pt x="96203" y="2314"/>
                        <a:pt x="96203" y="2314"/>
                      </a:cubicBezTo>
                      <a:cubicBezTo>
                        <a:pt x="96203" y="2314"/>
                        <a:pt x="97060" y="30127"/>
                        <a:pt x="101060" y="5267"/>
                      </a:cubicBezTo>
                      <a:cubicBezTo>
                        <a:pt x="98218" y="6521"/>
                        <a:pt x="88964" y="-10005"/>
                        <a:pt x="79153" y="9839"/>
                      </a:cubicBezTo>
                      <a:cubicBezTo>
                        <a:pt x="64770" y="19364"/>
                        <a:pt x="17717" y="64036"/>
                        <a:pt x="42196" y="124329"/>
                      </a:cubicBezTo>
                      <a:cubicBezTo>
                        <a:pt x="41720" y="134902"/>
                        <a:pt x="41434" y="143189"/>
                        <a:pt x="41434" y="143189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2650D00A-FB52-A5D5-4C58-3762FE88FA45}"/>
                    </a:ext>
                  </a:extLst>
                </p:cNvPr>
                <p:cNvSpPr/>
                <p:nvPr/>
              </p:nvSpPr>
              <p:spPr>
                <a:xfrm>
                  <a:off x="5808154" y="2847010"/>
                  <a:ext cx="115807" cy="148773"/>
                </a:xfrm>
                <a:custGeom>
                  <a:avLst/>
                  <a:gdLst>
                    <a:gd name="connsiteX0" fmla="*/ 38671 w 115807"/>
                    <a:gd name="connsiteY0" fmla="*/ 12109 h 148773"/>
                    <a:gd name="connsiteX1" fmla="*/ 38671 w 115807"/>
                    <a:gd name="connsiteY1" fmla="*/ 12109 h 148773"/>
                    <a:gd name="connsiteX2" fmla="*/ 31242 w 115807"/>
                    <a:gd name="connsiteY2" fmla="*/ 19348 h 148773"/>
                    <a:gd name="connsiteX3" fmla="*/ 24289 w 115807"/>
                    <a:gd name="connsiteY3" fmla="*/ 27158 h 148773"/>
                    <a:gd name="connsiteX4" fmla="*/ 18098 w 115807"/>
                    <a:gd name="connsiteY4" fmla="*/ 35159 h 148773"/>
                    <a:gd name="connsiteX5" fmla="*/ 12859 w 115807"/>
                    <a:gd name="connsiteY5" fmla="*/ 44494 h 148773"/>
                    <a:gd name="connsiteX6" fmla="*/ 7620 w 115807"/>
                    <a:gd name="connsiteY6" fmla="*/ 53542 h 148773"/>
                    <a:gd name="connsiteX7" fmla="*/ 4667 w 115807"/>
                    <a:gd name="connsiteY7" fmla="*/ 63544 h 148773"/>
                    <a:gd name="connsiteX8" fmla="*/ 2477 w 115807"/>
                    <a:gd name="connsiteY8" fmla="*/ 73545 h 148773"/>
                    <a:gd name="connsiteX9" fmla="*/ 286 w 115807"/>
                    <a:gd name="connsiteY9" fmla="*/ 83832 h 148773"/>
                    <a:gd name="connsiteX10" fmla="*/ 0 w 115807"/>
                    <a:gd name="connsiteY10" fmla="*/ 94405 h 148773"/>
                    <a:gd name="connsiteX11" fmla="*/ 1238 w 115807"/>
                    <a:gd name="connsiteY11" fmla="*/ 104977 h 148773"/>
                    <a:gd name="connsiteX12" fmla="*/ 3715 w 115807"/>
                    <a:gd name="connsiteY12" fmla="*/ 114979 h 148773"/>
                    <a:gd name="connsiteX13" fmla="*/ 7144 w 115807"/>
                    <a:gd name="connsiteY13" fmla="*/ 124789 h 148773"/>
                    <a:gd name="connsiteX14" fmla="*/ 13335 w 115807"/>
                    <a:gd name="connsiteY14" fmla="*/ 133362 h 148773"/>
                    <a:gd name="connsiteX15" fmla="*/ 20479 w 115807"/>
                    <a:gd name="connsiteY15" fmla="*/ 140887 h 148773"/>
                    <a:gd name="connsiteX16" fmla="*/ 29623 w 115807"/>
                    <a:gd name="connsiteY16" fmla="*/ 145649 h 148773"/>
                    <a:gd name="connsiteX17" fmla="*/ 39529 w 115807"/>
                    <a:gd name="connsiteY17" fmla="*/ 147935 h 148773"/>
                    <a:gd name="connsiteX18" fmla="*/ 49911 w 115807"/>
                    <a:gd name="connsiteY18" fmla="*/ 148697 h 148773"/>
                    <a:gd name="connsiteX19" fmla="*/ 59531 w 115807"/>
                    <a:gd name="connsiteY19" fmla="*/ 145649 h 148773"/>
                    <a:gd name="connsiteX20" fmla="*/ 69152 w 115807"/>
                    <a:gd name="connsiteY20" fmla="*/ 141649 h 148773"/>
                    <a:gd name="connsiteX21" fmla="*/ 77819 w 115807"/>
                    <a:gd name="connsiteY21" fmla="*/ 136410 h 148773"/>
                    <a:gd name="connsiteX22" fmla="*/ 85535 w 115807"/>
                    <a:gd name="connsiteY22" fmla="*/ 129171 h 148773"/>
                    <a:gd name="connsiteX23" fmla="*/ 92488 w 115807"/>
                    <a:gd name="connsiteY23" fmla="*/ 121646 h 148773"/>
                    <a:gd name="connsiteX24" fmla="*/ 98965 w 115807"/>
                    <a:gd name="connsiteY24" fmla="*/ 113645 h 148773"/>
                    <a:gd name="connsiteX25" fmla="*/ 104204 w 115807"/>
                    <a:gd name="connsiteY25" fmla="*/ 104596 h 148773"/>
                    <a:gd name="connsiteX26" fmla="*/ 108204 w 115807"/>
                    <a:gd name="connsiteY26" fmla="*/ 94786 h 148773"/>
                    <a:gd name="connsiteX27" fmla="*/ 110966 w 115807"/>
                    <a:gd name="connsiteY27" fmla="*/ 84784 h 148773"/>
                    <a:gd name="connsiteX28" fmla="*/ 114205 w 115807"/>
                    <a:gd name="connsiteY28" fmla="*/ 74974 h 148773"/>
                    <a:gd name="connsiteX29" fmla="*/ 115729 w 115807"/>
                    <a:gd name="connsiteY29" fmla="*/ 64687 h 148773"/>
                    <a:gd name="connsiteX30" fmla="*/ 115252 w 115807"/>
                    <a:gd name="connsiteY30" fmla="*/ 54400 h 148773"/>
                    <a:gd name="connsiteX31" fmla="*/ 114300 w 115807"/>
                    <a:gd name="connsiteY31" fmla="*/ 44113 h 148773"/>
                    <a:gd name="connsiteX32" fmla="*/ 113062 w 115807"/>
                    <a:gd name="connsiteY32" fmla="*/ 33540 h 148773"/>
                    <a:gd name="connsiteX33" fmla="*/ 108585 w 115807"/>
                    <a:gd name="connsiteY33" fmla="*/ 24205 h 148773"/>
                    <a:gd name="connsiteX34" fmla="*/ 103632 w 115807"/>
                    <a:gd name="connsiteY34" fmla="*/ 14871 h 148773"/>
                    <a:gd name="connsiteX35" fmla="*/ 95441 w 115807"/>
                    <a:gd name="connsiteY35" fmla="*/ 8584 h 148773"/>
                    <a:gd name="connsiteX36" fmla="*/ 86487 w 115807"/>
                    <a:gd name="connsiteY36" fmla="*/ 3536 h 148773"/>
                    <a:gd name="connsiteX37" fmla="*/ 76867 w 115807"/>
                    <a:gd name="connsiteY37" fmla="*/ 488 h 148773"/>
                    <a:gd name="connsiteX38" fmla="*/ 66675 w 115807"/>
                    <a:gd name="connsiteY38" fmla="*/ 202 h 148773"/>
                    <a:gd name="connsiteX39" fmla="*/ 61436 w 115807"/>
                    <a:gd name="connsiteY39" fmla="*/ 488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38671" y="12109"/>
                      </a:moveTo>
                      <a:lnTo>
                        <a:pt x="38671" y="12109"/>
                      </a:lnTo>
                      <a:cubicBezTo>
                        <a:pt x="35909" y="14109"/>
                        <a:pt x="34004" y="16871"/>
                        <a:pt x="31242" y="19348"/>
                      </a:cubicBezTo>
                      <a:cubicBezTo>
                        <a:pt x="29051" y="21634"/>
                        <a:pt x="26575" y="24396"/>
                        <a:pt x="24289" y="27158"/>
                      </a:cubicBezTo>
                      <a:cubicBezTo>
                        <a:pt x="22289" y="29635"/>
                        <a:pt x="19812" y="32206"/>
                        <a:pt x="18098" y="35159"/>
                      </a:cubicBezTo>
                      <a:cubicBezTo>
                        <a:pt x="16097" y="38207"/>
                        <a:pt x="14669" y="41160"/>
                        <a:pt x="12859" y="44494"/>
                      </a:cubicBezTo>
                      <a:cubicBezTo>
                        <a:pt x="11335" y="47542"/>
                        <a:pt x="8858" y="50304"/>
                        <a:pt x="7620" y="53542"/>
                      </a:cubicBezTo>
                      <a:cubicBezTo>
                        <a:pt x="6382" y="56781"/>
                        <a:pt x="5620" y="60305"/>
                        <a:pt x="4667" y="63544"/>
                      </a:cubicBezTo>
                      <a:cubicBezTo>
                        <a:pt x="3715" y="66782"/>
                        <a:pt x="2953" y="70306"/>
                        <a:pt x="2477" y="73545"/>
                      </a:cubicBezTo>
                      <a:cubicBezTo>
                        <a:pt x="1715" y="77069"/>
                        <a:pt x="476" y="80593"/>
                        <a:pt x="286" y="83832"/>
                      </a:cubicBezTo>
                      <a:cubicBezTo>
                        <a:pt x="0" y="87356"/>
                        <a:pt x="0" y="90880"/>
                        <a:pt x="0" y="94405"/>
                      </a:cubicBezTo>
                      <a:cubicBezTo>
                        <a:pt x="286" y="97929"/>
                        <a:pt x="762" y="101453"/>
                        <a:pt x="1238" y="104977"/>
                      </a:cubicBezTo>
                      <a:cubicBezTo>
                        <a:pt x="1715" y="108502"/>
                        <a:pt x="2762" y="111740"/>
                        <a:pt x="3715" y="114979"/>
                      </a:cubicBezTo>
                      <a:cubicBezTo>
                        <a:pt x="4953" y="118217"/>
                        <a:pt x="5715" y="121741"/>
                        <a:pt x="7144" y="124789"/>
                      </a:cubicBezTo>
                      <a:cubicBezTo>
                        <a:pt x="8858" y="128028"/>
                        <a:pt x="11144" y="130790"/>
                        <a:pt x="13335" y="133362"/>
                      </a:cubicBezTo>
                      <a:cubicBezTo>
                        <a:pt x="15526" y="136124"/>
                        <a:pt x="17812" y="138886"/>
                        <a:pt x="20479" y="140887"/>
                      </a:cubicBezTo>
                      <a:cubicBezTo>
                        <a:pt x="23241" y="143173"/>
                        <a:pt x="26384" y="144411"/>
                        <a:pt x="29623" y="145649"/>
                      </a:cubicBezTo>
                      <a:cubicBezTo>
                        <a:pt x="32861" y="146887"/>
                        <a:pt x="36290" y="147364"/>
                        <a:pt x="39529" y="147935"/>
                      </a:cubicBezTo>
                      <a:cubicBezTo>
                        <a:pt x="42958" y="148411"/>
                        <a:pt x="46482" y="148983"/>
                        <a:pt x="49911" y="148697"/>
                      </a:cubicBezTo>
                      <a:cubicBezTo>
                        <a:pt x="53150" y="148221"/>
                        <a:pt x="56388" y="146697"/>
                        <a:pt x="59531" y="145649"/>
                      </a:cubicBezTo>
                      <a:cubicBezTo>
                        <a:pt x="62770" y="144411"/>
                        <a:pt x="66008" y="143363"/>
                        <a:pt x="69152" y="141649"/>
                      </a:cubicBezTo>
                      <a:cubicBezTo>
                        <a:pt x="71914" y="140125"/>
                        <a:pt x="75057" y="138410"/>
                        <a:pt x="77819" y="136410"/>
                      </a:cubicBezTo>
                      <a:cubicBezTo>
                        <a:pt x="80581" y="134124"/>
                        <a:pt x="82772" y="131647"/>
                        <a:pt x="85535" y="129171"/>
                      </a:cubicBezTo>
                      <a:cubicBezTo>
                        <a:pt x="87725" y="126885"/>
                        <a:pt x="90202" y="124408"/>
                        <a:pt x="92488" y="121646"/>
                      </a:cubicBezTo>
                      <a:cubicBezTo>
                        <a:pt x="94679" y="119170"/>
                        <a:pt x="96965" y="116598"/>
                        <a:pt x="98965" y="113645"/>
                      </a:cubicBezTo>
                      <a:cubicBezTo>
                        <a:pt x="100679" y="110597"/>
                        <a:pt x="102394" y="107644"/>
                        <a:pt x="104204" y="104596"/>
                      </a:cubicBezTo>
                      <a:cubicBezTo>
                        <a:pt x="105727" y="101548"/>
                        <a:pt x="106680" y="98024"/>
                        <a:pt x="108204" y="94786"/>
                      </a:cubicBezTo>
                      <a:cubicBezTo>
                        <a:pt x="109442" y="91547"/>
                        <a:pt x="109919" y="88023"/>
                        <a:pt x="110966" y="84784"/>
                      </a:cubicBezTo>
                      <a:cubicBezTo>
                        <a:pt x="111919" y="81546"/>
                        <a:pt x="113443" y="78212"/>
                        <a:pt x="114205" y="74974"/>
                      </a:cubicBezTo>
                      <a:cubicBezTo>
                        <a:pt x="114681" y="71449"/>
                        <a:pt x="115443" y="68211"/>
                        <a:pt x="115729" y="64687"/>
                      </a:cubicBezTo>
                      <a:cubicBezTo>
                        <a:pt x="116015" y="61162"/>
                        <a:pt x="115443" y="57638"/>
                        <a:pt x="115252" y="54400"/>
                      </a:cubicBezTo>
                      <a:cubicBezTo>
                        <a:pt x="115252" y="50590"/>
                        <a:pt x="114776" y="47351"/>
                        <a:pt x="114300" y="44113"/>
                      </a:cubicBezTo>
                      <a:cubicBezTo>
                        <a:pt x="113824" y="40588"/>
                        <a:pt x="114014" y="36874"/>
                        <a:pt x="113062" y="33540"/>
                      </a:cubicBezTo>
                      <a:cubicBezTo>
                        <a:pt x="111823" y="30301"/>
                        <a:pt x="110109" y="27253"/>
                        <a:pt x="108585" y="24205"/>
                      </a:cubicBezTo>
                      <a:cubicBezTo>
                        <a:pt x="106871" y="20967"/>
                        <a:pt x="105823" y="17443"/>
                        <a:pt x="103632" y="14871"/>
                      </a:cubicBezTo>
                      <a:cubicBezTo>
                        <a:pt x="101632" y="12109"/>
                        <a:pt x="98203" y="10585"/>
                        <a:pt x="95441" y="8584"/>
                      </a:cubicBezTo>
                      <a:cubicBezTo>
                        <a:pt x="92678" y="6584"/>
                        <a:pt x="89725" y="4774"/>
                        <a:pt x="86487" y="3536"/>
                      </a:cubicBezTo>
                      <a:cubicBezTo>
                        <a:pt x="83248" y="2298"/>
                        <a:pt x="80296" y="1060"/>
                        <a:pt x="76867" y="488"/>
                      </a:cubicBezTo>
                      <a:cubicBezTo>
                        <a:pt x="73628" y="202"/>
                        <a:pt x="70199" y="-274"/>
                        <a:pt x="66675" y="202"/>
                      </a:cubicBezTo>
                      <a:cubicBezTo>
                        <a:pt x="64960" y="488"/>
                        <a:pt x="63246" y="-83"/>
                        <a:pt x="61436" y="4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7" name="Freeform: Shape 346">
                  <a:extLst>
                    <a:ext uri="{FF2B5EF4-FFF2-40B4-BE49-F238E27FC236}">
                      <a16:creationId xmlns:a16="http://schemas.microsoft.com/office/drawing/2014/main" id="{F448186C-ECD2-4F70-E7CD-5D8D26F72448}"/>
                    </a:ext>
                  </a:extLst>
                </p:cNvPr>
                <p:cNvSpPr/>
                <p:nvPr/>
              </p:nvSpPr>
              <p:spPr>
                <a:xfrm>
                  <a:off x="5820822" y="2905315"/>
                  <a:ext cx="61150" cy="37889"/>
                </a:xfrm>
                <a:custGeom>
                  <a:avLst/>
                  <a:gdLst>
                    <a:gd name="connsiteX0" fmla="*/ 61150 w 61150"/>
                    <a:gd name="connsiteY0" fmla="*/ 25051 h 37889"/>
                    <a:gd name="connsiteX1" fmla="*/ 61150 w 61150"/>
                    <a:gd name="connsiteY1" fmla="*/ 25051 h 37889"/>
                    <a:gd name="connsiteX2" fmla="*/ 52006 w 61150"/>
                    <a:gd name="connsiteY2" fmla="*/ 31337 h 37889"/>
                    <a:gd name="connsiteX3" fmla="*/ 41338 w 61150"/>
                    <a:gd name="connsiteY3" fmla="*/ 34862 h 37889"/>
                    <a:gd name="connsiteX4" fmla="*/ 30671 w 61150"/>
                    <a:gd name="connsiteY4" fmla="*/ 37147 h 37889"/>
                    <a:gd name="connsiteX5" fmla="*/ 19812 w 61150"/>
                    <a:gd name="connsiteY5" fmla="*/ 37433 h 37889"/>
                    <a:gd name="connsiteX6" fmla="*/ 10382 w 61150"/>
                    <a:gd name="connsiteY6" fmla="*/ 31909 h 37889"/>
                    <a:gd name="connsiteX7" fmla="*/ 5429 w 61150"/>
                    <a:gd name="connsiteY7" fmla="*/ 21907 h 37889"/>
                    <a:gd name="connsiteX8" fmla="*/ 2000 w 61150"/>
                    <a:gd name="connsiteY8" fmla="*/ 11335 h 37889"/>
                    <a:gd name="connsiteX9" fmla="*/ 0 w 61150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150" h="37889">
                      <a:moveTo>
                        <a:pt x="61150" y="25051"/>
                      </a:moveTo>
                      <a:lnTo>
                        <a:pt x="61150" y="25051"/>
                      </a:lnTo>
                      <a:cubicBezTo>
                        <a:pt x="56674" y="28384"/>
                        <a:pt x="57721" y="28384"/>
                        <a:pt x="52006" y="31337"/>
                      </a:cubicBezTo>
                      <a:cubicBezTo>
                        <a:pt x="49244" y="33052"/>
                        <a:pt x="45053" y="33623"/>
                        <a:pt x="41338" y="34862"/>
                      </a:cubicBezTo>
                      <a:cubicBezTo>
                        <a:pt x="37909" y="36100"/>
                        <a:pt x="34385" y="36576"/>
                        <a:pt x="30671" y="37147"/>
                      </a:cubicBezTo>
                      <a:cubicBezTo>
                        <a:pt x="26956" y="37624"/>
                        <a:pt x="23241" y="38386"/>
                        <a:pt x="19812" y="37433"/>
                      </a:cubicBezTo>
                      <a:cubicBezTo>
                        <a:pt x="16383" y="36385"/>
                        <a:pt x="13144" y="34957"/>
                        <a:pt x="10382" y="31909"/>
                      </a:cubicBezTo>
                      <a:cubicBezTo>
                        <a:pt x="8192" y="29432"/>
                        <a:pt x="6953" y="25908"/>
                        <a:pt x="5429" y="21907"/>
                      </a:cubicBezTo>
                      <a:cubicBezTo>
                        <a:pt x="4191" y="18859"/>
                        <a:pt x="2667" y="15335"/>
                        <a:pt x="2000" y="11335"/>
                      </a:cubicBezTo>
                      <a:cubicBezTo>
                        <a:pt x="1524" y="7810"/>
                        <a:pt x="286" y="4286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8" name="Freeform: Shape 347">
                  <a:extLst>
                    <a:ext uri="{FF2B5EF4-FFF2-40B4-BE49-F238E27FC236}">
                      <a16:creationId xmlns:a16="http://schemas.microsoft.com/office/drawing/2014/main" id="{DA454C10-F1B9-5AE7-209D-356EBE03D841}"/>
                    </a:ext>
                  </a:extLst>
                </p:cNvPr>
                <p:cNvSpPr/>
                <p:nvPr/>
              </p:nvSpPr>
              <p:spPr>
                <a:xfrm>
                  <a:off x="5857684" y="2893218"/>
                  <a:ext cx="5714" cy="13049"/>
                </a:xfrm>
                <a:custGeom>
                  <a:avLst/>
                  <a:gdLst>
                    <a:gd name="connsiteX0" fmla="*/ 5715 w 5714"/>
                    <a:gd name="connsiteY0" fmla="*/ 0 h 13049"/>
                    <a:gd name="connsiteX1" fmla="*/ 5715 w 5714"/>
                    <a:gd name="connsiteY1" fmla="*/ 0 h 13049"/>
                    <a:gd name="connsiteX2" fmla="*/ 0 w 5714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4" h="13049">
                      <a:moveTo>
                        <a:pt x="5715" y="0"/>
                      </a:moveTo>
                      <a:lnTo>
                        <a:pt x="5715" y="0"/>
                      </a:lnTo>
                      <a:cubicBezTo>
                        <a:pt x="2762" y="6572"/>
                        <a:pt x="2953" y="6763"/>
                        <a:pt x="0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6B5800C8-8A03-B347-084E-8D045FC74763}"/>
                    </a:ext>
                  </a:extLst>
                </p:cNvPr>
                <p:cNvSpPr/>
                <p:nvPr/>
              </p:nvSpPr>
              <p:spPr>
                <a:xfrm>
                  <a:off x="5846064" y="2886741"/>
                  <a:ext cx="4952" cy="13335"/>
                </a:xfrm>
                <a:custGeom>
                  <a:avLst/>
                  <a:gdLst>
                    <a:gd name="connsiteX0" fmla="*/ 4953 w 4952"/>
                    <a:gd name="connsiteY0" fmla="*/ 0 h 13335"/>
                    <a:gd name="connsiteX1" fmla="*/ 4953 w 4952"/>
                    <a:gd name="connsiteY1" fmla="*/ 0 h 13335"/>
                    <a:gd name="connsiteX2" fmla="*/ 0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000" y="6572"/>
                        <a:pt x="2953" y="7049"/>
                        <a:pt x="0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46D33198-A41A-846A-1CF2-62292811B754}"/>
                    </a:ext>
                  </a:extLst>
                </p:cNvPr>
                <p:cNvSpPr/>
                <p:nvPr/>
              </p:nvSpPr>
              <p:spPr>
                <a:xfrm>
                  <a:off x="5874067" y="2977133"/>
                  <a:ext cx="53625" cy="168558"/>
                </a:xfrm>
                <a:custGeom>
                  <a:avLst/>
                  <a:gdLst>
                    <a:gd name="connsiteX0" fmla="*/ 18860 w 53625"/>
                    <a:gd name="connsiteY0" fmla="*/ 0 h 168558"/>
                    <a:gd name="connsiteX1" fmla="*/ 18860 w 53625"/>
                    <a:gd name="connsiteY1" fmla="*/ 0 h 168558"/>
                    <a:gd name="connsiteX2" fmla="*/ 22574 w 53625"/>
                    <a:gd name="connsiteY2" fmla="*/ 10287 h 168558"/>
                    <a:gd name="connsiteX3" fmla="*/ 25051 w 53625"/>
                    <a:gd name="connsiteY3" fmla="*/ 20860 h 168558"/>
                    <a:gd name="connsiteX4" fmla="*/ 28480 w 53625"/>
                    <a:gd name="connsiteY4" fmla="*/ 31147 h 168558"/>
                    <a:gd name="connsiteX5" fmla="*/ 30956 w 53625"/>
                    <a:gd name="connsiteY5" fmla="*/ 41720 h 168558"/>
                    <a:gd name="connsiteX6" fmla="*/ 33147 w 53625"/>
                    <a:gd name="connsiteY6" fmla="*/ 52292 h 168558"/>
                    <a:gd name="connsiteX7" fmla="*/ 37148 w 53625"/>
                    <a:gd name="connsiteY7" fmla="*/ 62579 h 168558"/>
                    <a:gd name="connsiteX8" fmla="*/ 39338 w 53625"/>
                    <a:gd name="connsiteY8" fmla="*/ 73152 h 168558"/>
                    <a:gd name="connsiteX9" fmla="*/ 41529 w 53625"/>
                    <a:gd name="connsiteY9" fmla="*/ 83725 h 168558"/>
                    <a:gd name="connsiteX10" fmla="*/ 43720 w 53625"/>
                    <a:gd name="connsiteY10" fmla="*/ 94298 h 168558"/>
                    <a:gd name="connsiteX11" fmla="*/ 45720 w 53625"/>
                    <a:gd name="connsiteY11" fmla="*/ 105061 h 168558"/>
                    <a:gd name="connsiteX12" fmla="*/ 48958 w 53625"/>
                    <a:gd name="connsiteY12" fmla="*/ 115634 h 168558"/>
                    <a:gd name="connsiteX13" fmla="*/ 50673 w 53625"/>
                    <a:gd name="connsiteY13" fmla="*/ 126206 h 168558"/>
                    <a:gd name="connsiteX14" fmla="*/ 51626 w 53625"/>
                    <a:gd name="connsiteY14" fmla="*/ 136969 h 168558"/>
                    <a:gd name="connsiteX15" fmla="*/ 51911 w 53625"/>
                    <a:gd name="connsiteY15" fmla="*/ 148018 h 168558"/>
                    <a:gd name="connsiteX16" fmla="*/ 53626 w 53625"/>
                    <a:gd name="connsiteY16" fmla="*/ 158591 h 168558"/>
                    <a:gd name="connsiteX17" fmla="*/ 50387 w 53625"/>
                    <a:gd name="connsiteY17" fmla="*/ 168402 h 168558"/>
                    <a:gd name="connsiteX18" fmla="*/ 42958 w 53625"/>
                    <a:gd name="connsiteY18" fmla="*/ 161830 h 168558"/>
                    <a:gd name="connsiteX19" fmla="*/ 37719 w 53625"/>
                    <a:gd name="connsiteY19" fmla="*/ 152305 h 168558"/>
                    <a:gd name="connsiteX20" fmla="*/ 32766 w 53625"/>
                    <a:gd name="connsiteY20" fmla="*/ 142494 h 168558"/>
                    <a:gd name="connsiteX21" fmla="*/ 28099 w 53625"/>
                    <a:gd name="connsiteY21" fmla="*/ 132493 h 168558"/>
                    <a:gd name="connsiteX22" fmla="*/ 24384 w 53625"/>
                    <a:gd name="connsiteY22" fmla="*/ 122206 h 168558"/>
                    <a:gd name="connsiteX23" fmla="*/ 19907 w 53625"/>
                    <a:gd name="connsiteY23" fmla="*/ 111919 h 168558"/>
                    <a:gd name="connsiteX24" fmla="*/ 15716 w 53625"/>
                    <a:gd name="connsiteY24" fmla="*/ 101918 h 168558"/>
                    <a:gd name="connsiteX25" fmla="*/ 11716 w 53625"/>
                    <a:gd name="connsiteY25" fmla="*/ 91631 h 168558"/>
                    <a:gd name="connsiteX26" fmla="*/ 8001 w 53625"/>
                    <a:gd name="connsiteY26" fmla="*/ 81058 h 168558"/>
                    <a:gd name="connsiteX27" fmla="*/ 4001 w 53625"/>
                    <a:gd name="connsiteY27" fmla="*/ 70771 h 168558"/>
                    <a:gd name="connsiteX28" fmla="*/ 0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18860" y="0"/>
                      </a:moveTo>
                      <a:lnTo>
                        <a:pt x="18860" y="0"/>
                      </a:lnTo>
                      <a:cubicBezTo>
                        <a:pt x="20383" y="5239"/>
                        <a:pt x="20574" y="3810"/>
                        <a:pt x="22574" y="10287"/>
                      </a:cubicBezTo>
                      <a:cubicBezTo>
                        <a:pt x="23527" y="13049"/>
                        <a:pt x="24098" y="16859"/>
                        <a:pt x="25051" y="20860"/>
                      </a:cubicBezTo>
                      <a:cubicBezTo>
                        <a:pt x="26003" y="23908"/>
                        <a:pt x="27527" y="27432"/>
                        <a:pt x="28480" y="31147"/>
                      </a:cubicBezTo>
                      <a:cubicBezTo>
                        <a:pt x="29432" y="34385"/>
                        <a:pt x="30004" y="37910"/>
                        <a:pt x="30956" y="41720"/>
                      </a:cubicBezTo>
                      <a:cubicBezTo>
                        <a:pt x="31718" y="44958"/>
                        <a:pt x="32195" y="48768"/>
                        <a:pt x="33147" y="52292"/>
                      </a:cubicBezTo>
                      <a:cubicBezTo>
                        <a:pt x="33909" y="55817"/>
                        <a:pt x="36100" y="58865"/>
                        <a:pt x="37148" y="62579"/>
                      </a:cubicBezTo>
                      <a:cubicBezTo>
                        <a:pt x="37910" y="65818"/>
                        <a:pt x="38386" y="69628"/>
                        <a:pt x="39338" y="73152"/>
                      </a:cubicBezTo>
                      <a:cubicBezTo>
                        <a:pt x="40100" y="76676"/>
                        <a:pt x="40577" y="80201"/>
                        <a:pt x="41529" y="83725"/>
                      </a:cubicBezTo>
                      <a:cubicBezTo>
                        <a:pt x="42291" y="87249"/>
                        <a:pt x="43053" y="90773"/>
                        <a:pt x="43720" y="94298"/>
                      </a:cubicBezTo>
                      <a:cubicBezTo>
                        <a:pt x="44672" y="97822"/>
                        <a:pt x="45244" y="101537"/>
                        <a:pt x="45720" y="105061"/>
                      </a:cubicBezTo>
                      <a:cubicBezTo>
                        <a:pt x="46482" y="108585"/>
                        <a:pt x="48197" y="112109"/>
                        <a:pt x="48958" y="115634"/>
                      </a:cubicBezTo>
                      <a:cubicBezTo>
                        <a:pt x="49435" y="119158"/>
                        <a:pt x="50197" y="122682"/>
                        <a:pt x="50673" y="126206"/>
                      </a:cubicBezTo>
                      <a:cubicBezTo>
                        <a:pt x="51149" y="130016"/>
                        <a:pt x="51149" y="133731"/>
                        <a:pt x="51626" y="136969"/>
                      </a:cubicBezTo>
                      <a:cubicBezTo>
                        <a:pt x="52102" y="140780"/>
                        <a:pt x="51626" y="144494"/>
                        <a:pt x="51911" y="148018"/>
                      </a:cubicBezTo>
                      <a:cubicBezTo>
                        <a:pt x="52197" y="151829"/>
                        <a:pt x="53626" y="155258"/>
                        <a:pt x="53626" y="158591"/>
                      </a:cubicBezTo>
                      <a:cubicBezTo>
                        <a:pt x="53626" y="165354"/>
                        <a:pt x="51911" y="167926"/>
                        <a:pt x="50387" y="168402"/>
                      </a:cubicBezTo>
                      <a:cubicBezTo>
                        <a:pt x="48673" y="169164"/>
                        <a:pt x="46196" y="167164"/>
                        <a:pt x="42958" y="161830"/>
                      </a:cubicBezTo>
                      <a:cubicBezTo>
                        <a:pt x="41434" y="159353"/>
                        <a:pt x="39529" y="156019"/>
                        <a:pt x="37719" y="152305"/>
                      </a:cubicBezTo>
                      <a:cubicBezTo>
                        <a:pt x="36005" y="149257"/>
                        <a:pt x="34481" y="146018"/>
                        <a:pt x="32766" y="142494"/>
                      </a:cubicBezTo>
                      <a:cubicBezTo>
                        <a:pt x="31242" y="139256"/>
                        <a:pt x="29528" y="135922"/>
                        <a:pt x="28099" y="132493"/>
                      </a:cubicBezTo>
                      <a:cubicBezTo>
                        <a:pt x="26575" y="129254"/>
                        <a:pt x="25908" y="125444"/>
                        <a:pt x="24384" y="122206"/>
                      </a:cubicBezTo>
                      <a:cubicBezTo>
                        <a:pt x="22860" y="118682"/>
                        <a:pt x="21431" y="115443"/>
                        <a:pt x="19907" y="111919"/>
                      </a:cubicBezTo>
                      <a:cubicBezTo>
                        <a:pt x="18669" y="108680"/>
                        <a:pt x="17145" y="105156"/>
                        <a:pt x="15716" y="101918"/>
                      </a:cubicBezTo>
                      <a:cubicBezTo>
                        <a:pt x="14478" y="98393"/>
                        <a:pt x="12954" y="94869"/>
                        <a:pt x="11716" y="91631"/>
                      </a:cubicBezTo>
                      <a:cubicBezTo>
                        <a:pt x="10192" y="87821"/>
                        <a:pt x="9239" y="84392"/>
                        <a:pt x="8001" y="81058"/>
                      </a:cubicBezTo>
                      <a:cubicBezTo>
                        <a:pt x="6477" y="77248"/>
                        <a:pt x="5239" y="73819"/>
                        <a:pt x="4001" y="70771"/>
                      </a:cubicBezTo>
                      <a:cubicBezTo>
                        <a:pt x="1810" y="64484"/>
                        <a:pt x="2000" y="65723"/>
                        <a:pt x="0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B7D6015E-23F2-CDB1-5516-7A0E1484D3BF}"/>
                    </a:ext>
                  </a:extLst>
                </p:cNvPr>
                <p:cNvSpPr/>
                <p:nvPr/>
              </p:nvSpPr>
              <p:spPr>
                <a:xfrm>
                  <a:off x="5806952" y="2970276"/>
                  <a:ext cx="93498" cy="185610"/>
                </a:xfrm>
                <a:custGeom>
                  <a:avLst/>
                  <a:gdLst>
                    <a:gd name="connsiteX0" fmla="*/ 7869 w 93498"/>
                    <a:gd name="connsiteY0" fmla="*/ 0 h 185610"/>
                    <a:gd name="connsiteX1" fmla="*/ 7869 w 93498"/>
                    <a:gd name="connsiteY1" fmla="*/ 0 h 185610"/>
                    <a:gd name="connsiteX2" fmla="*/ 7869 w 93498"/>
                    <a:gd name="connsiteY2" fmla="*/ 10763 h 185610"/>
                    <a:gd name="connsiteX3" fmla="*/ 7107 w 93498"/>
                    <a:gd name="connsiteY3" fmla="*/ 21527 h 185610"/>
                    <a:gd name="connsiteX4" fmla="*/ 6631 w 93498"/>
                    <a:gd name="connsiteY4" fmla="*/ 32576 h 185610"/>
                    <a:gd name="connsiteX5" fmla="*/ 7393 w 93498"/>
                    <a:gd name="connsiteY5" fmla="*/ 43339 h 185610"/>
                    <a:gd name="connsiteX6" fmla="*/ 6631 w 93498"/>
                    <a:gd name="connsiteY6" fmla="*/ 54102 h 185610"/>
                    <a:gd name="connsiteX7" fmla="*/ 5393 w 93498"/>
                    <a:gd name="connsiteY7" fmla="*/ 64865 h 185610"/>
                    <a:gd name="connsiteX8" fmla="*/ 5107 w 93498"/>
                    <a:gd name="connsiteY8" fmla="*/ 75629 h 185610"/>
                    <a:gd name="connsiteX9" fmla="*/ 5583 w 93498"/>
                    <a:gd name="connsiteY9" fmla="*/ 86392 h 185610"/>
                    <a:gd name="connsiteX10" fmla="*/ 4821 w 93498"/>
                    <a:gd name="connsiteY10" fmla="*/ 97155 h 185610"/>
                    <a:gd name="connsiteX11" fmla="*/ 4535 w 93498"/>
                    <a:gd name="connsiteY11" fmla="*/ 108204 h 185610"/>
                    <a:gd name="connsiteX12" fmla="*/ 4059 w 93498"/>
                    <a:gd name="connsiteY12" fmla="*/ 118967 h 185610"/>
                    <a:gd name="connsiteX13" fmla="*/ 3583 w 93498"/>
                    <a:gd name="connsiteY13" fmla="*/ 129730 h 185610"/>
                    <a:gd name="connsiteX14" fmla="*/ 3297 w 93498"/>
                    <a:gd name="connsiteY14" fmla="*/ 140494 h 185610"/>
                    <a:gd name="connsiteX15" fmla="*/ 2345 w 93498"/>
                    <a:gd name="connsiteY15" fmla="*/ 151257 h 185610"/>
                    <a:gd name="connsiteX16" fmla="*/ 2345 w 93498"/>
                    <a:gd name="connsiteY16" fmla="*/ 162020 h 185610"/>
                    <a:gd name="connsiteX17" fmla="*/ 1392 w 93498"/>
                    <a:gd name="connsiteY17" fmla="*/ 172784 h 185610"/>
                    <a:gd name="connsiteX18" fmla="*/ 1868 w 93498"/>
                    <a:gd name="connsiteY18" fmla="*/ 183833 h 185610"/>
                    <a:gd name="connsiteX19" fmla="*/ 13298 w 93498"/>
                    <a:gd name="connsiteY19" fmla="*/ 183833 h 185610"/>
                    <a:gd name="connsiteX20" fmla="*/ 24728 w 93498"/>
                    <a:gd name="connsiteY20" fmla="*/ 184595 h 185610"/>
                    <a:gd name="connsiteX21" fmla="*/ 36158 w 93498"/>
                    <a:gd name="connsiteY21" fmla="*/ 183547 h 185610"/>
                    <a:gd name="connsiteX22" fmla="*/ 47588 w 93498"/>
                    <a:gd name="connsiteY22" fmla="*/ 183833 h 185610"/>
                    <a:gd name="connsiteX23" fmla="*/ 59209 w 93498"/>
                    <a:gd name="connsiteY23" fmla="*/ 183356 h 185610"/>
                    <a:gd name="connsiteX24" fmla="*/ 70639 w 93498"/>
                    <a:gd name="connsiteY24" fmla="*/ 183071 h 185610"/>
                    <a:gd name="connsiteX25" fmla="*/ 82069 w 93498"/>
                    <a:gd name="connsiteY25" fmla="*/ 183833 h 185610"/>
                    <a:gd name="connsiteX26" fmla="*/ 93499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7869" y="0"/>
                      </a:moveTo>
                      <a:lnTo>
                        <a:pt x="7869" y="0"/>
                      </a:lnTo>
                      <a:cubicBezTo>
                        <a:pt x="7583" y="5524"/>
                        <a:pt x="8155" y="5524"/>
                        <a:pt x="7869" y="10763"/>
                      </a:cubicBezTo>
                      <a:cubicBezTo>
                        <a:pt x="7869" y="16288"/>
                        <a:pt x="7393" y="16288"/>
                        <a:pt x="7107" y="21527"/>
                      </a:cubicBezTo>
                      <a:cubicBezTo>
                        <a:pt x="6821" y="27051"/>
                        <a:pt x="6821" y="27051"/>
                        <a:pt x="6631" y="32576"/>
                      </a:cubicBezTo>
                      <a:cubicBezTo>
                        <a:pt x="6631" y="37814"/>
                        <a:pt x="7393" y="37814"/>
                        <a:pt x="7393" y="43339"/>
                      </a:cubicBezTo>
                      <a:cubicBezTo>
                        <a:pt x="7107" y="48578"/>
                        <a:pt x="6631" y="48578"/>
                        <a:pt x="6631" y="54102"/>
                      </a:cubicBezTo>
                      <a:cubicBezTo>
                        <a:pt x="6345" y="59341"/>
                        <a:pt x="5678" y="59341"/>
                        <a:pt x="5393" y="64865"/>
                      </a:cubicBezTo>
                      <a:cubicBezTo>
                        <a:pt x="5107" y="70104"/>
                        <a:pt x="5393" y="70104"/>
                        <a:pt x="5107" y="75629"/>
                      </a:cubicBezTo>
                      <a:cubicBezTo>
                        <a:pt x="5107" y="81153"/>
                        <a:pt x="5869" y="81153"/>
                        <a:pt x="5583" y="86392"/>
                      </a:cubicBezTo>
                      <a:cubicBezTo>
                        <a:pt x="5297" y="91916"/>
                        <a:pt x="5107" y="91916"/>
                        <a:pt x="4821" y="97155"/>
                      </a:cubicBezTo>
                      <a:cubicBezTo>
                        <a:pt x="4535" y="102680"/>
                        <a:pt x="4535" y="102680"/>
                        <a:pt x="4535" y="108204"/>
                      </a:cubicBezTo>
                      <a:cubicBezTo>
                        <a:pt x="4250" y="113443"/>
                        <a:pt x="4250" y="113443"/>
                        <a:pt x="4059" y="118967"/>
                      </a:cubicBezTo>
                      <a:cubicBezTo>
                        <a:pt x="3773" y="124206"/>
                        <a:pt x="3583" y="124206"/>
                        <a:pt x="3583" y="129730"/>
                      </a:cubicBezTo>
                      <a:cubicBezTo>
                        <a:pt x="3297" y="134969"/>
                        <a:pt x="3583" y="134969"/>
                        <a:pt x="3297" y="140494"/>
                      </a:cubicBezTo>
                      <a:cubicBezTo>
                        <a:pt x="3297" y="146018"/>
                        <a:pt x="2345" y="145733"/>
                        <a:pt x="2345" y="151257"/>
                      </a:cubicBezTo>
                      <a:cubicBezTo>
                        <a:pt x="2059" y="156781"/>
                        <a:pt x="2630" y="156781"/>
                        <a:pt x="2345" y="162020"/>
                      </a:cubicBezTo>
                      <a:cubicBezTo>
                        <a:pt x="2345" y="167545"/>
                        <a:pt x="1583" y="167545"/>
                        <a:pt x="1392" y="172784"/>
                      </a:cubicBezTo>
                      <a:cubicBezTo>
                        <a:pt x="1392" y="178308"/>
                        <a:pt x="-2037" y="180023"/>
                        <a:pt x="1868" y="183833"/>
                      </a:cubicBezTo>
                      <a:cubicBezTo>
                        <a:pt x="5869" y="187833"/>
                        <a:pt x="7583" y="183833"/>
                        <a:pt x="13298" y="183833"/>
                      </a:cubicBezTo>
                      <a:cubicBezTo>
                        <a:pt x="19013" y="183833"/>
                        <a:pt x="19013" y="184595"/>
                        <a:pt x="24728" y="184595"/>
                      </a:cubicBezTo>
                      <a:cubicBezTo>
                        <a:pt x="30443" y="184595"/>
                        <a:pt x="30443" y="183547"/>
                        <a:pt x="36158" y="183547"/>
                      </a:cubicBezTo>
                      <a:cubicBezTo>
                        <a:pt x="41873" y="183547"/>
                        <a:pt x="41873" y="183833"/>
                        <a:pt x="47588" y="183833"/>
                      </a:cubicBezTo>
                      <a:cubicBezTo>
                        <a:pt x="53303" y="183833"/>
                        <a:pt x="53303" y="183356"/>
                        <a:pt x="59209" y="183356"/>
                      </a:cubicBezTo>
                      <a:cubicBezTo>
                        <a:pt x="64924" y="183356"/>
                        <a:pt x="64924" y="183071"/>
                        <a:pt x="70639" y="183071"/>
                      </a:cubicBezTo>
                      <a:cubicBezTo>
                        <a:pt x="76354" y="183071"/>
                        <a:pt x="76354" y="183833"/>
                        <a:pt x="82069" y="183833"/>
                      </a:cubicBezTo>
                      <a:cubicBezTo>
                        <a:pt x="87784" y="183833"/>
                        <a:pt x="87784" y="184309"/>
                        <a:pt x="93499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0090F710-EAE0-4A2D-D366-EBC6712ADF45}"/>
                    </a:ext>
                  </a:extLst>
                </p:cNvPr>
                <p:cNvSpPr/>
                <p:nvPr/>
              </p:nvSpPr>
              <p:spPr>
                <a:xfrm>
                  <a:off x="5808154" y="3154584"/>
                  <a:ext cx="76866" cy="186057"/>
                </a:xfrm>
                <a:custGeom>
                  <a:avLst/>
                  <a:gdLst>
                    <a:gd name="connsiteX0" fmla="*/ 0 w 76866"/>
                    <a:gd name="connsiteY0" fmla="*/ 0 h 186057"/>
                    <a:gd name="connsiteX1" fmla="*/ 0 w 76866"/>
                    <a:gd name="connsiteY1" fmla="*/ 0 h 186057"/>
                    <a:gd name="connsiteX2" fmla="*/ 1524 w 76866"/>
                    <a:gd name="connsiteY2" fmla="*/ 10763 h 186057"/>
                    <a:gd name="connsiteX3" fmla="*/ 2477 w 76866"/>
                    <a:gd name="connsiteY3" fmla="*/ 21527 h 186057"/>
                    <a:gd name="connsiteX4" fmla="*/ 3429 w 76866"/>
                    <a:gd name="connsiteY4" fmla="*/ 32290 h 186057"/>
                    <a:gd name="connsiteX5" fmla="*/ 3715 w 76866"/>
                    <a:gd name="connsiteY5" fmla="*/ 43339 h 186057"/>
                    <a:gd name="connsiteX6" fmla="*/ 4953 w 76866"/>
                    <a:gd name="connsiteY6" fmla="*/ 54102 h 186057"/>
                    <a:gd name="connsiteX7" fmla="*/ 5429 w 76866"/>
                    <a:gd name="connsiteY7" fmla="*/ 65151 h 186057"/>
                    <a:gd name="connsiteX8" fmla="*/ 6668 w 76866"/>
                    <a:gd name="connsiteY8" fmla="*/ 75914 h 186057"/>
                    <a:gd name="connsiteX9" fmla="*/ 7144 w 76866"/>
                    <a:gd name="connsiteY9" fmla="*/ 86678 h 186057"/>
                    <a:gd name="connsiteX10" fmla="*/ 7906 w 76866"/>
                    <a:gd name="connsiteY10" fmla="*/ 97727 h 186057"/>
                    <a:gd name="connsiteX11" fmla="*/ 9906 w 76866"/>
                    <a:gd name="connsiteY11" fmla="*/ 108490 h 186057"/>
                    <a:gd name="connsiteX12" fmla="*/ 10192 w 76866"/>
                    <a:gd name="connsiteY12" fmla="*/ 119253 h 186057"/>
                    <a:gd name="connsiteX13" fmla="*/ 10668 w 76866"/>
                    <a:gd name="connsiteY13" fmla="*/ 130302 h 186057"/>
                    <a:gd name="connsiteX14" fmla="*/ 12383 w 76866"/>
                    <a:gd name="connsiteY14" fmla="*/ 141065 h 186057"/>
                    <a:gd name="connsiteX15" fmla="*/ 12383 w 76866"/>
                    <a:gd name="connsiteY15" fmla="*/ 151829 h 186057"/>
                    <a:gd name="connsiteX16" fmla="*/ 13621 w 76866"/>
                    <a:gd name="connsiteY16" fmla="*/ 162592 h 186057"/>
                    <a:gd name="connsiteX17" fmla="*/ 15145 w 76866"/>
                    <a:gd name="connsiteY17" fmla="*/ 173641 h 186057"/>
                    <a:gd name="connsiteX18" fmla="*/ 15431 w 76866"/>
                    <a:gd name="connsiteY18" fmla="*/ 183928 h 186057"/>
                    <a:gd name="connsiteX19" fmla="*/ 27527 w 76866"/>
                    <a:gd name="connsiteY19" fmla="*/ 183928 h 186057"/>
                    <a:gd name="connsiteX20" fmla="*/ 40196 w 76866"/>
                    <a:gd name="connsiteY20" fmla="*/ 184214 h 186057"/>
                    <a:gd name="connsiteX21" fmla="*/ 52864 w 76866"/>
                    <a:gd name="connsiteY21" fmla="*/ 184690 h 186057"/>
                    <a:gd name="connsiteX22" fmla="*/ 57055 w 76866"/>
                    <a:gd name="connsiteY22" fmla="*/ 174117 h 186057"/>
                    <a:gd name="connsiteX23" fmla="*/ 59531 w 76866"/>
                    <a:gd name="connsiteY23" fmla="*/ 163354 h 186057"/>
                    <a:gd name="connsiteX24" fmla="*/ 62484 w 76866"/>
                    <a:gd name="connsiteY24" fmla="*/ 152781 h 186057"/>
                    <a:gd name="connsiteX25" fmla="*/ 66199 w 76866"/>
                    <a:gd name="connsiteY25" fmla="*/ 142208 h 186057"/>
                    <a:gd name="connsiteX26" fmla="*/ 70675 w 76866"/>
                    <a:gd name="connsiteY26" fmla="*/ 131921 h 186057"/>
                    <a:gd name="connsiteX27" fmla="*/ 74104 w 76866"/>
                    <a:gd name="connsiteY27" fmla="*/ 121634 h 186057"/>
                    <a:gd name="connsiteX28" fmla="*/ 76867 w 76866"/>
                    <a:gd name="connsiteY28" fmla="*/ 110585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76" y="5525"/>
                        <a:pt x="952" y="5239"/>
                        <a:pt x="1524" y="10763"/>
                      </a:cubicBezTo>
                      <a:cubicBezTo>
                        <a:pt x="1810" y="16288"/>
                        <a:pt x="2000" y="16288"/>
                        <a:pt x="2477" y="21527"/>
                      </a:cubicBezTo>
                      <a:cubicBezTo>
                        <a:pt x="2762" y="27051"/>
                        <a:pt x="3239" y="27051"/>
                        <a:pt x="3429" y="32290"/>
                      </a:cubicBezTo>
                      <a:cubicBezTo>
                        <a:pt x="3905" y="37814"/>
                        <a:pt x="3143" y="37814"/>
                        <a:pt x="3715" y="43339"/>
                      </a:cubicBezTo>
                      <a:cubicBezTo>
                        <a:pt x="4191" y="48863"/>
                        <a:pt x="4477" y="48863"/>
                        <a:pt x="4953" y="54102"/>
                      </a:cubicBezTo>
                      <a:cubicBezTo>
                        <a:pt x="5239" y="59627"/>
                        <a:pt x="4953" y="59627"/>
                        <a:pt x="5429" y="65151"/>
                      </a:cubicBezTo>
                      <a:cubicBezTo>
                        <a:pt x="5906" y="70390"/>
                        <a:pt x="6382" y="70390"/>
                        <a:pt x="6668" y="75914"/>
                      </a:cubicBezTo>
                      <a:cubicBezTo>
                        <a:pt x="7144" y="81153"/>
                        <a:pt x="6668" y="81439"/>
                        <a:pt x="7144" y="86678"/>
                      </a:cubicBezTo>
                      <a:cubicBezTo>
                        <a:pt x="7620" y="92202"/>
                        <a:pt x="7429" y="92202"/>
                        <a:pt x="7906" y="97727"/>
                      </a:cubicBezTo>
                      <a:cubicBezTo>
                        <a:pt x="8382" y="102965"/>
                        <a:pt x="9620" y="102965"/>
                        <a:pt x="9906" y="108490"/>
                      </a:cubicBezTo>
                      <a:cubicBezTo>
                        <a:pt x="10382" y="113729"/>
                        <a:pt x="9906" y="113729"/>
                        <a:pt x="10192" y="119253"/>
                      </a:cubicBezTo>
                      <a:cubicBezTo>
                        <a:pt x="10668" y="124778"/>
                        <a:pt x="10192" y="124778"/>
                        <a:pt x="10668" y="130302"/>
                      </a:cubicBezTo>
                      <a:cubicBezTo>
                        <a:pt x="10954" y="135541"/>
                        <a:pt x="11906" y="135541"/>
                        <a:pt x="12383" y="141065"/>
                      </a:cubicBezTo>
                      <a:cubicBezTo>
                        <a:pt x="12859" y="146304"/>
                        <a:pt x="12097" y="146304"/>
                        <a:pt x="12383" y="151829"/>
                      </a:cubicBezTo>
                      <a:cubicBezTo>
                        <a:pt x="12859" y="157353"/>
                        <a:pt x="13145" y="157353"/>
                        <a:pt x="13621" y="162592"/>
                      </a:cubicBezTo>
                      <a:cubicBezTo>
                        <a:pt x="14097" y="168116"/>
                        <a:pt x="14573" y="168116"/>
                        <a:pt x="15145" y="173641"/>
                      </a:cubicBezTo>
                      <a:cubicBezTo>
                        <a:pt x="15431" y="178880"/>
                        <a:pt x="11144" y="180689"/>
                        <a:pt x="15431" y="183928"/>
                      </a:cubicBezTo>
                      <a:cubicBezTo>
                        <a:pt x="20383" y="187928"/>
                        <a:pt x="21336" y="183928"/>
                        <a:pt x="27527" y="183928"/>
                      </a:cubicBezTo>
                      <a:cubicBezTo>
                        <a:pt x="34004" y="183928"/>
                        <a:pt x="34004" y="184214"/>
                        <a:pt x="40196" y="184214"/>
                      </a:cubicBezTo>
                      <a:cubicBezTo>
                        <a:pt x="46387" y="184214"/>
                        <a:pt x="47625" y="188024"/>
                        <a:pt x="52864" y="184690"/>
                      </a:cubicBezTo>
                      <a:cubicBezTo>
                        <a:pt x="57341" y="181642"/>
                        <a:pt x="55340" y="179451"/>
                        <a:pt x="57055" y="174117"/>
                      </a:cubicBezTo>
                      <a:cubicBezTo>
                        <a:pt x="58769" y="168878"/>
                        <a:pt x="57817" y="168593"/>
                        <a:pt x="59531" y="163354"/>
                      </a:cubicBezTo>
                      <a:cubicBezTo>
                        <a:pt x="61246" y="158115"/>
                        <a:pt x="60770" y="158115"/>
                        <a:pt x="62484" y="152781"/>
                      </a:cubicBezTo>
                      <a:cubicBezTo>
                        <a:pt x="64198" y="147542"/>
                        <a:pt x="64484" y="147542"/>
                        <a:pt x="66199" y="142208"/>
                      </a:cubicBezTo>
                      <a:cubicBezTo>
                        <a:pt x="67913" y="136970"/>
                        <a:pt x="68961" y="137160"/>
                        <a:pt x="70675" y="131921"/>
                      </a:cubicBezTo>
                      <a:cubicBezTo>
                        <a:pt x="72390" y="126683"/>
                        <a:pt x="72390" y="126873"/>
                        <a:pt x="74104" y="121634"/>
                      </a:cubicBezTo>
                      <a:cubicBezTo>
                        <a:pt x="75819" y="116396"/>
                        <a:pt x="75057" y="115824"/>
                        <a:pt x="76867" y="11058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F8A0FADC-1560-E1D3-C20A-76A15F8DD106}"/>
                    </a:ext>
                  </a:extLst>
                </p:cNvPr>
                <p:cNvSpPr/>
                <p:nvPr/>
              </p:nvSpPr>
              <p:spPr>
                <a:xfrm>
                  <a:off x="5844509" y="3253454"/>
                  <a:ext cx="3745" cy="85153"/>
                </a:xfrm>
                <a:custGeom>
                  <a:avLst/>
                  <a:gdLst>
                    <a:gd name="connsiteX0" fmla="*/ 317 w 3745"/>
                    <a:gd name="connsiteY0" fmla="*/ 85153 h 85153"/>
                    <a:gd name="connsiteX1" fmla="*/ 317 w 3745"/>
                    <a:gd name="connsiteY1" fmla="*/ 85153 h 85153"/>
                    <a:gd name="connsiteX2" fmla="*/ 31 w 3745"/>
                    <a:gd name="connsiteY2" fmla="*/ 74390 h 85153"/>
                    <a:gd name="connsiteX3" fmla="*/ 317 w 3745"/>
                    <a:gd name="connsiteY3" fmla="*/ 63818 h 85153"/>
                    <a:gd name="connsiteX4" fmla="*/ 793 w 3745"/>
                    <a:gd name="connsiteY4" fmla="*/ 53245 h 85153"/>
                    <a:gd name="connsiteX5" fmla="*/ 2793 w 3745"/>
                    <a:gd name="connsiteY5" fmla="*/ 42481 h 85153"/>
                    <a:gd name="connsiteX6" fmla="*/ 2793 w 3745"/>
                    <a:gd name="connsiteY6" fmla="*/ 31909 h 85153"/>
                    <a:gd name="connsiteX7" fmla="*/ 2317 w 3745"/>
                    <a:gd name="connsiteY7" fmla="*/ 21146 h 85153"/>
                    <a:gd name="connsiteX8" fmla="*/ 3270 w 3745"/>
                    <a:gd name="connsiteY8" fmla="*/ 10573 h 85153"/>
                    <a:gd name="connsiteX9" fmla="*/ 3746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17" y="85153"/>
                      </a:moveTo>
                      <a:lnTo>
                        <a:pt x="317" y="85153"/>
                      </a:lnTo>
                      <a:cubicBezTo>
                        <a:pt x="603" y="79629"/>
                        <a:pt x="-159" y="79629"/>
                        <a:pt x="31" y="74390"/>
                      </a:cubicBezTo>
                      <a:cubicBezTo>
                        <a:pt x="317" y="69152"/>
                        <a:pt x="31" y="69152"/>
                        <a:pt x="317" y="63818"/>
                      </a:cubicBezTo>
                      <a:cubicBezTo>
                        <a:pt x="603" y="58579"/>
                        <a:pt x="603" y="58579"/>
                        <a:pt x="793" y="53245"/>
                      </a:cubicBezTo>
                      <a:cubicBezTo>
                        <a:pt x="1079" y="47720"/>
                        <a:pt x="2507" y="48006"/>
                        <a:pt x="2793" y="42481"/>
                      </a:cubicBezTo>
                      <a:cubicBezTo>
                        <a:pt x="3079" y="37243"/>
                        <a:pt x="2507" y="37243"/>
                        <a:pt x="2793" y="31909"/>
                      </a:cubicBezTo>
                      <a:cubicBezTo>
                        <a:pt x="3079" y="26670"/>
                        <a:pt x="2031" y="26670"/>
                        <a:pt x="2317" y="21146"/>
                      </a:cubicBezTo>
                      <a:cubicBezTo>
                        <a:pt x="2603" y="15907"/>
                        <a:pt x="3079" y="15907"/>
                        <a:pt x="3270" y="10573"/>
                      </a:cubicBezTo>
                      <a:cubicBezTo>
                        <a:pt x="3555" y="5334"/>
                        <a:pt x="3555" y="5334"/>
                        <a:pt x="37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0D8F4BAA-1AE4-EA16-BFBD-D10F6246EA2F}"/>
                    </a:ext>
                  </a:extLst>
                </p:cNvPr>
                <p:cNvSpPr/>
                <p:nvPr/>
              </p:nvSpPr>
              <p:spPr>
                <a:xfrm>
                  <a:off x="5841793" y="3337800"/>
                  <a:ext cx="72826" cy="40431"/>
                </a:xfrm>
                <a:custGeom>
                  <a:avLst/>
                  <a:gdLst>
                    <a:gd name="connsiteX0" fmla="*/ 71707 w 72826"/>
                    <a:gd name="connsiteY0" fmla="*/ 36145 h 40431"/>
                    <a:gd name="connsiteX1" fmla="*/ 71707 w 72826"/>
                    <a:gd name="connsiteY1" fmla="*/ 36145 h 40431"/>
                    <a:gd name="connsiteX2" fmla="*/ 63516 w 72826"/>
                    <a:gd name="connsiteY2" fmla="*/ 29573 h 40431"/>
                    <a:gd name="connsiteX3" fmla="*/ 54372 w 72826"/>
                    <a:gd name="connsiteY3" fmla="*/ 24525 h 40431"/>
                    <a:gd name="connsiteX4" fmla="*/ 45704 w 72826"/>
                    <a:gd name="connsiteY4" fmla="*/ 18524 h 40431"/>
                    <a:gd name="connsiteX5" fmla="*/ 37322 w 72826"/>
                    <a:gd name="connsiteY5" fmla="*/ 12237 h 40431"/>
                    <a:gd name="connsiteX6" fmla="*/ 28178 w 72826"/>
                    <a:gd name="connsiteY6" fmla="*/ 6999 h 40431"/>
                    <a:gd name="connsiteX7" fmla="*/ 19225 w 72826"/>
                    <a:gd name="connsiteY7" fmla="*/ 998 h 40431"/>
                    <a:gd name="connsiteX8" fmla="*/ 10271 w 72826"/>
                    <a:gd name="connsiteY8" fmla="*/ 2236 h 40431"/>
                    <a:gd name="connsiteX9" fmla="*/ 1318 w 72826"/>
                    <a:gd name="connsiteY9" fmla="*/ 1474 h 40431"/>
                    <a:gd name="connsiteX10" fmla="*/ 2080 w 72826"/>
                    <a:gd name="connsiteY10" fmla="*/ 13285 h 40431"/>
                    <a:gd name="connsiteX11" fmla="*/ 2842 w 72826"/>
                    <a:gd name="connsiteY11" fmla="*/ 25096 h 40431"/>
                    <a:gd name="connsiteX12" fmla="*/ 13510 w 72826"/>
                    <a:gd name="connsiteY12" fmla="*/ 29097 h 40431"/>
                    <a:gd name="connsiteX13" fmla="*/ 24654 w 72826"/>
                    <a:gd name="connsiteY13" fmla="*/ 33097 h 40431"/>
                    <a:gd name="connsiteX14" fmla="*/ 36084 w 72826"/>
                    <a:gd name="connsiteY14" fmla="*/ 35859 h 40431"/>
                    <a:gd name="connsiteX15" fmla="*/ 47514 w 72826"/>
                    <a:gd name="connsiteY15" fmla="*/ 37383 h 40431"/>
                    <a:gd name="connsiteX16" fmla="*/ 59134 w 72826"/>
                    <a:gd name="connsiteY16" fmla="*/ 39669 h 40431"/>
                    <a:gd name="connsiteX17" fmla="*/ 70755 w 72826"/>
                    <a:gd name="connsiteY17" fmla="*/ 40431 h 40431"/>
                    <a:gd name="connsiteX18" fmla="*/ 71707 w 72826"/>
                    <a:gd name="connsiteY18" fmla="*/ 36145 h 40431"/>
                    <a:gd name="connsiteX19" fmla="*/ 71707 w 72826"/>
                    <a:gd name="connsiteY19" fmla="*/ 36145 h 40431"/>
                    <a:gd name="connsiteX20" fmla="*/ 71707 w 72826"/>
                    <a:gd name="connsiteY20" fmla="*/ 36145 h 40431"/>
                    <a:gd name="connsiteX21" fmla="*/ 71707 w 72826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26" h="40431">
                      <a:moveTo>
                        <a:pt x="71707" y="36145"/>
                      </a:moveTo>
                      <a:lnTo>
                        <a:pt x="71707" y="36145"/>
                      </a:lnTo>
                      <a:cubicBezTo>
                        <a:pt x="67516" y="33097"/>
                        <a:pt x="67993" y="32335"/>
                        <a:pt x="63516" y="29573"/>
                      </a:cubicBezTo>
                      <a:cubicBezTo>
                        <a:pt x="59039" y="26811"/>
                        <a:pt x="58563" y="27287"/>
                        <a:pt x="54372" y="24525"/>
                      </a:cubicBezTo>
                      <a:cubicBezTo>
                        <a:pt x="49895" y="21477"/>
                        <a:pt x="50181" y="21286"/>
                        <a:pt x="45704" y="18524"/>
                      </a:cubicBezTo>
                      <a:cubicBezTo>
                        <a:pt x="41227" y="15476"/>
                        <a:pt x="41513" y="15285"/>
                        <a:pt x="37322" y="12237"/>
                      </a:cubicBezTo>
                      <a:cubicBezTo>
                        <a:pt x="32845" y="9475"/>
                        <a:pt x="32655" y="9951"/>
                        <a:pt x="28178" y="6999"/>
                      </a:cubicBezTo>
                      <a:cubicBezTo>
                        <a:pt x="23701" y="4236"/>
                        <a:pt x="24463" y="2712"/>
                        <a:pt x="19225" y="998"/>
                      </a:cubicBezTo>
                      <a:cubicBezTo>
                        <a:pt x="15034" y="-240"/>
                        <a:pt x="14748" y="2236"/>
                        <a:pt x="10271" y="2236"/>
                      </a:cubicBezTo>
                      <a:cubicBezTo>
                        <a:pt x="5794" y="2236"/>
                        <a:pt x="4080" y="-2241"/>
                        <a:pt x="1318" y="1474"/>
                      </a:cubicBezTo>
                      <a:cubicBezTo>
                        <a:pt x="-1921" y="6237"/>
                        <a:pt x="1794" y="7284"/>
                        <a:pt x="2080" y="13285"/>
                      </a:cubicBezTo>
                      <a:cubicBezTo>
                        <a:pt x="2556" y="19095"/>
                        <a:pt x="841" y="19572"/>
                        <a:pt x="2842" y="25096"/>
                      </a:cubicBezTo>
                      <a:cubicBezTo>
                        <a:pt x="4842" y="30621"/>
                        <a:pt x="6842" y="26811"/>
                        <a:pt x="13510" y="29097"/>
                      </a:cubicBezTo>
                      <a:cubicBezTo>
                        <a:pt x="16748" y="30144"/>
                        <a:pt x="20463" y="31859"/>
                        <a:pt x="24654" y="33097"/>
                      </a:cubicBezTo>
                      <a:cubicBezTo>
                        <a:pt x="28083" y="34145"/>
                        <a:pt x="32083" y="35097"/>
                        <a:pt x="36084" y="35859"/>
                      </a:cubicBezTo>
                      <a:cubicBezTo>
                        <a:pt x="39799" y="36907"/>
                        <a:pt x="43799" y="36621"/>
                        <a:pt x="47514" y="37383"/>
                      </a:cubicBezTo>
                      <a:cubicBezTo>
                        <a:pt x="51514" y="38145"/>
                        <a:pt x="55229" y="39098"/>
                        <a:pt x="59134" y="39669"/>
                      </a:cubicBezTo>
                      <a:cubicBezTo>
                        <a:pt x="63135" y="40146"/>
                        <a:pt x="67040" y="40431"/>
                        <a:pt x="70755" y="40431"/>
                      </a:cubicBezTo>
                      <a:cubicBezTo>
                        <a:pt x="72946" y="40431"/>
                        <a:pt x="73612" y="37383"/>
                        <a:pt x="71707" y="36145"/>
                      </a:cubicBezTo>
                      <a:lnTo>
                        <a:pt x="71707" y="36145"/>
                      </a:lnTo>
                      <a:lnTo>
                        <a:pt x="71707" y="36145"/>
                      </a:lnTo>
                      <a:lnTo>
                        <a:pt x="71707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C46D478E-8190-0A36-20F3-CA307C67AF5A}"/>
                    </a:ext>
                  </a:extLst>
                </p:cNvPr>
                <p:cNvSpPr/>
                <p:nvPr/>
              </p:nvSpPr>
              <p:spPr>
                <a:xfrm>
                  <a:off x="5773374" y="3338267"/>
                  <a:ext cx="69149" cy="32185"/>
                </a:xfrm>
                <a:custGeom>
                  <a:avLst/>
                  <a:gdLst>
                    <a:gd name="connsiteX0" fmla="*/ 1347 w 69149"/>
                    <a:gd name="connsiteY0" fmla="*/ 27677 h 32185"/>
                    <a:gd name="connsiteX1" fmla="*/ 1347 w 69149"/>
                    <a:gd name="connsiteY1" fmla="*/ 27677 h 32185"/>
                    <a:gd name="connsiteX2" fmla="*/ 11539 w 69149"/>
                    <a:gd name="connsiteY2" fmla="*/ 22438 h 32185"/>
                    <a:gd name="connsiteX3" fmla="*/ 21921 w 69149"/>
                    <a:gd name="connsiteY3" fmla="*/ 17961 h 32185"/>
                    <a:gd name="connsiteX4" fmla="*/ 31827 w 69149"/>
                    <a:gd name="connsiteY4" fmla="*/ 12151 h 32185"/>
                    <a:gd name="connsiteX5" fmla="*/ 42019 w 69149"/>
                    <a:gd name="connsiteY5" fmla="*/ 7103 h 32185"/>
                    <a:gd name="connsiteX6" fmla="*/ 51639 w 69149"/>
                    <a:gd name="connsiteY6" fmla="*/ 816 h 32185"/>
                    <a:gd name="connsiteX7" fmla="*/ 60021 w 69149"/>
                    <a:gd name="connsiteY7" fmla="*/ 2054 h 32185"/>
                    <a:gd name="connsiteX8" fmla="*/ 67927 w 69149"/>
                    <a:gd name="connsiteY8" fmla="*/ 1578 h 32185"/>
                    <a:gd name="connsiteX9" fmla="*/ 66975 w 69149"/>
                    <a:gd name="connsiteY9" fmla="*/ 13103 h 32185"/>
                    <a:gd name="connsiteX10" fmla="*/ 65260 w 69149"/>
                    <a:gd name="connsiteY10" fmla="*/ 24629 h 32185"/>
                    <a:gd name="connsiteX11" fmla="*/ 54592 w 69149"/>
                    <a:gd name="connsiteY11" fmla="*/ 25867 h 32185"/>
                    <a:gd name="connsiteX12" fmla="*/ 44400 w 69149"/>
                    <a:gd name="connsiteY12" fmla="*/ 29105 h 32185"/>
                    <a:gd name="connsiteX13" fmla="*/ 34018 w 69149"/>
                    <a:gd name="connsiteY13" fmla="*/ 30820 h 32185"/>
                    <a:gd name="connsiteX14" fmla="*/ 23350 w 69149"/>
                    <a:gd name="connsiteY14" fmla="*/ 30534 h 32185"/>
                    <a:gd name="connsiteX15" fmla="*/ 12968 w 69149"/>
                    <a:gd name="connsiteY15" fmla="*/ 32058 h 32185"/>
                    <a:gd name="connsiteX16" fmla="*/ 2586 w 69149"/>
                    <a:gd name="connsiteY16" fmla="*/ 32058 h 32185"/>
                    <a:gd name="connsiteX17" fmla="*/ 1347 w 69149"/>
                    <a:gd name="connsiteY17" fmla="*/ 27677 h 32185"/>
                    <a:gd name="connsiteX18" fmla="*/ 1347 w 69149"/>
                    <a:gd name="connsiteY18" fmla="*/ 27677 h 32185"/>
                    <a:gd name="connsiteX19" fmla="*/ 1347 w 69149"/>
                    <a:gd name="connsiteY19" fmla="*/ 27677 h 32185"/>
                    <a:gd name="connsiteX20" fmla="*/ 1347 w 69149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149" h="32185">
                      <a:moveTo>
                        <a:pt x="1347" y="27677"/>
                      </a:moveTo>
                      <a:lnTo>
                        <a:pt x="1347" y="27677"/>
                      </a:lnTo>
                      <a:cubicBezTo>
                        <a:pt x="6300" y="25200"/>
                        <a:pt x="6300" y="25200"/>
                        <a:pt x="11539" y="22438"/>
                      </a:cubicBezTo>
                      <a:cubicBezTo>
                        <a:pt x="16492" y="19961"/>
                        <a:pt x="16778" y="20438"/>
                        <a:pt x="21921" y="17961"/>
                      </a:cubicBezTo>
                      <a:cubicBezTo>
                        <a:pt x="26874" y="15199"/>
                        <a:pt x="26589" y="14913"/>
                        <a:pt x="31827" y="12151"/>
                      </a:cubicBezTo>
                      <a:cubicBezTo>
                        <a:pt x="36780" y="9674"/>
                        <a:pt x="37066" y="9865"/>
                        <a:pt x="42019" y="7103"/>
                      </a:cubicBezTo>
                      <a:cubicBezTo>
                        <a:pt x="46972" y="4340"/>
                        <a:pt x="46210" y="2340"/>
                        <a:pt x="51639" y="816"/>
                      </a:cubicBezTo>
                      <a:cubicBezTo>
                        <a:pt x="55640" y="-422"/>
                        <a:pt x="55830" y="2054"/>
                        <a:pt x="60021" y="2054"/>
                      </a:cubicBezTo>
                      <a:cubicBezTo>
                        <a:pt x="64022" y="2054"/>
                        <a:pt x="65927" y="-2232"/>
                        <a:pt x="67927" y="1578"/>
                      </a:cubicBezTo>
                      <a:cubicBezTo>
                        <a:pt x="70880" y="6626"/>
                        <a:pt x="67641" y="7388"/>
                        <a:pt x="66975" y="13103"/>
                      </a:cubicBezTo>
                      <a:cubicBezTo>
                        <a:pt x="66213" y="18914"/>
                        <a:pt x="67737" y="19390"/>
                        <a:pt x="65260" y="24629"/>
                      </a:cubicBezTo>
                      <a:cubicBezTo>
                        <a:pt x="63069" y="29677"/>
                        <a:pt x="60783" y="24629"/>
                        <a:pt x="54592" y="25867"/>
                      </a:cubicBezTo>
                      <a:cubicBezTo>
                        <a:pt x="51639" y="26343"/>
                        <a:pt x="48115" y="28343"/>
                        <a:pt x="44400" y="29105"/>
                      </a:cubicBezTo>
                      <a:cubicBezTo>
                        <a:pt x="41162" y="29582"/>
                        <a:pt x="37733" y="30344"/>
                        <a:pt x="34018" y="30820"/>
                      </a:cubicBezTo>
                      <a:cubicBezTo>
                        <a:pt x="30780" y="31296"/>
                        <a:pt x="27065" y="30344"/>
                        <a:pt x="23350" y="30534"/>
                      </a:cubicBezTo>
                      <a:cubicBezTo>
                        <a:pt x="19921" y="31010"/>
                        <a:pt x="16397" y="31772"/>
                        <a:pt x="12968" y="32058"/>
                      </a:cubicBezTo>
                      <a:cubicBezTo>
                        <a:pt x="9539" y="32344"/>
                        <a:pt x="6015" y="32058"/>
                        <a:pt x="2586" y="32058"/>
                      </a:cubicBezTo>
                      <a:cubicBezTo>
                        <a:pt x="-177" y="32153"/>
                        <a:pt x="-939" y="29201"/>
                        <a:pt x="1347" y="27677"/>
                      </a:cubicBezTo>
                      <a:lnTo>
                        <a:pt x="1347" y="27677"/>
                      </a:lnTo>
                      <a:lnTo>
                        <a:pt x="1347" y="27677"/>
                      </a:lnTo>
                      <a:lnTo>
                        <a:pt x="1347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3E167891-FFF0-EDD8-C670-AD66E4FA15C7}"/>
                    </a:ext>
                  </a:extLst>
                </p:cNvPr>
                <p:cNvSpPr/>
                <p:nvPr/>
              </p:nvSpPr>
              <p:spPr>
                <a:xfrm>
                  <a:off x="4967034" y="2846009"/>
                  <a:ext cx="154082" cy="531978"/>
                </a:xfrm>
                <a:custGeom>
                  <a:avLst/>
                  <a:gdLst>
                    <a:gd name="connsiteX0" fmla="*/ 113410 w 154082"/>
                    <a:gd name="connsiteY0" fmla="*/ 196935 h 539591"/>
                    <a:gd name="connsiteX1" fmla="*/ 118649 w 154082"/>
                    <a:gd name="connsiteY1" fmla="*/ 314950 h 539591"/>
                    <a:gd name="connsiteX2" fmla="*/ 104266 w 154082"/>
                    <a:gd name="connsiteY2" fmla="*/ 500973 h 539591"/>
                    <a:gd name="connsiteX3" fmla="*/ 151606 w 154082"/>
                    <a:gd name="connsiteY3" fmla="*/ 527072 h 539591"/>
                    <a:gd name="connsiteX4" fmla="*/ 154082 w 154082"/>
                    <a:gd name="connsiteY4" fmla="*/ 529072 h 539591"/>
                    <a:gd name="connsiteX5" fmla="*/ 154082 w 154082"/>
                    <a:gd name="connsiteY5" fmla="*/ 532596 h 539591"/>
                    <a:gd name="connsiteX6" fmla="*/ 148177 w 154082"/>
                    <a:gd name="connsiteY6" fmla="*/ 532596 h 539591"/>
                    <a:gd name="connsiteX7" fmla="*/ 89217 w 154082"/>
                    <a:gd name="connsiteY7" fmla="*/ 524595 h 539591"/>
                    <a:gd name="connsiteX8" fmla="*/ 85216 w 154082"/>
                    <a:gd name="connsiteY8" fmla="*/ 500973 h 539591"/>
                    <a:gd name="connsiteX9" fmla="*/ 83216 w 154082"/>
                    <a:gd name="connsiteY9" fmla="*/ 524595 h 539591"/>
                    <a:gd name="connsiteX10" fmla="*/ 13874 w 154082"/>
                    <a:gd name="connsiteY10" fmla="*/ 538121 h 539591"/>
                    <a:gd name="connsiteX11" fmla="*/ 66643 w 154082"/>
                    <a:gd name="connsiteY11" fmla="*/ 500973 h 539591"/>
                    <a:gd name="connsiteX12" fmla="*/ 34639 w 154082"/>
                    <a:gd name="connsiteY12" fmla="*/ 402008 h 539591"/>
                    <a:gd name="connsiteX13" fmla="*/ 34448 w 154082"/>
                    <a:gd name="connsiteY13" fmla="*/ 402008 h 539591"/>
                    <a:gd name="connsiteX14" fmla="*/ 20637 w 154082"/>
                    <a:gd name="connsiteY14" fmla="*/ 363146 h 539591"/>
                    <a:gd name="connsiteX15" fmla="*/ 16351 w 154082"/>
                    <a:gd name="connsiteY15" fmla="*/ 336762 h 539591"/>
                    <a:gd name="connsiteX16" fmla="*/ 14350 w 154082"/>
                    <a:gd name="connsiteY16" fmla="*/ 336762 h 539591"/>
                    <a:gd name="connsiteX17" fmla="*/ 13398 w 154082"/>
                    <a:gd name="connsiteY17" fmla="*/ 313140 h 539591"/>
                    <a:gd name="connsiteX18" fmla="*/ 8159 w 154082"/>
                    <a:gd name="connsiteY18" fmla="*/ 303329 h 539591"/>
                    <a:gd name="connsiteX19" fmla="*/ 158 w 154082"/>
                    <a:gd name="connsiteY19" fmla="*/ 304853 h 539591"/>
                    <a:gd name="connsiteX20" fmla="*/ 158 w 154082"/>
                    <a:gd name="connsiteY20" fmla="*/ 304853 h 539591"/>
                    <a:gd name="connsiteX21" fmla="*/ 158 w 154082"/>
                    <a:gd name="connsiteY21" fmla="*/ 304853 h 539591"/>
                    <a:gd name="connsiteX22" fmla="*/ 158 w 154082"/>
                    <a:gd name="connsiteY22" fmla="*/ 304853 h 539591"/>
                    <a:gd name="connsiteX23" fmla="*/ 34353 w 154082"/>
                    <a:gd name="connsiteY23" fmla="*/ 138642 h 539591"/>
                    <a:gd name="connsiteX24" fmla="*/ 17208 w 154082"/>
                    <a:gd name="connsiteY24" fmla="*/ 22628 h 539591"/>
                    <a:gd name="connsiteX25" fmla="*/ 57880 w 154082"/>
                    <a:gd name="connsiteY25" fmla="*/ 9864 h 539591"/>
                    <a:gd name="connsiteX26" fmla="*/ 53117 w 154082"/>
                    <a:gd name="connsiteY26" fmla="*/ 12817 h 539591"/>
                    <a:gd name="connsiteX27" fmla="*/ 96265 w 154082"/>
                    <a:gd name="connsiteY27" fmla="*/ 1482 h 539591"/>
                    <a:gd name="connsiteX28" fmla="*/ 75025 w 154082"/>
                    <a:gd name="connsiteY28" fmla="*/ 17484 h 539591"/>
                    <a:gd name="connsiteX29" fmla="*/ 111982 w 154082"/>
                    <a:gd name="connsiteY29" fmla="*/ 131975 h 539591"/>
                    <a:gd name="connsiteX30" fmla="*/ 112744 w 154082"/>
                    <a:gd name="connsiteY30" fmla="*/ 150834 h 539591"/>
                    <a:gd name="connsiteX0" fmla="*/ 113410 w 154082"/>
                    <a:gd name="connsiteY0" fmla="*/ 189323 h 531979"/>
                    <a:gd name="connsiteX1" fmla="*/ 118649 w 154082"/>
                    <a:gd name="connsiteY1" fmla="*/ 307338 h 531979"/>
                    <a:gd name="connsiteX2" fmla="*/ 104266 w 154082"/>
                    <a:gd name="connsiteY2" fmla="*/ 493361 h 531979"/>
                    <a:gd name="connsiteX3" fmla="*/ 151606 w 154082"/>
                    <a:gd name="connsiteY3" fmla="*/ 519460 h 531979"/>
                    <a:gd name="connsiteX4" fmla="*/ 154082 w 154082"/>
                    <a:gd name="connsiteY4" fmla="*/ 521460 h 531979"/>
                    <a:gd name="connsiteX5" fmla="*/ 154082 w 154082"/>
                    <a:gd name="connsiteY5" fmla="*/ 524984 h 531979"/>
                    <a:gd name="connsiteX6" fmla="*/ 148177 w 154082"/>
                    <a:gd name="connsiteY6" fmla="*/ 524984 h 531979"/>
                    <a:gd name="connsiteX7" fmla="*/ 89217 w 154082"/>
                    <a:gd name="connsiteY7" fmla="*/ 516983 h 531979"/>
                    <a:gd name="connsiteX8" fmla="*/ 85216 w 154082"/>
                    <a:gd name="connsiteY8" fmla="*/ 493361 h 531979"/>
                    <a:gd name="connsiteX9" fmla="*/ 83216 w 154082"/>
                    <a:gd name="connsiteY9" fmla="*/ 516983 h 531979"/>
                    <a:gd name="connsiteX10" fmla="*/ 13874 w 154082"/>
                    <a:gd name="connsiteY10" fmla="*/ 530509 h 531979"/>
                    <a:gd name="connsiteX11" fmla="*/ 66643 w 154082"/>
                    <a:gd name="connsiteY11" fmla="*/ 493361 h 531979"/>
                    <a:gd name="connsiteX12" fmla="*/ 34639 w 154082"/>
                    <a:gd name="connsiteY12" fmla="*/ 394396 h 531979"/>
                    <a:gd name="connsiteX13" fmla="*/ 34448 w 154082"/>
                    <a:gd name="connsiteY13" fmla="*/ 394396 h 531979"/>
                    <a:gd name="connsiteX14" fmla="*/ 20637 w 154082"/>
                    <a:gd name="connsiteY14" fmla="*/ 355534 h 531979"/>
                    <a:gd name="connsiteX15" fmla="*/ 16351 w 154082"/>
                    <a:gd name="connsiteY15" fmla="*/ 329150 h 531979"/>
                    <a:gd name="connsiteX16" fmla="*/ 14350 w 154082"/>
                    <a:gd name="connsiteY16" fmla="*/ 329150 h 531979"/>
                    <a:gd name="connsiteX17" fmla="*/ 13398 w 154082"/>
                    <a:gd name="connsiteY17" fmla="*/ 305528 h 531979"/>
                    <a:gd name="connsiteX18" fmla="*/ 8159 w 154082"/>
                    <a:gd name="connsiteY18" fmla="*/ 295717 h 531979"/>
                    <a:gd name="connsiteX19" fmla="*/ 158 w 154082"/>
                    <a:gd name="connsiteY19" fmla="*/ 297241 h 531979"/>
                    <a:gd name="connsiteX20" fmla="*/ 158 w 154082"/>
                    <a:gd name="connsiteY20" fmla="*/ 297241 h 531979"/>
                    <a:gd name="connsiteX21" fmla="*/ 158 w 154082"/>
                    <a:gd name="connsiteY21" fmla="*/ 297241 h 531979"/>
                    <a:gd name="connsiteX22" fmla="*/ 158 w 154082"/>
                    <a:gd name="connsiteY22" fmla="*/ 297241 h 531979"/>
                    <a:gd name="connsiteX23" fmla="*/ 34353 w 154082"/>
                    <a:gd name="connsiteY23" fmla="*/ 131030 h 531979"/>
                    <a:gd name="connsiteX24" fmla="*/ 17208 w 154082"/>
                    <a:gd name="connsiteY24" fmla="*/ 15016 h 531979"/>
                    <a:gd name="connsiteX25" fmla="*/ 57880 w 154082"/>
                    <a:gd name="connsiteY25" fmla="*/ 2252 h 531979"/>
                    <a:gd name="connsiteX26" fmla="*/ 53117 w 154082"/>
                    <a:gd name="connsiteY26" fmla="*/ 5205 h 531979"/>
                    <a:gd name="connsiteX27" fmla="*/ 75025 w 154082"/>
                    <a:gd name="connsiteY27" fmla="*/ 9872 h 531979"/>
                    <a:gd name="connsiteX28" fmla="*/ 111982 w 154082"/>
                    <a:gd name="connsiteY28" fmla="*/ 124363 h 531979"/>
                    <a:gd name="connsiteX29" fmla="*/ 112744 w 154082"/>
                    <a:gd name="connsiteY29" fmla="*/ 143222 h 531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79">
                      <a:moveTo>
                        <a:pt x="113410" y="189323"/>
                      </a:moveTo>
                      <a:cubicBezTo>
                        <a:pt x="114649" y="196086"/>
                        <a:pt x="118649" y="307338"/>
                        <a:pt x="118649" y="307338"/>
                      </a:cubicBezTo>
                      <a:lnTo>
                        <a:pt x="104266" y="493361"/>
                      </a:lnTo>
                      <a:lnTo>
                        <a:pt x="151606" y="519460"/>
                      </a:lnTo>
                      <a:lnTo>
                        <a:pt x="154082" y="521460"/>
                      </a:lnTo>
                      <a:lnTo>
                        <a:pt x="154082" y="524984"/>
                      </a:lnTo>
                      <a:lnTo>
                        <a:pt x="148177" y="524984"/>
                      </a:lnTo>
                      <a:cubicBezTo>
                        <a:pt x="148177" y="524984"/>
                        <a:pt x="95122" y="520984"/>
                        <a:pt x="89217" y="516983"/>
                      </a:cubicBezTo>
                      <a:cubicBezTo>
                        <a:pt x="87026" y="502696"/>
                        <a:pt x="85216" y="493361"/>
                        <a:pt x="85216" y="493361"/>
                      </a:cubicBezTo>
                      <a:lnTo>
                        <a:pt x="83216" y="516983"/>
                      </a:lnTo>
                      <a:cubicBezTo>
                        <a:pt x="83216" y="516983"/>
                        <a:pt x="22256" y="537557"/>
                        <a:pt x="13874" y="530509"/>
                      </a:cubicBezTo>
                      <a:cubicBezTo>
                        <a:pt x="5492" y="523746"/>
                        <a:pt x="66643" y="493361"/>
                        <a:pt x="66643" y="493361"/>
                      </a:cubicBezTo>
                      <a:lnTo>
                        <a:pt x="34639" y="394396"/>
                      </a:lnTo>
                      <a:lnTo>
                        <a:pt x="34448" y="394396"/>
                      </a:lnTo>
                      <a:lnTo>
                        <a:pt x="20637" y="355534"/>
                      </a:lnTo>
                      <a:lnTo>
                        <a:pt x="16351" y="329150"/>
                      </a:lnTo>
                      <a:lnTo>
                        <a:pt x="14350" y="329150"/>
                      </a:lnTo>
                      <a:cubicBezTo>
                        <a:pt x="14033" y="321276"/>
                        <a:pt x="13715" y="313402"/>
                        <a:pt x="13398" y="305528"/>
                      </a:cubicBezTo>
                      <a:lnTo>
                        <a:pt x="8159" y="295717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cubicBezTo>
                        <a:pt x="158" y="297241"/>
                        <a:pt x="-4319" y="261046"/>
                        <a:pt x="34353" y="131030"/>
                      </a:cubicBezTo>
                      <a:cubicBezTo>
                        <a:pt x="14255" y="108932"/>
                        <a:pt x="-15463" y="64260"/>
                        <a:pt x="17208" y="15016"/>
                      </a:cubicBezTo>
                      <a:cubicBezTo>
                        <a:pt x="28828" y="-3082"/>
                        <a:pt x="57880" y="2252"/>
                        <a:pt x="57880" y="2252"/>
                      </a:cubicBezTo>
                      <a:cubicBezTo>
                        <a:pt x="57880" y="2252"/>
                        <a:pt x="57118" y="30065"/>
                        <a:pt x="53117" y="5205"/>
                      </a:cubicBezTo>
                      <a:cubicBezTo>
                        <a:pt x="55974" y="6475"/>
                        <a:pt x="65214" y="-9988"/>
                        <a:pt x="75025" y="9872"/>
                      </a:cubicBezTo>
                      <a:cubicBezTo>
                        <a:pt x="89407" y="19397"/>
                        <a:pt x="136461" y="64069"/>
                        <a:pt x="111982" y="124363"/>
                      </a:cubicBezTo>
                      <a:cubicBezTo>
                        <a:pt x="112458" y="134935"/>
                        <a:pt x="112744" y="143222"/>
                        <a:pt x="112744" y="143222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A3995808-E247-8156-9EF8-ACEB5A47BF25}"/>
                    </a:ext>
                  </a:extLst>
                </p:cNvPr>
                <p:cNvSpPr/>
                <p:nvPr/>
              </p:nvSpPr>
              <p:spPr>
                <a:xfrm>
                  <a:off x="4970637" y="2847010"/>
                  <a:ext cx="115807" cy="148773"/>
                </a:xfrm>
                <a:custGeom>
                  <a:avLst/>
                  <a:gdLst>
                    <a:gd name="connsiteX0" fmla="*/ 77136 w 115807"/>
                    <a:gd name="connsiteY0" fmla="*/ 12109 h 148773"/>
                    <a:gd name="connsiteX1" fmla="*/ 77136 w 115807"/>
                    <a:gd name="connsiteY1" fmla="*/ 12109 h 148773"/>
                    <a:gd name="connsiteX2" fmla="*/ 84565 w 115807"/>
                    <a:gd name="connsiteY2" fmla="*/ 19348 h 148773"/>
                    <a:gd name="connsiteX3" fmla="*/ 91519 w 115807"/>
                    <a:gd name="connsiteY3" fmla="*/ 27158 h 148773"/>
                    <a:gd name="connsiteX4" fmla="*/ 97710 w 115807"/>
                    <a:gd name="connsiteY4" fmla="*/ 35159 h 148773"/>
                    <a:gd name="connsiteX5" fmla="*/ 102949 w 115807"/>
                    <a:gd name="connsiteY5" fmla="*/ 44494 h 148773"/>
                    <a:gd name="connsiteX6" fmla="*/ 108187 w 115807"/>
                    <a:gd name="connsiteY6" fmla="*/ 53542 h 148773"/>
                    <a:gd name="connsiteX7" fmla="*/ 111140 w 115807"/>
                    <a:gd name="connsiteY7" fmla="*/ 63544 h 148773"/>
                    <a:gd name="connsiteX8" fmla="*/ 113331 w 115807"/>
                    <a:gd name="connsiteY8" fmla="*/ 73545 h 148773"/>
                    <a:gd name="connsiteX9" fmla="*/ 115522 w 115807"/>
                    <a:gd name="connsiteY9" fmla="*/ 83832 h 148773"/>
                    <a:gd name="connsiteX10" fmla="*/ 115807 w 115807"/>
                    <a:gd name="connsiteY10" fmla="*/ 94405 h 148773"/>
                    <a:gd name="connsiteX11" fmla="*/ 114569 w 115807"/>
                    <a:gd name="connsiteY11" fmla="*/ 104977 h 148773"/>
                    <a:gd name="connsiteX12" fmla="*/ 112093 w 115807"/>
                    <a:gd name="connsiteY12" fmla="*/ 114979 h 148773"/>
                    <a:gd name="connsiteX13" fmla="*/ 108664 w 115807"/>
                    <a:gd name="connsiteY13" fmla="*/ 124789 h 148773"/>
                    <a:gd name="connsiteX14" fmla="*/ 102472 w 115807"/>
                    <a:gd name="connsiteY14" fmla="*/ 133362 h 148773"/>
                    <a:gd name="connsiteX15" fmla="*/ 95329 w 115807"/>
                    <a:gd name="connsiteY15" fmla="*/ 140887 h 148773"/>
                    <a:gd name="connsiteX16" fmla="*/ 86185 w 115807"/>
                    <a:gd name="connsiteY16" fmla="*/ 145649 h 148773"/>
                    <a:gd name="connsiteX17" fmla="*/ 76279 w 115807"/>
                    <a:gd name="connsiteY17" fmla="*/ 147935 h 148773"/>
                    <a:gd name="connsiteX18" fmla="*/ 65896 w 115807"/>
                    <a:gd name="connsiteY18" fmla="*/ 148697 h 148773"/>
                    <a:gd name="connsiteX19" fmla="*/ 56276 w 115807"/>
                    <a:gd name="connsiteY19" fmla="*/ 145649 h 148773"/>
                    <a:gd name="connsiteX20" fmla="*/ 46656 w 115807"/>
                    <a:gd name="connsiteY20" fmla="*/ 141649 h 148773"/>
                    <a:gd name="connsiteX21" fmla="*/ 37988 w 115807"/>
                    <a:gd name="connsiteY21" fmla="*/ 136410 h 148773"/>
                    <a:gd name="connsiteX22" fmla="*/ 30273 w 115807"/>
                    <a:gd name="connsiteY22" fmla="*/ 129171 h 148773"/>
                    <a:gd name="connsiteX23" fmla="*/ 23320 w 115807"/>
                    <a:gd name="connsiteY23" fmla="*/ 121646 h 148773"/>
                    <a:gd name="connsiteX24" fmla="*/ 16843 w 115807"/>
                    <a:gd name="connsiteY24" fmla="*/ 113645 h 148773"/>
                    <a:gd name="connsiteX25" fmla="*/ 11604 w 115807"/>
                    <a:gd name="connsiteY25" fmla="*/ 104596 h 148773"/>
                    <a:gd name="connsiteX26" fmla="*/ 7603 w 115807"/>
                    <a:gd name="connsiteY26" fmla="*/ 94786 h 148773"/>
                    <a:gd name="connsiteX27" fmla="*/ 4841 w 115807"/>
                    <a:gd name="connsiteY27" fmla="*/ 84784 h 148773"/>
                    <a:gd name="connsiteX28" fmla="*/ 1603 w 115807"/>
                    <a:gd name="connsiteY28" fmla="*/ 74974 h 148773"/>
                    <a:gd name="connsiteX29" fmla="*/ 79 w 115807"/>
                    <a:gd name="connsiteY29" fmla="*/ 64687 h 148773"/>
                    <a:gd name="connsiteX30" fmla="*/ 555 w 115807"/>
                    <a:gd name="connsiteY30" fmla="*/ 54400 h 148773"/>
                    <a:gd name="connsiteX31" fmla="*/ 1507 w 115807"/>
                    <a:gd name="connsiteY31" fmla="*/ 44113 h 148773"/>
                    <a:gd name="connsiteX32" fmla="*/ 2746 w 115807"/>
                    <a:gd name="connsiteY32" fmla="*/ 33540 h 148773"/>
                    <a:gd name="connsiteX33" fmla="*/ 7222 w 115807"/>
                    <a:gd name="connsiteY33" fmla="*/ 24205 h 148773"/>
                    <a:gd name="connsiteX34" fmla="*/ 12175 w 115807"/>
                    <a:gd name="connsiteY34" fmla="*/ 14871 h 148773"/>
                    <a:gd name="connsiteX35" fmla="*/ 20367 w 115807"/>
                    <a:gd name="connsiteY35" fmla="*/ 8584 h 148773"/>
                    <a:gd name="connsiteX36" fmla="*/ 29320 w 115807"/>
                    <a:gd name="connsiteY36" fmla="*/ 3536 h 148773"/>
                    <a:gd name="connsiteX37" fmla="*/ 38941 w 115807"/>
                    <a:gd name="connsiteY37" fmla="*/ 488 h 148773"/>
                    <a:gd name="connsiteX38" fmla="*/ 49132 w 115807"/>
                    <a:gd name="connsiteY38" fmla="*/ 202 h 148773"/>
                    <a:gd name="connsiteX39" fmla="*/ 54276 w 115807"/>
                    <a:gd name="connsiteY39" fmla="*/ 583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77136" y="12109"/>
                      </a:moveTo>
                      <a:lnTo>
                        <a:pt x="77136" y="12109"/>
                      </a:lnTo>
                      <a:cubicBezTo>
                        <a:pt x="79898" y="14109"/>
                        <a:pt x="81803" y="16871"/>
                        <a:pt x="84565" y="19348"/>
                      </a:cubicBezTo>
                      <a:cubicBezTo>
                        <a:pt x="86756" y="21634"/>
                        <a:pt x="89233" y="24396"/>
                        <a:pt x="91519" y="27158"/>
                      </a:cubicBezTo>
                      <a:cubicBezTo>
                        <a:pt x="93519" y="29635"/>
                        <a:pt x="95995" y="32206"/>
                        <a:pt x="97710" y="35159"/>
                      </a:cubicBezTo>
                      <a:cubicBezTo>
                        <a:pt x="99710" y="38207"/>
                        <a:pt x="101139" y="41160"/>
                        <a:pt x="102949" y="44494"/>
                      </a:cubicBezTo>
                      <a:cubicBezTo>
                        <a:pt x="104473" y="47542"/>
                        <a:pt x="106949" y="50304"/>
                        <a:pt x="108187" y="53542"/>
                      </a:cubicBezTo>
                      <a:cubicBezTo>
                        <a:pt x="109426" y="56781"/>
                        <a:pt x="110188" y="60305"/>
                        <a:pt x="111140" y="63544"/>
                      </a:cubicBezTo>
                      <a:cubicBezTo>
                        <a:pt x="112093" y="66782"/>
                        <a:pt x="112855" y="70306"/>
                        <a:pt x="113331" y="73545"/>
                      </a:cubicBezTo>
                      <a:cubicBezTo>
                        <a:pt x="114093" y="77069"/>
                        <a:pt x="115331" y="80593"/>
                        <a:pt x="115522" y="83832"/>
                      </a:cubicBezTo>
                      <a:cubicBezTo>
                        <a:pt x="115807" y="87356"/>
                        <a:pt x="115807" y="90880"/>
                        <a:pt x="115807" y="94405"/>
                      </a:cubicBezTo>
                      <a:cubicBezTo>
                        <a:pt x="115522" y="97929"/>
                        <a:pt x="115045" y="101453"/>
                        <a:pt x="114569" y="104977"/>
                      </a:cubicBezTo>
                      <a:cubicBezTo>
                        <a:pt x="114093" y="108502"/>
                        <a:pt x="113045" y="111740"/>
                        <a:pt x="112093" y="114979"/>
                      </a:cubicBezTo>
                      <a:cubicBezTo>
                        <a:pt x="110854" y="118217"/>
                        <a:pt x="110092" y="121741"/>
                        <a:pt x="108664" y="124789"/>
                      </a:cubicBezTo>
                      <a:cubicBezTo>
                        <a:pt x="106949" y="128028"/>
                        <a:pt x="104663" y="130790"/>
                        <a:pt x="102472" y="133362"/>
                      </a:cubicBezTo>
                      <a:cubicBezTo>
                        <a:pt x="100282" y="136124"/>
                        <a:pt x="97996" y="138886"/>
                        <a:pt x="95329" y="140887"/>
                      </a:cubicBezTo>
                      <a:cubicBezTo>
                        <a:pt x="92566" y="143173"/>
                        <a:pt x="89423" y="144411"/>
                        <a:pt x="86185" y="145649"/>
                      </a:cubicBezTo>
                      <a:cubicBezTo>
                        <a:pt x="82946" y="146887"/>
                        <a:pt x="79517" y="147364"/>
                        <a:pt x="76279" y="147935"/>
                      </a:cubicBezTo>
                      <a:cubicBezTo>
                        <a:pt x="72850" y="148411"/>
                        <a:pt x="69325" y="148983"/>
                        <a:pt x="65896" y="148697"/>
                      </a:cubicBezTo>
                      <a:cubicBezTo>
                        <a:pt x="62658" y="148221"/>
                        <a:pt x="59419" y="146697"/>
                        <a:pt x="56276" y="145649"/>
                      </a:cubicBezTo>
                      <a:cubicBezTo>
                        <a:pt x="53038" y="144411"/>
                        <a:pt x="49799" y="143363"/>
                        <a:pt x="46656" y="141649"/>
                      </a:cubicBezTo>
                      <a:cubicBezTo>
                        <a:pt x="43894" y="140125"/>
                        <a:pt x="40750" y="138410"/>
                        <a:pt x="37988" y="136410"/>
                      </a:cubicBezTo>
                      <a:cubicBezTo>
                        <a:pt x="35226" y="134124"/>
                        <a:pt x="33035" y="131647"/>
                        <a:pt x="30273" y="129171"/>
                      </a:cubicBezTo>
                      <a:cubicBezTo>
                        <a:pt x="28082" y="126885"/>
                        <a:pt x="25606" y="124408"/>
                        <a:pt x="23320" y="121646"/>
                      </a:cubicBezTo>
                      <a:cubicBezTo>
                        <a:pt x="21129" y="119170"/>
                        <a:pt x="18843" y="116598"/>
                        <a:pt x="16843" y="113645"/>
                      </a:cubicBezTo>
                      <a:cubicBezTo>
                        <a:pt x="15128" y="110597"/>
                        <a:pt x="13414" y="107644"/>
                        <a:pt x="11604" y="104596"/>
                      </a:cubicBezTo>
                      <a:cubicBezTo>
                        <a:pt x="10080" y="101548"/>
                        <a:pt x="9127" y="98024"/>
                        <a:pt x="7603" y="94786"/>
                      </a:cubicBezTo>
                      <a:cubicBezTo>
                        <a:pt x="6365" y="91547"/>
                        <a:pt x="5889" y="88023"/>
                        <a:pt x="4841" y="84784"/>
                      </a:cubicBezTo>
                      <a:cubicBezTo>
                        <a:pt x="3889" y="81546"/>
                        <a:pt x="2365" y="78212"/>
                        <a:pt x="1603" y="74974"/>
                      </a:cubicBezTo>
                      <a:cubicBezTo>
                        <a:pt x="1126" y="71449"/>
                        <a:pt x="364" y="68211"/>
                        <a:pt x="79" y="64687"/>
                      </a:cubicBezTo>
                      <a:cubicBezTo>
                        <a:pt x="-207" y="61162"/>
                        <a:pt x="364" y="57638"/>
                        <a:pt x="555" y="54400"/>
                      </a:cubicBezTo>
                      <a:cubicBezTo>
                        <a:pt x="555" y="50590"/>
                        <a:pt x="1031" y="47351"/>
                        <a:pt x="1507" y="44113"/>
                      </a:cubicBezTo>
                      <a:cubicBezTo>
                        <a:pt x="1984" y="40588"/>
                        <a:pt x="1793" y="36874"/>
                        <a:pt x="2746" y="33540"/>
                      </a:cubicBezTo>
                      <a:cubicBezTo>
                        <a:pt x="3984" y="30301"/>
                        <a:pt x="5698" y="27253"/>
                        <a:pt x="7222" y="24205"/>
                      </a:cubicBezTo>
                      <a:cubicBezTo>
                        <a:pt x="8937" y="20872"/>
                        <a:pt x="9985" y="17347"/>
                        <a:pt x="12175" y="14871"/>
                      </a:cubicBezTo>
                      <a:cubicBezTo>
                        <a:pt x="14176" y="12109"/>
                        <a:pt x="17605" y="10585"/>
                        <a:pt x="20367" y="8584"/>
                      </a:cubicBezTo>
                      <a:cubicBezTo>
                        <a:pt x="23129" y="6584"/>
                        <a:pt x="26082" y="4774"/>
                        <a:pt x="29320" y="3536"/>
                      </a:cubicBezTo>
                      <a:cubicBezTo>
                        <a:pt x="32559" y="2298"/>
                        <a:pt x="35512" y="1060"/>
                        <a:pt x="38941" y="488"/>
                      </a:cubicBezTo>
                      <a:cubicBezTo>
                        <a:pt x="42179" y="202"/>
                        <a:pt x="45608" y="-274"/>
                        <a:pt x="49132" y="202"/>
                      </a:cubicBezTo>
                      <a:cubicBezTo>
                        <a:pt x="50847" y="583"/>
                        <a:pt x="52561" y="12"/>
                        <a:pt x="54276" y="5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31F7CBB5-964D-2D8C-3BC5-9C44A2BEDB0A}"/>
                    </a:ext>
                  </a:extLst>
                </p:cNvPr>
                <p:cNvSpPr/>
                <p:nvPr/>
              </p:nvSpPr>
              <p:spPr>
                <a:xfrm>
                  <a:off x="5012531" y="2905315"/>
                  <a:ext cx="61245" cy="37889"/>
                </a:xfrm>
                <a:custGeom>
                  <a:avLst/>
                  <a:gdLst>
                    <a:gd name="connsiteX0" fmla="*/ 0 w 61245"/>
                    <a:gd name="connsiteY0" fmla="*/ 25051 h 37889"/>
                    <a:gd name="connsiteX1" fmla="*/ 0 w 61245"/>
                    <a:gd name="connsiteY1" fmla="*/ 25051 h 37889"/>
                    <a:gd name="connsiteX2" fmla="*/ 9239 w 61245"/>
                    <a:gd name="connsiteY2" fmla="*/ 31337 h 37889"/>
                    <a:gd name="connsiteX3" fmla="*/ 19907 w 61245"/>
                    <a:gd name="connsiteY3" fmla="*/ 34862 h 37889"/>
                    <a:gd name="connsiteX4" fmla="*/ 30575 w 61245"/>
                    <a:gd name="connsiteY4" fmla="*/ 37147 h 37889"/>
                    <a:gd name="connsiteX5" fmla="*/ 41434 w 61245"/>
                    <a:gd name="connsiteY5" fmla="*/ 37433 h 37889"/>
                    <a:gd name="connsiteX6" fmla="*/ 50864 w 61245"/>
                    <a:gd name="connsiteY6" fmla="*/ 31909 h 37889"/>
                    <a:gd name="connsiteX7" fmla="*/ 55816 w 61245"/>
                    <a:gd name="connsiteY7" fmla="*/ 21907 h 37889"/>
                    <a:gd name="connsiteX8" fmla="*/ 59246 w 61245"/>
                    <a:gd name="connsiteY8" fmla="*/ 11335 h 37889"/>
                    <a:gd name="connsiteX9" fmla="*/ 61246 w 61245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245" h="37889">
                      <a:moveTo>
                        <a:pt x="0" y="25051"/>
                      </a:moveTo>
                      <a:lnTo>
                        <a:pt x="0" y="25051"/>
                      </a:lnTo>
                      <a:cubicBezTo>
                        <a:pt x="4477" y="28384"/>
                        <a:pt x="3524" y="28384"/>
                        <a:pt x="9239" y="31337"/>
                      </a:cubicBezTo>
                      <a:cubicBezTo>
                        <a:pt x="12002" y="33052"/>
                        <a:pt x="16192" y="33623"/>
                        <a:pt x="19907" y="34862"/>
                      </a:cubicBezTo>
                      <a:cubicBezTo>
                        <a:pt x="23336" y="36100"/>
                        <a:pt x="26860" y="36576"/>
                        <a:pt x="30575" y="37147"/>
                      </a:cubicBezTo>
                      <a:cubicBezTo>
                        <a:pt x="34290" y="37624"/>
                        <a:pt x="38005" y="38386"/>
                        <a:pt x="41434" y="37433"/>
                      </a:cubicBezTo>
                      <a:cubicBezTo>
                        <a:pt x="44863" y="36385"/>
                        <a:pt x="48101" y="34957"/>
                        <a:pt x="50864" y="31909"/>
                      </a:cubicBezTo>
                      <a:cubicBezTo>
                        <a:pt x="53054" y="29432"/>
                        <a:pt x="54293" y="25908"/>
                        <a:pt x="55816" y="21907"/>
                      </a:cubicBezTo>
                      <a:cubicBezTo>
                        <a:pt x="57055" y="18859"/>
                        <a:pt x="58579" y="15335"/>
                        <a:pt x="59246" y="11335"/>
                      </a:cubicBezTo>
                      <a:cubicBezTo>
                        <a:pt x="59722" y="7810"/>
                        <a:pt x="60960" y="4286"/>
                        <a:pt x="612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79EBE89F-96D3-DAA0-5340-620E52D87F54}"/>
                    </a:ext>
                  </a:extLst>
                </p:cNvPr>
                <p:cNvSpPr/>
                <p:nvPr/>
              </p:nvSpPr>
              <p:spPr>
                <a:xfrm>
                  <a:off x="5031104" y="2893218"/>
                  <a:ext cx="5715" cy="13049"/>
                </a:xfrm>
                <a:custGeom>
                  <a:avLst/>
                  <a:gdLst>
                    <a:gd name="connsiteX0" fmla="*/ 0 w 5715"/>
                    <a:gd name="connsiteY0" fmla="*/ 0 h 13049"/>
                    <a:gd name="connsiteX1" fmla="*/ 0 w 5715"/>
                    <a:gd name="connsiteY1" fmla="*/ 0 h 13049"/>
                    <a:gd name="connsiteX2" fmla="*/ 5715 w 5715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5" h="1304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762" y="6763"/>
                        <a:pt x="5715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DC829BDB-8D88-61C2-62C6-D1C25EC200FA}"/>
                    </a:ext>
                  </a:extLst>
                </p:cNvPr>
                <p:cNvSpPr/>
                <p:nvPr/>
              </p:nvSpPr>
              <p:spPr>
                <a:xfrm>
                  <a:off x="5043582" y="2886741"/>
                  <a:ext cx="4952" cy="13335"/>
                </a:xfrm>
                <a:custGeom>
                  <a:avLst/>
                  <a:gdLst>
                    <a:gd name="connsiteX0" fmla="*/ 0 w 4952"/>
                    <a:gd name="connsiteY0" fmla="*/ 0 h 13335"/>
                    <a:gd name="connsiteX1" fmla="*/ 0 w 4952"/>
                    <a:gd name="connsiteY1" fmla="*/ 0 h 13335"/>
                    <a:gd name="connsiteX2" fmla="*/ 4953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000" y="7049"/>
                        <a:pt x="4953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6FF4834F-924C-496D-B63E-3227184F1D1F}"/>
                    </a:ext>
                  </a:extLst>
                </p:cNvPr>
                <p:cNvSpPr/>
                <p:nvPr/>
              </p:nvSpPr>
              <p:spPr>
                <a:xfrm>
                  <a:off x="4966906" y="2977133"/>
                  <a:ext cx="53625" cy="168558"/>
                </a:xfrm>
                <a:custGeom>
                  <a:avLst/>
                  <a:gdLst>
                    <a:gd name="connsiteX0" fmla="*/ 34766 w 53625"/>
                    <a:gd name="connsiteY0" fmla="*/ 0 h 168558"/>
                    <a:gd name="connsiteX1" fmla="*/ 34766 w 53625"/>
                    <a:gd name="connsiteY1" fmla="*/ 0 h 168558"/>
                    <a:gd name="connsiteX2" fmla="*/ 31052 w 53625"/>
                    <a:gd name="connsiteY2" fmla="*/ 10287 h 168558"/>
                    <a:gd name="connsiteX3" fmla="*/ 28575 w 53625"/>
                    <a:gd name="connsiteY3" fmla="*/ 20860 h 168558"/>
                    <a:gd name="connsiteX4" fmla="*/ 25146 w 53625"/>
                    <a:gd name="connsiteY4" fmla="*/ 31147 h 168558"/>
                    <a:gd name="connsiteX5" fmla="*/ 22670 w 53625"/>
                    <a:gd name="connsiteY5" fmla="*/ 41720 h 168558"/>
                    <a:gd name="connsiteX6" fmla="*/ 20479 w 53625"/>
                    <a:gd name="connsiteY6" fmla="*/ 52292 h 168558"/>
                    <a:gd name="connsiteX7" fmla="*/ 16478 w 53625"/>
                    <a:gd name="connsiteY7" fmla="*/ 62579 h 168558"/>
                    <a:gd name="connsiteX8" fmla="*/ 14288 w 53625"/>
                    <a:gd name="connsiteY8" fmla="*/ 73152 h 168558"/>
                    <a:gd name="connsiteX9" fmla="*/ 12097 w 53625"/>
                    <a:gd name="connsiteY9" fmla="*/ 83725 h 168558"/>
                    <a:gd name="connsiteX10" fmla="*/ 9906 w 53625"/>
                    <a:gd name="connsiteY10" fmla="*/ 94298 h 168558"/>
                    <a:gd name="connsiteX11" fmla="*/ 7906 w 53625"/>
                    <a:gd name="connsiteY11" fmla="*/ 105061 h 168558"/>
                    <a:gd name="connsiteX12" fmla="*/ 4667 w 53625"/>
                    <a:gd name="connsiteY12" fmla="*/ 115634 h 168558"/>
                    <a:gd name="connsiteX13" fmla="*/ 2953 w 53625"/>
                    <a:gd name="connsiteY13" fmla="*/ 126206 h 168558"/>
                    <a:gd name="connsiteX14" fmla="*/ 2000 w 53625"/>
                    <a:gd name="connsiteY14" fmla="*/ 136969 h 168558"/>
                    <a:gd name="connsiteX15" fmla="*/ 1714 w 53625"/>
                    <a:gd name="connsiteY15" fmla="*/ 148018 h 168558"/>
                    <a:gd name="connsiteX16" fmla="*/ 0 w 53625"/>
                    <a:gd name="connsiteY16" fmla="*/ 158591 h 168558"/>
                    <a:gd name="connsiteX17" fmla="*/ 3239 w 53625"/>
                    <a:gd name="connsiteY17" fmla="*/ 168402 h 168558"/>
                    <a:gd name="connsiteX18" fmla="*/ 10668 w 53625"/>
                    <a:gd name="connsiteY18" fmla="*/ 161830 h 168558"/>
                    <a:gd name="connsiteX19" fmla="*/ 15907 w 53625"/>
                    <a:gd name="connsiteY19" fmla="*/ 152305 h 168558"/>
                    <a:gd name="connsiteX20" fmla="*/ 20860 w 53625"/>
                    <a:gd name="connsiteY20" fmla="*/ 142494 h 168558"/>
                    <a:gd name="connsiteX21" fmla="*/ 25527 w 53625"/>
                    <a:gd name="connsiteY21" fmla="*/ 132493 h 168558"/>
                    <a:gd name="connsiteX22" fmla="*/ 29242 w 53625"/>
                    <a:gd name="connsiteY22" fmla="*/ 122206 h 168558"/>
                    <a:gd name="connsiteX23" fmla="*/ 33719 w 53625"/>
                    <a:gd name="connsiteY23" fmla="*/ 111919 h 168558"/>
                    <a:gd name="connsiteX24" fmla="*/ 37910 w 53625"/>
                    <a:gd name="connsiteY24" fmla="*/ 101918 h 168558"/>
                    <a:gd name="connsiteX25" fmla="*/ 41910 w 53625"/>
                    <a:gd name="connsiteY25" fmla="*/ 91631 h 168558"/>
                    <a:gd name="connsiteX26" fmla="*/ 45625 w 53625"/>
                    <a:gd name="connsiteY26" fmla="*/ 81058 h 168558"/>
                    <a:gd name="connsiteX27" fmla="*/ 49625 w 53625"/>
                    <a:gd name="connsiteY27" fmla="*/ 70771 h 168558"/>
                    <a:gd name="connsiteX28" fmla="*/ 53626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34766" y="0"/>
                      </a:moveTo>
                      <a:lnTo>
                        <a:pt x="34766" y="0"/>
                      </a:lnTo>
                      <a:cubicBezTo>
                        <a:pt x="33242" y="5239"/>
                        <a:pt x="33052" y="3810"/>
                        <a:pt x="31052" y="10287"/>
                      </a:cubicBezTo>
                      <a:cubicBezTo>
                        <a:pt x="30099" y="13049"/>
                        <a:pt x="29528" y="16859"/>
                        <a:pt x="28575" y="20860"/>
                      </a:cubicBezTo>
                      <a:cubicBezTo>
                        <a:pt x="27622" y="23908"/>
                        <a:pt x="26099" y="27432"/>
                        <a:pt x="25146" y="31147"/>
                      </a:cubicBezTo>
                      <a:cubicBezTo>
                        <a:pt x="24194" y="34385"/>
                        <a:pt x="23622" y="37910"/>
                        <a:pt x="22670" y="41720"/>
                      </a:cubicBezTo>
                      <a:cubicBezTo>
                        <a:pt x="21908" y="44958"/>
                        <a:pt x="21431" y="48768"/>
                        <a:pt x="20479" y="52292"/>
                      </a:cubicBezTo>
                      <a:cubicBezTo>
                        <a:pt x="19717" y="55817"/>
                        <a:pt x="17526" y="58865"/>
                        <a:pt x="16478" y="62579"/>
                      </a:cubicBezTo>
                      <a:cubicBezTo>
                        <a:pt x="15716" y="65818"/>
                        <a:pt x="15240" y="69628"/>
                        <a:pt x="14288" y="73152"/>
                      </a:cubicBezTo>
                      <a:cubicBezTo>
                        <a:pt x="13526" y="76676"/>
                        <a:pt x="13049" y="80201"/>
                        <a:pt x="12097" y="83725"/>
                      </a:cubicBezTo>
                      <a:cubicBezTo>
                        <a:pt x="11335" y="87249"/>
                        <a:pt x="10573" y="90773"/>
                        <a:pt x="9906" y="94298"/>
                      </a:cubicBezTo>
                      <a:cubicBezTo>
                        <a:pt x="8954" y="97822"/>
                        <a:pt x="8382" y="101537"/>
                        <a:pt x="7906" y="105061"/>
                      </a:cubicBezTo>
                      <a:cubicBezTo>
                        <a:pt x="7144" y="108585"/>
                        <a:pt x="5429" y="112109"/>
                        <a:pt x="4667" y="115634"/>
                      </a:cubicBezTo>
                      <a:cubicBezTo>
                        <a:pt x="4191" y="119158"/>
                        <a:pt x="3429" y="122682"/>
                        <a:pt x="2953" y="126206"/>
                      </a:cubicBezTo>
                      <a:cubicBezTo>
                        <a:pt x="2477" y="130016"/>
                        <a:pt x="2477" y="133731"/>
                        <a:pt x="2000" y="136969"/>
                      </a:cubicBezTo>
                      <a:cubicBezTo>
                        <a:pt x="1524" y="140780"/>
                        <a:pt x="2000" y="144494"/>
                        <a:pt x="1714" y="148018"/>
                      </a:cubicBezTo>
                      <a:cubicBezTo>
                        <a:pt x="1429" y="151829"/>
                        <a:pt x="0" y="155258"/>
                        <a:pt x="0" y="158591"/>
                      </a:cubicBezTo>
                      <a:cubicBezTo>
                        <a:pt x="0" y="165354"/>
                        <a:pt x="1714" y="167926"/>
                        <a:pt x="3239" y="168402"/>
                      </a:cubicBezTo>
                      <a:cubicBezTo>
                        <a:pt x="4953" y="169164"/>
                        <a:pt x="7430" y="167164"/>
                        <a:pt x="10668" y="161830"/>
                      </a:cubicBezTo>
                      <a:cubicBezTo>
                        <a:pt x="12192" y="159353"/>
                        <a:pt x="14097" y="156019"/>
                        <a:pt x="15907" y="152305"/>
                      </a:cubicBezTo>
                      <a:cubicBezTo>
                        <a:pt x="17621" y="149257"/>
                        <a:pt x="19145" y="146018"/>
                        <a:pt x="20860" y="142494"/>
                      </a:cubicBezTo>
                      <a:cubicBezTo>
                        <a:pt x="22384" y="139256"/>
                        <a:pt x="24098" y="135922"/>
                        <a:pt x="25527" y="132493"/>
                      </a:cubicBezTo>
                      <a:cubicBezTo>
                        <a:pt x="27051" y="129254"/>
                        <a:pt x="27718" y="125444"/>
                        <a:pt x="29242" y="122206"/>
                      </a:cubicBezTo>
                      <a:cubicBezTo>
                        <a:pt x="30766" y="118682"/>
                        <a:pt x="32195" y="115443"/>
                        <a:pt x="33719" y="111919"/>
                      </a:cubicBezTo>
                      <a:cubicBezTo>
                        <a:pt x="34957" y="108680"/>
                        <a:pt x="36481" y="105156"/>
                        <a:pt x="37910" y="101918"/>
                      </a:cubicBezTo>
                      <a:cubicBezTo>
                        <a:pt x="39148" y="98393"/>
                        <a:pt x="40672" y="94869"/>
                        <a:pt x="41910" y="91631"/>
                      </a:cubicBezTo>
                      <a:cubicBezTo>
                        <a:pt x="43434" y="87821"/>
                        <a:pt x="44387" y="84392"/>
                        <a:pt x="45625" y="81058"/>
                      </a:cubicBezTo>
                      <a:cubicBezTo>
                        <a:pt x="47149" y="77248"/>
                        <a:pt x="48387" y="73819"/>
                        <a:pt x="49625" y="70771"/>
                      </a:cubicBezTo>
                      <a:cubicBezTo>
                        <a:pt x="51816" y="64484"/>
                        <a:pt x="51626" y="65723"/>
                        <a:pt x="53626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211ADE5C-8B30-1489-CE29-4C64D484A1FA}"/>
                    </a:ext>
                  </a:extLst>
                </p:cNvPr>
                <p:cNvSpPr/>
                <p:nvPr/>
              </p:nvSpPr>
              <p:spPr>
                <a:xfrm>
                  <a:off x="4994052" y="2970276"/>
                  <a:ext cx="93498" cy="185610"/>
                </a:xfrm>
                <a:custGeom>
                  <a:avLst/>
                  <a:gdLst>
                    <a:gd name="connsiteX0" fmla="*/ 85630 w 93498"/>
                    <a:gd name="connsiteY0" fmla="*/ 0 h 185610"/>
                    <a:gd name="connsiteX1" fmla="*/ 85630 w 93498"/>
                    <a:gd name="connsiteY1" fmla="*/ 0 h 185610"/>
                    <a:gd name="connsiteX2" fmla="*/ 85630 w 93498"/>
                    <a:gd name="connsiteY2" fmla="*/ 10763 h 185610"/>
                    <a:gd name="connsiteX3" fmla="*/ 86392 w 93498"/>
                    <a:gd name="connsiteY3" fmla="*/ 21527 h 185610"/>
                    <a:gd name="connsiteX4" fmla="*/ 86868 w 93498"/>
                    <a:gd name="connsiteY4" fmla="*/ 32576 h 185610"/>
                    <a:gd name="connsiteX5" fmla="*/ 86106 w 93498"/>
                    <a:gd name="connsiteY5" fmla="*/ 43339 h 185610"/>
                    <a:gd name="connsiteX6" fmla="*/ 86868 w 93498"/>
                    <a:gd name="connsiteY6" fmla="*/ 54102 h 185610"/>
                    <a:gd name="connsiteX7" fmla="*/ 88106 w 93498"/>
                    <a:gd name="connsiteY7" fmla="*/ 64865 h 185610"/>
                    <a:gd name="connsiteX8" fmla="*/ 88392 w 93498"/>
                    <a:gd name="connsiteY8" fmla="*/ 75629 h 185610"/>
                    <a:gd name="connsiteX9" fmla="*/ 87916 w 93498"/>
                    <a:gd name="connsiteY9" fmla="*/ 86392 h 185610"/>
                    <a:gd name="connsiteX10" fmla="*/ 88678 w 93498"/>
                    <a:gd name="connsiteY10" fmla="*/ 97155 h 185610"/>
                    <a:gd name="connsiteX11" fmla="*/ 88964 w 93498"/>
                    <a:gd name="connsiteY11" fmla="*/ 108204 h 185610"/>
                    <a:gd name="connsiteX12" fmla="*/ 89440 w 93498"/>
                    <a:gd name="connsiteY12" fmla="*/ 118967 h 185610"/>
                    <a:gd name="connsiteX13" fmla="*/ 89916 w 93498"/>
                    <a:gd name="connsiteY13" fmla="*/ 129730 h 185610"/>
                    <a:gd name="connsiteX14" fmla="*/ 90202 w 93498"/>
                    <a:gd name="connsiteY14" fmla="*/ 140494 h 185610"/>
                    <a:gd name="connsiteX15" fmla="*/ 91154 w 93498"/>
                    <a:gd name="connsiteY15" fmla="*/ 151257 h 185610"/>
                    <a:gd name="connsiteX16" fmla="*/ 91154 w 93498"/>
                    <a:gd name="connsiteY16" fmla="*/ 162020 h 185610"/>
                    <a:gd name="connsiteX17" fmla="*/ 92107 w 93498"/>
                    <a:gd name="connsiteY17" fmla="*/ 172784 h 185610"/>
                    <a:gd name="connsiteX18" fmla="*/ 91631 w 93498"/>
                    <a:gd name="connsiteY18" fmla="*/ 183833 h 185610"/>
                    <a:gd name="connsiteX19" fmla="*/ 80201 w 93498"/>
                    <a:gd name="connsiteY19" fmla="*/ 183833 h 185610"/>
                    <a:gd name="connsiteX20" fmla="*/ 68771 w 93498"/>
                    <a:gd name="connsiteY20" fmla="*/ 184595 h 185610"/>
                    <a:gd name="connsiteX21" fmla="*/ 57341 w 93498"/>
                    <a:gd name="connsiteY21" fmla="*/ 183547 h 185610"/>
                    <a:gd name="connsiteX22" fmla="*/ 45911 w 93498"/>
                    <a:gd name="connsiteY22" fmla="*/ 183833 h 185610"/>
                    <a:gd name="connsiteX23" fmla="*/ 34290 w 93498"/>
                    <a:gd name="connsiteY23" fmla="*/ 183356 h 185610"/>
                    <a:gd name="connsiteX24" fmla="*/ 22860 w 93498"/>
                    <a:gd name="connsiteY24" fmla="*/ 183071 h 185610"/>
                    <a:gd name="connsiteX25" fmla="*/ 11430 w 93498"/>
                    <a:gd name="connsiteY25" fmla="*/ 183833 h 185610"/>
                    <a:gd name="connsiteX26" fmla="*/ 0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85630" y="0"/>
                      </a:moveTo>
                      <a:lnTo>
                        <a:pt x="85630" y="0"/>
                      </a:lnTo>
                      <a:cubicBezTo>
                        <a:pt x="85916" y="5524"/>
                        <a:pt x="85344" y="5524"/>
                        <a:pt x="85630" y="10763"/>
                      </a:cubicBezTo>
                      <a:cubicBezTo>
                        <a:pt x="85630" y="16288"/>
                        <a:pt x="86106" y="16288"/>
                        <a:pt x="86392" y="21527"/>
                      </a:cubicBezTo>
                      <a:cubicBezTo>
                        <a:pt x="86678" y="27051"/>
                        <a:pt x="86678" y="27051"/>
                        <a:pt x="86868" y="32576"/>
                      </a:cubicBezTo>
                      <a:cubicBezTo>
                        <a:pt x="86868" y="37814"/>
                        <a:pt x="86106" y="37814"/>
                        <a:pt x="86106" y="43339"/>
                      </a:cubicBezTo>
                      <a:cubicBezTo>
                        <a:pt x="86392" y="48578"/>
                        <a:pt x="86868" y="48578"/>
                        <a:pt x="86868" y="54102"/>
                      </a:cubicBezTo>
                      <a:cubicBezTo>
                        <a:pt x="87154" y="59341"/>
                        <a:pt x="87821" y="59341"/>
                        <a:pt x="88106" y="64865"/>
                      </a:cubicBezTo>
                      <a:cubicBezTo>
                        <a:pt x="88392" y="70104"/>
                        <a:pt x="88106" y="70104"/>
                        <a:pt x="88392" y="75629"/>
                      </a:cubicBezTo>
                      <a:cubicBezTo>
                        <a:pt x="88392" y="81153"/>
                        <a:pt x="87630" y="81153"/>
                        <a:pt x="87916" y="86392"/>
                      </a:cubicBezTo>
                      <a:cubicBezTo>
                        <a:pt x="88202" y="91916"/>
                        <a:pt x="88392" y="91916"/>
                        <a:pt x="88678" y="97155"/>
                      </a:cubicBezTo>
                      <a:cubicBezTo>
                        <a:pt x="88964" y="102680"/>
                        <a:pt x="88964" y="102680"/>
                        <a:pt x="88964" y="108204"/>
                      </a:cubicBezTo>
                      <a:cubicBezTo>
                        <a:pt x="89249" y="113443"/>
                        <a:pt x="89249" y="113443"/>
                        <a:pt x="89440" y="118967"/>
                      </a:cubicBezTo>
                      <a:cubicBezTo>
                        <a:pt x="89726" y="124206"/>
                        <a:pt x="89916" y="124206"/>
                        <a:pt x="89916" y="129730"/>
                      </a:cubicBezTo>
                      <a:cubicBezTo>
                        <a:pt x="90202" y="134969"/>
                        <a:pt x="89916" y="134969"/>
                        <a:pt x="90202" y="140494"/>
                      </a:cubicBezTo>
                      <a:cubicBezTo>
                        <a:pt x="90202" y="146018"/>
                        <a:pt x="91154" y="145733"/>
                        <a:pt x="91154" y="151257"/>
                      </a:cubicBezTo>
                      <a:cubicBezTo>
                        <a:pt x="91440" y="156781"/>
                        <a:pt x="90869" y="156781"/>
                        <a:pt x="91154" y="162020"/>
                      </a:cubicBezTo>
                      <a:cubicBezTo>
                        <a:pt x="91154" y="167545"/>
                        <a:pt x="91916" y="167545"/>
                        <a:pt x="92107" y="172784"/>
                      </a:cubicBezTo>
                      <a:cubicBezTo>
                        <a:pt x="92107" y="178308"/>
                        <a:pt x="95536" y="180023"/>
                        <a:pt x="91631" y="183833"/>
                      </a:cubicBezTo>
                      <a:cubicBezTo>
                        <a:pt x="87630" y="187833"/>
                        <a:pt x="85916" y="183833"/>
                        <a:pt x="80201" y="183833"/>
                      </a:cubicBezTo>
                      <a:cubicBezTo>
                        <a:pt x="74486" y="183833"/>
                        <a:pt x="74486" y="184595"/>
                        <a:pt x="68771" y="184595"/>
                      </a:cubicBezTo>
                      <a:cubicBezTo>
                        <a:pt x="63056" y="184595"/>
                        <a:pt x="63056" y="183547"/>
                        <a:pt x="57341" y="183547"/>
                      </a:cubicBezTo>
                      <a:cubicBezTo>
                        <a:pt x="51625" y="183547"/>
                        <a:pt x="51625" y="183833"/>
                        <a:pt x="45911" y="183833"/>
                      </a:cubicBezTo>
                      <a:cubicBezTo>
                        <a:pt x="40196" y="183833"/>
                        <a:pt x="40196" y="183356"/>
                        <a:pt x="34290" y="183356"/>
                      </a:cubicBezTo>
                      <a:cubicBezTo>
                        <a:pt x="28575" y="183356"/>
                        <a:pt x="28575" y="183071"/>
                        <a:pt x="22860" y="183071"/>
                      </a:cubicBezTo>
                      <a:cubicBezTo>
                        <a:pt x="17145" y="183071"/>
                        <a:pt x="17145" y="183833"/>
                        <a:pt x="11430" y="183833"/>
                      </a:cubicBezTo>
                      <a:cubicBezTo>
                        <a:pt x="5715" y="183833"/>
                        <a:pt x="5715" y="184309"/>
                        <a:pt x="0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14F42A07-32D6-32B0-F0F3-DF98E3C26200}"/>
                    </a:ext>
                  </a:extLst>
                </p:cNvPr>
                <p:cNvSpPr/>
                <p:nvPr/>
              </p:nvSpPr>
              <p:spPr>
                <a:xfrm>
                  <a:off x="5009578" y="3154584"/>
                  <a:ext cx="76866" cy="186057"/>
                </a:xfrm>
                <a:custGeom>
                  <a:avLst/>
                  <a:gdLst>
                    <a:gd name="connsiteX0" fmla="*/ 76867 w 76866"/>
                    <a:gd name="connsiteY0" fmla="*/ 0 h 186057"/>
                    <a:gd name="connsiteX1" fmla="*/ 76867 w 76866"/>
                    <a:gd name="connsiteY1" fmla="*/ 0 h 186057"/>
                    <a:gd name="connsiteX2" fmla="*/ 75343 w 76866"/>
                    <a:gd name="connsiteY2" fmla="*/ 10763 h 186057"/>
                    <a:gd name="connsiteX3" fmla="*/ 74390 w 76866"/>
                    <a:gd name="connsiteY3" fmla="*/ 21527 h 186057"/>
                    <a:gd name="connsiteX4" fmla="*/ 73438 w 76866"/>
                    <a:gd name="connsiteY4" fmla="*/ 32290 h 186057"/>
                    <a:gd name="connsiteX5" fmla="*/ 73152 w 76866"/>
                    <a:gd name="connsiteY5" fmla="*/ 43339 h 186057"/>
                    <a:gd name="connsiteX6" fmla="*/ 71914 w 76866"/>
                    <a:gd name="connsiteY6" fmla="*/ 54102 h 186057"/>
                    <a:gd name="connsiteX7" fmla="*/ 71437 w 76866"/>
                    <a:gd name="connsiteY7" fmla="*/ 65151 h 186057"/>
                    <a:gd name="connsiteX8" fmla="*/ 70199 w 76866"/>
                    <a:gd name="connsiteY8" fmla="*/ 75914 h 186057"/>
                    <a:gd name="connsiteX9" fmla="*/ 69723 w 76866"/>
                    <a:gd name="connsiteY9" fmla="*/ 86678 h 186057"/>
                    <a:gd name="connsiteX10" fmla="*/ 68961 w 76866"/>
                    <a:gd name="connsiteY10" fmla="*/ 97727 h 186057"/>
                    <a:gd name="connsiteX11" fmla="*/ 66961 w 76866"/>
                    <a:gd name="connsiteY11" fmla="*/ 108490 h 186057"/>
                    <a:gd name="connsiteX12" fmla="*/ 66675 w 76866"/>
                    <a:gd name="connsiteY12" fmla="*/ 119253 h 186057"/>
                    <a:gd name="connsiteX13" fmla="*/ 66199 w 76866"/>
                    <a:gd name="connsiteY13" fmla="*/ 130302 h 186057"/>
                    <a:gd name="connsiteX14" fmla="*/ 64484 w 76866"/>
                    <a:gd name="connsiteY14" fmla="*/ 141065 h 186057"/>
                    <a:gd name="connsiteX15" fmla="*/ 64484 w 76866"/>
                    <a:gd name="connsiteY15" fmla="*/ 151829 h 186057"/>
                    <a:gd name="connsiteX16" fmla="*/ 63246 w 76866"/>
                    <a:gd name="connsiteY16" fmla="*/ 162592 h 186057"/>
                    <a:gd name="connsiteX17" fmla="*/ 61722 w 76866"/>
                    <a:gd name="connsiteY17" fmla="*/ 173641 h 186057"/>
                    <a:gd name="connsiteX18" fmla="*/ 61436 w 76866"/>
                    <a:gd name="connsiteY18" fmla="*/ 183928 h 186057"/>
                    <a:gd name="connsiteX19" fmla="*/ 49340 w 76866"/>
                    <a:gd name="connsiteY19" fmla="*/ 183928 h 186057"/>
                    <a:gd name="connsiteX20" fmla="*/ 36671 w 76866"/>
                    <a:gd name="connsiteY20" fmla="*/ 184214 h 186057"/>
                    <a:gd name="connsiteX21" fmla="*/ 24003 w 76866"/>
                    <a:gd name="connsiteY21" fmla="*/ 184690 h 186057"/>
                    <a:gd name="connsiteX22" fmla="*/ 19812 w 76866"/>
                    <a:gd name="connsiteY22" fmla="*/ 174498 h 186057"/>
                    <a:gd name="connsiteX23" fmla="*/ 17336 w 76866"/>
                    <a:gd name="connsiteY23" fmla="*/ 163735 h 186057"/>
                    <a:gd name="connsiteX24" fmla="*/ 14383 w 76866"/>
                    <a:gd name="connsiteY24" fmla="*/ 153162 h 186057"/>
                    <a:gd name="connsiteX25" fmla="*/ 10668 w 76866"/>
                    <a:gd name="connsiteY25" fmla="*/ 142589 h 186057"/>
                    <a:gd name="connsiteX26" fmla="*/ 6191 w 76866"/>
                    <a:gd name="connsiteY26" fmla="*/ 132302 h 186057"/>
                    <a:gd name="connsiteX27" fmla="*/ 2762 w 76866"/>
                    <a:gd name="connsiteY27" fmla="*/ 122015 h 186057"/>
                    <a:gd name="connsiteX28" fmla="*/ 0 w 76866"/>
                    <a:gd name="connsiteY28" fmla="*/ 110966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76867" y="0"/>
                      </a:moveTo>
                      <a:lnTo>
                        <a:pt x="76867" y="0"/>
                      </a:lnTo>
                      <a:cubicBezTo>
                        <a:pt x="76391" y="5525"/>
                        <a:pt x="75914" y="5239"/>
                        <a:pt x="75343" y="10763"/>
                      </a:cubicBezTo>
                      <a:cubicBezTo>
                        <a:pt x="75057" y="16288"/>
                        <a:pt x="74867" y="16288"/>
                        <a:pt x="74390" y="21527"/>
                      </a:cubicBezTo>
                      <a:cubicBezTo>
                        <a:pt x="74105" y="27051"/>
                        <a:pt x="73628" y="27051"/>
                        <a:pt x="73438" y="32290"/>
                      </a:cubicBezTo>
                      <a:cubicBezTo>
                        <a:pt x="72962" y="37814"/>
                        <a:pt x="73724" y="37814"/>
                        <a:pt x="73152" y="43339"/>
                      </a:cubicBezTo>
                      <a:cubicBezTo>
                        <a:pt x="72676" y="48863"/>
                        <a:pt x="72390" y="48863"/>
                        <a:pt x="71914" y="54102"/>
                      </a:cubicBezTo>
                      <a:cubicBezTo>
                        <a:pt x="71628" y="59627"/>
                        <a:pt x="71914" y="59627"/>
                        <a:pt x="71437" y="65151"/>
                      </a:cubicBezTo>
                      <a:cubicBezTo>
                        <a:pt x="70961" y="70390"/>
                        <a:pt x="70485" y="70390"/>
                        <a:pt x="70199" y="75914"/>
                      </a:cubicBezTo>
                      <a:cubicBezTo>
                        <a:pt x="69723" y="81153"/>
                        <a:pt x="70199" y="81439"/>
                        <a:pt x="69723" y="86678"/>
                      </a:cubicBezTo>
                      <a:cubicBezTo>
                        <a:pt x="69247" y="92202"/>
                        <a:pt x="69437" y="92202"/>
                        <a:pt x="68961" y="97727"/>
                      </a:cubicBezTo>
                      <a:cubicBezTo>
                        <a:pt x="68485" y="102965"/>
                        <a:pt x="67247" y="102965"/>
                        <a:pt x="66961" y="108490"/>
                      </a:cubicBezTo>
                      <a:cubicBezTo>
                        <a:pt x="66485" y="113729"/>
                        <a:pt x="66961" y="113729"/>
                        <a:pt x="66675" y="119253"/>
                      </a:cubicBezTo>
                      <a:cubicBezTo>
                        <a:pt x="66199" y="124778"/>
                        <a:pt x="66675" y="124778"/>
                        <a:pt x="66199" y="130302"/>
                      </a:cubicBezTo>
                      <a:cubicBezTo>
                        <a:pt x="65913" y="135541"/>
                        <a:pt x="64961" y="135541"/>
                        <a:pt x="64484" y="141065"/>
                      </a:cubicBezTo>
                      <a:cubicBezTo>
                        <a:pt x="64008" y="146304"/>
                        <a:pt x="64770" y="146304"/>
                        <a:pt x="64484" y="151829"/>
                      </a:cubicBezTo>
                      <a:cubicBezTo>
                        <a:pt x="64008" y="157353"/>
                        <a:pt x="63722" y="157353"/>
                        <a:pt x="63246" y="162592"/>
                      </a:cubicBezTo>
                      <a:cubicBezTo>
                        <a:pt x="62770" y="168116"/>
                        <a:pt x="62293" y="168116"/>
                        <a:pt x="61722" y="173641"/>
                      </a:cubicBezTo>
                      <a:cubicBezTo>
                        <a:pt x="61436" y="178880"/>
                        <a:pt x="65723" y="180689"/>
                        <a:pt x="61436" y="183928"/>
                      </a:cubicBezTo>
                      <a:cubicBezTo>
                        <a:pt x="56483" y="187928"/>
                        <a:pt x="55531" y="183928"/>
                        <a:pt x="49340" y="183928"/>
                      </a:cubicBezTo>
                      <a:cubicBezTo>
                        <a:pt x="42862" y="183928"/>
                        <a:pt x="42862" y="184214"/>
                        <a:pt x="36671" y="184214"/>
                      </a:cubicBezTo>
                      <a:cubicBezTo>
                        <a:pt x="30480" y="184214"/>
                        <a:pt x="29242" y="188024"/>
                        <a:pt x="24003" y="184690"/>
                      </a:cubicBezTo>
                      <a:cubicBezTo>
                        <a:pt x="19622" y="182023"/>
                        <a:pt x="21526" y="179737"/>
                        <a:pt x="19812" y="174498"/>
                      </a:cubicBezTo>
                      <a:cubicBezTo>
                        <a:pt x="18098" y="169259"/>
                        <a:pt x="19050" y="168974"/>
                        <a:pt x="17336" y="163735"/>
                      </a:cubicBezTo>
                      <a:cubicBezTo>
                        <a:pt x="15621" y="158496"/>
                        <a:pt x="16097" y="158496"/>
                        <a:pt x="14383" y="153162"/>
                      </a:cubicBezTo>
                      <a:cubicBezTo>
                        <a:pt x="12668" y="147923"/>
                        <a:pt x="12382" y="147923"/>
                        <a:pt x="10668" y="142589"/>
                      </a:cubicBezTo>
                      <a:cubicBezTo>
                        <a:pt x="8954" y="137351"/>
                        <a:pt x="7906" y="137541"/>
                        <a:pt x="6191" y="132302"/>
                      </a:cubicBezTo>
                      <a:cubicBezTo>
                        <a:pt x="4477" y="126968"/>
                        <a:pt x="4477" y="127254"/>
                        <a:pt x="2762" y="122015"/>
                      </a:cubicBezTo>
                      <a:cubicBezTo>
                        <a:pt x="1048" y="116777"/>
                        <a:pt x="1810" y="116205"/>
                        <a:pt x="0" y="11096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659382C0-AFEB-0590-C7D4-A57332999E08}"/>
                    </a:ext>
                  </a:extLst>
                </p:cNvPr>
                <p:cNvSpPr/>
                <p:nvPr/>
              </p:nvSpPr>
              <p:spPr>
                <a:xfrm>
                  <a:off x="5046345" y="3253454"/>
                  <a:ext cx="3745" cy="85153"/>
                </a:xfrm>
                <a:custGeom>
                  <a:avLst/>
                  <a:gdLst>
                    <a:gd name="connsiteX0" fmla="*/ 3429 w 3745"/>
                    <a:gd name="connsiteY0" fmla="*/ 85153 h 85153"/>
                    <a:gd name="connsiteX1" fmla="*/ 3429 w 3745"/>
                    <a:gd name="connsiteY1" fmla="*/ 85153 h 85153"/>
                    <a:gd name="connsiteX2" fmla="*/ 3715 w 3745"/>
                    <a:gd name="connsiteY2" fmla="*/ 74390 h 85153"/>
                    <a:gd name="connsiteX3" fmla="*/ 3429 w 3745"/>
                    <a:gd name="connsiteY3" fmla="*/ 63818 h 85153"/>
                    <a:gd name="connsiteX4" fmla="*/ 2953 w 3745"/>
                    <a:gd name="connsiteY4" fmla="*/ 53245 h 85153"/>
                    <a:gd name="connsiteX5" fmla="*/ 952 w 3745"/>
                    <a:gd name="connsiteY5" fmla="*/ 42481 h 85153"/>
                    <a:gd name="connsiteX6" fmla="*/ 952 w 3745"/>
                    <a:gd name="connsiteY6" fmla="*/ 31909 h 85153"/>
                    <a:gd name="connsiteX7" fmla="*/ 1429 w 3745"/>
                    <a:gd name="connsiteY7" fmla="*/ 21146 h 85153"/>
                    <a:gd name="connsiteX8" fmla="*/ 476 w 3745"/>
                    <a:gd name="connsiteY8" fmla="*/ 10573 h 85153"/>
                    <a:gd name="connsiteX9" fmla="*/ 0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429" y="85153"/>
                      </a:moveTo>
                      <a:lnTo>
                        <a:pt x="3429" y="85153"/>
                      </a:lnTo>
                      <a:cubicBezTo>
                        <a:pt x="3143" y="79629"/>
                        <a:pt x="3905" y="79629"/>
                        <a:pt x="3715" y="74390"/>
                      </a:cubicBezTo>
                      <a:cubicBezTo>
                        <a:pt x="3429" y="69152"/>
                        <a:pt x="3715" y="69152"/>
                        <a:pt x="3429" y="63818"/>
                      </a:cubicBezTo>
                      <a:cubicBezTo>
                        <a:pt x="3143" y="58579"/>
                        <a:pt x="3143" y="58579"/>
                        <a:pt x="2953" y="53245"/>
                      </a:cubicBezTo>
                      <a:cubicBezTo>
                        <a:pt x="2667" y="47720"/>
                        <a:pt x="1238" y="48006"/>
                        <a:pt x="952" y="42481"/>
                      </a:cubicBezTo>
                      <a:cubicBezTo>
                        <a:pt x="667" y="37243"/>
                        <a:pt x="1238" y="37243"/>
                        <a:pt x="952" y="31909"/>
                      </a:cubicBezTo>
                      <a:cubicBezTo>
                        <a:pt x="667" y="26670"/>
                        <a:pt x="1714" y="26670"/>
                        <a:pt x="1429" y="21146"/>
                      </a:cubicBezTo>
                      <a:cubicBezTo>
                        <a:pt x="1143" y="15907"/>
                        <a:pt x="667" y="15907"/>
                        <a:pt x="476" y="10573"/>
                      </a:cubicBezTo>
                      <a:cubicBezTo>
                        <a:pt x="190" y="5334"/>
                        <a:pt x="190" y="5334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817DD253-C332-ABA3-6A8A-EEB777AE9339}"/>
                    </a:ext>
                  </a:extLst>
                </p:cNvPr>
                <p:cNvSpPr/>
                <p:nvPr/>
              </p:nvSpPr>
              <p:spPr>
                <a:xfrm>
                  <a:off x="4979938" y="3337800"/>
                  <a:ext cx="72867" cy="40431"/>
                </a:xfrm>
                <a:custGeom>
                  <a:avLst/>
                  <a:gdLst>
                    <a:gd name="connsiteX0" fmla="*/ 1160 w 72867"/>
                    <a:gd name="connsiteY0" fmla="*/ 36145 h 40431"/>
                    <a:gd name="connsiteX1" fmla="*/ 1160 w 72867"/>
                    <a:gd name="connsiteY1" fmla="*/ 36145 h 40431"/>
                    <a:gd name="connsiteX2" fmla="*/ 9351 w 72867"/>
                    <a:gd name="connsiteY2" fmla="*/ 29573 h 40431"/>
                    <a:gd name="connsiteX3" fmla="*/ 18495 w 72867"/>
                    <a:gd name="connsiteY3" fmla="*/ 24525 h 40431"/>
                    <a:gd name="connsiteX4" fmla="*/ 27163 w 72867"/>
                    <a:gd name="connsiteY4" fmla="*/ 18524 h 40431"/>
                    <a:gd name="connsiteX5" fmla="*/ 35545 w 72867"/>
                    <a:gd name="connsiteY5" fmla="*/ 12237 h 40431"/>
                    <a:gd name="connsiteX6" fmla="*/ 44689 w 72867"/>
                    <a:gd name="connsiteY6" fmla="*/ 6999 h 40431"/>
                    <a:gd name="connsiteX7" fmla="*/ 53643 w 72867"/>
                    <a:gd name="connsiteY7" fmla="*/ 998 h 40431"/>
                    <a:gd name="connsiteX8" fmla="*/ 62596 w 72867"/>
                    <a:gd name="connsiteY8" fmla="*/ 2236 h 40431"/>
                    <a:gd name="connsiteX9" fmla="*/ 71550 w 72867"/>
                    <a:gd name="connsiteY9" fmla="*/ 1474 h 40431"/>
                    <a:gd name="connsiteX10" fmla="*/ 70788 w 72867"/>
                    <a:gd name="connsiteY10" fmla="*/ 13285 h 40431"/>
                    <a:gd name="connsiteX11" fmla="*/ 70026 w 72867"/>
                    <a:gd name="connsiteY11" fmla="*/ 25096 h 40431"/>
                    <a:gd name="connsiteX12" fmla="*/ 59358 w 72867"/>
                    <a:gd name="connsiteY12" fmla="*/ 29097 h 40431"/>
                    <a:gd name="connsiteX13" fmla="*/ 48213 w 72867"/>
                    <a:gd name="connsiteY13" fmla="*/ 33097 h 40431"/>
                    <a:gd name="connsiteX14" fmla="*/ 36783 w 72867"/>
                    <a:gd name="connsiteY14" fmla="*/ 35859 h 40431"/>
                    <a:gd name="connsiteX15" fmla="*/ 25353 w 72867"/>
                    <a:gd name="connsiteY15" fmla="*/ 37383 h 40431"/>
                    <a:gd name="connsiteX16" fmla="*/ 13733 w 72867"/>
                    <a:gd name="connsiteY16" fmla="*/ 39669 h 40431"/>
                    <a:gd name="connsiteX17" fmla="*/ 2112 w 72867"/>
                    <a:gd name="connsiteY17" fmla="*/ 40431 h 40431"/>
                    <a:gd name="connsiteX18" fmla="*/ 1160 w 72867"/>
                    <a:gd name="connsiteY18" fmla="*/ 36145 h 40431"/>
                    <a:gd name="connsiteX19" fmla="*/ 1160 w 72867"/>
                    <a:gd name="connsiteY19" fmla="*/ 36145 h 40431"/>
                    <a:gd name="connsiteX20" fmla="*/ 1160 w 72867"/>
                    <a:gd name="connsiteY20" fmla="*/ 36145 h 40431"/>
                    <a:gd name="connsiteX21" fmla="*/ 1160 w 72867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67" h="40431">
                      <a:moveTo>
                        <a:pt x="1160" y="36145"/>
                      </a:moveTo>
                      <a:lnTo>
                        <a:pt x="1160" y="36145"/>
                      </a:lnTo>
                      <a:cubicBezTo>
                        <a:pt x="5351" y="33097"/>
                        <a:pt x="4875" y="32335"/>
                        <a:pt x="9351" y="29573"/>
                      </a:cubicBezTo>
                      <a:cubicBezTo>
                        <a:pt x="13828" y="26811"/>
                        <a:pt x="14304" y="27287"/>
                        <a:pt x="18495" y="24525"/>
                      </a:cubicBezTo>
                      <a:cubicBezTo>
                        <a:pt x="22972" y="21477"/>
                        <a:pt x="22686" y="21286"/>
                        <a:pt x="27163" y="18524"/>
                      </a:cubicBezTo>
                      <a:cubicBezTo>
                        <a:pt x="31640" y="15476"/>
                        <a:pt x="31354" y="15285"/>
                        <a:pt x="35545" y="12237"/>
                      </a:cubicBezTo>
                      <a:cubicBezTo>
                        <a:pt x="40022" y="9475"/>
                        <a:pt x="40212" y="9951"/>
                        <a:pt x="44689" y="6999"/>
                      </a:cubicBezTo>
                      <a:cubicBezTo>
                        <a:pt x="49166" y="4236"/>
                        <a:pt x="48404" y="2712"/>
                        <a:pt x="53643" y="998"/>
                      </a:cubicBezTo>
                      <a:cubicBezTo>
                        <a:pt x="57834" y="-240"/>
                        <a:pt x="58119" y="2236"/>
                        <a:pt x="62596" y="2236"/>
                      </a:cubicBezTo>
                      <a:cubicBezTo>
                        <a:pt x="67073" y="2236"/>
                        <a:pt x="68787" y="-2241"/>
                        <a:pt x="71550" y="1474"/>
                      </a:cubicBezTo>
                      <a:cubicBezTo>
                        <a:pt x="74788" y="6237"/>
                        <a:pt x="71073" y="7284"/>
                        <a:pt x="70788" y="13285"/>
                      </a:cubicBezTo>
                      <a:cubicBezTo>
                        <a:pt x="70311" y="19095"/>
                        <a:pt x="72026" y="19572"/>
                        <a:pt x="70026" y="25096"/>
                      </a:cubicBezTo>
                      <a:cubicBezTo>
                        <a:pt x="68025" y="30621"/>
                        <a:pt x="66025" y="26811"/>
                        <a:pt x="59358" y="29097"/>
                      </a:cubicBezTo>
                      <a:cubicBezTo>
                        <a:pt x="56119" y="30144"/>
                        <a:pt x="52404" y="31859"/>
                        <a:pt x="48213" y="33097"/>
                      </a:cubicBezTo>
                      <a:cubicBezTo>
                        <a:pt x="44784" y="34145"/>
                        <a:pt x="40784" y="35097"/>
                        <a:pt x="36783" y="35859"/>
                      </a:cubicBezTo>
                      <a:cubicBezTo>
                        <a:pt x="33069" y="36907"/>
                        <a:pt x="29068" y="36621"/>
                        <a:pt x="25353" y="37383"/>
                      </a:cubicBezTo>
                      <a:cubicBezTo>
                        <a:pt x="21353" y="38145"/>
                        <a:pt x="17638" y="39098"/>
                        <a:pt x="13733" y="39669"/>
                      </a:cubicBezTo>
                      <a:cubicBezTo>
                        <a:pt x="9732" y="40146"/>
                        <a:pt x="5827" y="40431"/>
                        <a:pt x="2112" y="40431"/>
                      </a:cubicBezTo>
                      <a:cubicBezTo>
                        <a:pt x="-78" y="40431"/>
                        <a:pt x="-840" y="37383"/>
                        <a:pt x="1160" y="36145"/>
                      </a:cubicBezTo>
                      <a:lnTo>
                        <a:pt x="1160" y="36145"/>
                      </a:lnTo>
                      <a:lnTo>
                        <a:pt x="1160" y="36145"/>
                      </a:lnTo>
                      <a:lnTo>
                        <a:pt x="1160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9BD1F3ED-296D-AC1F-2BE4-A05AC2671CC3}"/>
                    </a:ext>
                  </a:extLst>
                </p:cNvPr>
                <p:cNvSpPr/>
                <p:nvPr/>
              </p:nvSpPr>
              <p:spPr>
                <a:xfrm>
                  <a:off x="5052075" y="3338267"/>
                  <a:ext cx="69080" cy="32185"/>
                </a:xfrm>
                <a:custGeom>
                  <a:avLst/>
                  <a:gdLst>
                    <a:gd name="connsiteX0" fmla="*/ 67802 w 69080"/>
                    <a:gd name="connsiteY0" fmla="*/ 27677 h 32185"/>
                    <a:gd name="connsiteX1" fmla="*/ 67802 w 69080"/>
                    <a:gd name="connsiteY1" fmla="*/ 27677 h 32185"/>
                    <a:gd name="connsiteX2" fmla="*/ 57611 w 69080"/>
                    <a:gd name="connsiteY2" fmla="*/ 22438 h 32185"/>
                    <a:gd name="connsiteX3" fmla="*/ 47228 w 69080"/>
                    <a:gd name="connsiteY3" fmla="*/ 17961 h 32185"/>
                    <a:gd name="connsiteX4" fmla="*/ 37322 w 69080"/>
                    <a:gd name="connsiteY4" fmla="*/ 12151 h 32185"/>
                    <a:gd name="connsiteX5" fmla="*/ 27131 w 69080"/>
                    <a:gd name="connsiteY5" fmla="*/ 7103 h 32185"/>
                    <a:gd name="connsiteX6" fmla="*/ 17510 w 69080"/>
                    <a:gd name="connsiteY6" fmla="*/ 816 h 32185"/>
                    <a:gd name="connsiteX7" fmla="*/ 9128 w 69080"/>
                    <a:gd name="connsiteY7" fmla="*/ 2054 h 32185"/>
                    <a:gd name="connsiteX8" fmla="*/ 1223 w 69080"/>
                    <a:gd name="connsiteY8" fmla="*/ 1578 h 32185"/>
                    <a:gd name="connsiteX9" fmla="*/ 2175 w 69080"/>
                    <a:gd name="connsiteY9" fmla="*/ 13103 h 32185"/>
                    <a:gd name="connsiteX10" fmla="*/ 3890 w 69080"/>
                    <a:gd name="connsiteY10" fmla="*/ 24629 h 32185"/>
                    <a:gd name="connsiteX11" fmla="*/ 14558 w 69080"/>
                    <a:gd name="connsiteY11" fmla="*/ 25867 h 32185"/>
                    <a:gd name="connsiteX12" fmla="*/ 24749 w 69080"/>
                    <a:gd name="connsiteY12" fmla="*/ 29105 h 32185"/>
                    <a:gd name="connsiteX13" fmla="*/ 35132 w 69080"/>
                    <a:gd name="connsiteY13" fmla="*/ 30820 h 32185"/>
                    <a:gd name="connsiteX14" fmla="*/ 45800 w 69080"/>
                    <a:gd name="connsiteY14" fmla="*/ 30534 h 32185"/>
                    <a:gd name="connsiteX15" fmla="*/ 56182 w 69080"/>
                    <a:gd name="connsiteY15" fmla="*/ 32058 h 32185"/>
                    <a:gd name="connsiteX16" fmla="*/ 66564 w 69080"/>
                    <a:gd name="connsiteY16" fmla="*/ 32058 h 32185"/>
                    <a:gd name="connsiteX17" fmla="*/ 67802 w 69080"/>
                    <a:gd name="connsiteY17" fmla="*/ 27677 h 32185"/>
                    <a:gd name="connsiteX18" fmla="*/ 67802 w 69080"/>
                    <a:gd name="connsiteY18" fmla="*/ 27677 h 32185"/>
                    <a:gd name="connsiteX19" fmla="*/ 67802 w 69080"/>
                    <a:gd name="connsiteY19" fmla="*/ 27677 h 32185"/>
                    <a:gd name="connsiteX20" fmla="*/ 67802 w 69080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080" h="32185">
                      <a:moveTo>
                        <a:pt x="67802" y="27677"/>
                      </a:moveTo>
                      <a:lnTo>
                        <a:pt x="67802" y="27677"/>
                      </a:lnTo>
                      <a:cubicBezTo>
                        <a:pt x="62849" y="25200"/>
                        <a:pt x="62849" y="25200"/>
                        <a:pt x="57611" y="22438"/>
                      </a:cubicBezTo>
                      <a:cubicBezTo>
                        <a:pt x="52658" y="19961"/>
                        <a:pt x="52372" y="20438"/>
                        <a:pt x="47228" y="17961"/>
                      </a:cubicBezTo>
                      <a:cubicBezTo>
                        <a:pt x="42275" y="15199"/>
                        <a:pt x="42561" y="14913"/>
                        <a:pt x="37322" y="12151"/>
                      </a:cubicBezTo>
                      <a:cubicBezTo>
                        <a:pt x="32369" y="9674"/>
                        <a:pt x="32084" y="9865"/>
                        <a:pt x="27131" y="7103"/>
                      </a:cubicBezTo>
                      <a:cubicBezTo>
                        <a:pt x="22178" y="4340"/>
                        <a:pt x="22940" y="2340"/>
                        <a:pt x="17510" y="816"/>
                      </a:cubicBezTo>
                      <a:cubicBezTo>
                        <a:pt x="13510" y="-422"/>
                        <a:pt x="13319" y="2054"/>
                        <a:pt x="9128" y="2054"/>
                      </a:cubicBezTo>
                      <a:cubicBezTo>
                        <a:pt x="5128" y="2054"/>
                        <a:pt x="3223" y="-2232"/>
                        <a:pt x="1223" y="1578"/>
                      </a:cubicBezTo>
                      <a:cubicBezTo>
                        <a:pt x="-1730" y="6626"/>
                        <a:pt x="1508" y="7388"/>
                        <a:pt x="2175" y="13103"/>
                      </a:cubicBezTo>
                      <a:cubicBezTo>
                        <a:pt x="2937" y="18914"/>
                        <a:pt x="1413" y="19390"/>
                        <a:pt x="3890" y="24629"/>
                      </a:cubicBezTo>
                      <a:cubicBezTo>
                        <a:pt x="6080" y="29677"/>
                        <a:pt x="8366" y="24629"/>
                        <a:pt x="14558" y="25867"/>
                      </a:cubicBezTo>
                      <a:cubicBezTo>
                        <a:pt x="17510" y="26343"/>
                        <a:pt x="21035" y="28343"/>
                        <a:pt x="24749" y="29105"/>
                      </a:cubicBezTo>
                      <a:cubicBezTo>
                        <a:pt x="27988" y="29582"/>
                        <a:pt x="31417" y="30344"/>
                        <a:pt x="35132" y="30820"/>
                      </a:cubicBezTo>
                      <a:cubicBezTo>
                        <a:pt x="38370" y="31296"/>
                        <a:pt x="42085" y="30344"/>
                        <a:pt x="45800" y="30534"/>
                      </a:cubicBezTo>
                      <a:cubicBezTo>
                        <a:pt x="49229" y="31010"/>
                        <a:pt x="52753" y="31772"/>
                        <a:pt x="56182" y="32058"/>
                      </a:cubicBezTo>
                      <a:cubicBezTo>
                        <a:pt x="59611" y="32344"/>
                        <a:pt x="63135" y="32058"/>
                        <a:pt x="66564" y="32058"/>
                      </a:cubicBezTo>
                      <a:cubicBezTo>
                        <a:pt x="69231" y="32153"/>
                        <a:pt x="69993" y="29201"/>
                        <a:pt x="67802" y="27677"/>
                      </a:cubicBezTo>
                      <a:lnTo>
                        <a:pt x="67802" y="27677"/>
                      </a:lnTo>
                      <a:lnTo>
                        <a:pt x="67802" y="27677"/>
                      </a:lnTo>
                      <a:lnTo>
                        <a:pt x="67802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1D4BA8D2-85F8-D948-9988-D65CFE6E6430}"/>
                    </a:ext>
                  </a:extLst>
                </p:cNvPr>
                <p:cNvSpPr/>
                <p:nvPr/>
              </p:nvSpPr>
              <p:spPr>
                <a:xfrm>
                  <a:off x="5233892" y="2791515"/>
                  <a:ext cx="310043" cy="583477"/>
                </a:xfrm>
                <a:custGeom>
                  <a:avLst/>
                  <a:gdLst>
                    <a:gd name="connsiteX0" fmla="*/ 178022 w 310043"/>
                    <a:gd name="connsiteY0" fmla="*/ 176760 h 583477"/>
                    <a:gd name="connsiteX1" fmla="*/ 142304 w 310043"/>
                    <a:gd name="connsiteY1" fmla="*/ 148852 h 583477"/>
                    <a:gd name="connsiteX2" fmla="*/ 137636 w 310043"/>
                    <a:gd name="connsiteY2" fmla="*/ 11311 h 583477"/>
                    <a:gd name="connsiteX3" fmla="*/ 67723 w 310043"/>
                    <a:gd name="connsiteY3" fmla="*/ 143327 h 583477"/>
                    <a:gd name="connsiteX4" fmla="*/ 49339 w 310043"/>
                    <a:gd name="connsiteY4" fmla="*/ 180284 h 583477"/>
                    <a:gd name="connsiteX5" fmla="*/ 20098 w 310043"/>
                    <a:gd name="connsiteY5" fmla="*/ 275725 h 583477"/>
                    <a:gd name="connsiteX6" fmla="*/ 43148 w 310043"/>
                    <a:gd name="connsiteY6" fmla="*/ 290488 h 583477"/>
                    <a:gd name="connsiteX7" fmla="*/ 43148 w 310043"/>
                    <a:gd name="connsiteY7" fmla="*/ 345924 h 583477"/>
                    <a:gd name="connsiteX8" fmla="*/ 85249 w 310043"/>
                    <a:gd name="connsiteY8" fmla="*/ 530709 h 583477"/>
                    <a:gd name="connsiteX9" fmla="*/ 85249 w 310043"/>
                    <a:gd name="connsiteY9" fmla="*/ 530709 h 583477"/>
                    <a:gd name="connsiteX10" fmla="*/ 85249 w 310043"/>
                    <a:gd name="connsiteY10" fmla="*/ 530709 h 583477"/>
                    <a:gd name="connsiteX11" fmla="*/ 85249 w 310043"/>
                    <a:gd name="connsiteY11" fmla="*/ 530709 h 583477"/>
                    <a:gd name="connsiteX12" fmla="*/ 0 w 310043"/>
                    <a:gd name="connsiteY12" fmla="*/ 575857 h 583477"/>
                    <a:gd name="connsiteX13" fmla="*/ 57721 w 310043"/>
                    <a:gd name="connsiteY13" fmla="*/ 582906 h 583477"/>
                    <a:gd name="connsiteX14" fmla="*/ 65627 w 310043"/>
                    <a:gd name="connsiteY14" fmla="*/ 570142 h 583477"/>
                    <a:gd name="connsiteX15" fmla="*/ 75057 w 310043"/>
                    <a:gd name="connsiteY15" fmla="*/ 583477 h 583477"/>
                    <a:gd name="connsiteX16" fmla="*/ 85249 w 310043"/>
                    <a:gd name="connsiteY16" fmla="*/ 583477 h 583477"/>
                    <a:gd name="connsiteX17" fmla="*/ 89726 w 310043"/>
                    <a:gd name="connsiteY17" fmla="*/ 561284 h 583477"/>
                    <a:gd name="connsiteX18" fmla="*/ 107061 w 310043"/>
                    <a:gd name="connsiteY18" fmla="*/ 558998 h 583477"/>
                    <a:gd name="connsiteX19" fmla="*/ 111252 w 310043"/>
                    <a:gd name="connsiteY19" fmla="*/ 583096 h 583477"/>
                    <a:gd name="connsiteX20" fmla="*/ 121444 w 310043"/>
                    <a:gd name="connsiteY20" fmla="*/ 580810 h 583477"/>
                    <a:gd name="connsiteX21" fmla="*/ 131826 w 310043"/>
                    <a:gd name="connsiteY21" fmla="*/ 566237 h 583477"/>
                    <a:gd name="connsiteX22" fmla="*/ 139256 w 310043"/>
                    <a:gd name="connsiteY22" fmla="*/ 580810 h 583477"/>
                    <a:gd name="connsiteX23" fmla="*/ 196501 w 310043"/>
                    <a:gd name="connsiteY23" fmla="*/ 574238 h 583477"/>
                    <a:gd name="connsiteX24" fmla="*/ 110966 w 310043"/>
                    <a:gd name="connsiteY24" fmla="*/ 528042 h 583477"/>
                    <a:gd name="connsiteX25" fmla="*/ 147352 w 310043"/>
                    <a:gd name="connsiteY25" fmla="*/ 343257 h 583477"/>
                    <a:gd name="connsiteX26" fmla="*/ 296704 w 310043"/>
                    <a:gd name="connsiteY26" fmla="*/ 343257 h 583477"/>
                    <a:gd name="connsiteX27" fmla="*/ 296704 w 310043"/>
                    <a:gd name="connsiteY27" fmla="*/ 310396 h 583477"/>
                    <a:gd name="connsiteX28" fmla="*/ 310039 w 310043"/>
                    <a:gd name="connsiteY28" fmla="*/ 284297 h 583477"/>
                    <a:gd name="connsiteX29" fmla="*/ 296418 w 310043"/>
                    <a:gd name="connsiteY29" fmla="*/ 261437 h 583477"/>
                    <a:gd name="connsiteX30" fmla="*/ 296894 w 310043"/>
                    <a:gd name="connsiteY30" fmla="*/ 219718 h 58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10043" h="583477">
                      <a:moveTo>
                        <a:pt x="178022" y="176760"/>
                      </a:moveTo>
                      <a:lnTo>
                        <a:pt x="142304" y="148852"/>
                      </a:lnTo>
                      <a:cubicBezTo>
                        <a:pt x="153162" y="143327"/>
                        <a:pt x="197549" y="69032"/>
                        <a:pt x="137636" y="11311"/>
                      </a:cubicBezTo>
                      <a:cubicBezTo>
                        <a:pt x="66008" y="-38410"/>
                        <a:pt x="16478" y="88654"/>
                        <a:pt x="67723" y="143327"/>
                      </a:cubicBezTo>
                      <a:cubicBezTo>
                        <a:pt x="60008" y="161710"/>
                        <a:pt x="49339" y="180284"/>
                        <a:pt x="49339" y="180284"/>
                      </a:cubicBezTo>
                      <a:cubicBezTo>
                        <a:pt x="49339" y="180284"/>
                        <a:pt x="10478" y="262104"/>
                        <a:pt x="20098" y="275725"/>
                      </a:cubicBezTo>
                      <a:cubicBezTo>
                        <a:pt x="29718" y="289536"/>
                        <a:pt x="43148" y="290488"/>
                        <a:pt x="43148" y="290488"/>
                      </a:cubicBezTo>
                      <a:lnTo>
                        <a:pt x="43148" y="345924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cubicBezTo>
                        <a:pt x="85249" y="530709"/>
                        <a:pt x="12859" y="560046"/>
                        <a:pt x="0" y="575857"/>
                      </a:cubicBezTo>
                      <a:cubicBezTo>
                        <a:pt x="3429" y="583382"/>
                        <a:pt x="30480" y="583858"/>
                        <a:pt x="57721" y="582906"/>
                      </a:cubicBezTo>
                      <a:lnTo>
                        <a:pt x="65627" y="570142"/>
                      </a:lnTo>
                      <a:lnTo>
                        <a:pt x="75057" y="583477"/>
                      </a:lnTo>
                      <a:lnTo>
                        <a:pt x="85249" y="583477"/>
                      </a:lnTo>
                      <a:lnTo>
                        <a:pt x="89726" y="561284"/>
                      </a:lnTo>
                      <a:lnTo>
                        <a:pt x="107061" y="558998"/>
                      </a:lnTo>
                      <a:lnTo>
                        <a:pt x="111252" y="583096"/>
                      </a:lnTo>
                      <a:lnTo>
                        <a:pt x="121444" y="580810"/>
                      </a:lnTo>
                      <a:lnTo>
                        <a:pt x="131826" y="566237"/>
                      </a:lnTo>
                      <a:lnTo>
                        <a:pt x="139256" y="580810"/>
                      </a:lnTo>
                      <a:cubicBezTo>
                        <a:pt x="139256" y="580810"/>
                        <a:pt x="189833" y="583096"/>
                        <a:pt x="196501" y="574238"/>
                      </a:cubicBezTo>
                      <a:cubicBezTo>
                        <a:pt x="203168" y="565666"/>
                        <a:pt x="110966" y="528042"/>
                        <a:pt x="110966" y="528042"/>
                      </a:cubicBezTo>
                      <a:lnTo>
                        <a:pt x="147352" y="343257"/>
                      </a:lnTo>
                      <a:lnTo>
                        <a:pt x="296704" y="343257"/>
                      </a:lnTo>
                      <a:lnTo>
                        <a:pt x="296704" y="310396"/>
                      </a:lnTo>
                      <a:cubicBezTo>
                        <a:pt x="296704" y="310396"/>
                        <a:pt x="310325" y="307919"/>
                        <a:pt x="310039" y="284297"/>
                      </a:cubicBezTo>
                      <a:cubicBezTo>
                        <a:pt x="309753" y="260485"/>
                        <a:pt x="296418" y="261437"/>
                        <a:pt x="296418" y="261437"/>
                      </a:cubicBezTo>
                      <a:lnTo>
                        <a:pt x="296894" y="219718"/>
                      </a:lnTo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80766826-5113-7164-9190-F098FA467848}"/>
                    </a:ext>
                  </a:extLst>
                </p:cNvPr>
                <p:cNvSpPr/>
                <p:nvPr/>
              </p:nvSpPr>
              <p:spPr>
                <a:xfrm>
                  <a:off x="5277040" y="3137439"/>
                  <a:ext cx="102584" cy="201644"/>
                </a:xfrm>
                <a:custGeom>
                  <a:avLst/>
                  <a:gdLst>
                    <a:gd name="connsiteX0" fmla="*/ 0 w 102584"/>
                    <a:gd name="connsiteY0" fmla="*/ 0 h 201644"/>
                    <a:gd name="connsiteX1" fmla="*/ 0 w 102584"/>
                    <a:gd name="connsiteY1" fmla="*/ 0 h 201644"/>
                    <a:gd name="connsiteX2" fmla="*/ 45053 w 102584"/>
                    <a:gd name="connsiteY2" fmla="*/ 197358 h 201644"/>
                    <a:gd name="connsiteX3" fmla="*/ 46577 w 102584"/>
                    <a:gd name="connsiteY3" fmla="*/ 201644 h 201644"/>
                    <a:gd name="connsiteX4" fmla="*/ 64389 w 102584"/>
                    <a:gd name="connsiteY4" fmla="*/ 200406 h 201644"/>
                    <a:gd name="connsiteX5" fmla="*/ 102584 w 102584"/>
                    <a:gd name="connsiteY5" fmla="*/ 11906 h 201644"/>
                    <a:gd name="connsiteX6" fmla="*/ 97155 w 102584"/>
                    <a:gd name="connsiteY6" fmla="*/ 8096 h 201644"/>
                    <a:gd name="connsiteX7" fmla="*/ 0 w 102584"/>
                    <a:gd name="connsiteY7" fmla="*/ 0 h 201644"/>
                    <a:gd name="connsiteX8" fmla="*/ 0 w 102584"/>
                    <a:gd name="connsiteY8" fmla="*/ 0 h 20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584" h="20164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5053" y="197358"/>
                      </a:lnTo>
                      <a:lnTo>
                        <a:pt x="46577" y="201644"/>
                      </a:lnTo>
                      <a:lnTo>
                        <a:pt x="64389" y="200406"/>
                      </a:lnTo>
                      <a:lnTo>
                        <a:pt x="102584" y="11906"/>
                      </a:lnTo>
                      <a:cubicBezTo>
                        <a:pt x="102584" y="11906"/>
                        <a:pt x="99631" y="8382"/>
                        <a:pt x="97155" y="8096"/>
                      </a:cubicBezTo>
                      <a:cubicBezTo>
                        <a:pt x="94678" y="752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A9CDEB88-50C1-9473-B24D-2DB5916A8675}"/>
                    </a:ext>
                  </a:extLst>
                </p:cNvPr>
                <p:cNvSpPr/>
                <p:nvPr/>
              </p:nvSpPr>
              <p:spPr>
                <a:xfrm>
                  <a:off x="5568824" y="2852166"/>
                  <a:ext cx="259256" cy="524255"/>
                </a:xfrm>
                <a:custGeom>
                  <a:avLst/>
                  <a:gdLst>
                    <a:gd name="connsiteX0" fmla="*/ 79691 w 259256"/>
                    <a:gd name="connsiteY0" fmla="*/ 524256 h 524255"/>
                    <a:gd name="connsiteX1" fmla="*/ 79691 w 259256"/>
                    <a:gd name="connsiteY1" fmla="*/ 524256 h 524255"/>
                    <a:gd name="connsiteX2" fmla="*/ 115886 w 259256"/>
                    <a:gd name="connsiteY2" fmla="*/ 471297 h 524255"/>
                    <a:gd name="connsiteX3" fmla="*/ 79691 w 259256"/>
                    <a:gd name="connsiteY3" fmla="*/ 313182 h 524255"/>
                    <a:gd name="connsiteX4" fmla="*/ 81882 w 259256"/>
                    <a:gd name="connsiteY4" fmla="*/ 208026 h 524255"/>
                    <a:gd name="connsiteX5" fmla="*/ 76643 w 259256"/>
                    <a:gd name="connsiteY5" fmla="*/ 195739 h 524255"/>
                    <a:gd name="connsiteX6" fmla="*/ 24637 w 259256"/>
                    <a:gd name="connsiteY6" fmla="*/ 198501 h 524255"/>
                    <a:gd name="connsiteX7" fmla="*/ 824 w 259256"/>
                    <a:gd name="connsiteY7" fmla="*/ 88297 h 524255"/>
                    <a:gd name="connsiteX8" fmla="*/ 37210 w 259256"/>
                    <a:gd name="connsiteY8" fmla="*/ 173927 h 524255"/>
                    <a:gd name="connsiteX9" fmla="*/ 81787 w 259256"/>
                    <a:gd name="connsiteY9" fmla="*/ 163925 h 524255"/>
                    <a:gd name="connsiteX10" fmla="*/ 81787 w 259256"/>
                    <a:gd name="connsiteY10" fmla="*/ 141065 h 524255"/>
                    <a:gd name="connsiteX11" fmla="*/ 63213 w 259256"/>
                    <a:gd name="connsiteY11" fmla="*/ 79058 h 524255"/>
                    <a:gd name="connsiteX12" fmla="*/ 123697 w 259256"/>
                    <a:gd name="connsiteY12" fmla="*/ 0 h 524255"/>
                    <a:gd name="connsiteX13" fmla="*/ 182466 w 259256"/>
                    <a:gd name="connsiteY13" fmla="*/ 64294 h 524255"/>
                    <a:gd name="connsiteX14" fmla="*/ 197801 w 259256"/>
                    <a:gd name="connsiteY14" fmla="*/ 124015 h 524255"/>
                    <a:gd name="connsiteX15" fmla="*/ 258475 w 259256"/>
                    <a:gd name="connsiteY15" fmla="*/ 145066 h 524255"/>
                    <a:gd name="connsiteX16" fmla="*/ 182371 w 259256"/>
                    <a:gd name="connsiteY16" fmla="*/ 191262 h 524255"/>
                    <a:gd name="connsiteX17" fmla="*/ 180656 w 259256"/>
                    <a:gd name="connsiteY17" fmla="*/ 196501 h 524255"/>
                    <a:gd name="connsiteX18" fmla="*/ 225709 w 259256"/>
                    <a:gd name="connsiteY18" fmla="*/ 258794 h 524255"/>
                    <a:gd name="connsiteX19" fmla="*/ 177894 w 259256"/>
                    <a:gd name="connsiteY19" fmla="*/ 337090 h 524255"/>
                    <a:gd name="connsiteX20" fmla="*/ 198182 w 259256"/>
                    <a:gd name="connsiteY20" fmla="*/ 254794 h 524255"/>
                    <a:gd name="connsiteX21" fmla="*/ 153129 w 259256"/>
                    <a:gd name="connsiteY21" fmla="*/ 206597 h 524255"/>
                    <a:gd name="connsiteX22" fmla="*/ 139508 w 259256"/>
                    <a:gd name="connsiteY22" fmla="*/ 321564 h 524255"/>
                    <a:gd name="connsiteX23" fmla="*/ 126364 w 259256"/>
                    <a:gd name="connsiteY23" fmla="*/ 469392 h 524255"/>
                    <a:gd name="connsiteX24" fmla="*/ 170750 w 259256"/>
                    <a:gd name="connsiteY24" fmla="*/ 522827 h 524255"/>
                    <a:gd name="connsiteX25" fmla="*/ 138079 w 259256"/>
                    <a:gd name="connsiteY25" fmla="*/ 514541 h 524255"/>
                    <a:gd name="connsiteX26" fmla="*/ 132174 w 259256"/>
                    <a:gd name="connsiteY26" fmla="*/ 502253 h 524255"/>
                    <a:gd name="connsiteX27" fmla="*/ 127697 w 259256"/>
                    <a:gd name="connsiteY27" fmla="*/ 515303 h 524255"/>
                    <a:gd name="connsiteX28" fmla="*/ 120744 w 259256"/>
                    <a:gd name="connsiteY28" fmla="*/ 474155 h 524255"/>
                    <a:gd name="connsiteX29" fmla="*/ 118553 w 259256"/>
                    <a:gd name="connsiteY29" fmla="*/ 511016 h 524255"/>
                    <a:gd name="connsiteX30" fmla="*/ 115791 w 259256"/>
                    <a:gd name="connsiteY30" fmla="*/ 505206 h 524255"/>
                    <a:gd name="connsiteX31" fmla="*/ 105599 w 259256"/>
                    <a:gd name="connsiteY31" fmla="*/ 519303 h 524255"/>
                    <a:gd name="connsiteX32" fmla="*/ 79691 w 259256"/>
                    <a:gd name="connsiteY32" fmla="*/ 524256 h 524255"/>
                    <a:gd name="connsiteX33" fmla="*/ 79691 w 259256"/>
                    <a:gd name="connsiteY33" fmla="*/ 524256 h 524255"/>
                    <a:gd name="connsiteX34" fmla="*/ 79691 w 259256"/>
                    <a:gd name="connsiteY34" fmla="*/ 524256 h 524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259256" h="524255">
                      <a:moveTo>
                        <a:pt x="79691" y="524256"/>
                      </a:moveTo>
                      <a:lnTo>
                        <a:pt x="79691" y="524256"/>
                      </a:lnTo>
                      <a:lnTo>
                        <a:pt x="115886" y="471297"/>
                      </a:lnTo>
                      <a:lnTo>
                        <a:pt x="79691" y="313182"/>
                      </a:lnTo>
                      <a:lnTo>
                        <a:pt x="81882" y="208026"/>
                      </a:lnTo>
                      <a:lnTo>
                        <a:pt x="76643" y="195739"/>
                      </a:lnTo>
                      <a:cubicBezTo>
                        <a:pt x="76643" y="195739"/>
                        <a:pt x="40258" y="206502"/>
                        <a:pt x="24637" y="198501"/>
                      </a:cubicBezTo>
                      <a:cubicBezTo>
                        <a:pt x="9016" y="190500"/>
                        <a:pt x="-3367" y="105632"/>
                        <a:pt x="824" y="88297"/>
                      </a:cubicBezTo>
                      <a:cubicBezTo>
                        <a:pt x="5301" y="70961"/>
                        <a:pt x="23398" y="161639"/>
                        <a:pt x="37210" y="173927"/>
                      </a:cubicBezTo>
                      <a:cubicBezTo>
                        <a:pt x="47878" y="171164"/>
                        <a:pt x="81787" y="163925"/>
                        <a:pt x="81787" y="163925"/>
                      </a:cubicBezTo>
                      <a:lnTo>
                        <a:pt x="81787" y="141065"/>
                      </a:lnTo>
                      <a:cubicBezTo>
                        <a:pt x="81787" y="141065"/>
                        <a:pt x="63213" y="123253"/>
                        <a:pt x="63213" y="79058"/>
                      </a:cubicBezTo>
                      <a:cubicBezTo>
                        <a:pt x="63213" y="35147"/>
                        <a:pt x="92455" y="0"/>
                        <a:pt x="123697" y="0"/>
                      </a:cubicBezTo>
                      <a:cubicBezTo>
                        <a:pt x="154653" y="0"/>
                        <a:pt x="182466" y="37148"/>
                        <a:pt x="182466" y="64294"/>
                      </a:cubicBezTo>
                      <a:cubicBezTo>
                        <a:pt x="186181" y="67342"/>
                        <a:pt x="201040" y="90106"/>
                        <a:pt x="197801" y="124015"/>
                      </a:cubicBezTo>
                      <a:cubicBezTo>
                        <a:pt x="194372" y="158115"/>
                        <a:pt x="260761" y="200597"/>
                        <a:pt x="258475" y="145066"/>
                      </a:cubicBezTo>
                      <a:cubicBezTo>
                        <a:pt x="263428" y="171926"/>
                        <a:pt x="245617" y="249460"/>
                        <a:pt x="182371" y="191262"/>
                      </a:cubicBezTo>
                      <a:lnTo>
                        <a:pt x="180656" y="196501"/>
                      </a:lnTo>
                      <a:cubicBezTo>
                        <a:pt x="180656" y="196501"/>
                        <a:pt x="225709" y="254032"/>
                        <a:pt x="225709" y="258794"/>
                      </a:cubicBezTo>
                      <a:cubicBezTo>
                        <a:pt x="223519" y="264033"/>
                        <a:pt x="184371" y="341090"/>
                        <a:pt x="177894" y="337090"/>
                      </a:cubicBezTo>
                      <a:cubicBezTo>
                        <a:pt x="178370" y="325565"/>
                        <a:pt x="198182" y="254794"/>
                        <a:pt x="198182" y="254794"/>
                      </a:cubicBezTo>
                      <a:lnTo>
                        <a:pt x="153129" y="206597"/>
                      </a:lnTo>
                      <a:lnTo>
                        <a:pt x="139508" y="321564"/>
                      </a:lnTo>
                      <a:lnTo>
                        <a:pt x="126364" y="469392"/>
                      </a:lnTo>
                      <a:lnTo>
                        <a:pt x="170750" y="522827"/>
                      </a:lnTo>
                      <a:lnTo>
                        <a:pt x="138079" y="514541"/>
                      </a:lnTo>
                      <a:lnTo>
                        <a:pt x="132174" y="502253"/>
                      </a:lnTo>
                      <a:lnTo>
                        <a:pt x="127697" y="515303"/>
                      </a:lnTo>
                      <a:lnTo>
                        <a:pt x="120744" y="474155"/>
                      </a:lnTo>
                      <a:lnTo>
                        <a:pt x="118553" y="511016"/>
                      </a:lnTo>
                      <a:lnTo>
                        <a:pt x="115791" y="505206"/>
                      </a:lnTo>
                      <a:lnTo>
                        <a:pt x="105599" y="519303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close/>
                    </a:path>
                  </a:pathLst>
                </a:custGeom>
                <a:solidFill>
                  <a:srgbClr val="FACCD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E51160BB-33C8-09CD-6DDE-D420E0524454}"/>
                    </a:ext>
                  </a:extLst>
                </p:cNvPr>
                <p:cNvSpPr/>
                <p:nvPr/>
              </p:nvSpPr>
              <p:spPr>
                <a:xfrm>
                  <a:off x="5402580" y="2917888"/>
                  <a:ext cx="131826" cy="219741"/>
                </a:xfrm>
                <a:custGeom>
                  <a:avLst/>
                  <a:gdLst>
                    <a:gd name="connsiteX0" fmla="*/ 0 w 131826"/>
                    <a:gd name="connsiteY0" fmla="*/ 174498 h 219741"/>
                    <a:gd name="connsiteX1" fmla="*/ 0 w 131826"/>
                    <a:gd name="connsiteY1" fmla="*/ 174498 h 219741"/>
                    <a:gd name="connsiteX2" fmla="*/ 0 w 131826"/>
                    <a:gd name="connsiteY2" fmla="*/ 0 h 219741"/>
                    <a:gd name="connsiteX3" fmla="*/ 130588 w 131826"/>
                    <a:gd name="connsiteY3" fmla="*/ 0 h 219741"/>
                    <a:gd name="connsiteX4" fmla="*/ 131064 w 131826"/>
                    <a:gd name="connsiteY4" fmla="*/ 138398 h 219741"/>
                    <a:gd name="connsiteX5" fmla="*/ 123634 w 131826"/>
                    <a:gd name="connsiteY5" fmla="*/ 139351 h 219741"/>
                    <a:gd name="connsiteX6" fmla="*/ 116681 w 131826"/>
                    <a:gd name="connsiteY6" fmla="*/ 148209 h 219741"/>
                    <a:gd name="connsiteX7" fmla="*/ 114491 w 131826"/>
                    <a:gd name="connsiteY7" fmla="*/ 162973 h 219741"/>
                    <a:gd name="connsiteX8" fmla="*/ 121444 w 131826"/>
                    <a:gd name="connsiteY8" fmla="*/ 185071 h 219741"/>
                    <a:gd name="connsiteX9" fmla="*/ 131540 w 131826"/>
                    <a:gd name="connsiteY9" fmla="*/ 187547 h 219741"/>
                    <a:gd name="connsiteX10" fmla="*/ 131826 w 131826"/>
                    <a:gd name="connsiteY10" fmla="*/ 219742 h 219741"/>
                    <a:gd name="connsiteX11" fmla="*/ 0 w 131826"/>
                    <a:gd name="connsiteY11" fmla="*/ 219742 h 219741"/>
                    <a:gd name="connsiteX12" fmla="*/ 0 w 131826"/>
                    <a:gd name="connsiteY12" fmla="*/ 174498 h 219741"/>
                    <a:gd name="connsiteX13" fmla="*/ 0 w 131826"/>
                    <a:gd name="connsiteY13" fmla="*/ 174498 h 219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1826" h="219741">
                      <a:moveTo>
                        <a:pt x="0" y="174498"/>
                      </a:moveTo>
                      <a:lnTo>
                        <a:pt x="0" y="174498"/>
                      </a:lnTo>
                      <a:lnTo>
                        <a:pt x="0" y="0"/>
                      </a:lnTo>
                      <a:lnTo>
                        <a:pt x="130588" y="0"/>
                      </a:lnTo>
                      <a:lnTo>
                        <a:pt x="131064" y="138398"/>
                      </a:lnTo>
                      <a:lnTo>
                        <a:pt x="123634" y="139351"/>
                      </a:lnTo>
                      <a:lnTo>
                        <a:pt x="116681" y="148209"/>
                      </a:lnTo>
                      <a:lnTo>
                        <a:pt x="114491" y="162973"/>
                      </a:lnTo>
                      <a:lnTo>
                        <a:pt x="121444" y="185071"/>
                      </a:lnTo>
                      <a:lnTo>
                        <a:pt x="131540" y="187547"/>
                      </a:lnTo>
                      <a:lnTo>
                        <a:pt x="131826" y="219742"/>
                      </a:lnTo>
                      <a:lnTo>
                        <a:pt x="0" y="219742"/>
                      </a:lnTo>
                      <a:lnTo>
                        <a:pt x="0" y="174498"/>
                      </a:lnTo>
                      <a:lnTo>
                        <a:pt x="0" y="174498"/>
                      </a:lnTo>
                      <a:close/>
                    </a:path>
                  </a:pathLst>
                </a:custGeom>
                <a:solidFill>
                  <a:srgbClr val="CADBC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B017AD6F-980E-074A-22D4-C86E5F84A50C}"/>
                    </a:ext>
                  </a:extLst>
                </p:cNvPr>
                <p:cNvSpPr/>
                <p:nvPr/>
              </p:nvSpPr>
              <p:spPr>
                <a:xfrm>
                  <a:off x="5648515" y="3165347"/>
                  <a:ext cx="60007" cy="158114"/>
                </a:xfrm>
                <a:custGeom>
                  <a:avLst/>
                  <a:gdLst>
                    <a:gd name="connsiteX0" fmla="*/ 0 w 60007"/>
                    <a:gd name="connsiteY0" fmla="*/ 0 h 158114"/>
                    <a:gd name="connsiteX1" fmla="*/ 0 w 60007"/>
                    <a:gd name="connsiteY1" fmla="*/ 0 h 158114"/>
                    <a:gd name="connsiteX2" fmla="*/ 60008 w 60007"/>
                    <a:gd name="connsiteY2" fmla="*/ 8287 h 158114"/>
                    <a:gd name="connsiteX3" fmla="*/ 46863 w 60007"/>
                    <a:gd name="connsiteY3" fmla="*/ 156115 h 158114"/>
                    <a:gd name="connsiteX4" fmla="*/ 36195 w 60007"/>
                    <a:gd name="connsiteY4" fmla="*/ 158115 h 158114"/>
                    <a:gd name="connsiteX5" fmla="*/ 0 w 60007"/>
                    <a:gd name="connsiteY5" fmla="*/ 0 h 158114"/>
                    <a:gd name="connsiteX6" fmla="*/ 0 w 60007"/>
                    <a:gd name="connsiteY6" fmla="*/ 0 h 15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007" h="15811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0008" y="8287"/>
                      </a:lnTo>
                      <a:lnTo>
                        <a:pt x="46863" y="156115"/>
                      </a:lnTo>
                      <a:lnTo>
                        <a:pt x="36195" y="15811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BBE9A0EC-DAA0-B4E9-80B8-82F63D2C3FEC}"/>
                    </a:ext>
                  </a:extLst>
                </p:cNvPr>
                <p:cNvSpPr/>
                <p:nvPr/>
              </p:nvSpPr>
              <p:spPr>
                <a:xfrm>
                  <a:off x="5631853" y="2852314"/>
                  <a:ext cx="121301" cy="163629"/>
                </a:xfrm>
                <a:custGeom>
                  <a:avLst/>
                  <a:gdLst>
                    <a:gd name="connsiteX0" fmla="*/ 37521 w 121301"/>
                    <a:gd name="connsiteY0" fmla="*/ 5757 h 163629"/>
                    <a:gd name="connsiteX1" fmla="*/ 37521 w 121301"/>
                    <a:gd name="connsiteY1" fmla="*/ 5757 h 163629"/>
                    <a:gd name="connsiteX2" fmla="*/ 21424 w 121301"/>
                    <a:gd name="connsiteY2" fmla="*/ 18807 h 163629"/>
                    <a:gd name="connsiteX3" fmla="*/ 8756 w 121301"/>
                    <a:gd name="connsiteY3" fmla="*/ 39666 h 163629"/>
                    <a:gd name="connsiteX4" fmla="*/ 2279 w 121301"/>
                    <a:gd name="connsiteY4" fmla="*/ 59288 h 163629"/>
                    <a:gd name="connsiteX5" fmla="*/ 279 w 121301"/>
                    <a:gd name="connsiteY5" fmla="*/ 75099 h 163629"/>
                    <a:gd name="connsiteX6" fmla="*/ 29997 w 121301"/>
                    <a:gd name="connsiteY6" fmla="*/ 152157 h 163629"/>
                    <a:gd name="connsiteX7" fmla="*/ 93909 w 121301"/>
                    <a:gd name="connsiteY7" fmla="*/ 149394 h 163629"/>
                    <a:gd name="connsiteX8" fmla="*/ 120960 w 121301"/>
                    <a:gd name="connsiteY8" fmla="*/ 73099 h 163629"/>
                    <a:gd name="connsiteX9" fmla="*/ 37521 w 121301"/>
                    <a:gd name="connsiteY9" fmla="*/ 5757 h 163629"/>
                    <a:gd name="connsiteX10" fmla="*/ 37521 w 121301"/>
                    <a:gd name="connsiteY10" fmla="*/ 5757 h 163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1301" h="163629">
                      <a:moveTo>
                        <a:pt x="37521" y="5757"/>
                      </a:moveTo>
                      <a:lnTo>
                        <a:pt x="37521" y="5757"/>
                      </a:lnTo>
                      <a:lnTo>
                        <a:pt x="21424" y="18807"/>
                      </a:lnTo>
                      <a:lnTo>
                        <a:pt x="8756" y="39666"/>
                      </a:lnTo>
                      <a:lnTo>
                        <a:pt x="2279" y="59288"/>
                      </a:lnTo>
                      <a:lnTo>
                        <a:pt x="279" y="75099"/>
                      </a:lnTo>
                      <a:cubicBezTo>
                        <a:pt x="279" y="75099"/>
                        <a:pt x="-4960" y="124820"/>
                        <a:pt x="29997" y="152157"/>
                      </a:cubicBezTo>
                      <a:cubicBezTo>
                        <a:pt x="65144" y="179493"/>
                        <a:pt x="93909" y="149394"/>
                        <a:pt x="93909" y="149394"/>
                      </a:cubicBezTo>
                      <a:cubicBezTo>
                        <a:pt x="93909" y="149394"/>
                        <a:pt x="124866" y="120248"/>
                        <a:pt x="120960" y="73099"/>
                      </a:cubicBezTo>
                      <a:cubicBezTo>
                        <a:pt x="117055" y="25855"/>
                        <a:pt x="83337" y="-15579"/>
                        <a:pt x="37521" y="5757"/>
                      </a:cubicBezTo>
                      <a:lnTo>
                        <a:pt x="37521" y="575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F05C6B1D-A3D9-9696-6035-7176AF663A27}"/>
                    </a:ext>
                  </a:extLst>
                </p:cNvPr>
                <p:cNvSpPr/>
                <p:nvPr/>
              </p:nvSpPr>
              <p:spPr>
                <a:xfrm>
                  <a:off x="5718632" y="2911316"/>
                  <a:ext cx="109809" cy="151206"/>
                </a:xfrm>
                <a:custGeom>
                  <a:avLst/>
                  <a:gdLst>
                    <a:gd name="connsiteX0" fmla="*/ 31991 w 109809"/>
                    <a:gd name="connsiteY0" fmla="*/ 0 h 151206"/>
                    <a:gd name="connsiteX1" fmla="*/ 31991 w 109809"/>
                    <a:gd name="connsiteY1" fmla="*/ 0 h 151206"/>
                    <a:gd name="connsiteX2" fmla="*/ 19894 w 109809"/>
                    <a:gd name="connsiteY2" fmla="*/ 74295 h 151206"/>
                    <a:gd name="connsiteX3" fmla="*/ 82 w 109809"/>
                    <a:gd name="connsiteY3" fmla="*/ 94583 h 151206"/>
                    <a:gd name="connsiteX4" fmla="*/ 29324 w 109809"/>
                    <a:gd name="connsiteY4" fmla="*/ 134207 h 151206"/>
                    <a:gd name="connsiteX5" fmla="*/ 34277 w 109809"/>
                    <a:gd name="connsiteY5" fmla="*/ 133160 h 151206"/>
                    <a:gd name="connsiteX6" fmla="*/ 78854 w 109809"/>
                    <a:gd name="connsiteY6" fmla="*/ 150209 h 151206"/>
                    <a:gd name="connsiteX7" fmla="*/ 109810 w 109809"/>
                    <a:gd name="connsiteY7" fmla="*/ 89249 h 151206"/>
                    <a:gd name="connsiteX8" fmla="*/ 80282 w 109809"/>
                    <a:gd name="connsiteY8" fmla="*/ 111347 h 151206"/>
                    <a:gd name="connsiteX9" fmla="*/ 46850 w 109809"/>
                    <a:gd name="connsiteY9" fmla="*/ 39053 h 151206"/>
                    <a:gd name="connsiteX10" fmla="*/ 31991 w 109809"/>
                    <a:gd name="connsiteY10" fmla="*/ 0 h 151206"/>
                    <a:gd name="connsiteX11" fmla="*/ 31991 w 109809"/>
                    <a:gd name="connsiteY11" fmla="*/ 0 h 15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9809" h="151206">
                      <a:moveTo>
                        <a:pt x="31991" y="0"/>
                      </a:moveTo>
                      <a:lnTo>
                        <a:pt x="31991" y="0"/>
                      </a:lnTo>
                      <a:cubicBezTo>
                        <a:pt x="31991" y="0"/>
                        <a:pt x="41897" y="40386"/>
                        <a:pt x="19894" y="74295"/>
                      </a:cubicBezTo>
                      <a:cubicBezTo>
                        <a:pt x="-2395" y="107918"/>
                        <a:pt x="82" y="94583"/>
                        <a:pt x="82" y="94583"/>
                      </a:cubicBezTo>
                      <a:lnTo>
                        <a:pt x="29324" y="134207"/>
                      </a:lnTo>
                      <a:lnTo>
                        <a:pt x="34277" y="133160"/>
                      </a:lnTo>
                      <a:cubicBezTo>
                        <a:pt x="34277" y="133160"/>
                        <a:pt x="55613" y="156210"/>
                        <a:pt x="78854" y="150209"/>
                      </a:cubicBezTo>
                      <a:cubicBezTo>
                        <a:pt x="102380" y="144399"/>
                        <a:pt x="107810" y="126587"/>
                        <a:pt x="109810" y="89249"/>
                      </a:cubicBezTo>
                      <a:cubicBezTo>
                        <a:pt x="105809" y="101822"/>
                        <a:pt x="101428" y="121634"/>
                        <a:pt x="80282" y="111347"/>
                      </a:cubicBezTo>
                      <a:cubicBezTo>
                        <a:pt x="58946" y="101060"/>
                        <a:pt x="47040" y="78962"/>
                        <a:pt x="46850" y="39053"/>
                      </a:cubicBezTo>
                      <a:cubicBezTo>
                        <a:pt x="47135" y="22765"/>
                        <a:pt x="31991" y="0"/>
                        <a:pt x="31991" y="0"/>
                      </a:cubicBezTo>
                      <a:lnTo>
                        <a:pt x="3199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CF49A1FE-368B-8D81-3288-AF8815238B64}"/>
                    </a:ext>
                  </a:extLst>
                </p:cNvPr>
                <p:cNvSpPr/>
                <p:nvPr/>
              </p:nvSpPr>
              <p:spPr>
                <a:xfrm>
                  <a:off x="5644324" y="2928614"/>
                  <a:ext cx="82772" cy="75673"/>
                </a:xfrm>
                <a:custGeom>
                  <a:avLst/>
                  <a:gdLst>
                    <a:gd name="connsiteX0" fmla="*/ 0 w 82772"/>
                    <a:gd name="connsiteY0" fmla="*/ 228 h 75673"/>
                    <a:gd name="connsiteX1" fmla="*/ 0 w 82772"/>
                    <a:gd name="connsiteY1" fmla="*/ 228 h 75673"/>
                    <a:gd name="connsiteX2" fmla="*/ 6667 w 82772"/>
                    <a:gd name="connsiteY2" fmla="*/ 7752 h 75673"/>
                    <a:gd name="connsiteX3" fmla="*/ 14097 w 82772"/>
                    <a:gd name="connsiteY3" fmla="*/ 15277 h 75673"/>
                    <a:gd name="connsiteX4" fmla="*/ 22288 w 82772"/>
                    <a:gd name="connsiteY4" fmla="*/ 21849 h 75673"/>
                    <a:gd name="connsiteX5" fmla="*/ 31718 w 82772"/>
                    <a:gd name="connsiteY5" fmla="*/ 26612 h 75673"/>
                    <a:gd name="connsiteX6" fmla="*/ 41338 w 82772"/>
                    <a:gd name="connsiteY6" fmla="*/ 31089 h 75673"/>
                    <a:gd name="connsiteX7" fmla="*/ 51530 w 82772"/>
                    <a:gd name="connsiteY7" fmla="*/ 33851 h 75673"/>
                    <a:gd name="connsiteX8" fmla="*/ 61913 w 82772"/>
                    <a:gd name="connsiteY8" fmla="*/ 34137 h 75673"/>
                    <a:gd name="connsiteX9" fmla="*/ 72580 w 82772"/>
                    <a:gd name="connsiteY9" fmla="*/ 34613 h 75673"/>
                    <a:gd name="connsiteX10" fmla="*/ 82772 w 82772"/>
                    <a:gd name="connsiteY10" fmla="*/ 31851 h 75673"/>
                    <a:gd name="connsiteX11" fmla="*/ 77819 w 82772"/>
                    <a:gd name="connsiteY11" fmla="*/ 42423 h 75673"/>
                    <a:gd name="connsiteX12" fmla="*/ 72104 w 82772"/>
                    <a:gd name="connsiteY12" fmla="*/ 51948 h 75673"/>
                    <a:gd name="connsiteX13" fmla="*/ 64960 w 82772"/>
                    <a:gd name="connsiteY13" fmla="*/ 60235 h 75673"/>
                    <a:gd name="connsiteX14" fmla="*/ 56769 w 82772"/>
                    <a:gd name="connsiteY14" fmla="*/ 67760 h 75673"/>
                    <a:gd name="connsiteX15" fmla="*/ 47339 w 82772"/>
                    <a:gd name="connsiteY15" fmla="*/ 73284 h 75673"/>
                    <a:gd name="connsiteX16" fmla="*/ 37148 w 82772"/>
                    <a:gd name="connsiteY16" fmla="*/ 75570 h 75673"/>
                    <a:gd name="connsiteX17" fmla="*/ 26765 w 82772"/>
                    <a:gd name="connsiteY17" fmla="*/ 71760 h 75673"/>
                    <a:gd name="connsiteX18" fmla="*/ 20574 w 82772"/>
                    <a:gd name="connsiteY18" fmla="*/ 62426 h 75673"/>
                    <a:gd name="connsiteX19" fmla="*/ 14097 w 82772"/>
                    <a:gd name="connsiteY19" fmla="*/ 53377 h 75673"/>
                    <a:gd name="connsiteX20" fmla="*/ 10096 w 82772"/>
                    <a:gd name="connsiteY20" fmla="*/ 42804 h 75673"/>
                    <a:gd name="connsiteX21" fmla="*/ 7620 w 82772"/>
                    <a:gd name="connsiteY21" fmla="*/ 32041 h 75673"/>
                    <a:gd name="connsiteX22" fmla="*/ 4858 w 82772"/>
                    <a:gd name="connsiteY22" fmla="*/ 21278 h 75673"/>
                    <a:gd name="connsiteX23" fmla="*/ 2381 w 82772"/>
                    <a:gd name="connsiteY23" fmla="*/ 10705 h 75673"/>
                    <a:gd name="connsiteX24" fmla="*/ 0 w 82772"/>
                    <a:gd name="connsiteY24" fmla="*/ 228 h 75673"/>
                    <a:gd name="connsiteX25" fmla="*/ 0 w 82772"/>
                    <a:gd name="connsiteY25" fmla="*/ 228 h 75673"/>
                    <a:gd name="connsiteX26" fmla="*/ 0 w 82772"/>
                    <a:gd name="connsiteY26" fmla="*/ 228 h 75673"/>
                    <a:gd name="connsiteX27" fmla="*/ 0 w 82772"/>
                    <a:gd name="connsiteY27" fmla="*/ 228 h 7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82772" h="75673">
                      <a:moveTo>
                        <a:pt x="0" y="228"/>
                      </a:moveTo>
                      <a:lnTo>
                        <a:pt x="0" y="228"/>
                      </a:lnTo>
                      <a:cubicBezTo>
                        <a:pt x="4953" y="-1011"/>
                        <a:pt x="2191" y="2990"/>
                        <a:pt x="6667" y="7752"/>
                      </a:cubicBezTo>
                      <a:cubicBezTo>
                        <a:pt x="8858" y="10038"/>
                        <a:pt x="11144" y="12801"/>
                        <a:pt x="14097" y="15277"/>
                      </a:cubicBezTo>
                      <a:cubicBezTo>
                        <a:pt x="16573" y="17277"/>
                        <a:pt x="19336" y="19754"/>
                        <a:pt x="22288" y="21849"/>
                      </a:cubicBezTo>
                      <a:cubicBezTo>
                        <a:pt x="25241" y="23850"/>
                        <a:pt x="28480" y="25088"/>
                        <a:pt x="31718" y="26612"/>
                      </a:cubicBezTo>
                      <a:cubicBezTo>
                        <a:pt x="34671" y="28136"/>
                        <a:pt x="37909" y="29850"/>
                        <a:pt x="41338" y="31089"/>
                      </a:cubicBezTo>
                      <a:cubicBezTo>
                        <a:pt x="44577" y="32136"/>
                        <a:pt x="47815" y="33375"/>
                        <a:pt x="51530" y="33851"/>
                      </a:cubicBezTo>
                      <a:cubicBezTo>
                        <a:pt x="54769" y="34613"/>
                        <a:pt x="58483" y="34137"/>
                        <a:pt x="61913" y="34137"/>
                      </a:cubicBezTo>
                      <a:cubicBezTo>
                        <a:pt x="65342" y="34422"/>
                        <a:pt x="68866" y="35184"/>
                        <a:pt x="72580" y="34613"/>
                      </a:cubicBezTo>
                      <a:cubicBezTo>
                        <a:pt x="75819" y="34327"/>
                        <a:pt x="79248" y="32613"/>
                        <a:pt x="82772" y="31851"/>
                      </a:cubicBezTo>
                      <a:cubicBezTo>
                        <a:pt x="82486" y="32898"/>
                        <a:pt x="80772" y="37375"/>
                        <a:pt x="77819" y="42423"/>
                      </a:cubicBezTo>
                      <a:cubicBezTo>
                        <a:pt x="76105" y="45186"/>
                        <a:pt x="74390" y="48710"/>
                        <a:pt x="72104" y="51948"/>
                      </a:cubicBezTo>
                      <a:cubicBezTo>
                        <a:pt x="70104" y="54711"/>
                        <a:pt x="67151" y="57473"/>
                        <a:pt x="64960" y="60235"/>
                      </a:cubicBezTo>
                      <a:cubicBezTo>
                        <a:pt x="62484" y="62997"/>
                        <a:pt x="59531" y="65474"/>
                        <a:pt x="56769" y="67760"/>
                      </a:cubicBezTo>
                      <a:cubicBezTo>
                        <a:pt x="54007" y="70236"/>
                        <a:pt x="50578" y="71760"/>
                        <a:pt x="47339" y="73284"/>
                      </a:cubicBezTo>
                      <a:cubicBezTo>
                        <a:pt x="43910" y="74808"/>
                        <a:pt x="40672" y="76047"/>
                        <a:pt x="37148" y="75570"/>
                      </a:cubicBezTo>
                      <a:cubicBezTo>
                        <a:pt x="33719" y="75094"/>
                        <a:pt x="30004" y="74523"/>
                        <a:pt x="26765" y="71760"/>
                      </a:cubicBezTo>
                      <a:cubicBezTo>
                        <a:pt x="24289" y="69760"/>
                        <a:pt x="23050" y="65950"/>
                        <a:pt x="20574" y="62426"/>
                      </a:cubicBezTo>
                      <a:cubicBezTo>
                        <a:pt x="18859" y="59664"/>
                        <a:pt x="15907" y="57187"/>
                        <a:pt x="14097" y="53377"/>
                      </a:cubicBezTo>
                      <a:cubicBezTo>
                        <a:pt x="12573" y="50329"/>
                        <a:pt x="11621" y="46805"/>
                        <a:pt x="10096" y="42804"/>
                      </a:cubicBezTo>
                      <a:cubicBezTo>
                        <a:pt x="8858" y="39756"/>
                        <a:pt x="8858" y="35756"/>
                        <a:pt x="7620" y="32041"/>
                      </a:cubicBezTo>
                      <a:cubicBezTo>
                        <a:pt x="6667" y="28803"/>
                        <a:pt x="5905" y="25278"/>
                        <a:pt x="4858" y="21278"/>
                      </a:cubicBezTo>
                      <a:cubicBezTo>
                        <a:pt x="4096" y="18039"/>
                        <a:pt x="3143" y="14515"/>
                        <a:pt x="2381" y="10705"/>
                      </a:cubicBezTo>
                      <a:cubicBezTo>
                        <a:pt x="1715" y="7276"/>
                        <a:pt x="476" y="4038"/>
                        <a:pt x="0" y="228"/>
                      </a:cubicBez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0" y="228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378595D9-D732-31B9-71A3-831259133AED}"/>
                    </a:ext>
                  </a:extLst>
                </p:cNvPr>
                <p:cNvSpPr/>
                <p:nvPr/>
              </p:nvSpPr>
              <p:spPr>
                <a:xfrm>
                  <a:off x="5645005" y="3000660"/>
                  <a:ext cx="76471" cy="175179"/>
                </a:xfrm>
                <a:custGeom>
                  <a:avLst/>
                  <a:gdLst>
                    <a:gd name="connsiteX0" fmla="*/ 5796 w 76471"/>
                    <a:gd name="connsiteY0" fmla="*/ 0 h 175179"/>
                    <a:gd name="connsiteX1" fmla="*/ 5796 w 76471"/>
                    <a:gd name="connsiteY1" fmla="*/ 0 h 175179"/>
                    <a:gd name="connsiteX2" fmla="*/ 6081 w 76471"/>
                    <a:gd name="connsiteY2" fmla="*/ 9334 h 175179"/>
                    <a:gd name="connsiteX3" fmla="*/ 6367 w 76471"/>
                    <a:gd name="connsiteY3" fmla="*/ 18669 h 175179"/>
                    <a:gd name="connsiteX4" fmla="*/ 3605 w 76471"/>
                    <a:gd name="connsiteY4" fmla="*/ 24955 h 175179"/>
                    <a:gd name="connsiteX5" fmla="*/ 176 w 76471"/>
                    <a:gd name="connsiteY5" fmla="*/ 36766 h 175179"/>
                    <a:gd name="connsiteX6" fmla="*/ 652 w 76471"/>
                    <a:gd name="connsiteY6" fmla="*/ 49054 h 175179"/>
                    <a:gd name="connsiteX7" fmla="*/ 5129 w 76471"/>
                    <a:gd name="connsiteY7" fmla="*/ 60579 h 175179"/>
                    <a:gd name="connsiteX8" fmla="*/ 5415 w 76471"/>
                    <a:gd name="connsiteY8" fmla="*/ 60103 h 175179"/>
                    <a:gd name="connsiteX9" fmla="*/ 5129 w 76471"/>
                    <a:gd name="connsiteY9" fmla="*/ 70676 h 175179"/>
                    <a:gd name="connsiteX10" fmla="*/ 5605 w 76471"/>
                    <a:gd name="connsiteY10" fmla="*/ 81248 h 175179"/>
                    <a:gd name="connsiteX11" fmla="*/ 5129 w 76471"/>
                    <a:gd name="connsiteY11" fmla="*/ 91535 h 175179"/>
                    <a:gd name="connsiteX12" fmla="*/ 5129 w 76471"/>
                    <a:gd name="connsiteY12" fmla="*/ 102108 h 175179"/>
                    <a:gd name="connsiteX13" fmla="*/ 4843 w 76471"/>
                    <a:gd name="connsiteY13" fmla="*/ 112395 h 175179"/>
                    <a:gd name="connsiteX14" fmla="*/ 5605 w 76471"/>
                    <a:gd name="connsiteY14" fmla="*/ 122968 h 175179"/>
                    <a:gd name="connsiteX15" fmla="*/ 5319 w 76471"/>
                    <a:gd name="connsiteY15" fmla="*/ 133540 h 175179"/>
                    <a:gd name="connsiteX16" fmla="*/ 5034 w 76471"/>
                    <a:gd name="connsiteY16" fmla="*/ 143828 h 175179"/>
                    <a:gd name="connsiteX17" fmla="*/ 4748 w 76471"/>
                    <a:gd name="connsiteY17" fmla="*/ 154400 h 175179"/>
                    <a:gd name="connsiteX18" fmla="*/ 4748 w 76471"/>
                    <a:gd name="connsiteY18" fmla="*/ 164402 h 175179"/>
                    <a:gd name="connsiteX19" fmla="*/ 14178 w 76471"/>
                    <a:gd name="connsiteY19" fmla="*/ 166116 h 175179"/>
                    <a:gd name="connsiteX20" fmla="*/ 24369 w 76471"/>
                    <a:gd name="connsiteY20" fmla="*/ 166878 h 175179"/>
                    <a:gd name="connsiteX21" fmla="*/ 34275 w 76471"/>
                    <a:gd name="connsiteY21" fmla="*/ 168878 h 175179"/>
                    <a:gd name="connsiteX22" fmla="*/ 44467 w 76471"/>
                    <a:gd name="connsiteY22" fmla="*/ 169926 h 175179"/>
                    <a:gd name="connsiteX23" fmla="*/ 54373 w 76471"/>
                    <a:gd name="connsiteY23" fmla="*/ 172212 h 175179"/>
                    <a:gd name="connsiteX24" fmla="*/ 65041 w 76471"/>
                    <a:gd name="connsiteY24" fmla="*/ 173927 h 175179"/>
                    <a:gd name="connsiteX25" fmla="*/ 65803 w 76471"/>
                    <a:gd name="connsiteY25" fmla="*/ 161830 h 175179"/>
                    <a:gd name="connsiteX26" fmla="*/ 66565 w 76471"/>
                    <a:gd name="connsiteY26" fmla="*/ 150495 h 175179"/>
                    <a:gd name="connsiteX27" fmla="*/ 68089 w 76471"/>
                    <a:gd name="connsiteY27" fmla="*/ 139160 h 175179"/>
                    <a:gd name="connsiteX28" fmla="*/ 70089 w 76471"/>
                    <a:gd name="connsiteY28" fmla="*/ 128111 h 175179"/>
                    <a:gd name="connsiteX29" fmla="*/ 70375 w 76471"/>
                    <a:gd name="connsiteY29" fmla="*/ 116586 h 175179"/>
                    <a:gd name="connsiteX30" fmla="*/ 71328 w 76471"/>
                    <a:gd name="connsiteY30" fmla="*/ 105251 h 175179"/>
                    <a:gd name="connsiteX31" fmla="*/ 73518 w 76471"/>
                    <a:gd name="connsiteY31" fmla="*/ 94202 h 175179"/>
                    <a:gd name="connsiteX32" fmla="*/ 75233 w 76471"/>
                    <a:gd name="connsiteY32" fmla="*/ 82867 h 175179"/>
                    <a:gd name="connsiteX33" fmla="*/ 75233 w 76471"/>
                    <a:gd name="connsiteY33" fmla="*/ 71342 h 175179"/>
                    <a:gd name="connsiteX34" fmla="*/ 76471 w 76471"/>
                    <a:gd name="connsiteY34" fmla="*/ 60007 h 175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76471" h="175179">
                      <a:moveTo>
                        <a:pt x="5796" y="0"/>
                      </a:moveTo>
                      <a:lnTo>
                        <a:pt x="5796" y="0"/>
                      </a:lnTo>
                      <a:cubicBezTo>
                        <a:pt x="5796" y="4763"/>
                        <a:pt x="6272" y="4763"/>
                        <a:pt x="6081" y="9334"/>
                      </a:cubicBezTo>
                      <a:cubicBezTo>
                        <a:pt x="6081" y="13811"/>
                        <a:pt x="7320" y="14097"/>
                        <a:pt x="6367" y="18669"/>
                      </a:cubicBezTo>
                      <a:cubicBezTo>
                        <a:pt x="5891" y="21907"/>
                        <a:pt x="5129" y="21907"/>
                        <a:pt x="3605" y="24955"/>
                      </a:cubicBezTo>
                      <a:cubicBezTo>
                        <a:pt x="1890" y="28765"/>
                        <a:pt x="652" y="32766"/>
                        <a:pt x="176" y="36766"/>
                      </a:cubicBezTo>
                      <a:cubicBezTo>
                        <a:pt x="-110" y="40767"/>
                        <a:pt x="-110" y="45053"/>
                        <a:pt x="652" y="49054"/>
                      </a:cubicBezTo>
                      <a:cubicBezTo>
                        <a:pt x="1605" y="53054"/>
                        <a:pt x="2843" y="57055"/>
                        <a:pt x="5129" y="60579"/>
                      </a:cubicBezTo>
                      <a:lnTo>
                        <a:pt x="5415" y="60103"/>
                      </a:lnTo>
                      <a:cubicBezTo>
                        <a:pt x="5129" y="65341"/>
                        <a:pt x="5129" y="65341"/>
                        <a:pt x="5129" y="70676"/>
                      </a:cubicBezTo>
                      <a:cubicBezTo>
                        <a:pt x="5129" y="75914"/>
                        <a:pt x="5605" y="75914"/>
                        <a:pt x="5605" y="81248"/>
                      </a:cubicBezTo>
                      <a:cubicBezTo>
                        <a:pt x="5319" y="86296"/>
                        <a:pt x="5129" y="86296"/>
                        <a:pt x="5129" y="91535"/>
                      </a:cubicBezTo>
                      <a:cubicBezTo>
                        <a:pt x="5129" y="96774"/>
                        <a:pt x="5129" y="96774"/>
                        <a:pt x="5129" y="102108"/>
                      </a:cubicBezTo>
                      <a:cubicBezTo>
                        <a:pt x="5129" y="107347"/>
                        <a:pt x="5129" y="107347"/>
                        <a:pt x="4843" y="112395"/>
                      </a:cubicBezTo>
                      <a:cubicBezTo>
                        <a:pt x="4843" y="117634"/>
                        <a:pt x="5605" y="117634"/>
                        <a:pt x="5605" y="122968"/>
                      </a:cubicBezTo>
                      <a:cubicBezTo>
                        <a:pt x="5605" y="128302"/>
                        <a:pt x="5319" y="128207"/>
                        <a:pt x="5319" y="133540"/>
                      </a:cubicBezTo>
                      <a:cubicBezTo>
                        <a:pt x="5034" y="138589"/>
                        <a:pt x="5319" y="138589"/>
                        <a:pt x="5034" y="143828"/>
                      </a:cubicBezTo>
                      <a:cubicBezTo>
                        <a:pt x="5034" y="149066"/>
                        <a:pt x="4748" y="149066"/>
                        <a:pt x="4748" y="154400"/>
                      </a:cubicBezTo>
                      <a:cubicBezTo>
                        <a:pt x="4748" y="159734"/>
                        <a:pt x="1319" y="160401"/>
                        <a:pt x="4748" y="164402"/>
                      </a:cubicBezTo>
                      <a:cubicBezTo>
                        <a:pt x="7986" y="168402"/>
                        <a:pt x="9225" y="165449"/>
                        <a:pt x="14178" y="166116"/>
                      </a:cubicBezTo>
                      <a:cubicBezTo>
                        <a:pt x="19416" y="166878"/>
                        <a:pt x="19416" y="166116"/>
                        <a:pt x="24369" y="166878"/>
                      </a:cubicBezTo>
                      <a:cubicBezTo>
                        <a:pt x="29322" y="167640"/>
                        <a:pt x="29322" y="168116"/>
                        <a:pt x="34275" y="168878"/>
                      </a:cubicBezTo>
                      <a:cubicBezTo>
                        <a:pt x="39514" y="169640"/>
                        <a:pt x="39514" y="169164"/>
                        <a:pt x="44467" y="169926"/>
                      </a:cubicBezTo>
                      <a:cubicBezTo>
                        <a:pt x="49420" y="170688"/>
                        <a:pt x="49420" y="171450"/>
                        <a:pt x="54373" y="172212"/>
                      </a:cubicBezTo>
                      <a:cubicBezTo>
                        <a:pt x="59326" y="172974"/>
                        <a:pt x="61041" y="177260"/>
                        <a:pt x="65041" y="173927"/>
                      </a:cubicBezTo>
                      <a:cubicBezTo>
                        <a:pt x="69232" y="170116"/>
                        <a:pt x="65327" y="167640"/>
                        <a:pt x="65803" y="161830"/>
                      </a:cubicBezTo>
                      <a:cubicBezTo>
                        <a:pt x="66565" y="156305"/>
                        <a:pt x="65803" y="156305"/>
                        <a:pt x="66565" y="150495"/>
                      </a:cubicBezTo>
                      <a:cubicBezTo>
                        <a:pt x="67041" y="144971"/>
                        <a:pt x="67327" y="144971"/>
                        <a:pt x="68089" y="139160"/>
                      </a:cubicBezTo>
                      <a:cubicBezTo>
                        <a:pt x="68851" y="133636"/>
                        <a:pt x="69327" y="133636"/>
                        <a:pt x="70089" y="128111"/>
                      </a:cubicBezTo>
                      <a:cubicBezTo>
                        <a:pt x="70851" y="122301"/>
                        <a:pt x="69613" y="122301"/>
                        <a:pt x="70375" y="116586"/>
                      </a:cubicBezTo>
                      <a:cubicBezTo>
                        <a:pt x="70851" y="111061"/>
                        <a:pt x="70851" y="111061"/>
                        <a:pt x="71328" y="105251"/>
                      </a:cubicBezTo>
                      <a:cubicBezTo>
                        <a:pt x="72090" y="99727"/>
                        <a:pt x="73042" y="99727"/>
                        <a:pt x="73518" y="94202"/>
                      </a:cubicBezTo>
                      <a:cubicBezTo>
                        <a:pt x="74280" y="88392"/>
                        <a:pt x="74471" y="88392"/>
                        <a:pt x="75233" y="82867"/>
                      </a:cubicBezTo>
                      <a:cubicBezTo>
                        <a:pt x="75709" y="77057"/>
                        <a:pt x="74471" y="77057"/>
                        <a:pt x="75233" y="71342"/>
                      </a:cubicBezTo>
                      <a:cubicBezTo>
                        <a:pt x="75709" y="65818"/>
                        <a:pt x="75709" y="65818"/>
                        <a:pt x="76471" y="6000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48D6BA44-22E2-E1E3-4E7C-6375E09B0065}"/>
                    </a:ext>
                  </a:extLst>
                </p:cNvPr>
                <p:cNvSpPr/>
                <p:nvPr/>
              </p:nvSpPr>
              <p:spPr>
                <a:xfrm>
                  <a:off x="5647878" y="3165347"/>
                  <a:ext cx="92061" cy="213259"/>
                </a:xfrm>
                <a:custGeom>
                  <a:avLst/>
                  <a:gdLst>
                    <a:gd name="connsiteX0" fmla="*/ 923 w 92061"/>
                    <a:gd name="connsiteY0" fmla="*/ 0 h 213259"/>
                    <a:gd name="connsiteX1" fmla="*/ 923 w 92061"/>
                    <a:gd name="connsiteY1" fmla="*/ 0 h 213259"/>
                    <a:gd name="connsiteX2" fmla="*/ 4161 w 92061"/>
                    <a:gd name="connsiteY2" fmla="*/ 10287 h 213259"/>
                    <a:gd name="connsiteX3" fmla="*/ 6162 w 92061"/>
                    <a:gd name="connsiteY3" fmla="*/ 21050 h 213259"/>
                    <a:gd name="connsiteX4" fmla="*/ 8352 w 92061"/>
                    <a:gd name="connsiteY4" fmla="*/ 31623 h 213259"/>
                    <a:gd name="connsiteX5" fmla="*/ 11115 w 92061"/>
                    <a:gd name="connsiteY5" fmla="*/ 42196 h 213259"/>
                    <a:gd name="connsiteX6" fmla="*/ 12829 w 92061"/>
                    <a:gd name="connsiteY6" fmla="*/ 52959 h 213259"/>
                    <a:gd name="connsiteX7" fmla="*/ 16258 w 92061"/>
                    <a:gd name="connsiteY7" fmla="*/ 63246 h 213259"/>
                    <a:gd name="connsiteX8" fmla="*/ 17211 w 92061"/>
                    <a:gd name="connsiteY8" fmla="*/ 74009 h 213259"/>
                    <a:gd name="connsiteX9" fmla="*/ 19401 w 92061"/>
                    <a:gd name="connsiteY9" fmla="*/ 84582 h 213259"/>
                    <a:gd name="connsiteX10" fmla="*/ 22354 w 92061"/>
                    <a:gd name="connsiteY10" fmla="*/ 95155 h 213259"/>
                    <a:gd name="connsiteX11" fmla="*/ 24831 w 92061"/>
                    <a:gd name="connsiteY11" fmla="*/ 105727 h 213259"/>
                    <a:gd name="connsiteX12" fmla="*/ 28069 w 92061"/>
                    <a:gd name="connsiteY12" fmla="*/ 116015 h 213259"/>
                    <a:gd name="connsiteX13" fmla="*/ 29307 w 92061"/>
                    <a:gd name="connsiteY13" fmla="*/ 127064 h 213259"/>
                    <a:gd name="connsiteX14" fmla="*/ 32546 w 92061"/>
                    <a:gd name="connsiteY14" fmla="*/ 137351 h 213259"/>
                    <a:gd name="connsiteX15" fmla="*/ 33784 w 92061"/>
                    <a:gd name="connsiteY15" fmla="*/ 148114 h 213259"/>
                    <a:gd name="connsiteX16" fmla="*/ 37213 w 92061"/>
                    <a:gd name="connsiteY16" fmla="*/ 158687 h 213259"/>
                    <a:gd name="connsiteX17" fmla="*/ 30546 w 92061"/>
                    <a:gd name="connsiteY17" fmla="*/ 167450 h 213259"/>
                    <a:gd name="connsiteX18" fmla="*/ 24354 w 92061"/>
                    <a:gd name="connsiteY18" fmla="*/ 176213 h 213259"/>
                    <a:gd name="connsiteX19" fmla="*/ 18449 w 92061"/>
                    <a:gd name="connsiteY19" fmla="*/ 185261 h 213259"/>
                    <a:gd name="connsiteX20" fmla="*/ 12258 w 92061"/>
                    <a:gd name="connsiteY20" fmla="*/ 193834 h 213259"/>
                    <a:gd name="connsiteX21" fmla="*/ 5590 w 92061"/>
                    <a:gd name="connsiteY21" fmla="*/ 202406 h 213259"/>
                    <a:gd name="connsiteX22" fmla="*/ 637 w 92061"/>
                    <a:gd name="connsiteY22" fmla="*/ 211455 h 213259"/>
                    <a:gd name="connsiteX23" fmla="*/ 9019 w 92061"/>
                    <a:gd name="connsiteY23" fmla="*/ 210217 h 213259"/>
                    <a:gd name="connsiteX24" fmla="*/ 17973 w 92061"/>
                    <a:gd name="connsiteY24" fmla="*/ 208217 h 213259"/>
                    <a:gd name="connsiteX25" fmla="*/ 27402 w 92061"/>
                    <a:gd name="connsiteY25" fmla="*/ 206502 h 213259"/>
                    <a:gd name="connsiteX26" fmla="*/ 31879 w 92061"/>
                    <a:gd name="connsiteY26" fmla="*/ 198501 h 213259"/>
                    <a:gd name="connsiteX27" fmla="*/ 36832 w 92061"/>
                    <a:gd name="connsiteY27" fmla="*/ 190976 h 213259"/>
                    <a:gd name="connsiteX28" fmla="*/ 39309 w 92061"/>
                    <a:gd name="connsiteY28" fmla="*/ 201549 h 213259"/>
                    <a:gd name="connsiteX29" fmla="*/ 39023 w 92061"/>
                    <a:gd name="connsiteY29" fmla="*/ 191262 h 213259"/>
                    <a:gd name="connsiteX30" fmla="*/ 40261 w 92061"/>
                    <a:gd name="connsiteY30" fmla="*/ 180975 h 213259"/>
                    <a:gd name="connsiteX31" fmla="*/ 40261 w 92061"/>
                    <a:gd name="connsiteY31" fmla="*/ 170402 h 213259"/>
                    <a:gd name="connsiteX32" fmla="*/ 41499 w 92061"/>
                    <a:gd name="connsiteY32" fmla="*/ 159353 h 213259"/>
                    <a:gd name="connsiteX33" fmla="*/ 42738 w 92061"/>
                    <a:gd name="connsiteY33" fmla="*/ 170688 h 213259"/>
                    <a:gd name="connsiteX34" fmla="*/ 45214 w 92061"/>
                    <a:gd name="connsiteY34" fmla="*/ 181451 h 213259"/>
                    <a:gd name="connsiteX35" fmla="*/ 46738 w 92061"/>
                    <a:gd name="connsiteY35" fmla="*/ 192500 h 213259"/>
                    <a:gd name="connsiteX36" fmla="*/ 48738 w 92061"/>
                    <a:gd name="connsiteY36" fmla="*/ 203835 h 213259"/>
                    <a:gd name="connsiteX37" fmla="*/ 53215 w 92061"/>
                    <a:gd name="connsiteY37" fmla="*/ 189262 h 213259"/>
                    <a:gd name="connsiteX38" fmla="*/ 58930 w 92061"/>
                    <a:gd name="connsiteY38" fmla="*/ 201835 h 213259"/>
                    <a:gd name="connsiteX39" fmla="*/ 70074 w 92061"/>
                    <a:gd name="connsiteY39" fmla="*/ 204597 h 213259"/>
                    <a:gd name="connsiteX40" fmla="*/ 80933 w 92061"/>
                    <a:gd name="connsiteY40" fmla="*/ 206597 h 213259"/>
                    <a:gd name="connsiteX41" fmla="*/ 91315 w 92061"/>
                    <a:gd name="connsiteY41" fmla="*/ 208598 h 213259"/>
                    <a:gd name="connsiteX42" fmla="*/ 84838 w 92061"/>
                    <a:gd name="connsiteY42" fmla="*/ 199835 h 213259"/>
                    <a:gd name="connsiteX43" fmla="*/ 77409 w 92061"/>
                    <a:gd name="connsiteY43" fmla="*/ 191072 h 213259"/>
                    <a:gd name="connsiteX44" fmla="*/ 69693 w 92061"/>
                    <a:gd name="connsiteY44" fmla="*/ 182499 h 213259"/>
                    <a:gd name="connsiteX45" fmla="*/ 62359 w 92061"/>
                    <a:gd name="connsiteY45" fmla="*/ 173450 h 213259"/>
                    <a:gd name="connsiteX46" fmla="*/ 54644 w 92061"/>
                    <a:gd name="connsiteY46" fmla="*/ 164687 h 213259"/>
                    <a:gd name="connsiteX47" fmla="*/ 46738 w 92061"/>
                    <a:gd name="connsiteY47" fmla="*/ 156115 h 213259"/>
                    <a:gd name="connsiteX48" fmla="*/ 48929 w 92061"/>
                    <a:gd name="connsiteY48" fmla="*/ 145352 h 213259"/>
                    <a:gd name="connsiteX49" fmla="*/ 48929 w 92061"/>
                    <a:gd name="connsiteY49" fmla="*/ 134779 h 213259"/>
                    <a:gd name="connsiteX50" fmla="*/ 50929 w 92061"/>
                    <a:gd name="connsiteY50" fmla="*/ 124206 h 213259"/>
                    <a:gd name="connsiteX51" fmla="*/ 50643 w 92061"/>
                    <a:gd name="connsiteY51" fmla="*/ 113633 h 213259"/>
                    <a:gd name="connsiteX52" fmla="*/ 51882 w 92061"/>
                    <a:gd name="connsiteY52" fmla="*/ 103061 h 213259"/>
                    <a:gd name="connsiteX53" fmla="*/ 52834 w 92061"/>
                    <a:gd name="connsiteY53" fmla="*/ 92488 h 213259"/>
                    <a:gd name="connsiteX54" fmla="*/ 54072 w 92061"/>
                    <a:gd name="connsiteY54" fmla="*/ 81915 h 213259"/>
                    <a:gd name="connsiteX55" fmla="*/ 55787 w 92061"/>
                    <a:gd name="connsiteY55" fmla="*/ 71342 h 213259"/>
                    <a:gd name="connsiteX56" fmla="*/ 56073 w 92061"/>
                    <a:gd name="connsiteY56" fmla="*/ 60770 h 213259"/>
                    <a:gd name="connsiteX57" fmla="*/ 57597 w 92061"/>
                    <a:gd name="connsiteY57" fmla="*/ 50197 h 213259"/>
                    <a:gd name="connsiteX58" fmla="*/ 58359 w 92061"/>
                    <a:gd name="connsiteY58" fmla="*/ 39624 h 213259"/>
                    <a:gd name="connsiteX59" fmla="*/ 58835 w 92061"/>
                    <a:gd name="connsiteY59" fmla="*/ 29051 h 213259"/>
                    <a:gd name="connsiteX60" fmla="*/ 60549 w 92061"/>
                    <a:gd name="connsiteY60" fmla="*/ 18478 h 213259"/>
                    <a:gd name="connsiteX61" fmla="*/ 61311 w 92061"/>
                    <a:gd name="connsiteY61" fmla="*/ 7906 h 213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92061" h="213259">
                      <a:moveTo>
                        <a:pt x="923" y="0"/>
                      </a:moveTo>
                      <a:lnTo>
                        <a:pt x="923" y="0"/>
                      </a:lnTo>
                      <a:cubicBezTo>
                        <a:pt x="1875" y="5239"/>
                        <a:pt x="3114" y="5048"/>
                        <a:pt x="4161" y="10287"/>
                      </a:cubicBezTo>
                      <a:cubicBezTo>
                        <a:pt x="5400" y="15526"/>
                        <a:pt x="4923" y="15811"/>
                        <a:pt x="6162" y="21050"/>
                      </a:cubicBezTo>
                      <a:cubicBezTo>
                        <a:pt x="7114" y="26289"/>
                        <a:pt x="7114" y="26289"/>
                        <a:pt x="8352" y="31623"/>
                      </a:cubicBezTo>
                      <a:cubicBezTo>
                        <a:pt x="9591" y="36862"/>
                        <a:pt x="9876" y="36862"/>
                        <a:pt x="11115" y="42196"/>
                      </a:cubicBezTo>
                      <a:cubicBezTo>
                        <a:pt x="12067" y="47434"/>
                        <a:pt x="11591" y="47434"/>
                        <a:pt x="12829" y="52959"/>
                      </a:cubicBezTo>
                      <a:cubicBezTo>
                        <a:pt x="14067" y="58198"/>
                        <a:pt x="15306" y="58007"/>
                        <a:pt x="16258" y="63246"/>
                      </a:cubicBezTo>
                      <a:cubicBezTo>
                        <a:pt x="17496" y="68485"/>
                        <a:pt x="15972" y="68771"/>
                        <a:pt x="17211" y="74009"/>
                      </a:cubicBezTo>
                      <a:cubicBezTo>
                        <a:pt x="18163" y="79248"/>
                        <a:pt x="18163" y="79248"/>
                        <a:pt x="19401" y="84582"/>
                      </a:cubicBezTo>
                      <a:cubicBezTo>
                        <a:pt x="20640" y="89821"/>
                        <a:pt x="21116" y="89821"/>
                        <a:pt x="22354" y="95155"/>
                      </a:cubicBezTo>
                      <a:cubicBezTo>
                        <a:pt x="23592" y="100394"/>
                        <a:pt x="23878" y="100394"/>
                        <a:pt x="24831" y="105727"/>
                      </a:cubicBezTo>
                      <a:cubicBezTo>
                        <a:pt x="26069" y="110966"/>
                        <a:pt x="26831" y="110776"/>
                        <a:pt x="28069" y="116015"/>
                      </a:cubicBezTo>
                      <a:cubicBezTo>
                        <a:pt x="29307" y="121539"/>
                        <a:pt x="28355" y="121539"/>
                        <a:pt x="29307" y="127064"/>
                      </a:cubicBezTo>
                      <a:cubicBezTo>
                        <a:pt x="30546" y="132302"/>
                        <a:pt x="31308" y="132112"/>
                        <a:pt x="32546" y="137351"/>
                      </a:cubicBezTo>
                      <a:cubicBezTo>
                        <a:pt x="33498" y="142589"/>
                        <a:pt x="32832" y="142875"/>
                        <a:pt x="33784" y="148114"/>
                      </a:cubicBezTo>
                      <a:cubicBezTo>
                        <a:pt x="35022" y="153352"/>
                        <a:pt x="38261" y="153352"/>
                        <a:pt x="37213" y="158687"/>
                      </a:cubicBezTo>
                      <a:cubicBezTo>
                        <a:pt x="36261" y="163925"/>
                        <a:pt x="33498" y="162973"/>
                        <a:pt x="30546" y="167450"/>
                      </a:cubicBezTo>
                      <a:cubicBezTo>
                        <a:pt x="27307" y="171736"/>
                        <a:pt x="27593" y="171926"/>
                        <a:pt x="24354" y="176213"/>
                      </a:cubicBezTo>
                      <a:cubicBezTo>
                        <a:pt x="21402" y="180689"/>
                        <a:pt x="21592" y="180689"/>
                        <a:pt x="18449" y="185261"/>
                      </a:cubicBezTo>
                      <a:cubicBezTo>
                        <a:pt x="15496" y="189548"/>
                        <a:pt x="15210" y="189548"/>
                        <a:pt x="12258" y="193834"/>
                      </a:cubicBezTo>
                      <a:cubicBezTo>
                        <a:pt x="9019" y="198311"/>
                        <a:pt x="8543" y="197834"/>
                        <a:pt x="5590" y="202406"/>
                      </a:cubicBezTo>
                      <a:cubicBezTo>
                        <a:pt x="2352" y="206883"/>
                        <a:pt x="-1554" y="206407"/>
                        <a:pt x="637" y="211455"/>
                      </a:cubicBezTo>
                      <a:cubicBezTo>
                        <a:pt x="2352" y="215741"/>
                        <a:pt x="4638" y="211169"/>
                        <a:pt x="9019" y="210217"/>
                      </a:cubicBezTo>
                      <a:cubicBezTo>
                        <a:pt x="13496" y="209169"/>
                        <a:pt x="13496" y="209169"/>
                        <a:pt x="17973" y="208217"/>
                      </a:cubicBezTo>
                      <a:cubicBezTo>
                        <a:pt x="22640" y="207169"/>
                        <a:pt x="23402" y="209264"/>
                        <a:pt x="27402" y="206502"/>
                      </a:cubicBezTo>
                      <a:cubicBezTo>
                        <a:pt x="31117" y="204026"/>
                        <a:pt x="29403" y="202216"/>
                        <a:pt x="31879" y="198501"/>
                      </a:cubicBezTo>
                      <a:cubicBezTo>
                        <a:pt x="34356" y="194691"/>
                        <a:pt x="32832" y="189167"/>
                        <a:pt x="36832" y="190976"/>
                      </a:cubicBezTo>
                      <a:cubicBezTo>
                        <a:pt x="41785" y="193262"/>
                        <a:pt x="33879" y="200787"/>
                        <a:pt x="39309" y="201549"/>
                      </a:cubicBezTo>
                      <a:cubicBezTo>
                        <a:pt x="44262" y="202311"/>
                        <a:pt x="38832" y="196501"/>
                        <a:pt x="39023" y="191262"/>
                      </a:cubicBezTo>
                      <a:cubicBezTo>
                        <a:pt x="39499" y="186023"/>
                        <a:pt x="39975" y="186023"/>
                        <a:pt x="40261" y="180975"/>
                      </a:cubicBezTo>
                      <a:cubicBezTo>
                        <a:pt x="40547" y="175736"/>
                        <a:pt x="39975" y="175451"/>
                        <a:pt x="40261" y="170402"/>
                      </a:cubicBezTo>
                      <a:cubicBezTo>
                        <a:pt x="40547" y="165164"/>
                        <a:pt x="36261" y="158591"/>
                        <a:pt x="41499" y="159353"/>
                      </a:cubicBezTo>
                      <a:cubicBezTo>
                        <a:pt x="46929" y="160115"/>
                        <a:pt x="41785" y="165354"/>
                        <a:pt x="42738" y="170688"/>
                      </a:cubicBezTo>
                      <a:cubicBezTo>
                        <a:pt x="43690" y="176213"/>
                        <a:pt x="44262" y="175927"/>
                        <a:pt x="45214" y="181451"/>
                      </a:cubicBezTo>
                      <a:cubicBezTo>
                        <a:pt x="45976" y="186976"/>
                        <a:pt x="45690" y="186976"/>
                        <a:pt x="46738" y="192500"/>
                      </a:cubicBezTo>
                      <a:cubicBezTo>
                        <a:pt x="47500" y="197739"/>
                        <a:pt x="43976" y="206597"/>
                        <a:pt x="48738" y="203835"/>
                      </a:cubicBezTo>
                      <a:cubicBezTo>
                        <a:pt x="55406" y="200025"/>
                        <a:pt x="45786" y="190786"/>
                        <a:pt x="53215" y="189262"/>
                      </a:cubicBezTo>
                      <a:cubicBezTo>
                        <a:pt x="60168" y="188214"/>
                        <a:pt x="53691" y="197072"/>
                        <a:pt x="58930" y="201835"/>
                      </a:cubicBezTo>
                      <a:cubicBezTo>
                        <a:pt x="63121" y="205645"/>
                        <a:pt x="64645" y="203359"/>
                        <a:pt x="70074" y="204597"/>
                      </a:cubicBezTo>
                      <a:cubicBezTo>
                        <a:pt x="75504" y="205835"/>
                        <a:pt x="75504" y="205359"/>
                        <a:pt x="80933" y="206597"/>
                      </a:cubicBezTo>
                      <a:cubicBezTo>
                        <a:pt x="86362" y="207836"/>
                        <a:pt x="88648" y="213646"/>
                        <a:pt x="91315" y="208598"/>
                      </a:cubicBezTo>
                      <a:cubicBezTo>
                        <a:pt x="94077" y="203549"/>
                        <a:pt x="88553" y="204121"/>
                        <a:pt x="84838" y="199835"/>
                      </a:cubicBezTo>
                      <a:cubicBezTo>
                        <a:pt x="81123" y="195358"/>
                        <a:pt x="81123" y="195358"/>
                        <a:pt x="77409" y="191072"/>
                      </a:cubicBezTo>
                      <a:cubicBezTo>
                        <a:pt x="73694" y="186595"/>
                        <a:pt x="73408" y="187071"/>
                        <a:pt x="69693" y="182499"/>
                      </a:cubicBezTo>
                      <a:cubicBezTo>
                        <a:pt x="66074" y="177927"/>
                        <a:pt x="66074" y="177927"/>
                        <a:pt x="62359" y="173450"/>
                      </a:cubicBezTo>
                      <a:cubicBezTo>
                        <a:pt x="58644" y="169164"/>
                        <a:pt x="58359" y="169164"/>
                        <a:pt x="54644" y="164687"/>
                      </a:cubicBezTo>
                      <a:cubicBezTo>
                        <a:pt x="51215" y="160401"/>
                        <a:pt x="48738" y="161639"/>
                        <a:pt x="46738" y="156115"/>
                      </a:cubicBezTo>
                      <a:cubicBezTo>
                        <a:pt x="45214" y="151067"/>
                        <a:pt x="48453" y="150590"/>
                        <a:pt x="48929" y="145352"/>
                      </a:cubicBezTo>
                      <a:cubicBezTo>
                        <a:pt x="49405" y="140113"/>
                        <a:pt x="48453" y="140113"/>
                        <a:pt x="48929" y="134779"/>
                      </a:cubicBezTo>
                      <a:cubicBezTo>
                        <a:pt x="49405" y="129540"/>
                        <a:pt x="50453" y="129540"/>
                        <a:pt x="50929" y="124206"/>
                      </a:cubicBezTo>
                      <a:cubicBezTo>
                        <a:pt x="51405" y="118967"/>
                        <a:pt x="50167" y="118967"/>
                        <a:pt x="50643" y="113633"/>
                      </a:cubicBezTo>
                      <a:cubicBezTo>
                        <a:pt x="51120" y="108395"/>
                        <a:pt x="51405" y="108395"/>
                        <a:pt x="51882" y="103061"/>
                      </a:cubicBezTo>
                      <a:cubicBezTo>
                        <a:pt x="52358" y="97727"/>
                        <a:pt x="52358" y="97822"/>
                        <a:pt x="52834" y="92488"/>
                      </a:cubicBezTo>
                      <a:cubicBezTo>
                        <a:pt x="53310" y="87249"/>
                        <a:pt x="53596" y="87249"/>
                        <a:pt x="54072" y="81915"/>
                      </a:cubicBezTo>
                      <a:cubicBezTo>
                        <a:pt x="54549" y="76676"/>
                        <a:pt x="55311" y="76676"/>
                        <a:pt x="55787" y="71342"/>
                      </a:cubicBezTo>
                      <a:cubicBezTo>
                        <a:pt x="56263" y="66103"/>
                        <a:pt x="55501" y="66103"/>
                        <a:pt x="56073" y="60770"/>
                      </a:cubicBezTo>
                      <a:cubicBezTo>
                        <a:pt x="56549" y="55531"/>
                        <a:pt x="57025" y="55531"/>
                        <a:pt x="57597" y="50197"/>
                      </a:cubicBezTo>
                      <a:cubicBezTo>
                        <a:pt x="58073" y="44958"/>
                        <a:pt x="57882" y="44958"/>
                        <a:pt x="58359" y="39624"/>
                      </a:cubicBezTo>
                      <a:cubicBezTo>
                        <a:pt x="58835" y="34290"/>
                        <a:pt x="58359" y="34385"/>
                        <a:pt x="58835" y="29051"/>
                      </a:cubicBezTo>
                      <a:cubicBezTo>
                        <a:pt x="59311" y="23813"/>
                        <a:pt x="60073" y="23813"/>
                        <a:pt x="60549" y="18478"/>
                      </a:cubicBezTo>
                      <a:cubicBezTo>
                        <a:pt x="61026" y="13145"/>
                        <a:pt x="60835" y="13240"/>
                        <a:pt x="61311" y="790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3F843035-9A68-C9C4-EBBC-0DFD0E0130AA}"/>
                    </a:ext>
                  </a:extLst>
                </p:cNvPr>
                <p:cNvSpPr/>
                <p:nvPr/>
              </p:nvSpPr>
              <p:spPr>
                <a:xfrm>
                  <a:off x="5678804" y="3183159"/>
                  <a:ext cx="2476" cy="79533"/>
                </a:xfrm>
                <a:custGeom>
                  <a:avLst/>
                  <a:gdLst>
                    <a:gd name="connsiteX0" fmla="*/ 0 w 2476"/>
                    <a:gd name="connsiteY0" fmla="*/ 0 h 79533"/>
                    <a:gd name="connsiteX1" fmla="*/ 0 w 2476"/>
                    <a:gd name="connsiteY1" fmla="*/ 0 h 79533"/>
                    <a:gd name="connsiteX2" fmla="*/ 953 w 2476"/>
                    <a:gd name="connsiteY2" fmla="*/ 11335 h 79533"/>
                    <a:gd name="connsiteX3" fmla="*/ 476 w 2476"/>
                    <a:gd name="connsiteY3" fmla="*/ 22670 h 79533"/>
                    <a:gd name="connsiteX4" fmla="*/ 1715 w 2476"/>
                    <a:gd name="connsiteY4" fmla="*/ 34004 h 79533"/>
                    <a:gd name="connsiteX5" fmla="*/ 762 w 2476"/>
                    <a:gd name="connsiteY5" fmla="*/ 45339 h 79533"/>
                    <a:gd name="connsiteX6" fmla="*/ 1238 w 2476"/>
                    <a:gd name="connsiteY6" fmla="*/ 56674 h 79533"/>
                    <a:gd name="connsiteX7" fmla="*/ 1524 w 2476"/>
                    <a:gd name="connsiteY7" fmla="*/ 68199 h 79533"/>
                    <a:gd name="connsiteX8" fmla="*/ 2477 w 2476"/>
                    <a:gd name="connsiteY8" fmla="*/ 79534 h 7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76" h="7953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5810"/>
                        <a:pt x="762" y="5810"/>
                        <a:pt x="953" y="11335"/>
                      </a:cubicBezTo>
                      <a:cubicBezTo>
                        <a:pt x="953" y="17145"/>
                        <a:pt x="476" y="17145"/>
                        <a:pt x="476" y="22670"/>
                      </a:cubicBezTo>
                      <a:cubicBezTo>
                        <a:pt x="762" y="28480"/>
                        <a:pt x="1715" y="28480"/>
                        <a:pt x="1715" y="34004"/>
                      </a:cubicBezTo>
                      <a:cubicBezTo>
                        <a:pt x="2000" y="39815"/>
                        <a:pt x="476" y="39815"/>
                        <a:pt x="762" y="45339"/>
                      </a:cubicBezTo>
                      <a:cubicBezTo>
                        <a:pt x="762" y="51149"/>
                        <a:pt x="1238" y="51149"/>
                        <a:pt x="1238" y="56674"/>
                      </a:cubicBezTo>
                      <a:cubicBezTo>
                        <a:pt x="1524" y="62484"/>
                        <a:pt x="1238" y="62484"/>
                        <a:pt x="1524" y="68199"/>
                      </a:cubicBezTo>
                      <a:cubicBezTo>
                        <a:pt x="1524" y="73724"/>
                        <a:pt x="2286" y="73724"/>
                        <a:pt x="2477" y="7953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eform: Shape 377">
                  <a:extLst>
                    <a:ext uri="{FF2B5EF4-FFF2-40B4-BE49-F238E27FC236}">
                      <a16:creationId xmlns:a16="http://schemas.microsoft.com/office/drawing/2014/main" id="{5B1A58EC-B7F8-F7FE-D658-62C08DB94E7E}"/>
                    </a:ext>
                  </a:extLst>
                </p:cNvPr>
                <p:cNvSpPr/>
                <p:nvPr/>
              </p:nvSpPr>
              <p:spPr>
                <a:xfrm>
                  <a:off x="5656992" y="2894171"/>
                  <a:ext cx="4667" cy="14287"/>
                </a:xfrm>
                <a:custGeom>
                  <a:avLst/>
                  <a:gdLst>
                    <a:gd name="connsiteX0" fmla="*/ 4667 w 4667"/>
                    <a:gd name="connsiteY0" fmla="*/ 0 h 14287"/>
                    <a:gd name="connsiteX1" fmla="*/ 4667 w 4667"/>
                    <a:gd name="connsiteY1" fmla="*/ 0 h 14287"/>
                    <a:gd name="connsiteX2" fmla="*/ 0 w 4667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67" h="14287">
                      <a:moveTo>
                        <a:pt x="4667" y="0"/>
                      </a:moveTo>
                      <a:lnTo>
                        <a:pt x="4667" y="0"/>
                      </a:lnTo>
                      <a:cubicBezTo>
                        <a:pt x="2667" y="7239"/>
                        <a:pt x="1905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eform: Shape 378">
                  <a:extLst>
                    <a:ext uri="{FF2B5EF4-FFF2-40B4-BE49-F238E27FC236}">
                      <a16:creationId xmlns:a16="http://schemas.microsoft.com/office/drawing/2014/main" id="{E4601773-475F-CB13-E92D-E0CD1BAC54C3}"/>
                    </a:ext>
                  </a:extLst>
                </p:cNvPr>
                <p:cNvSpPr/>
                <p:nvPr/>
              </p:nvSpPr>
              <p:spPr>
                <a:xfrm>
                  <a:off x="5676518" y="2899219"/>
                  <a:ext cx="4953" cy="14287"/>
                </a:xfrm>
                <a:custGeom>
                  <a:avLst/>
                  <a:gdLst>
                    <a:gd name="connsiteX0" fmla="*/ 4953 w 4953"/>
                    <a:gd name="connsiteY0" fmla="*/ 0 h 14287"/>
                    <a:gd name="connsiteX1" fmla="*/ 4953 w 4953"/>
                    <a:gd name="connsiteY1" fmla="*/ 0 h 14287"/>
                    <a:gd name="connsiteX2" fmla="*/ 0 w 4953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3" h="14287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762" y="7239"/>
                        <a:pt x="2000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eform: Shape 379">
                  <a:extLst>
                    <a:ext uri="{FF2B5EF4-FFF2-40B4-BE49-F238E27FC236}">
                      <a16:creationId xmlns:a16="http://schemas.microsoft.com/office/drawing/2014/main" id="{16C3437D-9A71-6123-8FA0-BC758AE02BBB}"/>
                    </a:ext>
                  </a:extLst>
                </p:cNvPr>
                <p:cNvSpPr/>
                <p:nvPr/>
              </p:nvSpPr>
              <p:spPr>
                <a:xfrm>
                  <a:off x="5669089" y="2858261"/>
                  <a:ext cx="83820" cy="74866"/>
                </a:xfrm>
                <a:custGeom>
                  <a:avLst/>
                  <a:gdLst>
                    <a:gd name="connsiteX0" fmla="*/ 0 w 83820"/>
                    <a:gd name="connsiteY0" fmla="*/ 0 h 74866"/>
                    <a:gd name="connsiteX1" fmla="*/ 0 w 83820"/>
                    <a:gd name="connsiteY1" fmla="*/ 0 h 74866"/>
                    <a:gd name="connsiteX2" fmla="*/ 6953 w 83820"/>
                    <a:gd name="connsiteY2" fmla="*/ 7811 h 74866"/>
                    <a:gd name="connsiteX3" fmla="*/ 13430 w 83820"/>
                    <a:gd name="connsiteY3" fmla="*/ 15811 h 74866"/>
                    <a:gd name="connsiteX4" fmla="*/ 20574 w 83820"/>
                    <a:gd name="connsiteY4" fmla="*/ 23622 h 74866"/>
                    <a:gd name="connsiteX5" fmla="*/ 26765 w 83820"/>
                    <a:gd name="connsiteY5" fmla="*/ 31909 h 74866"/>
                    <a:gd name="connsiteX6" fmla="*/ 34481 w 83820"/>
                    <a:gd name="connsiteY6" fmla="*/ 38957 h 74866"/>
                    <a:gd name="connsiteX7" fmla="*/ 41148 w 83820"/>
                    <a:gd name="connsiteY7" fmla="*/ 47244 h 74866"/>
                    <a:gd name="connsiteX8" fmla="*/ 48863 w 83820"/>
                    <a:gd name="connsiteY8" fmla="*/ 54007 h 74866"/>
                    <a:gd name="connsiteX9" fmla="*/ 56293 w 83820"/>
                    <a:gd name="connsiteY9" fmla="*/ 61246 h 74866"/>
                    <a:gd name="connsiteX10" fmla="*/ 64960 w 83820"/>
                    <a:gd name="connsiteY10" fmla="*/ 67532 h 74866"/>
                    <a:gd name="connsiteX11" fmla="*/ 74390 w 83820"/>
                    <a:gd name="connsiteY11" fmla="*/ 71819 h 74866"/>
                    <a:gd name="connsiteX12" fmla="*/ 83820 w 83820"/>
                    <a:gd name="connsiteY12" fmla="*/ 74867 h 74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820" h="74866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3238" y="4001"/>
                        <a:pt x="2762" y="2762"/>
                        <a:pt x="6953" y="7811"/>
                      </a:cubicBezTo>
                      <a:cubicBezTo>
                        <a:pt x="8668" y="10097"/>
                        <a:pt x="10954" y="12859"/>
                        <a:pt x="13430" y="15811"/>
                      </a:cubicBezTo>
                      <a:cubicBezTo>
                        <a:pt x="15621" y="18288"/>
                        <a:pt x="18098" y="20860"/>
                        <a:pt x="20574" y="23622"/>
                      </a:cubicBezTo>
                      <a:cubicBezTo>
                        <a:pt x="22765" y="26098"/>
                        <a:pt x="24289" y="29432"/>
                        <a:pt x="26765" y="31909"/>
                      </a:cubicBezTo>
                      <a:cubicBezTo>
                        <a:pt x="28956" y="34385"/>
                        <a:pt x="32004" y="36385"/>
                        <a:pt x="34481" y="38957"/>
                      </a:cubicBezTo>
                      <a:cubicBezTo>
                        <a:pt x="36957" y="41434"/>
                        <a:pt x="38671" y="44768"/>
                        <a:pt x="41148" y="47244"/>
                      </a:cubicBezTo>
                      <a:cubicBezTo>
                        <a:pt x="43625" y="49530"/>
                        <a:pt x="46387" y="51721"/>
                        <a:pt x="48863" y="54007"/>
                      </a:cubicBezTo>
                      <a:cubicBezTo>
                        <a:pt x="51625" y="56483"/>
                        <a:pt x="53816" y="59246"/>
                        <a:pt x="56293" y="61246"/>
                      </a:cubicBezTo>
                      <a:cubicBezTo>
                        <a:pt x="59246" y="63722"/>
                        <a:pt x="62198" y="65532"/>
                        <a:pt x="64960" y="67532"/>
                      </a:cubicBezTo>
                      <a:cubicBezTo>
                        <a:pt x="67913" y="69533"/>
                        <a:pt x="71438" y="70295"/>
                        <a:pt x="74390" y="71819"/>
                      </a:cubicBezTo>
                      <a:cubicBezTo>
                        <a:pt x="77819" y="73533"/>
                        <a:pt x="80867" y="74867"/>
                        <a:pt x="83820" y="7486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3BDF6FF6-9EF0-ABD7-6DC7-CDE663C972A5}"/>
                    </a:ext>
                  </a:extLst>
                </p:cNvPr>
                <p:cNvSpPr/>
                <p:nvPr/>
              </p:nvSpPr>
              <p:spPr>
                <a:xfrm>
                  <a:off x="5751290" y="2913792"/>
                  <a:ext cx="76835" cy="149038"/>
                </a:xfrm>
                <a:custGeom>
                  <a:avLst/>
                  <a:gdLst>
                    <a:gd name="connsiteX0" fmla="*/ 95 w 76835"/>
                    <a:gd name="connsiteY0" fmla="*/ 0 h 149038"/>
                    <a:gd name="connsiteX1" fmla="*/ 95 w 76835"/>
                    <a:gd name="connsiteY1" fmla="*/ 0 h 149038"/>
                    <a:gd name="connsiteX2" fmla="*/ 5334 w 76835"/>
                    <a:gd name="connsiteY2" fmla="*/ 8763 h 149038"/>
                    <a:gd name="connsiteX3" fmla="*/ 10001 w 76835"/>
                    <a:gd name="connsiteY3" fmla="*/ 18098 h 149038"/>
                    <a:gd name="connsiteX4" fmla="*/ 12478 w 76835"/>
                    <a:gd name="connsiteY4" fmla="*/ 28385 h 149038"/>
                    <a:gd name="connsiteX5" fmla="*/ 15240 w 76835"/>
                    <a:gd name="connsiteY5" fmla="*/ 38386 h 149038"/>
                    <a:gd name="connsiteX6" fmla="*/ 15526 w 76835"/>
                    <a:gd name="connsiteY6" fmla="*/ 48673 h 149038"/>
                    <a:gd name="connsiteX7" fmla="*/ 16002 w 76835"/>
                    <a:gd name="connsiteY7" fmla="*/ 59245 h 149038"/>
                    <a:gd name="connsiteX8" fmla="*/ 16764 w 76835"/>
                    <a:gd name="connsiteY8" fmla="*/ 69818 h 149038"/>
                    <a:gd name="connsiteX9" fmla="*/ 20765 w 76835"/>
                    <a:gd name="connsiteY9" fmla="*/ 80105 h 149038"/>
                    <a:gd name="connsiteX10" fmla="*/ 26194 w 76835"/>
                    <a:gd name="connsiteY10" fmla="*/ 89630 h 149038"/>
                    <a:gd name="connsiteX11" fmla="*/ 33338 w 76835"/>
                    <a:gd name="connsiteY11" fmla="*/ 97631 h 149038"/>
                    <a:gd name="connsiteX12" fmla="*/ 41529 w 76835"/>
                    <a:gd name="connsiteY12" fmla="*/ 104870 h 149038"/>
                    <a:gd name="connsiteX13" fmla="*/ 50959 w 76835"/>
                    <a:gd name="connsiteY13" fmla="*/ 110395 h 149038"/>
                    <a:gd name="connsiteX14" fmla="*/ 61817 w 76835"/>
                    <a:gd name="connsiteY14" fmla="*/ 110395 h 149038"/>
                    <a:gd name="connsiteX15" fmla="*/ 70771 w 76835"/>
                    <a:gd name="connsiteY15" fmla="*/ 104584 h 149038"/>
                    <a:gd name="connsiteX16" fmla="*/ 75248 w 76835"/>
                    <a:gd name="connsiteY16" fmla="*/ 94583 h 149038"/>
                    <a:gd name="connsiteX17" fmla="*/ 76772 w 76835"/>
                    <a:gd name="connsiteY17" fmla="*/ 83820 h 149038"/>
                    <a:gd name="connsiteX18" fmla="*/ 76295 w 76835"/>
                    <a:gd name="connsiteY18" fmla="*/ 94583 h 149038"/>
                    <a:gd name="connsiteX19" fmla="*/ 76295 w 76835"/>
                    <a:gd name="connsiteY19" fmla="*/ 105346 h 149038"/>
                    <a:gd name="connsiteX20" fmla="*/ 73533 w 76835"/>
                    <a:gd name="connsiteY20" fmla="*/ 115919 h 149038"/>
                    <a:gd name="connsiteX21" fmla="*/ 70580 w 76835"/>
                    <a:gd name="connsiteY21" fmla="*/ 126492 h 149038"/>
                    <a:gd name="connsiteX22" fmla="*/ 65627 w 76835"/>
                    <a:gd name="connsiteY22" fmla="*/ 136017 h 149038"/>
                    <a:gd name="connsiteX23" fmla="*/ 58483 w 76835"/>
                    <a:gd name="connsiteY23" fmla="*/ 144304 h 149038"/>
                    <a:gd name="connsiteX24" fmla="*/ 48292 w 76835"/>
                    <a:gd name="connsiteY24" fmla="*/ 148114 h 149038"/>
                    <a:gd name="connsiteX25" fmla="*/ 37910 w 76835"/>
                    <a:gd name="connsiteY25" fmla="*/ 148876 h 149038"/>
                    <a:gd name="connsiteX26" fmla="*/ 27242 w 76835"/>
                    <a:gd name="connsiteY26" fmla="*/ 147352 h 149038"/>
                    <a:gd name="connsiteX27" fmla="*/ 17335 w 76835"/>
                    <a:gd name="connsiteY27" fmla="*/ 142875 h 149038"/>
                    <a:gd name="connsiteX28" fmla="*/ 8954 w 76835"/>
                    <a:gd name="connsiteY28" fmla="*/ 136112 h 149038"/>
                    <a:gd name="connsiteX29" fmla="*/ 0 w 76835"/>
                    <a:gd name="connsiteY29" fmla="*/ 129826 h 149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6835" h="149038">
                      <a:moveTo>
                        <a:pt x="95" y="0"/>
                      </a:moveTo>
                      <a:lnTo>
                        <a:pt x="95" y="0"/>
                      </a:lnTo>
                      <a:cubicBezTo>
                        <a:pt x="2858" y="4286"/>
                        <a:pt x="2858" y="3048"/>
                        <a:pt x="5334" y="8763"/>
                      </a:cubicBezTo>
                      <a:cubicBezTo>
                        <a:pt x="6858" y="11525"/>
                        <a:pt x="8763" y="14573"/>
                        <a:pt x="10001" y="18098"/>
                      </a:cubicBezTo>
                      <a:cubicBezTo>
                        <a:pt x="11240" y="21146"/>
                        <a:pt x="11525" y="24860"/>
                        <a:pt x="12478" y="28385"/>
                      </a:cubicBezTo>
                      <a:cubicBezTo>
                        <a:pt x="13430" y="31432"/>
                        <a:pt x="14478" y="34957"/>
                        <a:pt x="15240" y="38386"/>
                      </a:cubicBezTo>
                      <a:cubicBezTo>
                        <a:pt x="15716" y="41624"/>
                        <a:pt x="15240" y="45148"/>
                        <a:pt x="15526" y="48673"/>
                      </a:cubicBezTo>
                      <a:cubicBezTo>
                        <a:pt x="15526" y="52197"/>
                        <a:pt x="16478" y="55721"/>
                        <a:pt x="16002" y="59245"/>
                      </a:cubicBezTo>
                      <a:cubicBezTo>
                        <a:pt x="15526" y="62484"/>
                        <a:pt x="15526" y="66008"/>
                        <a:pt x="16764" y="69818"/>
                      </a:cubicBezTo>
                      <a:cubicBezTo>
                        <a:pt x="17526" y="73343"/>
                        <a:pt x="18955" y="76581"/>
                        <a:pt x="20765" y="80105"/>
                      </a:cubicBezTo>
                      <a:cubicBezTo>
                        <a:pt x="22289" y="83153"/>
                        <a:pt x="24003" y="86678"/>
                        <a:pt x="26194" y="89630"/>
                      </a:cubicBezTo>
                      <a:cubicBezTo>
                        <a:pt x="28385" y="92393"/>
                        <a:pt x="30861" y="95155"/>
                        <a:pt x="33338" y="97631"/>
                      </a:cubicBezTo>
                      <a:cubicBezTo>
                        <a:pt x="36100" y="100394"/>
                        <a:pt x="38767" y="102870"/>
                        <a:pt x="41529" y="104870"/>
                      </a:cubicBezTo>
                      <a:cubicBezTo>
                        <a:pt x="44768" y="107156"/>
                        <a:pt x="48006" y="109347"/>
                        <a:pt x="50959" y="110395"/>
                      </a:cubicBezTo>
                      <a:cubicBezTo>
                        <a:pt x="54674" y="111633"/>
                        <a:pt x="58674" y="111157"/>
                        <a:pt x="61817" y="110395"/>
                      </a:cubicBezTo>
                      <a:cubicBezTo>
                        <a:pt x="65056" y="109347"/>
                        <a:pt x="68294" y="108109"/>
                        <a:pt x="70771" y="104584"/>
                      </a:cubicBezTo>
                      <a:cubicBezTo>
                        <a:pt x="72485" y="102108"/>
                        <a:pt x="74200" y="98584"/>
                        <a:pt x="75248" y="94583"/>
                      </a:cubicBezTo>
                      <a:cubicBezTo>
                        <a:pt x="76200" y="91345"/>
                        <a:pt x="76486" y="87820"/>
                        <a:pt x="76772" y="83820"/>
                      </a:cubicBezTo>
                      <a:cubicBezTo>
                        <a:pt x="77057" y="87058"/>
                        <a:pt x="76295" y="90583"/>
                        <a:pt x="76295" y="94583"/>
                      </a:cubicBezTo>
                      <a:cubicBezTo>
                        <a:pt x="76010" y="98107"/>
                        <a:pt x="76772" y="101822"/>
                        <a:pt x="76295" y="105346"/>
                      </a:cubicBezTo>
                      <a:cubicBezTo>
                        <a:pt x="75819" y="108871"/>
                        <a:pt x="74581" y="112395"/>
                        <a:pt x="73533" y="115919"/>
                      </a:cubicBezTo>
                      <a:cubicBezTo>
                        <a:pt x="72771" y="119444"/>
                        <a:pt x="71819" y="123158"/>
                        <a:pt x="70580" y="126492"/>
                      </a:cubicBezTo>
                      <a:cubicBezTo>
                        <a:pt x="69056" y="129731"/>
                        <a:pt x="67628" y="133255"/>
                        <a:pt x="65627" y="136017"/>
                      </a:cubicBezTo>
                      <a:cubicBezTo>
                        <a:pt x="63627" y="139256"/>
                        <a:pt x="61151" y="142018"/>
                        <a:pt x="58483" y="144304"/>
                      </a:cubicBezTo>
                      <a:cubicBezTo>
                        <a:pt x="55531" y="146590"/>
                        <a:pt x="52006" y="147066"/>
                        <a:pt x="48292" y="148114"/>
                      </a:cubicBezTo>
                      <a:cubicBezTo>
                        <a:pt x="45053" y="149162"/>
                        <a:pt x="41815" y="149162"/>
                        <a:pt x="37910" y="148876"/>
                      </a:cubicBezTo>
                      <a:cubicBezTo>
                        <a:pt x="34671" y="148400"/>
                        <a:pt x="30956" y="148590"/>
                        <a:pt x="27242" y="147352"/>
                      </a:cubicBezTo>
                      <a:cubicBezTo>
                        <a:pt x="24289" y="146114"/>
                        <a:pt x="20765" y="144875"/>
                        <a:pt x="17335" y="142875"/>
                      </a:cubicBezTo>
                      <a:cubicBezTo>
                        <a:pt x="14573" y="141161"/>
                        <a:pt x="12097" y="138398"/>
                        <a:pt x="8954" y="136112"/>
                      </a:cubicBezTo>
                      <a:cubicBezTo>
                        <a:pt x="6191" y="134112"/>
                        <a:pt x="3048" y="132302"/>
                        <a:pt x="0" y="12982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D941750B-3814-464E-7EFE-07EFB856736C}"/>
                    </a:ext>
                  </a:extLst>
                </p:cNvPr>
                <p:cNvSpPr/>
                <p:nvPr/>
              </p:nvSpPr>
              <p:spPr>
                <a:xfrm>
                  <a:off x="5673756" y="3032759"/>
                  <a:ext cx="13906" cy="37433"/>
                </a:xfrm>
                <a:custGeom>
                  <a:avLst/>
                  <a:gdLst>
                    <a:gd name="connsiteX0" fmla="*/ 13906 w 13906"/>
                    <a:gd name="connsiteY0" fmla="*/ 0 h 37433"/>
                    <a:gd name="connsiteX1" fmla="*/ 13906 w 13906"/>
                    <a:gd name="connsiteY1" fmla="*/ 0 h 37433"/>
                    <a:gd name="connsiteX2" fmla="*/ 8192 w 13906"/>
                    <a:gd name="connsiteY2" fmla="*/ 8763 h 37433"/>
                    <a:gd name="connsiteX3" fmla="*/ 1715 w 13906"/>
                    <a:gd name="connsiteY3" fmla="*/ 17335 h 37433"/>
                    <a:gd name="connsiteX4" fmla="*/ 0 w 13906"/>
                    <a:gd name="connsiteY4" fmla="*/ 27908 h 37433"/>
                    <a:gd name="connsiteX5" fmla="*/ 3715 w 13906"/>
                    <a:gd name="connsiteY5" fmla="*/ 37433 h 3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06" h="37433">
                      <a:moveTo>
                        <a:pt x="13906" y="0"/>
                      </a:moveTo>
                      <a:lnTo>
                        <a:pt x="13906" y="0"/>
                      </a:lnTo>
                      <a:cubicBezTo>
                        <a:pt x="10477" y="4001"/>
                        <a:pt x="11430" y="4001"/>
                        <a:pt x="8192" y="8763"/>
                      </a:cubicBezTo>
                      <a:cubicBezTo>
                        <a:pt x="6191" y="11525"/>
                        <a:pt x="3239" y="14002"/>
                        <a:pt x="1715" y="17335"/>
                      </a:cubicBezTo>
                      <a:cubicBezTo>
                        <a:pt x="191" y="20860"/>
                        <a:pt x="0" y="24575"/>
                        <a:pt x="0" y="27908"/>
                      </a:cubicBezTo>
                      <a:cubicBezTo>
                        <a:pt x="0" y="31433"/>
                        <a:pt x="476" y="34957"/>
                        <a:pt x="3715" y="3743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3" name="Freeform: Shape 382">
                  <a:extLst>
                    <a:ext uri="{FF2B5EF4-FFF2-40B4-BE49-F238E27FC236}">
                      <a16:creationId xmlns:a16="http://schemas.microsoft.com/office/drawing/2014/main" id="{41EFE846-15C8-12E0-46F5-73CDDFEEC194}"/>
                    </a:ext>
                  </a:extLst>
                </p:cNvPr>
                <p:cNvSpPr/>
                <p:nvPr/>
              </p:nvSpPr>
              <p:spPr>
                <a:xfrm>
                  <a:off x="5568410" y="2940748"/>
                  <a:ext cx="82391" cy="112891"/>
                </a:xfrm>
                <a:custGeom>
                  <a:avLst/>
                  <a:gdLst>
                    <a:gd name="connsiteX0" fmla="*/ 82391 w 82391"/>
                    <a:gd name="connsiteY0" fmla="*/ 74962 h 112891"/>
                    <a:gd name="connsiteX1" fmla="*/ 82391 w 82391"/>
                    <a:gd name="connsiteY1" fmla="*/ 74962 h 112891"/>
                    <a:gd name="connsiteX2" fmla="*/ 71533 w 82391"/>
                    <a:gd name="connsiteY2" fmla="*/ 76962 h 112891"/>
                    <a:gd name="connsiteX3" fmla="*/ 60865 w 82391"/>
                    <a:gd name="connsiteY3" fmla="*/ 80010 h 112891"/>
                    <a:gd name="connsiteX4" fmla="*/ 50197 w 82391"/>
                    <a:gd name="connsiteY4" fmla="*/ 83534 h 112891"/>
                    <a:gd name="connsiteX5" fmla="*/ 39529 w 82391"/>
                    <a:gd name="connsiteY5" fmla="*/ 86773 h 112891"/>
                    <a:gd name="connsiteX6" fmla="*/ 33814 w 82391"/>
                    <a:gd name="connsiteY6" fmla="*/ 78772 h 112891"/>
                    <a:gd name="connsiteX7" fmla="*/ 29623 w 82391"/>
                    <a:gd name="connsiteY7" fmla="*/ 68961 h 112891"/>
                    <a:gd name="connsiteX8" fmla="*/ 25622 w 82391"/>
                    <a:gd name="connsiteY8" fmla="*/ 58960 h 112891"/>
                    <a:gd name="connsiteX9" fmla="*/ 21146 w 82391"/>
                    <a:gd name="connsiteY9" fmla="*/ 49435 h 112891"/>
                    <a:gd name="connsiteX10" fmla="*/ 17717 w 82391"/>
                    <a:gd name="connsiteY10" fmla="*/ 39148 h 112891"/>
                    <a:gd name="connsiteX11" fmla="*/ 14764 w 82391"/>
                    <a:gd name="connsiteY11" fmla="*/ 28861 h 112891"/>
                    <a:gd name="connsiteX12" fmla="*/ 9811 w 82391"/>
                    <a:gd name="connsiteY12" fmla="*/ 19336 h 112891"/>
                    <a:gd name="connsiteX13" fmla="*/ 6382 w 82391"/>
                    <a:gd name="connsiteY13" fmla="*/ 9525 h 112891"/>
                    <a:gd name="connsiteX14" fmla="*/ 2191 w 82391"/>
                    <a:gd name="connsiteY14" fmla="*/ 0 h 112891"/>
                    <a:gd name="connsiteX15" fmla="*/ 0 w 82391"/>
                    <a:gd name="connsiteY15" fmla="*/ 10763 h 112891"/>
                    <a:gd name="connsiteX16" fmla="*/ 476 w 82391"/>
                    <a:gd name="connsiteY16" fmla="*/ 22098 h 112891"/>
                    <a:gd name="connsiteX17" fmla="*/ 2191 w 82391"/>
                    <a:gd name="connsiteY17" fmla="*/ 33147 h 112891"/>
                    <a:gd name="connsiteX18" fmla="*/ 4191 w 82391"/>
                    <a:gd name="connsiteY18" fmla="*/ 44196 h 112891"/>
                    <a:gd name="connsiteX19" fmla="*/ 5144 w 82391"/>
                    <a:gd name="connsiteY19" fmla="*/ 55531 h 112891"/>
                    <a:gd name="connsiteX20" fmla="*/ 8096 w 82391"/>
                    <a:gd name="connsiteY20" fmla="*/ 66294 h 112891"/>
                    <a:gd name="connsiteX21" fmla="*/ 11049 w 82391"/>
                    <a:gd name="connsiteY21" fmla="*/ 77057 h 112891"/>
                    <a:gd name="connsiteX22" fmla="*/ 14288 w 82391"/>
                    <a:gd name="connsiteY22" fmla="*/ 87820 h 112891"/>
                    <a:gd name="connsiteX23" fmla="*/ 17526 w 82391"/>
                    <a:gd name="connsiteY23" fmla="*/ 98584 h 112891"/>
                    <a:gd name="connsiteX24" fmla="*/ 22765 w 82391"/>
                    <a:gd name="connsiteY24" fmla="*/ 108585 h 112891"/>
                    <a:gd name="connsiteX25" fmla="*/ 33433 w 82391"/>
                    <a:gd name="connsiteY25" fmla="*/ 111347 h 112891"/>
                    <a:gd name="connsiteX26" fmla="*/ 44101 w 82391"/>
                    <a:gd name="connsiteY26" fmla="*/ 112871 h 112891"/>
                    <a:gd name="connsiteX27" fmla="*/ 54959 w 82391"/>
                    <a:gd name="connsiteY27" fmla="*/ 111824 h 112891"/>
                    <a:gd name="connsiteX28" fmla="*/ 65818 w 82391"/>
                    <a:gd name="connsiteY28" fmla="*/ 109823 h 112891"/>
                    <a:gd name="connsiteX29" fmla="*/ 76486 w 82391"/>
                    <a:gd name="connsiteY29" fmla="*/ 107537 h 112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82391" h="112891">
                      <a:moveTo>
                        <a:pt x="82391" y="74962"/>
                      </a:moveTo>
                      <a:lnTo>
                        <a:pt x="82391" y="74962"/>
                      </a:lnTo>
                      <a:cubicBezTo>
                        <a:pt x="76962" y="76200"/>
                        <a:pt x="77724" y="75724"/>
                        <a:pt x="71533" y="76962"/>
                      </a:cubicBezTo>
                      <a:cubicBezTo>
                        <a:pt x="68294" y="77724"/>
                        <a:pt x="64579" y="78962"/>
                        <a:pt x="60865" y="80010"/>
                      </a:cubicBezTo>
                      <a:cubicBezTo>
                        <a:pt x="57150" y="80772"/>
                        <a:pt x="53721" y="82487"/>
                        <a:pt x="50197" y="83534"/>
                      </a:cubicBezTo>
                      <a:cubicBezTo>
                        <a:pt x="45244" y="85058"/>
                        <a:pt x="40767" y="85534"/>
                        <a:pt x="39529" y="86773"/>
                      </a:cubicBezTo>
                      <a:cubicBezTo>
                        <a:pt x="38767" y="87535"/>
                        <a:pt x="36576" y="84487"/>
                        <a:pt x="33814" y="78772"/>
                      </a:cubicBezTo>
                      <a:cubicBezTo>
                        <a:pt x="32575" y="76009"/>
                        <a:pt x="31052" y="72485"/>
                        <a:pt x="29623" y="68961"/>
                      </a:cubicBezTo>
                      <a:cubicBezTo>
                        <a:pt x="28384" y="65723"/>
                        <a:pt x="27146" y="62389"/>
                        <a:pt x="25622" y="58960"/>
                      </a:cubicBezTo>
                      <a:cubicBezTo>
                        <a:pt x="24384" y="55912"/>
                        <a:pt x="22384" y="52673"/>
                        <a:pt x="21146" y="49435"/>
                      </a:cubicBezTo>
                      <a:cubicBezTo>
                        <a:pt x="19621" y="46196"/>
                        <a:pt x="18955" y="42672"/>
                        <a:pt x="17717" y="39148"/>
                      </a:cubicBezTo>
                      <a:cubicBezTo>
                        <a:pt x="16478" y="35909"/>
                        <a:pt x="16002" y="32099"/>
                        <a:pt x="14764" y="28861"/>
                      </a:cubicBezTo>
                      <a:cubicBezTo>
                        <a:pt x="13525" y="25336"/>
                        <a:pt x="11049" y="22574"/>
                        <a:pt x="9811" y="19336"/>
                      </a:cubicBezTo>
                      <a:cubicBezTo>
                        <a:pt x="8287" y="15811"/>
                        <a:pt x="7334" y="12287"/>
                        <a:pt x="6382" y="9525"/>
                      </a:cubicBezTo>
                      <a:cubicBezTo>
                        <a:pt x="3905" y="3715"/>
                        <a:pt x="2667" y="191"/>
                        <a:pt x="2191" y="0"/>
                      </a:cubicBezTo>
                      <a:cubicBezTo>
                        <a:pt x="952" y="1524"/>
                        <a:pt x="0" y="5239"/>
                        <a:pt x="0" y="10763"/>
                      </a:cubicBezTo>
                      <a:cubicBezTo>
                        <a:pt x="0" y="14002"/>
                        <a:pt x="0" y="17812"/>
                        <a:pt x="476" y="22098"/>
                      </a:cubicBezTo>
                      <a:cubicBezTo>
                        <a:pt x="762" y="25622"/>
                        <a:pt x="1715" y="29146"/>
                        <a:pt x="2191" y="33147"/>
                      </a:cubicBezTo>
                      <a:cubicBezTo>
                        <a:pt x="2667" y="36671"/>
                        <a:pt x="3429" y="40386"/>
                        <a:pt x="4191" y="44196"/>
                      </a:cubicBezTo>
                      <a:cubicBezTo>
                        <a:pt x="4667" y="48006"/>
                        <a:pt x="4477" y="51721"/>
                        <a:pt x="5144" y="55531"/>
                      </a:cubicBezTo>
                      <a:cubicBezTo>
                        <a:pt x="5620" y="59341"/>
                        <a:pt x="7334" y="62770"/>
                        <a:pt x="8096" y="66294"/>
                      </a:cubicBezTo>
                      <a:cubicBezTo>
                        <a:pt x="8858" y="70104"/>
                        <a:pt x="10287" y="73533"/>
                        <a:pt x="11049" y="77057"/>
                      </a:cubicBezTo>
                      <a:cubicBezTo>
                        <a:pt x="12002" y="80867"/>
                        <a:pt x="13049" y="84582"/>
                        <a:pt x="14288" y="87820"/>
                      </a:cubicBezTo>
                      <a:cubicBezTo>
                        <a:pt x="15526" y="91821"/>
                        <a:pt x="16288" y="95631"/>
                        <a:pt x="17526" y="98584"/>
                      </a:cubicBezTo>
                      <a:cubicBezTo>
                        <a:pt x="19526" y="103061"/>
                        <a:pt x="20765" y="106870"/>
                        <a:pt x="22765" y="108585"/>
                      </a:cubicBezTo>
                      <a:cubicBezTo>
                        <a:pt x="25241" y="110871"/>
                        <a:pt x="29242" y="110585"/>
                        <a:pt x="33433" y="111347"/>
                      </a:cubicBezTo>
                      <a:cubicBezTo>
                        <a:pt x="36671" y="111824"/>
                        <a:pt x="40386" y="113062"/>
                        <a:pt x="44101" y="112871"/>
                      </a:cubicBezTo>
                      <a:cubicBezTo>
                        <a:pt x="47815" y="112871"/>
                        <a:pt x="51530" y="112109"/>
                        <a:pt x="54959" y="111824"/>
                      </a:cubicBezTo>
                      <a:cubicBezTo>
                        <a:pt x="58960" y="111347"/>
                        <a:pt x="62675" y="110300"/>
                        <a:pt x="65818" y="109823"/>
                      </a:cubicBezTo>
                      <a:cubicBezTo>
                        <a:pt x="72009" y="108585"/>
                        <a:pt x="71247" y="109061"/>
                        <a:pt x="76486" y="10753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4" name="Freeform: Shape 383">
                  <a:extLst>
                    <a:ext uri="{FF2B5EF4-FFF2-40B4-BE49-F238E27FC236}">
                      <a16:creationId xmlns:a16="http://schemas.microsoft.com/office/drawing/2014/main" id="{FE1701F4-3F9A-176F-0459-32402D7A7544}"/>
                    </a:ext>
                  </a:extLst>
                </p:cNvPr>
                <p:cNvSpPr/>
                <p:nvPr/>
              </p:nvSpPr>
              <p:spPr>
                <a:xfrm>
                  <a:off x="5717666" y="3019425"/>
                  <a:ext cx="76962" cy="169925"/>
                </a:xfrm>
                <a:custGeom>
                  <a:avLst/>
                  <a:gdLst>
                    <a:gd name="connsiteX0" fmla="*/ 8668 w 76962"/>
                    <a:gd name="connsiteY0" fmla="*/ 0 h 169925"/>
                    <a:gd name="connsiteX1" fmla="*/ 8668 w 76962"/>
                    <a:gd name="connsiteY1" fmla="*/ 0 h 169925"/>
                    <a:gd name="connsiteX2" fmla="*/ 15335 w 76962"/>
                    <a:gd name="connsiteY2" fmla="*/ 8001 h 169925"/>
                    <a:gd name="connsiteX3" fmla="*/ 22003 w 76962"/>
                    <a:gd name="connsiteY3" fmla="*/ 16002 h 169925"/>
                    <a:gd name="connsiteX4" fmla="*/ 28670 w 76962"/>
                    <a:gd name="connsiteY4" fmla="*/ 24003 h 169925"/>
                    <a:gd name="connsiteX5" fmla="*/ 34100 w 76962"/>
                    <a:gd name="connsiteY5" fmla="*/ 32766 h 169925"/>
                    <a:gd name="connsiteX6" fmla="*/ 40767 w 76962"/>
                    <a:gd name="connsiteY6" fmla="*/ 40767 h 169925"/>
                    <a:gd name="connsiteX7" fmla="*/ 47720 w 76962"/>
                    <a:gd name="connsiteY7" fmla="*/ 48578 h 169925"/>
                    <a:gd name="connsiteX8" fmla="*/ 53435 w 76962"/>
                    <a:gd name="connsiteY8" fmla="*/ 57626 h 169925"/>
                    <a:gd name="connsiteX9" fmla="*/ 59912 w 76962"/>
                    <a:gd name="connsiteY9" fmla="*/ 65627 h 169925"/>
                    <a:gd name="connsiteX10" fmla="*/ 66104 w 76962"/>
                    <a:gd name="connsiteY10" fmla="*/ 74200 h 169925"/>
                    <a:gd name="connsiteX11" fmla="*/ 71533 w 76962"/>
                    <a:gd name="connsiteY11" fmla="*/ 82963 h 169925"/>
                    <a:gd name="connsiteX12" fmla="*/ 76962 w 76962"/>
                    <a:gd name="connsiteY12" fmla="*/ 91726 h 169925"/>
                    <a:gd name="connsiteX13" fmla="*/ 72485 w 76962"/>
                    <a:gd name="connsiteY13" fmla="*/ 102299 h 169925"/>
                    <a:gd name="connsiteX14" fmla="*/ 67056 w 76962"/>
                    <a:gd name="connsiteY14" fmla="*/ 112586 h 169925"/>
                    <a:gd name="connsiteX15" fmla="*/ 61341 w 76962"/>
                    <a:gd name="connsiteY15" fmla="*/ 122587 h 169925"/>
                    <a:gd name="connsiteX16" fmla="*/ 55912 w 76962"/>
                    <a:gd name="connsiteY16" fmla="*/ 132588 h 169925"/>
                    <a:gd name="connsiteX17" fmla="*/ 50197 w 76962"/>
                    <a:gd name="connsiteY17" fmla="*/ 142589 h 169925"/>
                    <a:gd name="connsiteX18" fmla="*/ 43720 w 76962"/>
                    <a:gd name="connsiteY18" fmla="*/ 152400 h 169925"/>
                    <a:gd name="connsiteX19" fmla="*/ 37052 w 76962"/>
                    <a:gd name="connsiteY19" fmla="*/ 161735 h 169925"/>
                    <a:gd name="connsiteX20" fmla="*/ 29623 w 76962"/>
                    <a:gd name="connsiteY20" fmla="*/ 169736 h 169925"/>
                    <a:gd name="connsiteX21" fmla="*/ 30575 w 76962"/>
                    <a:gd name="connsiteY21" fmla="*/ 160687 h 169925"/>
                    <a:gd name="connsiteX22" fmla="*/ 32290 w 76962"/>
                    <a:gd name="connsiteY22" fmla="*/ 150114 h 169925"/>
                    <a:gd name="connsiteX23" fmla="*/ 35243 w 76962"/>
                    <a:gd name="connsiteY23" fmla="*/ 139541 h 169925"/>
                    <a:gd name="connsiteX24" fmla="*/ 36767 w 76962"/>
                    <a:gd name="connsiteY24" fmla="*/ 128492 h 169925"/>
                    <a:gd name="connsiteX25" fmla="*/ 40958 w 76962"/>
                    <a:gd name="connsiteY25" fmla="*/ 118491 h 169925"/>
                    <a:gd name="connsiteX26" fmla="*/ 43720 w 76962"/>
                    <a:gd name="connsiteY26" fmla="*/ 107918 h 169925"/>
                    <a:gd name="connsiteX27" fmla="*/ 46958 w 76962"/>
                    <a:gd name="connsiteY27" fmla="*/ 97346 h 169925"/>
                    <a:gd name="connsiteX28" fmla="*/ 49435 w 76962"/>
                    <a:gd name="connsiteY28" fmla="*/ 86773 h 169925"/>
                    <a:gd name="connsiteX29" fmla="*/ 42767 w 76962"/>
                    <a:gd name="connsiteY29" fmla="*/ 78962 h 169925"/>
                    <a:gd name="connsiteX30" fmla="*/ 36100 w 76962"/>
                    <a:gd name="connsiteY30" fmla="*/ 71152 h 169925"/>
                    <a:gd name="connsiteX31" fmla="*/ 28670 w 76962"/>
                    <a:gd name="connsiteY31" fmla="*/ 63913 h 169925"/>
                    <a:gd name="connsiteX32" fmla="*/ 21527 w 76962"/>
                    <a:gd name="connsiteY32" fmla="*/ 56674 h 169925"/>
                    <a:gd name="connsiteX33" fmla="*/ 13621 w 76962"/>
                    <a:gd name="connsiteY33" fmla="*/ 49911 h 169925"/>
                    <a:gd name="connsiteX34" fmla="*/ 7715 w 76962"/>
                    <a:gd name="connsiteY34" fmla="*/ 41339 h 169925"/>
                    <a:gd name="connsiteX35" fmla="*/ 0 w 76962"/>
                    <a:gd name="connsiteY35" fmla="*/ 34576 h 169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76962" h="169925">
                      <a:moveTo>
                        <a:pt x="8668" y="0"/>
                      </a:moveTo>
                      <a:lnTo>
                        <a:pt x="8668" y="0"/>
                      </a:lnTo>
                      <a:cubicBezTo>
                        <a:pt x="11906" y="4286"/>
                        <a:pt x="11430" y="3048"/>
                        <a:pt x="15335" y="8001"/>
                      </a:cubicBezTo>
                      <a:cubicBezTo>
                        <a:pt x="17050" y="10287"/>
                        <a:pt x="19526" y="13049"/>
                        <a:pt x="22003" y="16002"/>
                      </a:cubicBezTo>
                      <a:cubicBezTo>
                        <a:pt x="24003" y="18479"/>
                        <a:pt x="26194" y="21050"/>
                        <a:pt x="28670" y="24003"/>
                      </a:cubicBezTo>
                      <a:cubicBezTo>
                        <a:pt x="30671" y="26480"/>
                        <a:pt x="31909" y="30004"/>
                        <a:pt x="34100" y="32766"/>
                      </a:cubicBezTo>
                      <a:cubicBezTo>
                        <a:pt x="36100" y="35528"/>
                        <a:pt x="38576" y="38005"/>
                        <a:pt x="40767" y="40767"/>
                      </a:cubicBezTo>
                      <a:cubicBezTo>
                        <a:pt x="42767" y="43529"/>
                        <a:pt x="45720" y="45815"/>
                        <a:pt x="47720" y="48578"/>
                      </a:cubicBezTo>
                      <a:cubicBezTo>
                        <a:pt x="49911" y="51340"/>
                        <a:pt x="51149" y="54864"/>
                        <a:pt x="53435" y="57626"/>
                      </a:cubicBezTo>
                      <a:cubicBezTo>
                        <a:pt x="55435" y="60389"/>
                        <a:pt x="57912" y="63151"/>
                        <a:pt x="59912" y="65627"/>
                      </a:cubicBezTo>
                      <a:cubicBezTo>
                        <a:pt x="61913" y="68675"/>
                        <a:pt x="64103" y="71438"/>
                        <a:pt x="66104" y="74200"/>
                      </a:cubicBezTo>
                      <a:cubicBezTo>
                        <a:pt x="68294" y="77438"/>
                        <a:pt x="69818" y="80486"/>
                        <a:pt x="71533" y="82963"/>
                      </a:cubicBezTo>
                      <a:cubicBezTo>
                        <a:pt x="74771" y="87725"/>
                        <a:pt x="76962" y="90773"/>
                        <a:pt x="76962" y="91726"/>
                      </a:cubicBezTo>
                      <a:cubicBezTo>
                        <a:pt x="76962" y="92774"/>
                        <a:pt x="75248" y="96774"/>
                        <a:pt x="72485" y="102299"/>
                      </a:cubicBezTo>
                      <a:cubicBezTo>
                        <a:pt x="70961" y="105347"/>
                        <a:pt x="69056" y="108871"/>
                        <a:pt x="67056" y="112586"/>
                      </a:cubicBezTo>
                      <a:cubicBezTo>
                        <a:pt x="65342" y="115633"/>
                        <a:pt x="63341" y="119158"/>
                        <a:pt x="61341" y="122587"/>
                      </a:cubicBezTo>
                      <a:cubicBezTo>
                        <a:pt x="59627" y="125825"/>
                        <a:pt x="57912" y="129350"/>
                        <a:pt x="55912" y="132588"/>
                      </a:cubicBezTo>
                      <a:cubicBezTo>
                        <a:pt x="53912" y="136112"/>
                        <a:pt x="52197" y="139351"/>
                        <a:pt x="50197" y="142589"/>
                      </a:cubicBezTo>
                      <a:cubicBezTo>
                        <a:pt x="48006" y="146114"/>
                        <a:pt x="45720" y="149162"/>
                        <a:pt x="43720" y="152400"/>
                      </a:cubicBezTo>
                      <a:cubicBezTo>
                        <a:pt x="41529" y="155924"/>
                        <a:pt x="39052" y="158972"/>
                        <a:pt x="37052" y="161735"/>
                      </a:cubicBezTo>
                      <a:cubicBezTo>
                        <a:pt x="33623" y="166497"/>
                        <a:pt x="30861" y="169259"/>
                        <a:pt x="29623" y="169736"/>
                      </a:cubicBezTo>
                      <a:cubicBezTo>
                        <a:pt x="27908" y="170783"/>
                        <a:pt x="29337" y="167450"/>
                        <a:pt x="30575" y="160687"/>
                      </a:cubicBezTo>
                      <a:cubicBezTo>
                        <a:pt x="31052" y="157639"/>
                        <a:pt x="31528" y="153924"/>
                        <a:pt x="32290" y="150114"/>
                      </a:cubicBezTo>
                      <a:cubicBezTo>
                        <a:pt x="33242" y="146590"/>
                        <a:pt x="34290" y="143066"/>
                        <a:pt x="35243" y="139541"/>
                      </a:cubicBezTo>
                      <a:cubicBezTo>
                        <a:pt x="36004" y="136017"/>
                        <a:pt x="36004" y="132302"/>
                        <a:pt x="36767" y="128492"/>
                      </a:cubicBezTo>
                      <a:cubicBezTo>
                        <a:pt x="37719" y="124968"/>
                        <a:pt x="40005" y="121920"/>
                        <a:pt x="40958" y="118491"/>
                      </a:cubicBezTo>
                      <a:cubicBezTo>
                        <a:pt x="41910" y="114681"/>
                        <a:pt x="42672" y="111252"/>
                        <a:pt x="43720" y="107918"/>
                      </a:cubicBezTo>
                      <a:cubicBezTo>
                        <a:pt x="44672" y="103918"/>
                        <a:pt x="46196" y="100394"/>
                        <a:pt x="46958" y="97346"/>
                      </a:cubicBezTo>
                      <a:cubicBezTo>
                        <a:pt x="48958" y="91059"/>
                        <a:pt x="51911" y="91821"/>
                        <a:pt x="49435" y="86773"/>
                      </a:cubicBezTo>
                      <a:cubicBezTo>
                        <a:pt x="47244" y="82296"/>
                        <a:pt x="46196" y="82772"/>
                        <a:pt x="42767" y="78962"/>
                      </a:cubicBezTo>
                      <a:cubicBezTo>
                        <a:pt x="39338" y="75152"/>
                        <a:pt x="39529" y="74962"/>
                        <a:pt x="36100" y="71152"/>
                      </a:cubicBezTo>
                      <a:cubicBezTo>
                        <a:pt x="32385" y="67342"/>
                        <a:pt x="32385" y="67628"/>
                        <a:pt x="28670" y="63913"/>
                      </a:cubicBezTo>
                      <a:cubicBezTo>
                        <a:pt x="25241" y="60103"/>
                        <a:pt x="24956" y="60389"/>
                        <a:pt x="21527" y="56674"/>
                      </a:cubicBezTo>
                      <a:cubicBezTo>
                        <a:pt x="18098" y="52864"/>
                        <a:pt x="17335" y="53626"/>
                        <a:pt x="13621" y="49911"/>
                      </a:cubicBezTo>
                      <a:cubicBezTo>
                        <a:pt x="10192" y="46101"/>
                        <a:pt x="11430" y="45148"/>
                        <a:pt x="7715" y="41339"/>
                      </a:cubicBezTo>
                      <a:cubicBezTo>
                        <a:pt x="4286" y="37529"/>
                        <a:pt x="3524" y="38291"/>
                        <a:pt x="0" y="3457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5" name="Freeform: Shape 384">
                  <a:extLst>
                    <a:ext uri="{FF2B5EF4-FFF2-40B4-BE49-F238E27FC236}">
                      <a16:creationId xmlns:a16="http://schemas.microsoft.com/office/drawing/2014/main" id="{6D396398-053F-9BDB-8AD9-E9B988B5E1BD}"/>
                    </a:ext>
                  </a:extLst>
                </p:cNvPr>
                <p:cNvSpPr/>
                <p:nvPr/>
              </p:nvSpPr>
              <p:spPr>
                <a:xfrm>
                  <a:off x="5632189" y="2852279"/>
                  <a:ext cx="120645" cy="163483"/>
                </a:xfrm>
                <a:custGeom>
                  <a:avLst/>
                  <a:gdLst>
                    <a:gd name="connsiteX0" fmla="*/ 120434 w 120645"/>
                    <a:gd name="connsiteY0" fmla="*/ 81611 h 163483"/>
                    <a:gd name="connsiteX1" fmla="*/ 120434 w 120645"/>
                    <a:gd name="connsiteY1" fmla="*/ 81611 h 163483"/>
                    <a:gd name="connsiteX2" fmla="*/ 119958 w 120645"/>
                    <a:gd name="connsiteY2" fmla="*/ 92946 h 163483"/>
                    <a:gd name="connsiteX3" fmla="*/ 118720 w 120645"/>
                    <a:gd name="connsiteY3" fmla="*/ 104281 h 163483"/>
                    <a:gd name="connsiteX4" fmla="*/ 115957 w 120645"/>
                    <a:gd name="connsiteY4" fmla="*/ 115044 h 163483"/>
                    <a:gd name="connsiteX5" fmla="*/ 110719 w 120645"/>
                    <a:gd name="connsiteY5" fmla="*/ 125045 h 163483"/>
                    <a:gd name="connsiteX6" fmla="*/ 105289 w 120645"/>
                    <a:gd name="connsiteY6" fmla="*/ 134856 h 163483"/>
                    <a:gd name="connsiteX7" fmla="*/ 99384 w 120645"/>
                    <a:gd name="connsiteY7" fmla="*/ 144381 h 163483"/>
                    <a:gd name="connsiteX8" fmla="*/ 90716 w 120645"/>
                    <a:gd name="connsiteY8" fmla="*/ 151620 h 163483"/>
                    <a:gd name="connsiteX9" fmla="*/ 81572 w 120645"/>
                    <a:gd name="connsiteY9" fmla="*/ 157906 h 163483"/>
                    <a:gd name="connsiteX10" fmla="*/ 71666 w 120645"/>
                    <a:gd name="connsiteY10" fmla="*/ 162955 h 163483"/>
                    <a:gd name="connsiteX11" fmla="*/ 60236 w 120645"/>
                    <a:gd name="connsiteY11" fmla="*/ 163431 h 163483"/>
                    <a:gd name="connsiteX12" fmla="*/ 49378 w 120645"/>
                    <a:gd name="connsiteY12" fmla="*/ 161431 h 163483"/>
                    <a:gd name="connsiteX13" fmla="*/ 39186 w 120645"/>
                    <a:gd name="connsiteY13" fmla="*/ 157430 h 163483"/>
                    <a:gd name="connsiteX14" fmla="*/ 29566 w 120645"/>
                    <a:gd name="connsiteY14" fmla="*/ 152191 h 163483"/>
                    <a:gd name="connsiteX15" fmla="*/ 22136 w 120645"/>
                    <a:gd name="connsiteY15" fmla="*/ 143905 h 163483"/>
                    <a:gd name="connsiteX16" fmla="*/ 14707 w 120645"/>
                    <a:gd name="connsiteY16" fmla="*/ 135332 h 163483"/>
                    <a:gd name="connsiteX17" fmla="*/ 8992 w 120645"/>
                    <a:gd name="connsiteY17" fmla="*/ 125521 h 163483"/>
                    <a:gd name="connsiteX18" fmla="*/ 5277 w 120645"/>
                    <a:gd name="connsiteY18" fmla="*/ 114949 h 163483"/>
                    <a:gd name="connsiteX19" fmla="*/ 2324 w 120645"/>
                    <a:gd name="connsiteY19" fmla="*/ 103900 h 163483"/>
                    <a:gd name="connsiteX20" fmla="*/ 133 w 120645"/>
                    <a:gd name="connsiteY20" fmla="*/ 92851 h 163483"/>
                    <a:gd name="connsiteX21" fmla="*/ 610 w 120645"/>
                    <a:gd name="connsiteY21" fmla="*/ 81516 h 163483"/>
                    <a:gd name="connsiteX22" fmla="*/ 133 w 120645"/>
                    <a:gd name="connsiteY22" fmla="*/ 70181 h 163483"/>
                    <a:gd name="connsiteX23" fmla="*/ 1848 w 120645"/>
                    <a:gd name="connsiteY23" fmla="*/ 58846 h 163483"/>
                    <a:gd name="connsiteX24" fmla="*/ 5563 w 120645"/>
                    <a:gd name="connsiteY24" fmla="*/ 48274 h 163483"/>
                    <a:gd name="connsiteX25" fmla="*/ 9563 w 120645"/>
                    <a:gd name="connsiteY25" fmla="*/ 37701 h 163483"/>
                    <a:gd name="connsiteX26" fmla="*/ 15278 w 120645"/>
                    <a:gd name="connsiteY26" fmla="*/ 27890 h 163483"/>
                    <a:gd name="connsiteX27" fmla="*/ 21946 w 120645"/>
                    <a:gd name="connsiteY27" fmla="*/ 18841 h 163483"/>
                    <a:gd name="connsiteX28" fmla="*/ 29851 w 120645"/>
                    <a:gd name="connsiteY28" fmla="*/ 11317 h 163483"/>
                    <a:gd name="connsiteX29" fmla="*/ 38805 w 120645"/>
                    <a:gd name="connsiteY29" fmla="*/ 4554 h 163483"/>
                    <a:gd name="connsiteX30" fmla="*/ 49473 w 120645"/>
                    <a:gd name="connsiteY30" fmla="*/ 1506 h 163483"/>
                    <a:gd name="connsiteX31" fmla="*/ 60331 w 120645"/>
                    <a:gd name="connsiteY31" fmla="*/ 268 h 163483"/>
                    <a:gd name="connsiteX32" fmla="*/ 71476 w 120645"/>
                    <a:gd name="connsiteY32" fmla="*/ 553 h 163483"/>
                    <a:gd name="connsiteX33" fmla="*/ 81858 w 120645"/>
                    <a:gd name="connsiteY33" fmla="*/ 4840 h 163483"/>
                    <a:gd name="connsiteX34" fmla="*/ 91288 w 120645"/>
                    <a:gd name="connsiteY34" fmla="*/ 10840 h 163483"/>
                    <a:gd name="connsiteX35" fmla="*/ 99193 w 120645"/>
                    <a:gd name="connsiteY35" fmla="*/ 18841 h 163483"/>
                    <a:gd name="connsiteX36" fmla="*/ 106623 w 120645"/>
                    <a:gd name="connsiteY36" fmla="*/ 27414 h 163483"/>
                    <a:gd name="connsiteX37" fmla="*/ 111290 w 120645"/>
                    <a:gd name="connsiteY37" fmla="*/ 37701 h 163483"/>
                    <a:gd name="connsiteX38" fmla="*/ 115481 w 120645"/>
                    <a:gd name="connsiteY38" fmla="*/ 47988 h 163483"/>
                    <a:gd name="connsiteX39" fmla="*/ 118910 w 120645"/>
                    <a:gd name="connsiteY39" fmla="*/ 58751 h 163483"/>
                    <a:gd name="connsiteX40" fmla="*/ 120434 w 120645"/>
                    <a:gd name="connsiteY40" fmla="*/ 70086 h 163483"/>
                    <a:gd name="connsiteX41" fmla="*/ 120434 w 120645"/>
                    <a:gd name="connsiteY41" fmla="*/ 81611 h 163483"/>
                    <a:gd name="connsiteX42" fmla="*/ 120434 w 120645"/>
                    <a:gd name="connsiteY42" fmla="*/ 81611 h 163483"/>
                    <a:gd name="connsiteX43" fmla="*/ 120434 w 120645"/>
                    <a:gd name="connsiteY43" fmla="*/ 81611 h 163483"/>
                    <a:gd name="connsiteX44" fmla="*/ 120434 w 120645"/>
                    <a:gd name="connsiteY44" fmla="*/ 81611 h 163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645" h="163483">
                      <a:moveTo>
                        <a:pt x="120434" y="81611"/>
                      </a:moveTo>
                      <a:lnTo>
                        <a:pt x="120434" y="81611"/>
                      </a:lnTo>
                      <a:cubicBezTo>
                        <a:pt x="120434" y="85421"/>
                        <a:pt x="120434" y="89136"/>
                        <a:pt x="119958" y="92946"/>
                      </a:cubicBezTo>
                      <a:cubicBezTo>
                        <a:pt x="119672" y="96756"/>
                        <a:pt x="119482" y="100471"/>
                        <a:pt x="118720" y="104281"/>
                      </a:cubicBezTo>
                      <a:cubicBezTo>
                        <a:pt x="117958" y="108091"/>
                        <a:pt x="117005" y="111520"/>
                        <a:pt x="115957" y="115044"/>
                      </a:cubicBezTo>
                      <a:cubicBezTo>
                        <a:pt x="114719" y="118854"/>
                        <a:pt x="112243" y="121807"/>
                        <a:pt x="110719" y="125045"/>
                      </a:cubicBezTo>
                      <a:cubicBezTo>
                        <a:pt x="109004" y="128569"/>
                        <a:pt x="107290" y="131808"/>
                        <a:pt x="105289" y="134856"/>
                      </a:cubicBezTo>
                      <a:cubicBezTo>
                        <a:pt x="103099" y="138094"/>
                        <a:pt x="101860" y="141619"/>
                        <a:pt x="99384" y="144381"/>
                      </a:cubicBezTo>
                      <a:cubicBezTo>
                        <a:pt x="96907" y="147429"/>
                        <a:pt x="93669" y="149429"/>
                        <a:pt x="90716" y="151620"/>
                      </a:cubicBezTo>
                      <a:cubicBezTo>
                        <a:pt x="87763" y="153906"/>
                        <a:pt x="84811" y="156097"/>
                        <a:pt x="81572" y="157906"/>
                      </a:cubicBezTo>
                      <a:cubicBezTo>
                        <a:pt x="78334" y="159621"/>
                        <a:pt x="75095" y="161907"/>
                        <a:pt x="71666" y="162955"/>
                      </a:cubicBezTo>
                      <a:cubicBezTo>
                        <a:pt x="67951" y="163717"/>
                        <a:pt x="64237" y="163431"/>
                        <a:pt x="60236" y="163431"/>
                      </a:cubicBezTo>
                      <a:cubicBezTo>
                        <a:pt x="56521" y="163431"/>
                        <a:pt x="53092" y="162383"/>
                        <a:pt x="49378" y="161431"/>
                      </a:cubicBezTo>
                      <a:cubicBezTo>
                        <a:pt x="45949" y="160669"/>
                        <a:pt x="42424" y="159145"/>
                        <a:pt x="39186" y="157430"/>
                      </a:cubicBezTo>
                      <a:cubicBezTo>
                        <a:pt x="35947" y="155906"/>
                        <a:pt x="32518" y="154382"/>
                        <a:pt x="29566" y="152191"/>
                      </a:cubicBezTo>
                      <a:cubicBezTo>
                        <a:pt x="26613" y="149905"/>
                        <a:pt x="24613" y="146667"/>
                        <a:pt x="22136" y="143905"/>
                      </a:cubicBezTo>
                      <a:cubicBezTo>
                        <a:pt x="19660" y="141142"/>
                        <a:pt x="16897" y="138380"/>
                        <a:pt x="14707" y="135332"/>
                      </a:cubicBezTo>
                      <a:cubicBezTo>
                        <a:pt x="12706" y="132094"/>
                        <a:pt x="10706" y="129046"/>
                        <a:pt x="8992" y="125521"/>
                      </a:cubicBezTo>
                      <a:cubicBezTo>
                        <a:pt x="7468" y="122283"/>
                        <a:pt x="6515" y="118473"/>
                        <a:pt x="5277" y="114949"/>
                      </a:cubicBezTo>
                      <a:cubicBezTo>
                        <a:pt x="4039" y="111424"/>
                        <a:pt x="3086" y="107710"/>
                        <a:pt x="2324" y="103900"/>
                      </a:cubicBezTo>
                      <a:cubicBezTo>
                        <a:pt x="1562" y="100375"/>
                        <a:pt x="610" y="96661"/>
                        <a:pt x="133" y="92851"/>
                      </a:cubicBezTo>
                      <a:cubicBezTo>
                        <a:pt x="-152" y="89041"/>
                        <a:pt x="610" y="85326"/>
                        <a:pt x="610" y="81516"/>
                      </a:cubicBezTo>
                      <a:cubicBezTo>
                        <a:pt x="610" y="77706"/>
                        <a:pt x="-343" y="73705"/>
                        <a:pt x="133" y="70181"/>
                      </a:cubicBezTo>
                      <a:cubicBezTo>
                        <a:pt x="419" y="66371"/>
                        <a:pt x="1086" y="62656"/>
                        <a:pt x="1848" y="58846"/>
                      </a:cubicBezTo>
                      <a:cubicBezTo>
                        <a:pt x="2610" y="55036"/>
                        <a:pt x="4610" y="51798"/>
                        <a:pt x="5563" y="48274"/>
                      </a:cubicBezTo>
                      <a:cubicBezTo>
                        <a:pt x="6801" y="44464"/>
                        <a:pt x="8039" y="41035"/>
                        <a:pt x="9563" y="37701"/>
                      </a:cubicBezTo>
                      <a:cubicBezTo>
                        <a:pt x="11278" y="34177"/>
                        <a:pt x="13278" y="31129"/>
                        <a:pt x="15278" y="27890"/>
                      </a:cubicBezTo>
                      <a:cubicBezTo>
                        <a:pt x="17278" y="24842"/>
                        <a:pt x="19469" y="21604"/>
                        <a:pt x="21946" y="18841"/>
                      </a:cubicBezTo>
                      <a:cubicBezTo>
                        <a:pt x="24422" y="16079"/>
                        <a:pt x="26899" y="13603"/>
                        <a:pt x="29851" y="11317"/>
                      </a:cubicBezTo>
                      <a:cubicBezTo>
                        <a:pt x="32804" y="8840"/>
                        <a:pt x="35566" y="6268"/>
                        <a:pt x="38805" y="4554"/>
                      </a:cubicBezTo>
                      <a:cubicBezTo>
                        <a:pt x="42234" y="3030"/>
                        <a:pt x="45949" y="2268"/>
                        <a:pt x="49473" y="1506"/>
                      </a:cubicBezTo>
                      <a:cubicBezTo>
                        <a:pt x="53188" y="458"/>
                        <a:pt x="56617" y="268"/>
                        <a:pt x="60331" y="268"/>
                      </a:cubicBezTo>
                      <a:cubicBezTo>
                        <a:pt x="64332" y="268"/>
                        <a:pt x="68047" y="-494"/>
                        <a:pt x="71476" y="553"/>
                      </a:cubicBezTo>
                      <a:cubicBezTo>
                        <a:pt x="75190" y="1315"/>
                        <a:pt x="78429" y="3030"/>
                        <a:pt x="81858" y="4840"/>
                      </a:cubicBezTo>
                      <a:cubicBezTo>
                        <a:pt x="85096" y="6554"/>
                        <a:pt x="88335" y="8650"/>
                        <a:pt x="91288" y="10840"/>
                      </a:cubicBezTo>
                      <a:cubicBezTo>
                        <a:pt x="94050" y="13126"/>
                        <a:pt x="96717" y="15889"/>
                        <a:pt x="99193" y="18841"/>
                      </a:cubicBezTo>
                      <a:cubicBezTo>
                        <a:pt x="101670" y="21318"/>
                        <a:pt x="104432" y="24080"/>
                        <a:pt x="106623" y="27414"/>
                      </a:cubicBezTo>
                      <a:cubicBezTo>
                        <a:pt x="108623" y="30462"/>
                        <a:pt x="109576" y="34177"/>
                        <a:pt x="111290" y="37701"/>
                      </a:cubicBezTo>
                      <a:cubicBezTo>
                        <a:pt x="112814" y="40939"/>
                        <a:pt x="114243" y="44464"/>
                        <a:pt x="115481" y="47988"/>
                      </a:cubicBezTo>
                      <a:cubicBezTo>
                        <a:pt x="116719" y="51512"/>
                        <a:pt x="117958" y="55036"/>
                        <a:pt x="118910" y="58751"/>
                      </a:cubicBezTo>
                      <a:cubicBezTo>
                        <a:pt x="119672" y="62561"/>
                        <a:pt x="120148" y="66276"/>
                        <a:pt x="120434" y="70086"/>
                      </a:cubicBezTo>
                      <a:cubicBezTo>
                        <a:pt x="120910" y="74086"/>
                        <a:pt x="120434" y="77801"/>
                        <a:pt x="120434" y="81611"/>
                      </a:cubicBezTo>
                      <a:lnTo>
                        <a:pt x="120434" y="81611"/>
                      </a:lnTo>
                      <a:lnTo>
                        <a:pt x="120434" y="81611"/>
                      </a:lnTo>
                      <a:lnTo>
                        <a:pt x="120434" y="81611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844FD3F0-29F5-D25A-4FA1-030F1585074A}"/>
                    </a:ext>
                  </a:extLst>
                </p:cNvPr>
                <p:cNvSpPr/>
                <p:nvPr/>
              </p:nvSpPr>
              <p:spPr>
                <a:xfrm>
                  <a:off x="5252370" y="2942177"/>
                  <a:ext cx="153866" cy="166236"/>
                </a:xfrm>
                <a:custGeom>
                  <a:avLst/>
                  <a:gdLst>
                    <a:gd name="connsiteX0" fmla="*/ 45529 w 153866"/>
                    <a:gd name="connsiteY0" fmla="*/ 0 h 166236"/>
                    <a:gd name="connsiteX1" fmla="*/ 45529 w 153866"/>
                    <a:gd name="connsiteY1" fmla="*/ 0 h 166236"/>
                    <a:gd name="connsiteX2" fmla="*/ 41529 w 153866"/>
                    <a:gd name="connsiteY2" fmla="*/ 9811 h 166236"/>
                    <a:gd name="connsiteX3" fmla="*/ 36290 w 153866"/>
                    <a:gd name="connsiteY3" fmla="*/ 19145 h 166236"/>
                    <a:gd name="connsiteX4" fmla="*/ 31623 w 153866"/>
                    <a:gd name="connsiteY4" fmla="*/ 28480 h 166236"/>
                    <a:gd name="connsiteX5" fmla="*/ 27432 w 153866"/>
                    <a:gd name="connsiteY5" fmla="*/ 38290 h 166236"/>
                    <a:gd name="connsiteX6" fmla="*/ 23241 w 153866"/>
                    <a:gd name="connsiteY6" fmla="*/ 47815 h 166236"/>
                    <a:gd name="connsiteX7" fmla="*/ 19526 w 153866"/>
                    <a:gd name="connsiteY7" fmla="*/ 57626 h 166236"/>
                    <a:gd name="connsiteX8" fmla="*/ 15335 w 153866"/>
                    <a:gd name="connsiteY8" fmla="*/ 67437 h 166236"/>
                    <a:gd name="connsiteX9" fmla="*/ 11335 w 153866"/>
                    <a:gd name="connsiteY9" fmla="*/ 77248 h 166236"/>
                    <a:gd name="connsiteX10" fmla="*/ 7906 w 153866"/>
                    <a:gd name="connsiteY10" fmla="*/ 87249 h 166236"/>
                    <a:gd name="connsiteX11" fmla="*/ 4667 w 153866"/>
                    <a:gd name="connsiteY11" fmla="*/ 97250 h 166236"/>
                    <a:gd name="connsiteX12" fmla="*/ 2191 w 153866"/>
                    <a:gd name="connsiteY12" fmla="*/ 107537 h 166236"/>
                    <a:gd name="connsiteX13" fmla="*/ 0 w 153866"/>
                    <a:gd name="connsiteY13" fmla="*/ 117824 h 166236"/>
                    <a:gd name="connsiteX14" fmla="*/ 3239 w 153866"/>
                    <a:gd name="connsiteY14" fmla="*/ 128111 h 166236"/>
                    <a:gd name="connsiteX15" fmla="*/ 12192 w 153866"/>
                    <a:gd name="connsiteY15" fmla="*/ 133350 h 166236"/>
                    <a:gd name="connsiteX16" fmla="*/ 21336 w 153866"/>
                    <a:gd name="connsiteY16" fmla="*/ 138589 h 166236"/>
                    <a:gd name="connsiteX17" fmla="*/ 31528 w 153866"/>
                    <a:gd name="connsiteY17" fmla="*/ 141351 h 166236"/>
                    <a:gd name="connsiteX18" fmla="*/ 40957 w 153866"/>
                    <a:gd name="connsiteY18" fmla="*/ 146114 h 166236"/>
                    <a:gd name="connsiteX19" fmla="*/ 51340 w 153866"/>
                    <a:gd name="connsiteY19" fmla="*/ 147828 h 166236"/>
                    <a:gd name="connsiteX20" fmla="*/ 60960 w 153866"/>
                    <a:gd name="connsiteY20" fmla="*/ 152114 h 166236"/>
                    <a:gd name="connsiteX21" fmla="*/ 71342 w 153866"/>
                    <a:gd name="connsiteY21" fmla="*/ 153829 h 166236"/>
                    <a:gd name="connsiteX22" fmla="*/ 81248 w 153866"/>
                    <a:gd name="connsiteY22" fmla="*/ 156877 h 166236"/>
                    <a:gd name="connsiteX23" fmla="*/ 91630 w 153866"/>
                    <a:gd name="connsiteY23" fmla="*/ 158877 h 166236"/>
                    <a:gd name="connsiteX24" fmla="*/ 101822 w 153866"/>
                    <a:gd name="connsiteY24" fmla="*/ 161639 h 166236"/>
                    <a:gd name="connsiteX25" fmla="*/ 112014 w 153866"/>
                    <a:gd name="connsiteY25" fmla="*/ 163925 h 166236"/>
                    <a:gd name="connsiteX26" fmla="*/ 122396 w 153866"/>
                    <a:gd name="connsiteY26" fmla="*/ 165449 h 166236"/>
                    <a:gd name="connsiteX27" fmla="*/ 133064 w 153866"/>
                    <a:gd name="connsiteY27" fmla="*/ 165735 h 166236"/>
                    <a:gd name="connsiteX28" fmla="*/ 143447 w 153866"/>
                    <a:gd name="connsiteY28" fmla="*/ 166211 h 166236"/>
                    <a:gd name="connsiteX29" fmla="*/ 153352 w 153866"/>
                    <a:gd name="connsiteY29" fmla="*/ 165164 h 166236"/>
                    <a:gd name="connsiteX30" fmla="*/ 146685 w 153866"/>
                    <a:gd name="connsiteY30" fmla="*/ 157925 h 166236"/>
                    <a:gd name="connsiteX31" fmla="*/ 137065 w 153866"/>
                    <a:gd name="connsiteY31" fmla="*/ 152876 h 166236"/>
                    <a:gd name="connsiteX32" fmla="*/ 126873 w 153866"/>
                    <a:gd name="connsiteY32" fmla="*/ 148590 h 166236"/>
                    <a:gd name="connsiteX33" fmla="*/ 116967 w 153866"/>
                    <a:gd name="connsiteY33" fmla="*/ 143828 h 166236"/>
                    <a:gd name="connsiteX34" fmla="*/ 106775 w 153866"/>
                    <a:gd name="connsiteY34" fmla="*/ 139351 h 166236"/>
                    <a:gd name="connsiteX35" fmla="*/ 96393 w 153866"/>
                    <a:gd name="connsiteY35" fmla="*/ 136112 h 166236"/>
                    <a:gd name="connsiteX36" fmla="*/ 86011 w 153866"/>
                    <a:gd name="connsiteY36" fmla="*/ 132588 h 166236"/>
                    <a:gd name="connsiteX37" fmla="*/ 75628 w 153866"/>
                    <a:gd name="connsiteY37" fmla="*/ 129064 h 166236"/>
                    <a:gd name="connsiteX38" fmla="*/ 65246 w 153866"/>
                    <a:gd name="connsiteY38" fmla="*/ 125254 h 166236"/>
                    <a:gd name="connsiteX39" fmla="*/ 54864 w 153866"/>
                    <a:gd name="connsiteY39" fmla="*/ 121444 h 166236"/>
                    <a:gd name="connsiteX40" fmla="*/ 44672 w 153866"/>
                    <a:gd name="connsiteY40" fmla="*/ 117443 h 166236"/>
                    <a:gd name="connsiteX41" fmla="*/ 34480 w 153866"/>
                    <a:gd name="connsiteY41" fmla="*/ 114395 h 166236"/>
                    <a:gd name="connsiteX42" fmla="*/ 38481 w 153866"/>
                    <a:gd name="connsiteY42" fmla="*/ 104585 h 166236"/>
                    <a:gd name="connsiteX43" fmla="*/ 42196 w 153866"/>
                    <a:gd name="connsiteY43" fmla="*/ 94583 h 166236"/>
                    <a:gd name="connsiteX44" fmla="*/ 45148 w 153866"/>
                    <a:gd name="connsiteY44" fmla="*/ 84296 h 166236"/>
                    <a:gd name="connsiteX45" fmla="*/ 48387 w 153866"/>
                    <a:gd name="connsiteY45" fmla="*/ 74009 h 166236"/>
                    <a:gd name="connsiteX46" fmla="*/ 53340 w 153866"/>
                    <a:gd name="connsiteY46" fmla="*/ 64484 h 166236"/>
                    <a:gd name="connsiteX47" fmla="*/ 55817 w 153866"/>
                    <a:gd name="connsiteY47" fmla="*/ 53911 h 166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53866" h="166236">
                      <a:moveTo>
                        <a:pt x="45529" y="0"/>
                      </a:moveTo>
                      <a:lnTo>
                        <a:pt x="45529" y="0"/>
                      </a:lnTo>
                      <a:cubicBezTo>
                        <a:pt x="44005" y="2476"/>
                        <a:pt x="43339" y="6286"/>
                        <a:pt x="41529" y="9811"/>
                      </a:cubicBezTo>
                      <a:cubicBezTo>
                        <a:pt x="40005" y="12573"/>
                        <a:pt x="38100" y="15621"/>
                        <a:pt x="36290" y="19145"/>
                      </a:cubicBezTo>
                      <a:cubicBezTo>
                        <a:pt x="34766" y="22193"/>
                        <a:pt x="33338" y="25146"/>
                        <a:pt x="31623" y="28480"/>
                      </a:cubicBezTo>
                      <a:cubicBezTo>
                        <a:pt x="30099" y="31528"/>
                        <a:pt x="28861" y="35052"/>
                        <a:pt x="27432" y="38290"/>
                      </a:cubicBezTo>
                      <a:cubicBezTo>
                        <a:pt x="25908" y="41338"/>
                        <a:pt x="24479" y="44577"/>
                        <a:pt x="23241" y="47815"/>
                      </a:cubicBezTo>
                      <a:cubicBezTo>
                        <a:pt x="21717" y="51054"/>
                        <a:pt x="20765" y="54388"/>
                        <a:pt x="19526" y="57626"/>
                      </a:cubicBezTo>
                      <a:cubicBezTo>
                        <a:pt x="18002" y="60865"/>
                        <a:pt x="16573" y="64198"/>
                        <a:pt x="15335" y="67437"/>
                      </a:cubicBezTo>
                      <a:cubicBezTo>
                        <a:pt x="13811" y="70675"/>
                        <a:pt x="12573" y="74009"/>
                        <a:pt x="11335" y="77248"/>
                      </a:cubicBezTo>
                      <a:cubicBezTo>
                        <a:pt x="10096" y="80772"/>
                        <a:pt x="8858" y="84010"/>
                        <a:pt x="7906" y="87249"/>
                      </a:cubicBezTo>
                      <a:cubicBezTo>
                        <a:pt x="6667" y="90773"/>
                        <a:pt x="5429" y="94012"/>
                        <a:pt x="4667" y="97250"/>
                      </a:cubicBezTo>
                      <a:cubicBezTo>
                        <a:pt x="3715" y="100774"/>
                        <a:pt x="2667" y="104299"/>
                        <a:pt x="2191" y="107537"/>
                      </a:cubicBezTo>
                      <a:cubicBezTo>
                        <a:pt x="1238" y="111347"/>
                        <a:pt x="191" y="114776"/>
                        <a:pt x="0" y="117824"/>
                      </a:cubicBezTo>
                      <a:cubicBezTo>
                        <a:pt x="0" y="122301"/>
                        <a:pt x="1238" y="125825"/>
                        <a:pt x="3239" y="128111"/>
                      </a:cubicBezTo>
                      <a:cubicBezTo>
                        <a:pt x="4953" y="129826"/>
                        <a:pt x="8192" y="131159"/>
                        <a:pt x="12192" y="133350"/>
                      </a:cubicBezTo>
                      <a:cubicBezTo>
                        <a:pt x="14954" y="134588"/>
                        <a:pt x="17621" y="137160"/>
                        <a:pt x="21336" y="138589"/>
                      </a:cubicBezTo>
                      <a:cubicBezTo>
                        <a:pt x="24289" y="139827"/>
                        <a:pt x="27813" y="140113"/>
                        <a:pt x="31528" y="141351"/>
                      </a:cubicBezTo>
                      <a:cubicBezTo>
                        <a:pt x="34480" y="142589"/>
                        <a:pt x="37433" y="145161"/>
                        <a:pt x="40957" y="146114"/>
                      </a:cubicBezTo>
                      <a:cubicBezTo>
                        <a:pt x="44196" y="147161"/>
                        <a:pt x="47911" y="146875"/>
                        <a:pt x="51340" y="147828"/>
                      </a:cubicBezTo>
                      <a:cubicBezTo>
                        <a:pt x="54578" y="148876"/>
                        <a:pt x="57531" y="151067"/>
                        <a:pt x="60960" y="152114"/>
                      </a:cubicBezTo>
                      <a:cubicBezTo>
                        <a:pt x="64198" y="152876"/>
                        <a:pt x="67913" y="153162"/>
                        <a:pt x="71342" y="153829"/>
                      </a:cubicBezTo>
                      <a:cubicBezTo>
                        <a:pt x="74581" y="154877"/>
                        <a:pt x="77819" y="156115"/>
                        <a:pt x="81248" y="156877"/>
                      </a:cubicBezTo>
                      <a:cubicBezTo>
                        <a:pt x="84677" y="157925"/>
                        <a:pt x="88201" y="158115"/>
                        <a:pt x="91630" y="158877"/>
                      </a:cubicBezTo>
                      <a:cubicBezTo>
                        <a:pt x="95059" y="159639"/>
                        <a:pt x="98298" y="161163"/>
                        <a:pt x="101822" y="161639"/>
                      </a:cubicBezTo>
                      <a:cubicBezTo>
                        <a:pt x="105251" y="162401"/>
                        <a:pt x="108775" y="163354"/>
                        <a:pt x="112014" y="163925"/>
                      </a:cubicBezTo>
                      <a:cubicBezTo>
                        <a:pt x="115729" y="164402"/>
                        <a:pt x="119158" y="164973"/>
                        <a:pt x="122396" y="165449"/>
                      </a:cubicBezTo>
                      <a:cubicBezTo>
                        <a:pt x="126111" y="165926"/>
                        <a:pt x="129826" y="165449"/>
                        <a:pt x="133064" y="165735"/>
                      </a:cubicBezTo>
                      <a:cubicBezTo>
                        <a:pt x="136779" y="166211"/>
                        <a:pt x="140208" y="166211"/>
                        <a:pt x="143447" y="166211"/>
                      </a:cubicBezTo>
                      <a:cubicBezTo>
                        <a:pt x="148685" y="166211"/>
                        <a:pt x="152114" y="166497"/>
                        <a:pt x="153352" y="165164"/>
                      </a:cubicBezTo>
                      <a:cubicBezTo>
                        <a:pt x="155067" y="163640"/>
                        <a:pt x="152400" y="161163"/>
                        <a:pt x="146685" y="157925"/>
                      </a:cubicBezTo>
                      <a:cubicBezTo>
                        <a:pt x="143923" y="156401"/>
                        <a:pt x="140779" y="154686"/>
                        <a:pt x="137065" y="152876"/>
                      </a:cubicBezTo>
                      <a:cubicBezTo>
                        <a:pt x="133826" y="151352"/>
                        <a:pt x="130588" y="150114"/>
                        <a:pt x="126873" y="148590"/>
                      </a:cubicBezTo>
                      <a:cubicBezTo>
                        <a:pt x="123634" y="147066"/>
                        <a:pt x="120396" y="145352"/>
                        <a:pt x="116967" y="143828"/>
                      </a:cubicBezTo>
                      <a:cubicBezTo>
                        <a:pt x="113538" y="142589"/>
                        <a:pt x="110299" y="140589"/>
                        <a:pt x="106775" y="139351"/>
                      </a:cubicBezTo>
                      <a:cubicBezTo>
                        <a:pt x="103537" y="138112"/>
                        <a:pt x="99822" y="137350"/>
                        <a:pt x="96393" y="136112"/>
                      </a:cubicBezTo>
                      <a:cubicBezTo>
                        <a:pt x="92964" y="134874"/>
                        <a:pt x="89440" y="133826"/>
                        <a:pt x="86011" y="132588"/>
                      </a:cubicBezTo>
                      <a:cubicBezTo>
                        <a:pt x="82582" y="131350"/>
                        <a:pt x="79057" y="130302"/>
                        <a:pt x="75628" y="129064"/>
                      </a:cubicBezTo>
                      <a:cubicBezTo>
                        <a:pt x="71914" y="127825"/>
                        <a:pt x="68675" y="126587"/>
                        <a:pt x="65246" y="125254"/>
                      </a:cubicBezTo>
                      <a:cubicBezTo>
                        <a:pt x="61531" y="124015"/>
                        <a:pt x="58102" y="122492"/>
                        <a:pt x="54864" y="121444"/>
                      </a:cubicBezTo>
                      <a:cubicBezTo>
                        <a:pt x="51149" y="120206"/>
                        <a:pt x="47720" y="118396"/>
                        <a:pt x="44672" y="117443"/>
                      </a:cubicBezTo>
                      <a:cubicBezTo>
                        <a:pt x="38195" y="115157"/>
                        <a:pt x="34480" y="120206"/>
                        <a:pt x="34480" y="114395"/>
                      </a:cubicBezTo>
                      <a:cubicBezTo>
                        <a:pt x="34195" y="109157"/>
                        <a:pt x="36481" y="109633"/>
                        <a:pt x="38481" y="104585"/>
                      </a:cubicBezTo>
                      <a:cubicBezTo>
                        <a:pt x="40196" y="99536"/>
                        <a:pt x="40196" y="99536"/>
                        <a:pt x="42196" y="94583"/>
                      </a:cubicBezTo>
                      <a:cubicBezTo>
                        <a:pt x="43910" y="89535"/>
                        <a:pt x="43434" y="89345"/>
                        <a:pt x="45148" y="84296"/>
                      </a:cubicBezTo>
                      <a:cubicBezTo>
                        <a:pt x="47149" y="79248"/>
                        <a:pt x="46387" y="79058"/>
                        <a:pt x="48387" y="74009"/>
                      </a:cubicBezTo>
                      <a:cubicBezTo>
                        <a:pt x="50101" y="68961"/>
                        <a:pt x="51625" y="69533"/>
                        <a:pt x="53340" y="64484"/>
                      </a:cubicBezTo>
                      <a:cubicBezTo>
                        <a:pt x="55340" y="59436"/>
                        <a:pt x="54102" y="58960"/>
                        <a:pt x="55817" y="53911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BCF562B0-F7D8-7C35-BF06-1370F61CA53F}"/>
                    </a:ext>
                  </a:extLst>
                </p:cNvPr>
                <p:cNvSpPr/>
                <p:nvPr/>
              </p:nvSpPr>
              <p:spPr>
                <a:xfrm>
                  <a:off x="5275365" y="3081623"/>
                  <a:ext cx="103989" cy="258226"/>
                </a:xfrm>
                <a:custGeom>
                  <a:avLst/>
                  <a:gdLst>
                    <a:gd name="connsiteX0" fmla="*/ 2247 w 103989"/>
                    <a:gd name="connsiteY0" fmla="*/ 55340 h 258226"/>
                    <a:gd name="connsiteX1" fmla="*/ 2247 w 103989"/>
                    <a:gd name="connsiteY1" fmla="*/ 55340 h 258226"/>
                    <a:gd name="connsiteX2" fmla="*/ 3961 w 103989"/>
                    <a:gd name="connsiteY2" fmla="*/ 66104 h 258226"/>
                    <a:gd name="connsiteX3" fmla="*/ 7200 w 103989"/>
                    <a:gd name="connsiteY3" fmla="*/ 76390 h 258226"/>
                    <a:gd name="connsiteX4" fmla="*/ 9200 w 103989"/>
                    <a:gd name="connsiteY4" fmla="*/ 87154 h 258226"/>
                    <a:gd name="connsiteX5" fmla="*/ 11391 w 103989"/>
                    <a:gd name="connsiteY5" fmla="*/ 97727 h 258226"/>
                    <a:gd name="connsiteX6" fmla="*/ 13582 w 103989"/>
                    <a:gd name="connsiteY6" fmla="*/ 108490 h 258226"/>
                    <a:gd name="connsiteX7" fmla="*/ 16344 w 103989"/>
                    <a:gd name="connsiteY7" fmla="*/ 118777 h 258226"/>
                    <a:gd name="connsiteX8" fmla="*/ 17868 w 103989"/>
                    <a:gd name="connsiteY8" fmla="*/ 129540 h 258226"/>
                    <a:gd name="connsiteX9" fmla="*/ 20344 w 103989"/>
                    <a:gd name="connsiteY9" fmla="*/ 140303 h 258226"/>
                    <a:gd name="connsiteX10" fmla="*/ 24059 w 103989"/>
                    <a:gd name="connsiteY10" fmla="*/ 150590 h 258226"/>
                    <a:gd name="connsiteX11" fmla="*/ 26536 w 103989"/>
                    <a:gd name="connsiteY11" fmla="*/ 161163 h 258226"/>
                    <a:gd name="connsiteX12" fmla="*/ 29012 w 103989"/>
                    <a:gd name="connsiteY12" fmla="*/ 171736 h 258226"/>
                    <a:gd name="connsiteX13" fmla="*/ 30727 w 103989"/>
                    <a:gd name="connsiteY13" fmla="*/ 182499 h 258226"/>
                    <a:gd name="connsiteX14" fmla="*/ 33203 w 103989"/>
                    <a:gd name="connsiteY14" fmla="*/ 193072 h 258226"/>
                    <a:gd name="connsiteX15" fmla="*/ 35680 w 103989"/>
                    <a:gd name="connsiteY15" fmla="*/ 203644 h 258226"/>
                    <a:gd name="connsiteX16" fmla="*/ 37680 w 103989"/>
                    <a:gd name="connsiteY16" fmla="*/ 214408 h 258226"/>
                    <a:gd name="connsiteX17" fmla="*/ 40918 w 103989"/>
                    <a:gd name="connsiteY17" fmla="*/ 224695 h 258226"/>
                    <a:gd name="connsiteX18" fmla="*/ 42633 w 103989"/>
                    <a:gd name="connsiteY18" fmla="*/ 235458 h 258226"/>
                    <a:gd name="connsiteX19" fmla="*/ 45871 w 103989"/>
                    <a:gd name="connsiteY19" fmla="*/ 246031 h 258226"/>
                    <a:gd name="connsiteX20" fmla="*/ 47872 w 103989"/>
                    <a:gd name="connsiteY20" fmla="*/ 256794 h 258226"/>
                    <a:gd name="connsiteX21" fmla="*/ 56825 w 103989"/>
                    <a:gd name="connsiteY21" fmla="*/ 257080 h 258226"/>
                    <a:gd name="connsiteX22" fmla="*/ 65493 w 103989"/>
                    <a:gd name="connsiteY22" fmla="*/ 256318 h 258226"/>
                    <a:gd name="connsiteX23" fmla="*/ 67207 w 103989"/>
                    <a:gd name="connsiteY23" fmla="*/ 246031 h 258226"/>
                    <a:gd name="connsiteX24" fmla="*/ 69684 w 103989"/>
                    <a:gd name="connsiteY24" fmla="*/ 235458 h 258226"/>
                    <a:gd name="connsiteX25" fmla="*/ 71684 w 103989"/>
                    <a:gd name="connsiteY25" fmla="*/ 224695 h 258226"/>
                    <a:gd name="connsiteX26" fmla="*/ 73684 w 103989"/>
                    <a:gd name="connsiteY26" fmla="*/ 214122 h 258226"/>
                    <a:gd name="connsiteX27" fmla="*/ 76637 w 103989"/>
                    <a:gd name="connsiteY27" fmla="*/ 203549 h 258226"/>
                    <a:gd name="connsiteX28" fmla="*/ 79114 w 103989"/>
                    <a:gd name="connsiteY28" fmla="*/ 192977 h 258226"/>
                    <a:gd name="connsiteX29" fmla="*/ 80828 w 103989"/>
                    <a:gd name="connsiteY29" fmla="*/ 182404 h 258226"/>
                    <a:gd name="connsiteX30" fmla="*/ 83019 w 103989"/>
                    <a:gd name="connsiteY30" fmla="*/ 171831 h 258226"/>
                    <a:gd name="connsiteX31" fmla="*/ 85210 w 103989"/>
                    <a:gd name="connsiteY31" fmla="*/ 161068 h 258226"/>
                    <a:gd name="connsiteX32" fmla="*/ 86734 w 103989"/>
                    <a:gd name="connsiteY32" fmla="*/ 150305 h 258226"/>
                    <a:gd name="connsiteX33" fmla="*/ 88924 w 103989"/>
                    <a:gd name="connsiteY33" fmla="*/ 139732 h 258226"/>
                    <a:gd name="connsiteX34" fmla="*/ 90639 w 103989"/>
                    <a:gd name="connsiteY34" fmla="*/ 129159 h 258226"/>
                    <a:gd name="connsiteX35" fmla="*/ 92639 w 103989"/>
                    <a:gd name="connsiteY35" fmla="*/ 118396 h 258226"/>
                    <a:gd name="connsiteX36" fmla="*/ 95401 w 103989"/>
                    <a:gd name="connsiteY36" fmla="*/ 107823 h 258226"/>
                    <a:gd name="connsiteX37" fmla="*/ 97402 w 103989"/>
                    <a:gd name="connsiteY37" fmla="*/ 97250 h 258226"/>
                    <a:gd name="connsiteX38" fmla="*/ 99402 w 103989"/>
                    <a:gd name="connsiteY38" fmla="*/ 86487 h 258226"/>
                    <a:gd name="connsiteX39" fmla="*/ 100640 w 103989"/>
                    <a:gd name="connsiteY39" fmla="*/ 75724 h 258226"/>
                    <a:gd name="connsiteX40" fmla="*/ 102831 w 103989"/>
                    <a:gd name="connsiteY40" fmla="*/ 65723 h 258226"/>
                    <a:gd name="connsiteX41" fmla="*/ 92163 w 103989"/>
                    <a:gd name="connsiteY41" fmla="*/ 64198 h 258226"/>
                    <a:gd name="connsiteX42" fmla="*/ 80733 w 103989"/>
                    <a:gd name="connsiteY42" fmla="*/ 62675 h 258226"/>
                    <a:gd name="connsiteX43" fmla="*/ 69303 w 103989"/>
                    <a:gd name="connsiteY43" fmla="*/ 62389 h 258226"/>
                    <a:gd name="connsiteX44" fmla="*/ 58159 w 103989"/>
                    <a:gd name="connsiteY44" fmla="*/ 61341 h 258226"/>
                    <a:gd name="connsiteX45" fmla="*/ 47014 w 103989"/>
                    <a:gd name="connsiteY45" fmla="*/ 59341 h 258226"/>
                    <a:gd name="connsiteX46" fmla="*/ 35584 w 103989"/>
                    <a:gd name="connsiteY46" fmla="*/ 58579 h 258226"/>
                    <a:gd name="connsiteX47" fmla="*/ 24154 w 103989"/>
                    <a:gd name="connsiteY47" fmla="*/ 58293 h 258226"/>
                    <a:gd name="connsiteX48" fmla="*/ 13010 w 103989"/>
                    <a:gd name="connsiteY48" fmla="*/ 56293 h 258226"/>
                    <a:gd name="connsiteX49" fmla="*/ 1580 w 103989"/>
                    <a:gd name="connsiteY49" fmla="*/ 55245 h 258226"/>
                    <a:gd name="connsiteX50" fmla="*/ 1866 w 103989"/>
                    <a:gd name="connsiteY50" fmla="*/ 44196 h 258226"/>
                    <a:gd name="connsiteX51" fmla="*/ 1580 w 103989"/>
                    <a:gd name="connsiteY51" fmla="*/ 33147 h 258226"/>
                    <a:gd name="connsiteX52" fmla="*/ 1866 w 103989"/>
                    <a:gd name="connsiteY52" fmla="*/ 22098 h 258226"/>
                    <a:gd name="connsiteX53" fmla="*/ 1866 w 103989"/>
                    <a:gd name="connsiteY53" fmla="*/ 11049 h 258226"/>
                    <a:gd name="connsiteX54" fmla="*/ 1866 w 103989"/>
                    <a:gd name="connsiteY54" fmla="*/ 0 h 258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03989" h="258226">
                      <a:moveTo>
                        <a:pt x="2247" y="55340"/>
                      </a:moveTo>
                      <a:lnTo>
                        <a:pt x="2247" y="55340"/>
                      </a:lnTo>
                      <a:cubicBezTo>
                        <a:pt x="3485" y="60579"/>
                        <a:pt x="3009" y="60865"/>
                        <a:pt x="3961" y="66104"/>
                      </a:cubicBezTo>
                      <a:cubicBezTo>
                        <a:pt x="5200" y="71342"/>
                        <a:pt x="5962" y="71152"/>
                        <a:pt x="7200" y="76390"/>
                      </a:cubicBezTo>
                      <a:cubicBezTo>
                        <a:pt x="8438" y="81629"/>
                        <a:pt x="7962" y="81915"/>
                        <a:pt x="9200" y="87154"/>
                      </a:cubicBezTo>
                      <a:cubicBezTo>
                        <a:pt x="10438" y="92392"/>
                        <a:pt x="10153" y="92392"/>
                        <a:pt x="11391" y="97727"/>
                      </a:cubicBezTo>
                      <a:cubicBezTo>
                        <a:pt x="12629" y="102965"/>
                        <a:pt x="12343" y="103251"/>
                        <a:pt x="13582" y="108490"/>
                      </a:cubicBezTo>
                      <a:cubicBezTo>
                        <a:pt x="14534" y="113729"/>
                        <a:pt x="15106" y="113538"/>
                        <a:pt x="16344" y="118777"/>
                      </a:cubicBezTo>
                      <a:cubicBezTo>
                        <a:pt x="17582" y="124015"/>
                        <a:pt x="16630" y="124301"/>
                        <a:pt x="17868" y="129540"/>
                      </a:cubicBezTo>
                      <a:cubicBezTo>
                        <a:pt x="19106" y="134779"/>
                        <a:pt x="19106" y="134779"/>
                        <a:pt x="20344" y="140303"/>
                      </a:cubicBezTo>
                      <a:cubicBezTo>
                        <a:pt x="21583" y="145542"/>
                        <a:pt x="22821" y="145352"/>
                        <a:pt x="24059" y="150590"/>
                      </a:cubicBezTo>
                      <a:cubicBezTo>
                        <a:pt x="25297" y="155829"/>
                        <a:pt x="25297" y="155829"/>
                        <a:pt x="26536" y="161163"/>
                      </a:cubicBezTo>
                      <a:cubicBezTo>
                        <a:pt x="27774" y="166402"/>
                        <a:pt x="27774" y="166402"/>
                        <a:pt x="29012" y="171736"/>
                      </a:cubicBezTo>
                      <a:cubicBezTo>
                        <a:pt x="30250" y="176975"/>
                        <a:pt x="29488" y="177260"/>
                        <a:pt x="30727" y="182499"/>
                      </a:cubicBezTo>
                      <a:cubicBezTo>
                        <a:pt x="31965" y="187738"/>
                        <a:pt x="31965" y="187738"/>
                        <a:pt x="33203" y="193072"/>
                      </a:cubicBezTo>
                      <a:cubicBezTo>
                        <a:pt x="34441" y="198310"/>
                        <a:pt x="34441" y="198310"/>
                        <a:pt x="35680" y="203644"/>
                      </a:cubicBezTo>
                      <a:cubicBezTo>
                        <a:pt x="36918" y="208883"/>
                        <a:pt x="36442" y="209169"/>
                        <a:pt x="37680" y="214408"/>
                      </a:cubicBezTo>
                      <a:cubicBezTo>
                        <a:pt x="38918" y="219647"/>
                        <a:pt x="39680" y="219456"/>
                        <a:pt x="40918" y="224695"/>
                      </a:cubicBezTo>
                      <a:cubicBezTo>
                        <a:pt x="42157" y="229933"/>
                        <a:pt x="41395" y="230219"/>
                        <a:pt x="42633" y="235458"/>
                      </a:cubicBezTo>
                      <a:cubicBezTo>
                        <a:pt x="43871" y="240697"/>
                        <a:pt x="44633" y="240697"/>
                        <a:pt x="45871" y="246031"/>
                      </a:cubicBezTo>
                      <a:cubicBezTo>
                        <a:pt x="47110" y="251269"/>
                        <a:pt x="43871" y="253079"/>
                        <a:pt x="47872" y="256794"/>
                      </a:cubicBezTo>
                      <a:cubicBezTo>
                        <a:pt x="51110" y="259842"/>
                        <a:pt x="52348" y="257080"/>
                        <a:pt x="56825" y="257080"/>
                      </a:cubicBezTo>
                      <a:cubicBezTo>
                        <a:pt x="61302" y="257080"/>
                        <a:pt x="62254" y="259366"/>
                        <a:pt x="65493" y="256318"/>
                      </a:cubicBezTo>
                      <a:cubicBezTo>
                        <a:pt x="69493" y="252508"/>
                        <a:pt x="66255" y="251269"/>
                        <a:pt x="67207" y="246031"/>
                      </a:cubicBezTo>
                      <a:cubicBezTo>
                        <a:pt x="68160" y="240506"/>
                        <a:pt x="68446" y="240792"/>
                        <a:pt x="69684" y="235458"/>
                      </a:cubicBezTo>
                      <a:cubicBezTo>
                        <a:pt x="70636" y="229933"/>
                        <a:pt x="70636" y="229933"/>
                        <a:pt x="71684" y="224695"/>
                      </a:cubicBezTo>
                      <a:cubicBezTo>
                        <a:pt x="72637" y="219456"/>
                        <a:pt x="72446" y="219456"/>
                        <a:pt x="73684" y="214122"/>
                      </a:cubicBezTo>
                      <a:cubicBezTo>
                        <a:pt x="74637" y="208883"/>
                        <a:pt x="75685" y="208883"/>
                        <a:pt x="76637" y="203549"/>
                      </a:cubicBezTo>
                      <a:cubicBezTo>
                        <a:pt x="77875" y="198310"/>
                        <a:pt x="78161" y="198310"/>
                        <a:pt x="79114" y="192977"/>
                      </a:cubicBezTo>
                      <a:cubicBezTo>
                        <a:pt x="80066" y="187738"/>
                        <a:pt x="79876" y="187738"/>
                        <a:pt x="80828" y="182404"/>
                      </a:cubicBezTo>
                      <a:cubicBezTo>
                        <a:pt x="81781" y="177165"/>
                        <a:pt x="82066" y="177165"/>
                        <a:pt x="83019" y="171831"/>
                      </a:cubicBezTo>
                      <a:cubicBezTo>
                        <a:pt x="84257" y="166307"/>
                        <a:pt x="84257" y="166307"/>
                        <a:pt x="85210" y="161068"/>
                      </a:cubicBezTo>
                      <a:cubicBezTo>
                        <a:pt x="86448" y="155829"/>
                        <a:pt x="85495" y="155829"/>
                        <a:pt x="86734" y="150305"/>
                      </a:cubicBezTo>
                      <a:cubicBezTo>
                        <a:pt x="87686" y="145066"/>
                        <a:pt x="87972" y="145066"/>
                        <a:pt x="88924" y="139732"/>
                      </a:cubicBezTo>
                      <a:cubicBezTo>
                        <a:pt x="89877" y="134493"/>
                        <a:pt x="89686" y="134493"/>
                        <a:pt x="90639" y="129159"/>
                      </a:cubicBezTo>
                      <a:cubicBezTo>
                        <a:pt x="91591" y="123634"/>
                        <a:pt x="91591" y="123634"/>
                        <a:pt x="92639" y="118396"/>
                      </a:cubicBezTo>
                      <a:cubicBezTo>
                        <a:pt x="93592" y="113157"/>
                        <a:pt x="94354" y="113348"/>
                        <a:pt x="95401" y="107823"/>
                      </a:cubicBezTo>
                      <a:cubicBezTo>
                        <a:pt x="96354" y="102584"/>
                        <a:pt x="96354" y="102584"/>
                        <a:pt x="97402" y="97250"/>
                      </a:cubicBezTo>
                      <a:cubicBezTo>
                        <a:pt x="98354" y="92011"/>
                        <a:pt x="98354" y="92011"/>
                        <a:pt x="99402" y="86487"/>
                      </a:cubicBezTo>
                      <a:cubicBezTo>
                        <a:pt x="100354" y="81248"/>
                        <a:pt x="99688" y="81248"/>
                        <a:pt x="100640" y="75724"/>
                      </a:cubicBezTo>
                      <a:cubicBezTo>
                        <a:pt x="101593" y="70485"/>
                        <a:pt x="106069" y="69913"/>
                        <a:pt x="102831" y="65723"/>
                      </a:cubicBezTo>
                      <a:cubicBezTo>
                        <a:pt x="99402" y="61246"/>
                        <a:pt x="97592" y="64960"/>
                        <a:pt x="92163" y="64198"/>
                      </a:cubicBezTo>
                      <a:cubicBezTo>
                        <a:pt x="86448" y="63722"/>
                        <a:pt x="86448" y="63151"/>
                        <a:pt x="80733" y="62675"/>
                      </a:cubicBezTo>
                      <a:cubicBezTo>
                        <a:pt x="75018" y="61912"/>
                        <a:pt x="75018" y="62960"/>
                        <a:pt x="69303" y="62389"/>
                      </a:cubicBezTo>
                      <a:cubicBezTo>
                        <a:pt x="63874" y="61912"/>
                        <a:pt x="63588" y="62103"/>
                        <a:pt x="58159" y="61341"/>
                      </a:cubicBezTo>
                      <a:cubicBezTo>
                        <a:pt x="52444" y="60865"/>
                        <a:pt x="52444" y="59817"/>
                        <a:pt x="47014" y="59341"/>
                      </a:cubicBezTo>
                      <a:cubicBezTo>
                        <a:pt x="41299" y="58579"/>
                        <a:pt x="41299" y="59341"/>
                        <a:pt x="35584" y="58579"/>
                      </a:cubicBezTo>
                      <a:cubicBezTo>
                        <a:pt x="29869" y="58103"/>
                        <a:pt x="29869" y="58864"/>
                        <a:pt x="24154" y="58293"/>
                      </a:cubicBezTo>
                      <a:cubicBezTo>
                        <a:pt x="18439" y="57531"/>
                        <a:pt x="18439" y="56769"/>
                        <a:pt x="13010" y="56293"/>
                      </a:cubicBezTo>
                      <a:cubicBezTo>
                        <a:pt x="7295" y="55816"/>
                        <a:pt x="5295" y="59341"/>
                        <a:pt x="1580" y="55245"/>
                      </a:cubicBezTo>
                      <a:cubicBezTo>
                        <a:pt x="-2135" y="51244"/>
                        <a:pt x="1866" y="49720"/>
                        <a:pt x="1866" y="44196"/>
                      </a:cubicBezTo>
                      <a:cubicBezTo>
                        <a:pt x="1866" y="38671"/>
                        <a:pt x="1580" y="38671"/>
                        <a:pt x="1580" y="33147"/>
                      </a:cubicBezTo>
                      <a:cubicBezTo>
                        <a:pt x="1580" y="27622"/>
                        <a:pt x="1866" y="27622"/>
                        <a:pt x="1866" y="22098"/>
                      </a:cubicBezTo>
                      <a:cubicBezTo>
                        <a:pt x="1866" y="16573"/>
                        <a:pt x="1866" y="16573"/>
                        <a:pt x="1866" y="11049"/>
                      </a:cubicBezTo>
                      <a:cubicBezTo>
                        <a:pt x="1866" y="5524"/>
                        <a:pt x="1866" y="5524"/>
                        <a:pt x="186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0D744AF7-F11C-AA52-7635-BA64B63C9104}"/>
                    </a:ext>
                  </a:extLst>
                </p:cNvPr>
                <p:cNvSpPr/>
                <p:nvPr/>
              </p:nvSpPr>
              <p:spPr>
                <a:xfrm>
                  <a:off x="5328951" y="3142202"/>
                  <a:ext cx="1238" cy="169735"/>
                </a:xfrm>
                <a:custGeom>
                  <a:avLst/>
                  <a:gdLst>
                    <a:gd name="connsiteX0" fmla="*/ 381 w 1238"/>
                    <a:gd name="connsiteY0" fmla="*/ 0 h 169735"/>
                    <a:gd name="connsiteX1" fmla="*/ 381 w 1238"/>
                    <a:gd name="connsiteY1" fmla="*/ 0 h 169735"/>
                    <a:gd name="connsiteX2" fmla="*/ 667 w 1238"/>
                    <a:gd name="connsiteY2" fmla="*/ 11335 h 169735"/>
                    <a:gd name="connsiteX3" fmla="*/ 952 w 1238"/>
                    <a:gd name="connsiteY3" fmla="*/ 22670 h 169735"/>
                    <a:gd name="connsiteX4" fmla="*/ 1238 w 1238"/>
                    <a:gd name="connsiteY4" fmla="*/ 34004 h 169735"/>
                    <a:gd name="connsiteX5" fmla="*/ 762 w 1238"/>
                    <a:gd name="connsiteY5" fmla="*/ 45339 h 169735"/>
                    <a:gd name="connsiteX6" fmla="*/ 0 w 1238"/>
                    <a:gd name="connsiteY6" fmla="*/ 56388 h 169735"/>
                    <a:gd name="connsiteX7" fmla="*/ 952 w 1238"/>
                    <a:gd name="connsiteY7" fmla="*/ 67723 h 169735"/>
                    <a:gd name="connsiteX8" fmla="*/ 952 w 1238"/>
                    <a:gd name="connsiteY8" fmla="*/ 79057 h 169735"/>
                    <a:gd name="connsiteX9" fmla="*/ 952 w 1238"/>
                    <a:gd name="connsiteY9" fmla="*/ 90392 h 169735"/>
                    <a:gd name="connsiteX10" fmla="*/ 1238 w 1238"/>
                    <a:gd name="connsiteY10" fmla="*/ 101727 h 169735"/>
                    <a:gd name="connsiteX11" fmla="*/ 1238 w 1238"/>
                    <a:gd name="connsiteY11" fmla="*/ 113062 h 169735"/>
                    <a:gd name="connsiteX12" fmla="*/ 762 w 1238"/>
                    <a:gd name="connsiteY12" fmla="*/ 124397 h 169735"/>
                    <a:gd name="connsiteX13" fmla="*/ 0 w 1238"/>
                    <a:gd name="connsiteY13" fmla="*/ 135731 h 169735"/>
                    <a:gd name="connsiteX14" fmla="*/ 286 w 1238"/>
                    <a:gd name="connsiteY14" fmla="*/ 147066 h 169735"/>
                    <a:gd name="connsiteX15" fmla="*/ 1048 w 1238"/>
                    <a:gd name="connsiteY15" fmla="*/ 158401 h 169735"/>
                    <a:gd name="connsiteX16" fmla="*/ 762 w 1238"/>
                    <a:gd name="connsiteY16" fmla="*/ 169736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38" h="169735">
                      <a:moveTo>
                        <a:pt x="381" y="0"/>
                      </a:moveTo>
                      <a:lnTo>
                        <a:pt x="381" y="0"/>
                      </a:lnTo>
                      <a:cubicBezTo>
                        <a:pt x="381" y="5810"/>
                        <a:pt x="667" y="5810"/>
                        <a:pt x="667" y="11335"/>
                      </a:cubicBezTo>
                      <a:cubicBezTo>
                        <a:pt x="667" y="16859"/>
                        <a:pt x="952" y="16859"/>
                        <a:pt x="952" y="22670"/>
                      </a:cubicBezTo>
                      <a:cubicBezTo>
                        <a:pt x="952" y="28194"/>
                        <a:pt x="1238" y="28194"/>
                        <a:pt x="1238" y="34004"/>
                      </a:cubicBezTo>
                      <a:cubicBezTo>
                        <a:pt x="1238" y="39529"/>
                        <a:pt x="762" y="39529"/>
                        <a:pt x="762" y="45339"/>
                      </a:cubicBezTo>
                      <a:cubicBezTo>
                        <a:pt x="762" y="50864"/>
                        <a:pt x="0" y="50864"/>
                        <a:pt x="0" y="56388"/>
                      </a:cubicBezTo>
                      <a:cubicBezTo>
                        <a:pt x="0" y="62198"/>
                        <a:pt x="952" y="62198"/>
                        <a:pt x="952" y="67723"/>
                      </a:cubicBezTo>
                      <a:cubicBezTo>
                        <a:pt x="952" y="73533"/>
                        <a:pt x="952" y="73533"/>
                        <a:pt x="952" y="79057"/>
                      </a:cubicBezTo>
                      <a:cubicBezTo>
                        <a:pt x="952" y="84868"/>
                        <a:pt x="952" y="84868"/>
                        <a:pt x="952" y="90392"/>
                      </a:cubicBezTo>
                      <a:cubicBezTo>
                        <a:pt x="952" y="96203"/>
                        <a:pt x="1238" y="96203"/>
                        <a:pt x="1238" y="101727"/>
                      </a:cubicBezTo>
                      <a:cubicBezTo>
                        <a:pt x="1238" y="107252"/>
                        <a:pt x="1238" y="107252"/>
                        <a:pt x="1238" y="113062"/>
                      </a:cubicBezTo>
                      <a:cubicBezTo>
                        <a:pt x="1238" y="118586"/>
                        <a:pt x="762" y="118586"/>
                        <a:pt x="762" y="124397"/>
                      </a:cubicBezTo>
                      <a:cubicBezTo>
                        <a:pt x="762" y="129921"/>
                        <a:pt x="0" y="129921"/>
                        <a:pt x="0" y="135731"/>
                      </a:cubicBezTo>
                      <a:cubicBezTo>
                        <a:pt x="0" y="141256"/>
                        <a:pt x="286" y="141256"/>
                        <a:pt x="286" y="147066"/>
                      </a:cubicBezTo>
                      <a:cubicBezTo>
                        <a:pt x="286" y="152591"/>
                        <a:pt x="1048" y="152591"/>
                        <a:pt x="1048" y="158401"/>
                      </a:cubicBezTo>
                      <a:cubicBezTo>
                        <a:pt x="1048" y="163925"/>
                        <a:pt x="762" y="163925"/>
                        <a:pt x="762" y="16973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3A61DD87-026C-BCF0-78A6-16F68480AF00}"/>
                    </a:ext>
                  </a:extLst>
                </p:cNvPr>
                <p:cNvSpPr/>
                <p:nvPr/>
              </p:nvSpPr>
              <p:spPr>
                <a:xfrm>
                  <a:off x="5233416" y="3326511"/>
                  <a:ext cx="89534" cy="50563"/>
                </a:xfrm>
                <a:custGeom>
                  <a:avLst/>
                  <a:gdLst>
                    <a:gd name="connsiteX0" fmla="*/ 89535 w 89534"/>
                    <a:gd name="connsiteY0" fmla="*/ 26289 h 50563"/>
                    <a:gd name="connsiteX1" fmla="*/ 89535 w 89534"/>
                    <a:gd name="connsiteY1" fmla="*/ 26289 h 50563"/>
                    <a:gd name="connsiteX2" fmla="*/ 87820 w 89534"/>
                    <a:gd name="connsiteY2" fmla="*/ 37052 h 50563"/>
                    <a:gd name="connsiteX3" fmla="*/ 87059 w 89534"/>
                    <a:gd name="connsiteY3" fmla="*/ 48577 h 50563"/>
                    <a:gd name="connsiteX4" fmla="*/ 76200 w 89534"/>
                    <a:gd name="connsiteY4" fmla="*/ 48101 h 50563"/>
                    <a:gd name="connsiteX5" fmla="*/ 71533 w 89534"/>
                    <a:gd name="connsiteY5" fmla="*/ 40862 h 50563"/>
                    <a:gd name="connsiteX6" fmla="*/ 66104 w 89534"/>
                    <a:gd name="connsiteY6" fmla="*/ 34099 h 50563"/>
                    <a:gd name="connsiteX7" fmla="*/ 57721 w 89534"/>
                    <a:gd name="connsiteY7" fmla="*/ 47625 h 50563"/>
                    <a:gd name="connsiteX8" fmla="*/ 46577 w 89534"/>
                    <a:gd name="connsiteY8" fmla="*/ 48863 h 50563"/>
                    <a:gd name="connsiteX9" fmla="*/ 34671 w 89534"/>
                    <a:gd name="connsiteY9" fmla="*/ 48577 h 50563"/>
                    <a:gd name="connsiteX10" fmla="*/ 22765 w 89534"/>
                    <a:gd name="connsiteY10" fmla="*/ 47339 h 50563"/>
                    <a:gd name="connsiteX11" fmla="*/ 10858 w 89534"/>
                    <a:gd name="connsiteY11" fmla="*/ 46863 h 50563"/>
                    <a:gd name="connsiteX12" fmla="*/ 0 w 89534"/>
                    <a:gd name="connsiteY12" fmla="*/ 41339 h 50563"/>
                    <a:gd name="connsiteX13" fmla="*/ 7906 w 89534"/>
                    <a:gd name="connsiteY13" fmla="*/ 33338 h 50563"/>
                    <a:gd name="connsiteX14" fmla="*/ 17335 w 89534"/>
                    <a:gd name="connsiteY14" fmla="*/ 27813 h 50563"/>
                    <a:gd name="connsiteX15" fmla="*/ 26956 w 89534"/>
                    <a:gd name="connsiteY15" fmla="*/ 22765 h 50563"/>
                    <a:gd name="connsiteX16" fmla="*/ 36576 w 89534"/>
                    <a:gd name="connsiteY16" fmla="*/ 17526 h 50563"/>
                    <a:gd name="connsiteX17" fmla="*/ 46768 w 89534"/>
                    <a:gd name="connsiteY17" fmla="*/ 13716 h 50563"/>
                    <a:gd name="connsiteX18" fmla="*/ 56674 w 89534"/>
                    <a:gd name="connsiteY18" fmla="*/ 8953 h 50563"/>
                    <a:gd name="connsiteX19" fmla="*/ 66580 w 89534"/>
                    <a:gd name="connsiteY19" fmla="*/ 4477 h 50563"/>
                    <a:gd name="connsiteX20" fmla="*/ 76486 w 89534"/>
                    <a:gd name="connsiteY20" fmla="*/ 0 h 50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9534" h="50563">
                      <a:moveTo>
                        <a:pt x="89535" y="26289"/>
                      </a:moveTo>
                      <a:lnTo>
                        <a:pt x="89535" y="26289"/>
                      </a:lnTo>
                      <a:cubicBezTo>
                        <a:pt x="88773" y="31814"/>
                        <a:pt x="88583" y="31528"/>
                        <a:pt x="87820" y="37052"/>
                      </a:cubicBezTo>
                      <a:cubicBezTo>
                        <a:pt x="87059" y="42577"/>
                        <a:pt x="91250" y="44863"/>
                        <a:pt x="87059" y="48577"/>
                      </a:cubicBezTo>
                      <a:cubicBezTo>
                        <a:pt x="83058" y="52102"/>
                        <a:pt x="81153" y="50292"/>
                        <a:pt x="76200" y="48101"/>
                      </a:cubicBezTo>
                      <a:cubicBezTo>
                        <a:pt x="72009" y="46387"/>
                        <a:pt x="74009" y="44291"/>
                        <a:pt x="71533" y="40862"/>
                      </a:cubicBezTo>
                      <a:cubicBezTo>
                        <a:pt x="69056" y="37052"/>
                        <a:pt x="70009" y="32099"/>
                        <a:pt x="66104" y="34099"/>
                      </a:cubicBezTo>
                      <a:cubicBezTo>
                        <a:pt x="59150" y="37909"/>
                        <a:pt x="63151" y="41624"/>
                        <a:pt x="57721" y="47625"/>
                      </a:cubicBezTo>
                      <a:cubicBezTo>
                        <a:pt x="53721" y="52102"/>
                        <a:pt x="53531" y="48863"/>
                        <a:pt x="46577" y="48863"/>
                      </a:cubicBezTo>
                      <a:cubicBezTo>
                        <a:pt x="42862" y="49149"/>
                        <a:pt x="38862" y="48577"/>
                        <a:pt x="34671" y="48577"/>
                      </a:cubicBezTo>
                      <a:cubicBezTo>
                        <a:pt x="30670" y="48292"/>
                        <a:pt x="26765" y="47530"/>
                        <a:pt x="22765" y="47339"/>
                      </a:cubicBezTo>
                      <a:cubicBezTo>
                        <a:pt x="18574" y="47053"/>
                        <a:pt x="14383" y="47339"/>
                        <a:pt x="10858" y="46863"/>
                      </a:cubicBezTo>
                      <a:cubicBezTo>
                        <a:pt x="4667" y="45815"/>
                        <a:pt x="0" y="43624"/>
                        <a:pt x="0" y="41339"/>
                      </a:cubicBezTo>
                      <a:cubicBezTo>
                        <a:pt x="0" y="39814"/>
                        <a:pt x="3239" y="36290"/>
                        <a:pt x="7906" y="33338"/>
                      </a:cubicBezTo>
                      <a:cubicBezTo>
                        <a:pt x="10668" y="31623"/>
                        <a:pt x="13811" y="29813"/>
                        <a:pt x="17335" y="27813"/>
                      </a:cubicBezTo>
                      <a:cubicBezTo>
                        <a:pt x="20288" y="26098"/>
                        <a:pt x="23813" y="24574"/>
                        <a:pt x="26956" y="22765"/>
                      </a:cubicBezTo>
                      <a:cubicBezTo>
                        <a:pt x="30194" y="21050"/>
                        <a:pt x="33433" y="19240"/>
                        <a:pt x="36576" y="17526"/>
                      </a:cubicBezTo>
                      <a:cubicBezTo>
                        <a:pt x="39814" y="16002"/>
                        <a:pt x="43529" y="15240"/>
                        <a:pt x="46768" y="13716"/>
                      </a:cubicBezTo>
                      <a:cubicBezTo>
                        <a:pt x="50197" y="12001"/>
                        <a:pt x="53435" y="10192"/>
                        <a:pt x="56674" y="8953"/>
                      </a:cubicBezTo>
                      <a:cubicBezTo>
                        <a:pt x="60103" y="7239"/>
                        <a:pt x="63627" y="5715"/>
                        <a:pt x="66580" y="4477"/>
                      </a:cubicBezTo>
                      <a:cubicBezTo>
                        <a:pt x="72485" y="1714"/>
                        <a:pt x="71247" y="2000"/>
                        <a:pt x="7648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0" name="Freeform: Shape 389">
                  <a:extLst>
                    <a:ext uri="{FF2B5EF4-FFF2-40B4-BE49-F238E27FC236}">
                      <a16:creationId xmlns:a16="http://schemas.microsoft.com/office/drawing/2014/main" id="{7830F61E-55D2-80F8-44A4-8D9EEFF18F98}"/>
                    </a:ext>
                  </a:extLst>
                </p:cNvPr>
                <p:cNvSpPr/>
                <p:nvPr/>
              </p:nvSpPr>
              <p:spPr>
                <a:xfrm>
                  <a:off x="5341238" y="3322986"/>
                  <a:ext cx="88677" cy="51995"/>
                </a:xfrm>
                <a:custGeom>
                  <a:avLst/>
                  <a:gdLst>
                    <a:gd name="connsiteX0" fmla="*/ 14097 w 88677"/>
                    <a:gd name="connsiteY0" fmla="*/ 0 h 51995"/>
                    <a:gd name="connsiteX1" fmla="*/ 14097 w 88677"/>
                    <a:gd name="connsiteY1" fmla="*/ 0 h 51995"/>
                    <a:gd name="connsiteX2" fmla="*/ 24003 w 88677"/>
                    <a:gd name="connsiteY2" fmla="*/ 4477 h 51995"/>
                    <a:gd name="connsiteX3" fmla="*/ 33433 w 88677"/>
                    <a:gd name="connsiteY3" fmla="*/ 10001 h 51995"/>
                    <a:gd name="connsiteX4" fmla="*/ 43625 w 88677"/>
                    <a:gd name="connsiteY4" fmla="*/ 14288 h 51995"/>
                    <a:gd name="connsiteX5" fmla="*/ 53531 w 88677"/>
                    <a:gd name="connsiteY5" fmla="*/ 18764 h 51995"/>
                    <a:gd name="connsiteX6" fmla="*/ 62675 w 88677"/>
                    <a:gd name="connsiteY6" fmla="*/ 24575 h 51995"/>
                    <a:gd name="connsiteX7" fmla="*/ 72581 w 88677"/>
                    <a:gd name="connsiteY7" fmla="*/ 29337 h 51995"/>
                    <a:gd name="connsiteX8" fmla="*/ 82010 w 88677"/>
                    <a:gd name="connsiteY8" fmla="*/ 34862 h 51995"/>
                    <a:gd name="connsiteX9" fmla="*/ 88678 w 88677"/>
                    <a:gd name="connsiteY9" fmla="*/ 42672 h 51995"/>
                    <a:gd name="connsiteX10" fmla="*/ 79058 w 88677"/>
                    <a:gd name="connsiteY10" fmla="*/ 46673 h 51995"/>
                    <a:gd name="connsiteX11" fmla="*/ 67437 w 88677"/>
                    <a:gd name="connsiteY11" fmla="*/ 48387 h 51995"/>
                    <a:gd name="connsiteX12" fmla="*/ 55531 w 88677"/>
                    <a:gd name="connsiteY12" fmla="*/ 49911 h 51995"/>
                    <a:gd name="connsiteX13" fmla="*/ 43625 w 88677"/>
                    <a:gd name="connsiteY13" fmla="*/ 49911 h 51995"/>
                    <a:gd name="connsiteX14" fmla="*/ 31718 w 88677"/>
                    <a:gd name="connsiteY14" fmla="*/ 49435 h 51995"/>
                    <a:gd name="connsiteX15" fmla="*/ 24003 w 88677"/>
                    <a:gd name="connsiteY15" fmla="*/ 35147 h 51995"/>
                    <a:gd name="connsiteX16" fmla="*/ 19050 w 88677"/>
                    <a:gd name="connsiteY16" fmla="*/ 42386 h 51995"/>
                    <a:gd name="connsiteX17" fmla="*/ 14097 w 88677"/>
                    <a:gd name="connsiteY17" fmla="*/ 50197 h 51995"/>
                    <a:gd name="connsiteX18" fmla="*/ 3239 w 88677"/>
                    <a:gd name="connsiteY18" fmla="*/ 49435 h 51995"/>
                    <a:gd name="connsiteX19" fmla="*/ 1715 w 88677"/>
                    <a:gd name="connsiteY19" fmla="*/ 38672 h 51995"/>
                    <a:gd name="connsiteX20" fmla="*/ 0 w 88677"/>
                    <a:gd name="connsiteY20" fmla="*/ 27623 h 51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8677" h="51995">
                      <a:moveTo>
                        <a:pt x="14097" y="0"/>
                      </a:moveTo>
                      <a:lnTo>
                        <a:pt x="14097" y="0"/>
                      </a:lnTo>
                      <a:cubicBezTo>
                        <a:pt x="19050" y="2286"/>
                        <a:pt x="18098" y="1715"/>
                        <a:pt x="24003" y="4477"/>
                      </a:cubicBezTo>
                      <a:cubicBezTo>
                        <a:pt x="26956" y="6001"/>
                        <a:pt x="29909" y="8287"/>
                        <a:pt x="33433" y="10001"/>
                      </a:cubicBezTo>
                      <a:cubicBezTo>
                        <a:pt x="36671" y="11525"/>
                        <a:pt x="40100" y="12764"/>
                        <a:pt x="43625" y="14288"/>
                      </a:cubicBezTo>
                      <a:cubicBezTo>
                        <a:pt x="46863" y="16002"/>
                        <a:pt x="50292" y="17050"/>
                        <a:pt x="53531" y="18764"/>
                      </a:cubicBezTo>
                      <a:cubicBezTo>
                        <a:pt x="56769" y="20288"/>
                        <a:pt x="59722" y="22765"/>
                        <a:pt x="62675" y="24575"/>
                      </a:cubicBezTo>
                      <a:cubicBezTo>
                        <a:pt x="66104" y="26289"/>
                        <a:pt x="69628" y="27623"/>
                        <a:pt x="72581" y="29337"/>
                      </a:cubicBezTo>
                      <a:cubicBezTo>
                        <a:pt x="76010" y="31337"/>
                        <a:pt x="79534" y="33147"/>
                        <a:pt x="82010" y="34862"/>
                      </a:cubicBezTo>
                      <a:cubicBezTo>
                        <a:pt x="86678" y="37909"/>
                        <a:pt x="88678" y="41148"/>
                        <a:pt x="88678" y="42672"/>
                      </a:cubicBezTo>
                      <a:cubicBezTo>
                        <a:pt x="88678" y="44958"/>
                        <a:pt x="85249" y="45720"/>
                        <a:pt x="79058" y="46673"/>
                      </a:cubicBezTo>
                      <a:cubicBezTo>
                        <a:pt x="75629" y="47434"/>
                        <a:pt x="71628" y="48197"/>
                        <a:pt x="67437" y="48387"/>
                      </a:cubicBezTo>
                      <a:cubicBezTo>
                        <a:pt x="63437" y="48673"/>
                        <a:pt x="59531" y="49625"/>
                        <a:pt x="55531" y="49911"/>
                      </a:cubicBezTo>
                      <a:cubicBezTo>
                        <a:pt x="51340" y="49911"/>
                        <a:pt x="47339" y="49911"/>
                        <a:pt x="43625" y="49911"/>
                      </a:cubicBezTo>
                      <a:cubicBezTo>
                        <a:pt x="36671" y="49911"/>
                        <a:pt x="35719" y="53912"/>
                        <a:pt x="31718" y="49435"/>
                      </a:cubicBezTo>
                      <a:cubicBezTo>
                        <a:pt x="26289" y="43434"/>
                        <a:pt x="31242" y="38862"/>
                        <a:pt x="24003" y="35147"/>
                      </a:cubicBezTo>
                      <a:cubicBezTo>
                        <a:pt x="20288" y="33147"/>
                        <a:pt x="21527" y="38957"/>
                        <a:pt x="19050" y="42386"/>
                      </a:cubicBezTo>
                      <a:cubicBezTo>
                        <a:pt x="16574" y="45910"/>
                        <a:pt x="18288" y="48387"/>
                        <a:pt x="14097" y="50197"/>
                      </a:cubicBezTo>
                      <a:cubicBezTo>
                        <a:pt x="9144" y="52483"/>
                        <a:pt x="7144" y="52959"/>
                        <a:pt x="3239" y="49435"/>
                      </a:cubicBezTo>
                      <a:cubicBezTo>
                        <a:pt x="-952" y="45910"/>
                        <a:pt x="2477" y="43910"/>
                        <a:pt x="1715" y="38672"/>
                      </a:cubicBezTo>
                      <a:cubicBezTo>
                        <a:pt x="762" y="33147"/>
                        <a:pt x="762" y="33147"/>
                        <a:pt x="0" y="2762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8FA2AE1D-BE36-3624-B0E5-24C850D20344}"/>
                    </a:ext>
                  </a:extLst>
                </p:cNvPr>
                <p:cNvSpPr/>
                <p:nvPr/>
              </p:nvSpPr>
              <p:spPr>
                <a:xfrm>
                  <a:off x="5376671" y="2940939"/>
                  <a:ext cx="27717" cy="20669"/>
                </a:xfrm>
                <a:custGeom>
                  <a:avLst/>
                  <a:gdLst>
                    <a:gd name="connsiteX0" fmla="*/ 0 w 27717"/>
                    <a:gd name="connsiteY0" fmla="*/ 0 h 20669"/>
                    <a:gd name="connsiteX1" fmla="*/ 0 w 27717"/>
                    <a:gd name="connsiteY1" fmla="*/ 0 h 20669"/>
                    <a:gd name="connsiteX2" fmla="*/ 8668 w 27717"/>
                    <a:gd name="connsiteY2" fmla="*/ 7810 h 20669"/>
                    <a:gd name="connsiteX3" fmla="*/ 17812 w 27717"/>
                    <a:gd name="connsiteY3" fmla="*/ 14383 h 20669"/>
                    <a:gd name="connsiteX4" fmla="*/ 27718 w 27717"/>
                    <a:gd name="connsiteY4" fmla="*/ 20669 h 20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17" h="2066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477" y="3524"/>
                        <a:pt x="4001" y="4286"/>
                        <a:pt x="8668" y="7810"/>
                      </a:cubicBezTo>
                      <a:cubicBezTo>
                        <a:pt x="13145" y="11049"/>
                        <a:pt x="13145" y="11049"/>
                        <a:pt x="17812" y="14383"/>
                      </a:cubicBezTo>
                      <a:cubicBezTo>
                        <a:pt x="22479" y="17907"/>
                        <a:pt x="23051" y="17145"/>
                        <a:pt x="27718" y="2066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7F35C43C-18A9-C39A-8C20-96B58691505B}"/>
                    </a:ext>
                  </a:extLst>
                </p:cNvPr>
                <p:cNvSpPr/>
                <p:nvPr/>
              </p:nvSpPr>
              <p:spPr>
                <a:xfrm>
                  <a:off x="5342953" y="2836926"/>
                  <a:ext cx="1047" cy="14382"/>
                </a:xfrm>
                <a:custGeom>
                  <a:avLst/>
                  <a:gdLst>
                    <a:gd name="connsiteX0" fmla="*/ 0 w 1047"/>
                    <a:gd name="connsiteY0" fmla="*/ 0 h 14382"/>
                    <a:gd name="connsiteX1" fmla="*/ 0 w 1047"/>
                    <a:gd name="connsiteY1" fmla="*/ 0 h 14382"/>
                    <a:gd name="connsiteX2" fmla="*/ 1048 w 1047"/>
                    <a:gd name="connsiteY2" fmla="*/ 14383 h 14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7" h="14382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572" y="7048"/>
                        <a:pt x="572" y="7048"/>
                        <a:pt x="1048" y="143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D5A1EA22-7A6A-C808-30CF-A3627FA820A2}"/>
                    </a:ext>
                  </a:extLst>
                </p:cNvPr>
                <p:cNvSpPr/>
                <p:nvPr/>
              </p:nvSpPr>
              <p:spPr>
                <a:xfrm>
                  <a:off x="5361028" y="2835211"/>
                  <a:ext cx="308" cy="14287"/>
                </a:xfrm>
                <a:custGeom>
                  <a:avLst/>
                  <a:gdLst>
                    <a:gd name="connsiteX0" fmla="*/ 22 w 308"/>
                    <a:gd name="connsiteY0" fmla="*/ 0 h 14287"/>
                    <a:gd name="connsiteX1" fmla="*/ 22 w 308"/>
                    <a:gd name="connsiteY1" fmla="*/ 0 h 14287"/>
                    <a:gd name="connsiteX2" fmla="*/ 308 w 308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8" h="14287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499" y="7049"/>
                        <a:pt x="-454" y="7239"/>
                        <a:pt x="308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B2BEF713-4A36-7900-9ABC-D1A7A3031CAC}"/>
                    </a:ext>
                  </a:extLst>
                </p:cNvPr>
                <p:cNvSpPr/>
                <p:nvPr/>
              </p:nvSpPr>
              <p:spPr>
                <a:xfrm>
                  <a:off x="5280279" y="2791431"/>
                  <a:ext cx="120867" cy="163395"/>
                </a:xfrm>
                <a:custGeom>
                  <a:avLst/>
                  <a:gdLst>
                    <a:gd name="connsiteX0" fmla="*/ 120682 w 120867"/>
                    <a:gd name="connsiteY0" fmla="*/ 81404 h 163395"/>
                    <a:gd name="connsiteX1" fmla="*/ 120682 w 120867"/>
                    <a:gd name="connsiteY1" fmla="*/ 81404 h 163395"/>
                    <a:gd name="connsiteX2" fmla="*/ 120205 w 120867"/>
                    <a:gd name="connsiteY2" fmla="*/ 92453 h 163395"/>
                    <a:gd name="connsiteX3" fmla="*/ 118491 w 120867"/>
                    <a:gd name="connsiteY3" fmla="*/ 103788 h 163395"/>
                    <a:gd name="connsiteX4" fmla="*/ 115729 w 120867"/>
                    <a:gd name="connsiteY4" fmla="*/ 114551 h 163395"/>
                    <a:gd name="connsiteX5" fmla="*/ 112490 w 120867"/>
                    <a:gd name="connsiteY5" fmla="*/ 125314 h 163395"/>
                    <a:gd name="connsiteX6" fmla="*/ 107251 w 120867"/>
                    <a:gd name="connsiteY6" fmla="*/ 135315 h 163395"/>
                    <a:gd name="connsiteX7" fmla="*/ 100774 w 120867"/>
                    <a:gd name="connsiteY7" fmla="*/ 144364 h 163395"/>
                    <a:gd name="connsiteX8" fmla="*/ 92869 w 120867"/>
                    <a:gd name="connsiteY8" fmla="*/ 152651 h 163395"/>
                    <a:gd name="connsiteX9" fmla="*/ 82963 w 120867"/>
                    <a:gd name="connsiteY9" fmla="*/ 157890 h 163395"/>
                    <a:gd name="connsiteX10" fmla="*/ 73057 w 120867"/>
                    <a:gd name="connsiteY10" fmla="*/ 162652 h 163395"/>
                    <a:gd name="connsiteX11" fmla="*/ 61913 w 120867"/>
                    <a:gd name="connsiteY11" fmla="*/ 163128 h 163395"/>
                    <a:gd name="connsiteX12" fmla="*/ 50768 w 120867"/>
                    <a:gd name="connsiteY12" fmla="*/ 162843 h 163395"/>
                    <a:gd name="connsiteX13" fmla="*/ 40576 w 120867"/>
                    <a:gd name="connsiteY13" fmla="*/ 158366 h 163395"/>
                    <a:gd name="connsiteX14" fmla="*/ 31147 w 120867"/>
                    <a:gd name="connsiteY14" fmla="*/ 152556 h 163395"/>
                    <a:gd name="connsiteX15" fmla="*/ 22479 w 120867"/>
                    <a:gd name="connsiteY15" fmla="*/ 145507 h 163395"/>
                    <a:gd name="connsiteX16" fmla="*/ 15526 w 120867"/>
                    <a:gd name="connsiteY16" fmla="*/ 136458 h 163395"/>
                    <a:gd name="connsiteX17" fmla="*/ 10096 w 120867"/>
                    <a:gd name="connsiteY17" fmla="*/ 126648 h 163395"/>
                    <a:gd name="connsiteX18" fmla="*/ 5429 w 120867"/>
                    <a:gd name="connsiteY18" fmla="*/ 116075 h 163395"/>
                    <a:gd name="connsiteX19" fmla="*/ 3429 w 120867"/>
                    <a:gd name="connsiteY19" fmla="*/ 105026 h 163395"/>
                    <a:gd name="connsiteX20" fmla="*/ 952 w 120867"/>
                    <a:gd name="connsiteY20" fmla="*/ 93977 h 163395"/>
                    <a:gd name="connsiteX21" fmla="*/ 0 w 120867"/>
                    <a:gd name="connsiteY21" fmla="*/ 82642 h 163395"/>
                    <a:gd name="connsiteX22" fmla="*/ 762 w 120867"/>
                    <a:gd name="connsiteY22" fmla="*/ 71307 h 163395"/>
                    <a:gd name="connsiteX23" fmla="*/ 2476 w 120867"/>
                    <a:gd name="connsiteY23" fmla="*/ 60258 h 163395"/>
                    <a:gd name="connsiteX24" fmla="*/ 4953 w 120867"/>
                    <a:gd name="connsiteY24" fmla="*/ 49209 h 163395"/>
                    <a:gd name="connsiteX25" fmla="*/ 9144 w 120867"/>
                    <a:gd name="connsiteY25" fmla="*/ 38637 h 163395"/>
                    <a:gd name="connsiteX26" fmla="*/ 14573 w 120867"/>
                    <a:gd name="connsiteY26" fmla="*/ 28826 h 163395"/>
                    <a:gd name="connsiteX27" fmla="*/ 21050 w 120867"/>
                    <a:gd name="connsiteY27" fmla="*/ 19491 h 163395"/>
                    <a:gd name="connsiteX28" fmla="*/ 29718 w 120867"/>
                    <a:gd name="connsiteY28" fmla="*/ 12443 h 163395"/>
                    <a:gd name="connsiteX29" fmla="*/ 38671 w 120867"/>
                    <a:gd name="connsiteY29" fmla="*/ 5871 h 163395"/>
                    <a:gd name="connsiteX30" fmla="*/ 48577 w 120867"/>
                    <a:gd name="connsiteY30" fmla="*/ 632 h 163395"/>
                    <a:gd name="connsiteX31" fmla="*/ 59722 w 120867"/>
                    <a:gd name="connsiteY31" fmla="*/ 156 h 163395"/>
                    <a:gd name="connsiteX32" fmla="*/ 70866 w 120867"/>
                    <a:gd name="connsiteY32" fmla="*/ 1394 h 163395"/>
                    <a:gd name="connsiteX33" fmla="*/ 81248 w 120867"/>
                    <a:gd name="connsiteY33" fmla="*/ 4918 h 163395"/>
                    <a:gd name="connsiteX34" fmla="*/ 90392 w 120867"/>
                    <a:gd name="connsiteY34" fmla="*/ 11205 h 163395"/>
                    <a:gd name="connsiteX35" fmla="*/ 98774 w 120867"/>
                    <a:gd name="connsiteY35" fmla="*/ 18729 h 163395"/>
                    <a:gd name="connsiteX36" fmla="*/ 106204 w 120867"/>
                    <a:gd name="connsiteY36" fmla="*/ 27016 h 163395"/>
                    <a:gd name="connsiteX37" fmla="*/ 110871 w 120867"/>
                    <a:gd name="connsiteY37" fmla="*/ 37589 h 163395"/>
                    <a:gd name="connsiteX38" fmla="*/ 114871 w 120867"/>
                    <a:gd name="connsiteY38" fmla="*/ 47876 h 163395"/>
                    <a:gd name="connsiteX39" fmla="*/ 118872 w 120867"/>
                    <a:gd name="connsiteY39" fmla="*/ 58449 h 163395"/>
                    <a:gd name="connsiteX40" fmla="*/ 120587 w 120867"/>
                    <a:gd name="connsiteY40" fmla="*/ 69783 h 163395"/>
                    <a:gd name="connsiteX41" fmla="*/ 120682 w 120867"/>
                    <a:gd name="connsiteY41" fmla="*/ 81404 h 163395"/>
                    <a:gd name="connsiteX42" fmla="*/ 120682 w 120867"/>
                    <a:gd name="connsiteY42" fmla="*/ 81404 h 163395"/>
                    <a:gd name="connsiteX43" fmla="*/ 120682 w 120867"/>
                    <a:gd name="connsiteY43" fmla="*/ 81404 h 163395"/>
                    <a:gd name="connsiteX44" fmla="*/ 120682 w 120867"/>
                    <a:gd name="connsiteY44" fmla="*/ 81404 h 16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867" h="163395">
                      <a:moveTo>
                        <a:pt x="120682" y="81404"/>
                      </a:moveTo>
                      <a:lnTo>
                        <a:pt x="120682" y="81404"/>
                      </a:lnTo>
                      <a:cubicBezTo>
                        <a:pt x="120968" y="85214"/>
                        <a:pt x="120396" y="88929"/>
                        <a:pt x="120205" y="92453"/>
                      </a:cubicBezTo>
                      <a:cubicBezTo>
                        <a:pt x="119920" y="96453"/>
                        <a:pt x="119253" y="99978"/>
                        <a:pt x="118491" y="103788"/>
                      </a:cubicBezTo>
                      <a:cubicBezTo>
                        <a:pt x="117729" y="107598"/>
                        <a:pt x="116967" y="111027"/>
                        <a:pt x="115729" y="114551"/>
                      </a:cubicBezTo>
                      <a:cubicBezTo>
                        <a:pt x="114776" y="118075"/>
                        <a:pt x="114205" y="122076"/>
                        <a:pt x="112490" y="125314"/>
                      </a:cubicBezTo>
                      <a:cubicBezTo>
                        <a:pt x="110966" y="128838"/>
                        <a:pt x="109252" y="132077"/>
                        <a:pt x="107251" y="135315"/>
                      </a:cubicBezTo>
                      <a:cubicBezTo>
                        <a:pt x="105251" y="138554"/>
                        <a:pt x="103061" y="141602"/>
                        <a:pt x="100774" y="144364"/>
                      </a:cubicBezTo>
                      <a:cubicBezTo>
                        <a:pt x="98298" y="147412"/>
                        <a:pt x="95821" y="150174"/>
                        <a:pt x="92869" y="152651"/>
                      </a:cubicBezTo>
                      <a:cubicBezTo>
                        <a:pt x="89916" y="154937"/>
                        <a:pt x="86201" y="156175"/>
                        <a:pt x="82963" y="157890"/>
                      </a:cubicBezTo>
                      <a:cubicBezTo>
                        <a:pt x="79724" y="159604"/>
                        <a:pt x="76486" y="161700"/>
                        <a:pt x="73057" y="162652"/>
                      </a:cubicBezTo>
                      <a:cubicBezTo>
                        <a:pt x="69342" y="163700"/>
                        <a:pt x="65627" y="162938"/>
                        <a:pt x="61913" y="163128"/>
                      </a:cubicBezTo>
                      <a:cubicBezTo>
                        <a:pt x="58198" y="163128"/>
                        <a:pt x="54197" y="163890"/>
                        <a:pt x="50768" y="162843"/>
                      </a:cubicBezTo>
                      <a:cubicBezTo>
                        <a:pt x="47053" y="162081"/>
                        <a:pt x="43815" y="160080"/>
                        <a:pt x="40576" y="158366"/>
                      </a:cubicBezTo>
                      <a:cubicBezTo>
                        <a:pt x="37338" y="156842"/>
                        <a:pt x="34099" y="155127"/>
                        <a:pt x="31147" y="152556"/>
                      </a:cubicBezTo>
                      <a:cubicBezTo>
                        <a:pt x="28194" y="150270"/>
                        <a:pt x="24955" y="148269"/>
                        <a:pt x="22479" y="145507"/>
                      </a:cubicBezTo>
                      <a:cubicBezTo>
                        <a:pt x="20002" y="142745"/>
                        <a:pt x="17812" y="139506"/>
                        <a:pt x="15526" y="136458"/>
                      </a:cubicBezTo>
                      <a:cubicBezTo>
                        <a:pt x="13525" y="133220"/>
                        <a:pt x="11811" y="129886"/>
                        <a:pt x="10096" y="126648"/>
                      </a:cubicBezTo>
                      <a:cubicBezTo>
                        <a:pt x="8382" y="123123"/>
                        <a:pt x="6668" y="119885"/>
                        <a:pt x="5429" y="116075"/>
                      </a:cubicBezTo>
                      <a:cubicBezTo>
                        <a:pt x="4191" y="112836"/>
                        <a:pt x="4477" y="108836"/>
                        <a:pt x="3429" y="105026"/>
                      </a:cubicBezTo>
                      <a:cubicBezTo>
                        <a:pt x="2667" y="101502"/>
                        <a:pt x="1429" y="97787"/>
                        <a:pt x="952" y="93977"/>
                      </a:cubicBezTo>
                      <a:cubicBezTo>
                        <a:pt x="667" y="90167"/>
                        <a:pt x="0" y="86452"/>
                        <a:pt x="0" y="82642"/>
                      </a:cubicBezTo>
                      <a:cubicBezTo>
                        <a:pt x="0" y="78832"/>
                        <a:pt x="286" y="75117"/>
                        <a:pt x="762" y="71307"/>
                      </a:cubicBezTo>
                      <a:cubicBezTo>
                        <a:pt x="1048" y="67497"/>
                        <a:pt x="1715" y="63783"/>
                        <a:pt x="2476" y="60258"/>
                      </a:cubicBezTo>
                      <a:cubicBezTo>
                        <a:pt x="3239" y="56448"/>
                        <a:pt x="4000" y="52734"/>
                        <a:pt x="4953" y="49209"/>
                      </a:cubicBezTo>
                      <a:cubicBezTo>
                        <a:pt x="6191" y="45399"/>
                        <a:pt x="7715" y="42161"/>
                        <a:pt x="9144" y="38637"/>
                      </a:cubicBezTo>
                      <a:cubicBezTo>
                        <a:pt x="10858" y="35112"/>
                        <a:pt x="12859" y="31874"/>
                        <a:pt x="14573" y="28826"/>
                      </a:cubicBezTo>
                      <a:cubicBezTo>
                        <a:pt x="16764" y="25587"/>
                        <a:pt x="18574" y="22254"/>
                        <a:pt x="21050" y="19491"/>
                      </a:cubicBezTo>
                      <a:cubicBezTo>
                        <a:pt x="23527" y="16443"/>
                        <a:pt x="26765" y="14729"/>
                        <a:pt x="29718" y="12443"/>
                      </a:cubicBezTo>
                      <a:cubicBezTo>
                        <a:pt x="32671" y="9966"/>
                        <a:pt x="35433" y="7680"/>
                        <a:pt x="38671" y="5871"/>
                      </a:cubicBezTo>
                      <a:cubicBezTo>
                        <a:pt x="42100" y="4156"/>
                        <a:pt x="45148" y="1584"/>
                        <a:pt x="48577" y="632"/>
                      </a:cubicBezTo>
                      <a:cubicBezTo>
                        <a:pt x="52292" y="-416"/>
                        <a:pt x="56007" y="156"/>
                        <a:pt x="59722" y="156"/>
                      </a:cubicBezTo>
                      <a:cubicBezTo>
                        <a:pt x="63722" y="156"/>
                        <a:pt x="67151" y="441"/>
                        <a:pt x="70866" y="1394"/>
                      </a:cubicBezTo>
                      <a:cubicBezTo>
                        <a:pt x="74295" y="2156"/>
                        <a:pt x="78010" y="3108"/>
                        <a:pt x="81248" y="4918"/>
                      </a:cubicBezTo>
                      <a:cubicBezTo>
                        <a:pt x="84677" y="6442"/>
                        <a:pt x="87440" y="8919"/>
                        <a:pt x="90392" y="11205"/>
                      </a:cubicBezTo>
                      <a:cubicBezTo>
                        <a:pt x="93345" y="13491"/>
                        <a:pt x="96298" y="15681"/>
                        <a:pt x="98774" y="18729"/>
                      </a:cubicBezTo>
                      <a:cubicBezTo>
                        <a:pt x="101251" y="21206"/>
                        <a:pt x="104013" y="23968"/>
                        <a:pt x="106204" y="27016"/>
                      </a:cubicBezTo>
                      <a:cubicBezTo>
                        <a:pt x="108204" y="30255"/>
                        <a:pt x="109156" y="34065"/>
                        <a:pt x="110871" y="37589"/>
                      </a:cubicBezTo>
                      <a:cubicBezTo>
                        <a:pt x="112395" y="40827"/>
                        <a:pt x="113633" y="44352"/>
                        <a:pt x="114871" y="47876"/>
                      </a:cubicBezTo>
                      <a:cubicBezTo>
                        <a:pt x="116110" y="51400"/>
                        <a:pt x="118110" y="54639"/>
                        <a:pt x="118872" y="58449"/>
                      </a:cubicBezTo>
                      <a:cubicBezTo>
                        <a:pt x="119634" y="62259"/>
                        <a:pt x="120110" y="65973"/>
                        <a:pt x="120587" y="69783"/>
                      </a:cubicBezTo>
                      <a:cubicBezTo>
                        <a:pt x="121158" y="73689"/>
                        <a:pt x="120682" y="77689"/>
                        <a:pt x="120682" y="81404"/>
                      </a:cubicBezTo>
                      <a:lnTo>
                        <a:pt x="120682" y="81404"/>
                      </a:lnTo>
                      <a:lnTo>
                        <a:pt x="120682" y="81404"/>
                      </a:lnTo>
                      <a:lnTo>
                        <a:pt x="120682" y="81404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DD6360BA-B48C-F8E1-6A9C-924DE5365237}"/>
                    </a:ext>
                  </a:extLst>
                </p:cNvPr>
                <p:cNvSpPr/>
                <p:nvPr/>
              </p:nvSpPr>
              <p:spPr>
                <a:xfrm>
                  <a:off x="5320188" y="2875407"/>
                  <a:ext cx="70049" cy="59633"/>
                </a:xfrm>
                <a:custGeom>
                  <a:avLst/>
                  <a:gdLst>
                    <a:gd name="connsiteX0" fmla="*/ 0 w 70049"/>
                    <a:gd name="connsiteY0" fmla="*/ 10763 h 59633"/>
                    <a:gd name="connsiteX1" fmla="*/ 0 w 70049"/>
                    <a:gd name="connsiteY1" fmla="*/ 10763 h 59633"/>
                    <a:gd name="connsiteX2" fmla="*/ 10192 w 70049"/>
                    <a:gd name="connsiteY2" fmla="*/ 13526 h 59633"/>
                    <a:gd name="connsiteX3" fmla="*/ 20574 w 70049"/>
                    <a:gd name="connsiteY3" fmla="*/ 14288 h 59633"/>
                    <a:gd name="connsiteX4" fmla="*/ 30766 w 70049"/>
                    <a:gd name="connsiteY4" fmla="*/ 14764 h 59633"/>
                    <a:gd name="connsiteX5" fmla="*/ 40957 w 70049"/>
                    <a:gd name="connsiteY5" fmla="*/ 12287 h 59633"/>
                    <a:gd name="connsiteX6" fmla="*/ 51149 w 70049"/>
                    <a:gd name="connsiteY6" fmla="*/ 10763 h 59633"/>
                    <a:gd name="connsiteX7" fmla="*/ 60579 w 70049"/>
                    <a:gd name="connsiteY7" fmla="*/ 6286 h 59633"/>
                    <a:gd name="connsiteX8" fmla="*/ 68485 w 70049"/>
                    <a:gd name="connsiteY8" fmla="*/ 0 h 59633"/>
                    <a:gd name="connsiteX9" fmla="*/ 70009 w 70049"/>
                    <a:gd name="connsiteY9" fmla="*/ 10287 h 59633"/>
                    <a:gd name="connsiteX10" fmla="*/ 67532 w 70049"/>
                    <a:gd name="connsiteY10" fmla="*/ 20860 h 59633"/>
                    <a:gd name="connsiteX11" fmla="*/ 63532 w 70049"/>
                    <a:gd name="connsiteY11" fmla="*/ 30861 h 59633"/>
                    <a:gd name="connsiteX12" fmla="*/ 59817 w 70049"/>
                    <a:gd name="connsiteY12" fmla="*/ 41148 h 59633"/>
                    <a:gd name="connsiteX13" fmla="*/ 53150 w 70049"/>
                    <a:gd name="connsiteY13" fmla="*/ 49721 h 59633"/>
                    <a:gd name="connsiteX14" fmla="*/ 45244 w 70049"/>
                    <a:gd name="connsiteY14" fmla="*/ 56769 h 59633"/>
                    <a:gd name="connsiteX15" fmla="*/ 35624 w 70049"/>
                    <a:gd name="connsiteY15" fmla="*/ 59531 h 59633"/>
                    <a:gd name="connsiteX16" fmla="*/ 26194 w 70049"/>
                    <a:gd name="connsiteY16" fmla="*/ 55245 h 59633"/>
                    <a:gd name="connsiteX17" fmla="*/ 18288 w 70049"/>
                    <a:gd name="connsiteY17" fmla="*/ 48482 h 59633"/>
                    <a:gd name="connsiteX18" fmla="*/ 11621 w 70049"/>
                    <a:gd name="connsiteY18" fmla="*/ 40481 h 59633"/>
                    <a:gd name="connsiteX19" fmla="*/ 6191 w 70049"/>
                    <a:gd name="connsiteY19" fmla="*/ 31433 h 59633"/>
                    <a:gd name="connsiteX20" fmla="*/ 1715 w 70049"/>
                    <a:gd name="connsiteY20" fmla="*/ 21908 h 59633"/>
                    <a:gd name="connsiteX21" fmla="*/ 0 w 70049"/>
                    <a:gd name="connsiteY21" fmla="*/ 10763 h 59633"/>
                    <a:gd name="connsiteX22" fmla="*/ 0 w 70049"/>
                    <a:gd name="connsiteY22" fmla="*/ 10763 h 59633"/>
                    <a:gd name="connsiteX23" fmla="*/ 0 w 70049"/>
                    <a:gd name="connsiteY23" fmla="*/ 10763 h 59633"/>
                    <a:gd name="connsiteX24" fmla="*/ 0 w 70049"/>
                    <a:gd name="connsiteY24" fmla="*/ 10763 h 59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70049" h="59633">
                      <a:moveTo>
                        <a:pt x="0" y="10763"/>
                      </a:moveTo>
                      <a:lnTo>
                        <a:pt x="0" y="10763"/>
                      </a:lnTo>
                      <a:cubicBezTo>
                        <a:pt x="4191" y="8001"/>
                        <a:pt x="4001" y="12478"/>
                        <a:pt x="10192" y="13526"/>
                      </a:cubicBezTo>
                      <a:cubicBezTo>
                        <a:pt x="13145" y="13811"/>
                        <a:pt x="16669" y="14002"/>
                        <a:pt x="20574" y="14288"/>
                      </a:cubicBezTo>
                      <a:cubicBezTo>
                        <a:pt x="23813" y="14288"/>
                        <a:pt x="27242" y="15049"/>
                        <a:pt x="30766" y="14764"/>
                      </a:cubicBezTo>
                      <a:cubicBezTo>
                        <a:pt x="34195" y="14478"/>
                        <a:pt x="37433" y="13049"/>
                        <a:pt x="40957" y="12287"/>
                      </a:cubicBezTo>
                      <a:cubicBezTo>
                        <a:pt x="44196" y="11811"/>
                        <a:pt x="47911" y="12002"/>
                        <a:pt x="51149" y="10763"/>
                      </a:cubicBezTo>
                      <a:cubicBezTo>
                        <a:pt x="54388" y="9715"/>
                        <a:pt x="57626" y="8001"/>
                        <a:pt x="60579" y="6286"/>
                      </a:cubicBezTo>
                      <a:cubicBezTo>
                        <a:pt x="63532" y="4572"/>
                        <a:pt x="66008" y="2477"/>
                        <a:pt x="68485" y="0"/>
                      </a:cubicBezTo>
                      <a:cubicBezTo>
                        <a:pt x="69723" y="2762"/>
                        <a:pt x="70199" y="6001"/>
                        <a:pt x="70009" y="10287"/>
                      </a:cubicBezTo>
                      <a:cubicBezTo>
                        <a:pt x="69723" y="13526"/>
                        <a:pt x="68485" y="17050"/>
                        <a:pt x="67532" y="20860"/>
                      </a:cubicBezTo>
                      <a:cubicBezTo>
                        <a:pt x="66580" y="24384"/>
                        <a:pt x="65056" y="27622"/>
                        <a:pt x="63532" y="30861"/>
                      </a:cubicBezTo>
                      <a:cubicBezTo>
                        <a:pt x="62294" y="34385"/>
                        <a:pt x="61531" y="38100"/>
                        <a:pt x="59817" y="41148"/>
                      </a:cubicBezTo>
                      <a:cubicBezTo>
                        <a:pt x="58103" y="44387"/>
                        <a:pt x="55340" y="46958"/>
                        <a:pt x="53150" y="49721"/>
                      </a:cubicBezTo>
                      <a:cubicBezTo>
                        <a:pt x="50673" y="52769"/>
                        <a:pt x="48197" y="54769"/>
                        <a:pt x="45244" y="56769"/>
                      </a:cubicBezTo>
                      <a:cubicBezTo>
                        <a:pt x="42291" y="58769"/>
                        <a:pt x="39338" y="60008"/>
                        <a:pt x="35624" y="59531"/>
                      </a:cubicBezTo>
                      <a:cubicBezTo>
                        <a:pt x="32671" y="59055"/>
                        <a:pt x="29432" y="57245"/>
                        <a:pt x="26194" y="55245"/>
                      </a:cubicBezTo>
                      <a:cubicBezTo>
                        <a:pt x="23431" y="53531"/>
                        <a:pt x="20955" y="50959"/>
                        <a:pt x="18288" y="48482"/>
                      </a:cubicBezTo>
                      <a:cubicBezTo>
                        <a:pt x="16097" y="46006"/>
                        <a:pt x="13811" y="43434"/>
                        <a:pt x="11621" y="40481"/>
                      </a:cubicBezTo>
                      <a:cubicBezTo>
                        <a:pt x="9620" y="37719"/>
                        <a:pt x="7620" y="34671"/>
                        <a:pt x="6191" y="31433"/>
                      </a:cubicBezTo>
                      <a:cubicBezTo>
                        <a:pt x="4667" y="28384"/>
                        <a:pt x="2762" y="25146"/>
                        <a:pt x="1715" y="21908"/>
                      </a:cubicBezTo>
                      <a:cubicBezTo>
                        <a:pt x="476" y="18288"/>
                        <a:pt x="286" y="14288"/>
                        <a:pt x="0" y="10763"/>
                      </a:cubicBezTo>
                      <a:lnTo>
                        <a:pt x="0" y="10763"/>
                      </a:lnTo>
                      <a:lnTo>
                        <a:pt x="0" y="10763"/>
                      </a:lnTo>
                      <a:lnTo>
                        <a:pt x="0" y="10763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98BE3FAE-65B7-C252-5F37-0B7CAA57FB3E}"/>
                    </a:ext>
                  </a:extLst>
                </p:cNvPr>
                <p:cNvSpPr/>
                <p:nvPr/>
              </p:nvSpPr>
              <p:spPr>
                <a:xfrm>
                  <a:off x="4964810" y="3359427"/>
                  <a:ext cx="675513" cy="17272"/>
                </a:xfrm>
                <a:custGeom>
                  <a:avLst/>
                  <a:gdLst>
                    <a:gd name="connsiteX0" fmla="*/ 675513 w 675513"/>
                    <a:gd name="connsiteY0" fmla="*/ 15280 h 17272"/>
                    <a:gd name="connsiteX1" fmla="*/ 675513 w 675513"/>
                    <a:gd name="connsiteY1" fmla="*/ 15280 h 17272"/>
                    <a:gd name="connsiteX2" fmla="*/ 664845 w 675513"/>
                    <a:gd name="connsiteY2" fmla="*/ 15566 h 17272"/>
                    <a:gd name="connsiteX3" fmla="*/ 653987 w 675513"/>
                    <a:gd name="connsiteY3" fmla="*/ 14804 h 17272"/>
                    <a:gd name="connsiteX4" fmla="*/ 643128 w 675513"/>
                    <a:gd name="connsiteY4" fmla="*/ 15852 h 17272"/>
                    <a:gd name="connsiteX5" fmla="*/ 632460 w 675513"/>
                    <a:gd name="connsiteY5" fmla="*/ 15375 h 17272"/>
                    <a:gd name="connsiteX6" fmla="*/ 621602 w 675513"/>
                    <a:gd name="connsiteY6" fmla="*/ 15090 h 17272"/>
                    <a:gd name="connsiteX7" fmla="*/ 610743 w 675513"/>
                    <a:gd name="connsiteY7" fmla="*/ 14804 h 17272"/>
                    <a:gd name="connsiteX8" fmla="*/ 600075 w 675513"/>
                    <a:gd name="connsiteY8" fmla="*/ 16328 h 17272"/>
                    <a:gd name="connsiteX9" fmla="*/ 589217 w 675513"/>
                    <a:gd name="connsiteY9" fmla="*/ 15280 h 17272"/>
                    <a:gd name="connsiteX10" fmla="*/ 578549 w 675513"/>
                    <a:gd name="connsiteY10" fmla="*/ 15566 h 17272"/>
                    <a:gd name="connsiteX11" fmla="*/ 567690 w 675513"/>
                    <a:gd name="connsiteY11" fmla="*/ 15566 h 17272"/>
                    <a:gd name="connsiteX12" fmla="*/ 556832 w 675513"/>
                    <a:gd name="connsiteY12" fmla="*/ 15280 h 17272"/>
                    <a:gd name="connsiteX13" fmla="*/ 546164 w 675513"/>
                    <a:gd name="connsiteY13" fmla="*/ 15280 h 17272"/>
                    <a:gd name="connsiteX14" fmla="*/ 535305 w 675513"/>
                    <a:gd name="connsiteY14" fmla="*/ 15566 h 17272"/>
                    <a:gd name="connsiteX15" fmla="*/ 524637 w 675513"/>
                    <a:gd name="connsiteY15" fmla="*/ 15090 h 17272"/>
                    <a:gd name="connsiteX16" fmla="*/ 513779 w 675513"/>
                    <a:gd name="connsiteY16" fmla="*/ 16137 h 17272"/>
                    <a:gd name="connsiteX17" fmla="*/ 502920 w 675513"/>
                    <a:gd name="connsiteY17" fmla="*/ 14899 h 17272"/>
                    <a:gd name="connsiteX18" fmla="*/ 492062 w 675513"/>
                    <a:gd name="connsiteY18" fmla="*/ 15185 h 17272"/>
                    <a:gd name="connsiteX19" fmla="*/ 481394 w 675513"/>
                    <a:gd name="connsiteY19" fmla="*/ 15947 h 17272"/>
                    <a:gd name="connsiteX20" fmla="*/ 470535 w 675513"/>
                    <a:gd name="connsiteY20" fmla="*/ 16423 h 17272"/>
                    <a:gd name="connsiteX21" fmla="*/ 459677 w 675513"/>
                    <a:gd name="connsiteY21" fmla="*/ 14899 h 17272"/>
                    <a:gd name="connsiteX22" fmla="*/ 449009 w 675513"/>
                    <a:gd name="connsiteY22" fmla="*/ 15375 h 17272"/>
                    <a:gd name="connsiteX23" fmla="*/ 438150 w 675513"/>
                    <a:gd name="connsiteY23" fmla="*/ 16423 h 17272"/>
                    <a:gd name="connsiteX24" fmla="*/ 427292 w 675513"/>
                    <a:gd name="connsiteY24" fmla="*/ 14899 h 17272"/>
                    <a:gd name="connsiteX25" fmla="*/ 416624 w 675513"/>
                    <a:gd name="connsiteY25" fmla="*/ 15375 h 17272"/>
                    <a:gd name="connsiteX26" fmla="*/ 405765 w 675513"/>
                    <a:gd name="connsiteY26" fmla="*/ 15661 h 17272"/>
                    <a:gd name="connsiteX27" fmla="*/ 394907 w 675513"/>
                    <a:gd name="connsiteY27" fmla="*/ 15375 h 17272"/>
                    <a:gd name="connsiteX28" fmla="*/ 384239 w 675513"/>
                    <a:gd name="connsiteY28" fmla="*/ 15852 h 17272"/>
                    <a:gd name="connsiteX29" fmla="*/ 373380 w 675513"/>
                    <a:gd name="connsiteY29" fmla="*/ 15375 h 17272"/>
                    <a:gd name="connsiteX30" fmla="*/ 362522 w 675513"/>
                    <a:gd name="connsiteY30" fmla="*/ 15661 h 17272"/>
                    <a:gd name="connsiteX31" fmla="*/ 351663 w 675513"/>
                    <a:gd name="connsiteY31" fmla="*/ 15185 h 17272"/>
                    <a:gd name="connsiteX32" fmla="*/ 340995 w 675513"/>
                    <a:gd name="connsiteY32" fmla="*/ 15661 h 17272"/>
                    <a:gd name="connsiteX33" fmla="*/ 330137 w 675513"/>
                    <a:gd name="connsiteY33" fmla="*/ 16137 h 17272"/>
                    <a:gd name="connsiteX34" fmla="*/ 319278 w 675513"/>
                    <a:gd name="connsiteY34" fmla="*/ 16423 h 17272"/>
                    <a:gd name="connsiteX35" fmla="*/ 308610 w 675513"/>
                    <a:gd name="connsiteY35" fmla="*/ 16137 h 17272"/>
                    <a:gd name="connsiteX36" fmla="*/ 297752 w 675513"/>
                    <a:gd name="connsiteY36" fmla="*/ 15375 h 17272"/>
                    <a:gd name="connsiteX37" fmla="*/ 286893 w 675513"/>
                    <a:gd name="connsiteY37" fmla="*/ 15852 h 17272"/>
                    <a:gd name="connsiteX38" fmla="*/ 276225 w 675513"/>
                    <a:gd name="connsiteY38" fmla="*/ 15852 h 17272"/>
                    <a:gd name="connsiteX39" fmla="*/ 265367 w 675513"/>
                    <a:gd name="connsiteY39" fmla="*/ 15852 h 17272"/>
                    <a:gd name="connsiteX40" fmla="*/ 254508 w 675513"/>
                    <a:gd name="connsiteY40" fmla="*/ 15090 h 17272"/>
                    <a:gd name="connsiteX41" fmla="*/ 243840 w 675513"/>
                    <a:gd name="connsiteY41" fmla="*/ 14804 h 17272"/>
                    <a:gd name="connsiteX42" fmla="*/ 232982 w 675513"/>
                    <a:gd name="connsiteY42" fmla="*/ 16042 h 17272"/>
                    <a:gd name="connsiteX43" fmla="*/ 222314 w 675513"/>
                    <a:gd name="connsiteY43" fmla="*/ 15280 h 17272"/>
                    <a:gd name="connsiteX44" fmla="*/ 211455 w 675513"/>
                    <a:gd name="connsiteY44" fmla="*/ 16042 h 17272"/>
                    <a:gd name="connsiteX45" fmla="*/ 202787 w 675513"/>
                    <a:gd name="connsiteY45" fmla="*/ 11756 h 17272"/>
                    <a:gd name="connsiteX46" fmla="*/ 193834 w 675513"/>
                    <a:gd name="connsiteY46" fmla="*/ 8232 h 17272"/>
                    <a:gd name="connsiteX47" fmla="*/ 185166 w 675513"/>
                    <a:gd name="connsiteY47" fmla="*/ 4422 h 17272"/>
                    <a:gd name="connsiteX48" fmla="*/ 176784 w 675513"/>
                    <a:gd name="connsiteY48" fmla="*/ 1183 h 17272"/>
                    <a:gd name="connsiteX49" fmla="*/ 181451 w 675513"/>
                    <a:gd name="connsiteY49" fmla="*/ 7755 h 17272"/>
                    <a:gd name="connsiteX50" fmla="*/ 185166 w 675513"/>
                    <a:gd name="connsiteY50" fmla="*/ 15756 h 17272"/>
                    <a:gd name="connsiteX51" fmla="*/ 174784 w 675513"/>
                    <a:gd name="connsiteY51" fmla="*/ 10518 h 17272"/>
                    <a:gd name="connsiteX52" fmla="*/ 164592 w 675513"/>
                    <a:gd name="connsiteY52" fmla="*/ 5279 h 17272"/>
                    <a:gd name="connsiteX53" fmla="*/ 153924 w 675513"/>
                    <a:gd name="connsiteY53" fmla="*/ 516 h 17272"/>
                    <a:gd name="connsiteX54" fmla="*/ 158115 w 675513"/>
                    <a:gd name="connsiteY54" fmla="*/ 8041 h 17272"/>
                    <a:gd name="connsiteX55" fmla="*/ 161544 w 675513"/>
                    <a:gd name="connsiteY55" fmla="*/ 15566 h 17272"/>
                    <a:gd name="connsiteX56" fmla="*/ 150686 w 675513"/>
                    <a:gd name="connsiteY56" fmla="*/ 15280 h 17272"/>
                    <a:gd name="connsiteX57" fmla="*/ 140018 w 675513"/>
                    <a:gd name="connsiteY57" fmla="*/ 14804 h 17272"/>
                    <a:gd name="connsiteX58" fmla="*/ 129159 w 675513"/>
                    <a:gd name="connsiteY58" fmla="*/ 15566 h 17272"/>
                    <a:gd name="connsiteX59" fmla="*/ 118491 w 675513"/>
                    <a:gd name="connsiteY59" fmla="*/ 14804 h 17272"/>
                    <a:gd name="connsiteX60" fmla="*/ 107633 w 675513"/>
                    <a:gd name="connsiteY60" fmla="*/ 15566 h 17272"/>
                    <a:gd name="connsiteX61" fmla="*/ 96965 w 675513"/>
                    <a:gd name="connsiteY61" fmla="*/ 15852 h 17272"/>
                    <a:gd name="connsiteX62" fmla="*/ 86106 w 675513"/>
                    <a:gd name="connsiteY62" fmla="*/ 15090 h 17272"/>
                    <a:gd name="connsiteX63" fmla="*/ 75438 w 675513"/>
                    <a:gd name="connsiteY63" fmla="*/ 15375 h 17272"/>
                    <a:gd name="connsiteX64" fmla="*/ 64580 w 675513"/>
                    <a:gd name="connsiteY64" fmla="*/ 15661 h 17272"/>
                    <a:gd name="connsiteX65" fmla="*/ 53912 w 675513"/>
                    <a:gd name="connsiteY65" fmla="*/ 15947 h 17272"/>
                    <a:gd name="connsiteX66" fmla="*/ 43053 w 675513"/>
                    <a:gd name="connsiteY66" fmla="*/ 15947 h 17272"/>
                    <a:gd name="connsiteX67" fmla="*/ 32385 w 675513"/>
                    <a:gd name="connsiteY67" fmla="*/ 15661 h 17272"/>
                    <a:gd name="connsiteX68" fmla="*/ 21527 w 675513"/>
                    <a:gd name="connsiteY68" fmla="*/ 15661 h 17272"/>
                    <a:gd name="connsiteX69" fmla="*/ 10859 w 675513"/>
                    <a:gd name="connsiteY69" fmla="*/ 15375 h 17272"/>
                    <a:gd name="connsiteX70" fmla="*/ 0 w 675513"/>
                    <a:gd name="connsiteY70" fmla="*/ 15090 h 17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75513" h="17272">
                      <a:moveTo>
                        <a:pt x="675513" y="15280"/>
                      </a:moveTo>
                      <a:lnTo>
                        <a:pt x="675513" y="15280"/>
                      </a:lnTo>
                      <a:cubicBezTo>
                        <a:pt x="672084" y="15280"/>
                        <a:pt x="668369" y="15566"/>
                        <a:pt x="664845" y="15566"/>
                      </a:cubicBezTo>
                      <a:cubicBezTo>
                        <a:pt x="661130" y="15566"/>
                        <a:pt x="657701" y="14804"/>
                        <a:pt x="653987" y="14804"/>
                      </a:cubicBezTo>
                      <a:cubicBezTo>
                        <a:pt x="650558" y="14804"/>
                        <a:pt x="646843" y="15852"/>
                        <a:pt x="643128" y="15852"/>
                      </a:cubicBezTo>
                      <a:cubicBezTo>
                        <a:pt x="639699" y="15852"/>
                        <a:pt x="635984" y="15375"/>
                        <a:pt x="632460" y="15375"/>
                      </a:cubicBezTo>
                      <a:cubicBezTo>
                        <a:pt x="628745" y="15375"/>
                        <a:pt x="625316" y="15090"/>
                        <a:pt x="621602" y="15090"/>
                      </a:cubicBezTo>
                      <a:cubicBezTo>
                        <a:pt x="618173" y="15090"/>
                        <a:pt x="614458" y="14804"/>
                        <a:pt x="610743" y="14804"/>
                      </a:cubicBezTo>
                      <a:cubicBezTo>
                        <a:pt x="607314" y="14804"/>
                        <a:pt x="603599" y="16328"/>
                        <a:pt x="600075" y="16328"/>
                      </a:cubicBezTo>
                      <a:cubicBezTo>
                        <a:pt x="596360" y="16328"/>
                        <a:pt x="592931" y="15280"/>
                        <a:pt x="589217" y="15280"/>
                      </a:cubicBezTo>
                      <a:cubicBezTo>
                        <a:pt x="585788" y="15280"/>
                        <a:pt x="582073" y="15566"/>
                        <a:pt x="578549" y="15566"/>
                      </a:cubicBezTo>
                      <a:cubicBezTo>
                        <a:pt x="574834" y="15566"/>
                        <a:pt x="571405" y="15566"/>
                        <a:pt x="567690" y="15566"/>
                      </a:cubicBezTo>
                      <a:cubicBezTo>
                        <a:pt x="564261" y="15566"/>
                        <a:pt x="560546" y="15280"/>
                        <a:pt x="556832" y="15280"/>
                      </a:cubicBezTo>
                      <a:cubicBezTo>
                        <a:pt x="553403" y="15280"/>
                        <a:pt x="549688" y="15280"/>
                        <a:pt x="546164" y="15280"/>
                      </a:cubicBezTo>
                      <a:cubicBezTo>
                        <a:pt x="542449" y="15280"/>
                        <a:pt x="539020" y="15566"/>
                        <a:pt x="535305" y="15566"/>
                      </a:cubicBezTo>
                      <a:cubicBezTo>
                        <a:pt x="531876" y="15566"/>
                        <a:pt x="528161" y="15090"/>
                        <a:pt x="524637" y="15090"/>
                      </a:cubicBezTo>
                      <a:cubicBezTo>
                        <a:pt x="520922" y="15090"/>
                        <a:pt x="517208" y="16137"/>
                        <a:pt x="513779" y="16137"/>
                      </a:cubicBezTo>
                      <a:cubicBezTo>
                        <a:pt x="510064" y="16137"/>
                        <a:pt x="506635" y="14899"/>
                        <a:pt x="502920" y="14899"/>
                      </a:cubicBezTo>
                      <a:cubicBezTo>
                        <a:pt x="499491" y="14899"/>
                        <a:pt x="495776" y="15185"/>
                        <a:pt x="492062" y="15185"/>
                      </a:cubicBezTo>
                      <a:cubicBezTo>
                        <a:pt x="488633" y="15185"/>
                        <a:pt x="484918" y="15947"/>
                        <a:pt x="481394" y="15947"/>
                      </a:cubicBezTo>
                      <a:cubicBezTo>
                        <a:pt x="477679" y="15947"/>
                        <a:pt x="474250" y="16423"/>
                        <a:pt x="470535" y="16423"/>
                      </a:cubicBezTo>
                      <a:cubicBezTo>
                        <a:pt x="466820" y="16423"/>
                        <a:pt x="463391" y="14899"/>
                        <a:pt x="459677" y="14899"/>
                      </a:cubicBezTo>
                      <a:cubicBezTo>
                        <a:pt x="456248" y="14899"/>
                        <a:pt x="452533" y="15375"/>
                        <a:pt x="449009" y="15375"/>
                      </a:cubicBezTo>
                      <a:cubicBezTo>
                        <a:pt x="445294" y="15375"/>
                        <a:pt x="441579" y="16423"/>
                        <a:pt x="438150" y="16423"/>
                      </a:cubicBezTo>
                      <a:cubicBezTo>
                        <a:pt x="434435" y="16423"/>
                        <a:pt x="431006" y="14899"/>
                        <a:pt x="427292" y="14899"/>
                      </a:cubicBezTo>
                      <a:cubicBezTo>
                        <a:pt x="423863" y="14899"/>
                        <a:pt x="420148" y="15375"/>
                        <a:pt x="416624" y="15375"/>
                      </a:cubicBezTo>
                      <a:cubicBezTo>
                        <a:pt x="412909" y="15375"/>
                        <a:pt x="409194" y="15661"/>
                        <a:pt x="405765" y="15661"/>
                      </a:cubicBezTo>
                      <a:cubicBezTo>
                        <a:pt x="402050" y="15661"/>
                        <a:pt x="398621" y="15375"/>
                        <a:pt x="394907" y="15375"/>
                      </a:cubicBezTo>
                      <a:cubicBezTo>
                        <a:pt x="391478" y="15375"/>
                        <a:pt x="387763" y="15852"/>
                        <a:pt x="384239" y="15852"/>
                      </a:cubicBezTo>
                      <a:cubicBezTo>
                        <a:pt x="380524" y="15852"/>
                        <a:pt x="376809" y="15375"/>
                        <a:pt x="373380" y="15375"/>
                      </a:cubicBezTo>
                      <a:cubicBezTo>
                        <a:pt x="369665" y="15375"/>
                        <a:pt x="366236" y="15661"/>
                        <a:pt x="362522" y="15661"/>
                      </a:cubicBezTo>
                      <a:cubicBezTo>
                        <a:pt x="358807" y="15661"/>
                        <a:pt x="355378" y="15185"/>
                        <a:pt x="351663" y="15185"/>
                      </a:cubicBezTo>
                      <a:cubicBezTo>
                        <a:pt x="348234" y="15185"/>
                        <a:pt x="344519" y="15661"/>
                        <a:pt x="340995" y="15661"/>
                      </a:cubicBezTo>
                      <a:cubicBezTo>
                        <a:pt x="337280" y="15661"/>
                        <a:pt x="333565" y="16137"/>
                        <a:pt x="330137" y="16137"/>
                      </a:cubicBezTo>
                      <a:cubicBezTo>
                        <a:pt x="326422" y="16137"/>
                        <a:pt x="322993" y="16423"/>
                        <a:pt x="319278" y="16423"/>
                      </a:cubicBezTo>
                      <a:cubicBezTo>
                        <a:pt x="315563" y="16423"/>
                        <a:pt x="312134" y="16137"/>
                        <a:pt x="308610" y="16137"/>
                      </a:cubicBezTo>
                      <a:cubicBezTo>
                        <a:pt x="304895" y="16137"/>
                        <a:pt x="301181" y="15375"/>
                        <a:pt x="297752" y="15375"/>
                      </a:cubicBezTo>
                      <a:cubicBezTo>
                        <a:pt x="294037" y="15375"/>
                        <a:pt x="290608" y="15852"/>
                        <a:pt x="286893" y="15852"/>
                      </a:cubicBezTo>
                      <a:cubicBezTo>
                        <a:pt x="283178" y="15852"/>
                        <a:pt x="279749" y="15852"/>
                        <a:pt x="276225" y="15852"/>
                      </a:cubicBezTo>
                      <a:cubicBezTo>
                        <a:pt x="272510" y="15852"/>
                        <a:pt x="268796" y="15852"/>
                        <a:pt x="265367" y="15852"/>
                      </a:cubicBezTo>
                      <a:cubicBezTo>
                        <a:pt x="261652" y="15852"/>
                        <a:pt x="257937" y="15090"/>
                        <a:pt x="254508" y="15090"/>
                      </a:cubicBezTo>
                      <a:cubicBezTo>
                        <a:pt x="250793" y="15090"/>
                        <a:pt x="247079" y="14804"/>
                        <a:pt x="243840" y="14804"/>
                      </a:cubicBezTo>
                      <a:cubicBezTo>
                        <a:pt x="239840" y="14804"/>
                        <a:pt x="236125" y="16042"/>
                        <a:pt x="232982" y="16042"/>
                      </a:cubicBezTo>
                      <a:cubicBezTo>
                        <a:pt x="228791" y="16042"/>
                        <a:pt x="225266" y="15280"/>
                        <a:pt x="222314" y="15280"/>
                      </a:cubicBezTo>
                      <a:cubicBezTo>
                        <a:pt x="215170" y="15280"/>
                        <a:pt x="216408" y="17566"/>
                        <a:pt x="211455" y="16042"/>
                      </a:cubicBezTo>
                      <a:cubicBezTo>
                        <a:pt x="206788" y="14518"/>
                        <a:pt x="207264" y="13566"/>
                        <a:pt x="202787" y="11756"/>
                      </a:cubicBezTo>
                      <a:cubicBezTo>
                        <a:pt x="198311" y="9756"/>
                        <a:pt x="198311" y="10232"/>
                        <a:pt x="193834" y="8232"/>
                      </a:cubicBezTo>
                      <a:cubicBezTo>
                        <a:pt x="189357" y="6517"/>
                        <a:pt x="189643" y="6231"/>
                        <a:pt x="185166" y="4422"/>
                      </a:cubicBezTo>
                      <a:cubicBezTo>
                        <a:pt x="180689" y="2707"/>
                        <a:pt x="180499" y="-2151"/>
                        <a:pt x="176784" y="1183"/>
                      </a:cubicBezTo>
                      <a:cubicBezTo>
                        <a:pt x="173545" y="3945"/>
                        <a:pt x="179261" y="3945"/>
                        <a:pt x="181451" y="7755"/>
                      </a:cubicBezTo>
                      <a:cubicBezTo>
                        <a:pt x="183452" y="11565"/>
                        <a:pt x="189167" y="14042"/>
                        <a:pt x="185166" y="15756"/>
                      </a:cubicBezTo>
                      <a:cubicBezTo>
                        <a:pt x="179927" y="18042"/>
                        <a:pt x="179927" y="12994"/>
                        <a:pt x="174784" y="10518"/>
                      </a:cubicBezTo>
                      <a:cubicBezTo>
                        <a:pt x="169545" y="8041"/>
                        <a:pt x="169831" y="7755"/>
                        <a:pt x="164592" y="5279"/>
                      </a:cubicBezTo>
                      <a:cubicBezTo>
                        <a:pt x="159353" y="2802"/>
                        <a:pt x="159353" y="-1484"/>
                        <a:pt x="153924" y="516"/>
                      </a:cubicBezTo>
                      <a:cubicBezTo>
                        <a:pt x="150209" y="2040"/>
                        <a:pt x="156115" y="4326"/>
                        <a:pt x="158115" y="8041"/>
                      </a:cubicBezTo>
                      <a:cubicBezTo>
                        <a:pt x="159830" y="11565"/>
                        <a:pt x="164306" y="12518"/>
                        <a:pt x="161544" y="15566"/>
                      </a:cubicBezTo>
                      <a:cubicBezTo>
                        <a:pt x="157829" y="19566"/>
                        <a:pt x="156115" y="15280"/>
                        <a:pt x="150686" y="15280"/>
                      </a:cubicBezTo>
                      <a:cubicBezTo>
                        <a:pt x="145256" y="15280"/>
                        <a:pt x="145256" y="14804"/>
                        <a:pt x="140018" y="14804"/>
                      </a:cubicBezTo>
                      <a:cubicBezTo>
                        <a:pt x="134588" y="14804"/>
                        <a:pt x="134588" y="15566"/>
                        <a:pt x="129159" y="15566"/>
                      </a:cubicBezTo>
                      <a:cubicBezTo>
                        <a:pt x="123730" y="15566"/>
                        <a:pt x="123730" y="14804"/>
                        <a:pt x="118491" y="14804"/>
                      </a:cubicBezTo>
                      <a:cubicBezTo>
                        <a:pt x="113062" y="14804"/>
                        <a:pt x="113062" y="15566"/>
                        <a:pt x="107633" y="15566"/>
                      </a:cubicBezTo>
                      <a:cubicBezTo>
                        <a:pt x="102203" y="15566"/>
                        <a:pt x="102203" y="15852"/>
                        <a:pt x="96965" y="15852"/>
                      </a:cubicBezTo>
                      <a:cubicBezTo>
                        <a:pt x="91535" y="15852"/>
                        <a:pt x="91535" y="15090"/>
                        <a:pt x="86106" y="15090"/>
                      </a:cubicBezTo>
                      <a:cubicBezTo>
                        <a:pt x="80677" y="15090"/>
                        <a:pt x="80677" y="15375"/>
                        <a:pt x="75438" y="15375"/>
                      </a:cubicBezTo>
                      <a:cubicBezTo>
                        <a:pt x="70009" y="15375"/>
                        <a:pt x="70009" y="15661"/>
                        <a:pt x="64580" y="15661"/>
                      </a:cubicBezTo>
                      <a:cubicBezTo>
                        <a:pt x="59150" y="15661"/>
                        <a:pt x="59150" y="15947"/>
                        <a:pt x="53912" y="15947"/>
                      </a:cubicBezTo>
                      <a:cubicBezTo>
                        <a:pt x="48482" y="15947"/>
                        <a:pt x="48482" y="15947"/>
                        <a:pt x="43053" y="15947"/>
                      </a:cubicBezTo>
                      <a:cubicBezTo>
                        <a:pt x="37624" y="15947"/>
                        <a:pt x="37624" y="15661"/>
                        <a:pt x="32385" y="15661"/>
                      </a:cubicBezTo>
                      <a:cubicBezTo>
                        <a:pt x="26956" y="15661"/>
                        <a:pt x="26956" y="15661"/>
                        <a:pt x="21527" y="15661"/>
                      </a:cubicBezTo>
                      <a:cubicBezTo>
                        <a:pt x="16097" y="15661"/>
                        <a:pt x="16097" y="15375"/>
                        <a:pt x="10859" y="15375"/>
                      </a:cubicBezTo>
                      <a:cubicBezTo>
                        <a:pt x="5429" y="15375"/>
                        <a:pt x="5429" y="15090"/>
                        <a:pt x="0" y="1509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62464D99-5415-3AE6-97EE-5F3543278103}"/>
                    </a:ext>
                  </a:extLst>
                </p:cNvPr>
                <p:cNvSpPr/>
                <p:nvPr/>
              </p:nvSpPr>
              <p:spPr>
                <a:xfrm>
                  <a:off x="5680233" y="3374326"/>
                  <a:ext cx="389382" cy="1238"/>
                </a:xfrm>
                <a:custGeom>
                  <a:avLst/>
                  <a:gdLst>
                    <a:gd name="connsiteX0" fmla="*/ 389382 w 389382"/>
                    <a:gd name="connsiteY0" fmla="*/ 857 h 1238"/>
                    <a:gd name="connsiteX1" fmla="*/ 389382 w 389382"/>
                    <a:gd name="connsiteY1" fmla="*/ 857 h 1238"/>
                    <a:gd name="connsiteX2" fmla="*/ 379190 w 389382"/>
                    <a:gd name="connsiteY2" fmla="*/ 381 h 1238"/>
                    <a:gd name="connsiteX3" fmla="*/ 83058 w 389382"/>
                    <a:gd name="connsiteY3" fmla="*/ 667 h 1238"/>
                    <a:gd name="connsiteX4" fmla="*/ 72676 w 389382"/>
                    <a:gd name="connsiteY4" fmla="*/ 953 h 1238"/>
                    <a:gd name="connsiteX5" fmla="*/ 62294 w 389382"/>
                    <a:gd name="connsiteY5" fmla="*/ 476 h 1238"/>
                    <a:gd name="connsiteX6" fmla="*/ 51911 w 389382"/>
                    <a:gd name="connsiteY6" fmla="*/ 476 h 1238"/>
                    <a:gd name="connsiteX7" fmla="*/ 41529 w 389382"/>
                    <a:gd name="connsiteY7" fmla="*/ 0 h 1238"/>
                    <a:gd name="connsiteX8" fmla="*/ 31147 w 389382"/>
                    <a:gd name="connsiteY8" fmla="*/ 1238 h 1238"/>
                    <a:gd name="connsiteX9" fmla="*/ 20765 w 389382"/>
                    <a:gd name="connsiteY9" fmla="*/ 953 h 1238"/>
                    <a:gd name="connsiteX10" fmla="*/ 10382 w 389382"/>
                    <a:gd name="connsiteY10" fmla="*/ 1238 h 1238"/>
                    <a:gd name="connsiteX11" fmla="*/ 0 w 389382"/>
                    <a:gd name="connsiteY11" fmla="*/ 0 h 1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9382" h="1238">
                      <a:moveTo>
                        <a:pt x="389382" y="857"/>
                      </a:moveTo>
                      <a:lnTo>
                        <a:pt x="389382" y="857"/>
                      </a:lnTo>
                      <a:cubicBezTo>
                        <a:pt x="388620" y="857"/>
                        <a:pt x="384905" y="381"/>
                        <a:pt x="379190" y="381"/>
                      </a:cubicBezTo>
                      <a:cubicBezTo>
                        <a:pt x="376238" y="381"/>
                        <a:pt x="86963" y="667"/>
                        <a:pt x="83058" y="667"/>
                      </a:cubicBezTo>
                      <a:cubicBezTo>
                        <a:pt x="79820" y="667"/>
                        <a:pt x="76391" y="953"/>
                        <a:pt x="72676" y="953"/>
                      </a:cubicBezTo>
                      <a:cubicBezTo>
                        <a:pt x="69437" y="953"/>
                        <a:pt x="66008" y="476"/>
                        <a:pt x="62294" y="476"/>
                      </a:cubicBezTo>
                      <a:cubicBezTo>
                        <a:pt x="59055" y="476"/>
                        <a:pt x="55626" y="476"/>
                        <a:pt x="51911" y="476"/>
                      </a:cubicBezTo>
                      <a:cubicBezTo>
                        <a:pt x="48482" y="476"/>
                        <a:pt x="45244" y="0"/>
                        <a:pt x="41529" y="0"/>
                      </a:cubicBezTo>
                      <a:cubicBezTo>
                        <a:pt x="38100" y="0"/>
                        <a:pt x="34576" y="1238"/>
                        <a:pt x="31147" y="1238"/>
                      </a:cubicBezTo>
                      <a:cubicBezTo>
                        <a:pt x="27718" y="1238"/>
                        <a:pt x="24194" y="953"/>
                        <a:pt x="20765" y="953"/>
                      </a:cubicBezTo>
                      <a:cubicBezTo>
                        <a:pt x="17335" y="953"/>
                        <a:pt x="13811" y="1238"/>
                        <a:pt x="10382" y="1238"/>
                      </a:cubicBezTo>
                      <a:cubicBezTo>
                        <a:pt x="6953" y="1238"/>
                        <a:pt x="342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00C44916-4FA2-FC1A-2DA6-85FDB3A7831C}"/>
                    </a:ext>
                  </a:extLst>
                </p:cNvPr>
                <p:cNvSpPr/>
                <p:nvPr/>
              </p:nvSpPr>
              <p:spPr>
                <a:xfrm>
                  <a:off x="5827823" y="2869730"/>
                  <a:ext cx="87217" cy="77700"/>
                </a:xfrm>
                <a:custGeom>
                  <a:avLst/>
                  <a:gdLst>
                    <a:gd name="connsiteX0" fmla="*/ 1000 w 87217"/>
                    <a:gd name="connsiteY0" fmla="*/ 9677 h 77700"/>
                    <a:gd name="connsiteX1" fmla="*/ 50816 w 87217"/>
                    <a:gd name="connsiteY1" fmla="*/ 2152 h 77700"/>
                    <a:gd name="connsiteX2" fmla="*/ 49482 w 87217"/>
                    <a:gd name="connsiteY2" fmla="*/ 818 h 77700"/>
                    <a:gd name="connsiteX3" fmla="*/ 85392 w 87217"/>
                    <a:gd name="connsiteY3" fmla="*/ 77399 h 77700"/>
                    <a:gd name="connsiteX4" fmla="*/ 86916 w 87217"/>
                    <a:gd name="connsiteY4" fmla="*/ 75875 h 77700"/>
                    <a:gd name="connsiteX5" fmla="*/ 51578 w 87217"/>
                    <a:gd name="connsiteY5" fmla="*/ 1390 h 77700"/>
                    <a:gd name="connsiteX6" fmla="*/ 50244 w 87217"/>
                    <a:gd name="connsiteY6" fmla="*/ 56 h 77700"/>
                    <a:gd name="connsiteX7" fmla="*/ 1000 w 87217"/>
                    <a:gd name="connsiteY7" fmla="*/ 7486 h 77700"/>
                    <a:gd name="connsiteX8" fmla="*/ 1000 w 87217"/>
                    <a:gd name="connsiteY8" fmla="*/ 9677 h 77700"/>
                    <a:gd name="connsiteX9" fmla="*/ 1000 w 87217"/>
                    <a:gd name="connsiteY9" fmla="*/ 9677 h 77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7217" h="77700">
                      <a:moveTo>
                        <a:pt x="1000" y="9677"/>
                      </a:moveTo>
                      <a:cubicBezTo>
                        <a:pt x="18050" y="11105"/>
                        <a:pt x="35004" y="8534"/>
                        <a:pt x="50816" y="2152"/>
                      </a:cubicBezTo>
                      <a:cubicBezTo>
                        <a:pt x="50340" y="1676"/>
                        <a:pt x="49959" y="1295"/>
                        <a:pt x="49482" y="818"/>
                      </a:cubicBezTo>
                      <a:cubicBezTo>
                        <a:pt x="42148" y="31870"/>
                        <a:pt x="64913" y="57397"/>
                        <a:pt x="85392" y="77399"/>
                      </a:cubicBezTo>
                      <a:cubicBezTo>
                        <a:pt x="86344" y="78352"/>
                        <a:pt x="87868" y="76828"/>
                        <a:pt x="86916" y="75875"/>
                      </a:cubicBezTo>
                      <a:cubicBezTo>
                        <a:pt x="67104" y="56540"/>
                        <a:pt x="44434" y="31584"/>
                        <a:pt x="51578" y="1390"/>
                      </a:cubicBezTo>
                      <a:cubicBezTo>
                        <a:pt x="51768" y="628"/>
                        <a:pt x="51102" y="-229"/>
                        <a:pt x="50244" y="56"/>
                      </a:cubicBezTo>
                      <a:cubicBezTo>
                        <a:pt x="34528" y="6438"/>
                        <a:pt x="17859" y="8915"/>
                        <a:pt x="1000" y="7486"/>
                      </a:cubicBezTo>
                      <a:cubicBezTo>
                        <a:pt x="-333" y="7391"/>
                        <a:pt x="-333" y="9581"/>
                        <a:pt x="1000" y="9677"/>
                      </a:cubicBezTo>
                      <a:lnTo>
                        <a:pt x="1000" y="967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rgbClr val="005950">
                      <a:alpha val="38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C6884966-175B-46D5-FFBC-2995DE8433E1}"/>
                    </a:ext>
                  </a:extLst>
                </p:cNvPr>
                <p:cNvSpPr/>
                <p:nvPr/>
              </p:nvSpPr>
              <p:spPr>
                <a:xfrm>
                  <a:off x="5401944" y="3113532"/>
                  <a:ext cx="133445" cy="26447"/>
                </a:xfrm>
                <a:custGeom>
                  <a:avLst/>
                  <a:gdLst>
                    <a:gd name="connsiteX0" fmla="*/ 131985 w 133445"/>
                    <a:gd name="connsiteY0" fmla="*/ 0 h 26447"/>
                    <a:gd name="connsiteX1" fmla="*/ 131985 w 133445"/>
                    <a:gd name="connsiteY1" fmla="*/ 0 h 26447"/>
                    <a:gd name="connsiteX2" fmla="*/ 131223 w 133445"/>
                    <a:gd name="connsiteY2" fmla="*/ 12097 h 26447"/>
                    <a:gd name="connsiteX3" fmla="*/ 131699 w 133445"/>
                    <a:gd name="connsiteY3" fmla="*/ 24670 h 26447"/>
                    <a:gd name="connsiteX4" fmla="*/ 120555 w 133445"/>
                    <a:gd name="connsiteY4" fmla="*/ 24670 h 26447"/>
                    <a:gd name="connsiteX5" fmla="*/ 109696 w 133445"/>
                    <a:gd name="connsiteY5" fmla="*/ 23431 h 26447"/>
                    <a:gd name="connsiteX6" fmla="*/ 99028 w 133445"/>
                    <a:gd name="connsiteY6" fmla="*/ 24670 h 26447"/>
                    <a:gd name="connsiteX7" fmla="*/ 88170 w 133445"/>
                    <a:gd name="connsiteY7" fmla="*/ 24670 h 26447"/>
                    <a:gd name="connsiteX8" fmla="*/ 77502 w 133445"/>
                    <a:gd name="connsiteY8" fmla="*/ 24955 h 26447"/>
                    <a:gd name="connsiteX9" fmla="*/ 66643 w 133445"/>
                    <a:gd name="connsiteY9" fmla="*/ 23908 h 26447"/>
                    <a:gd name="connsiteX10" fmla="*/ 55785 w 133445"/>
                    <a:gd name="connsiteY10" fmla="*/ 24384 h 26447"/>
                    <a:gd name="connsiteX11" fmla="*/ 45117 w 133445"/>
                    <a:gd name="connsiteY11" fmla="*/ 23622 h 26447"/>
                    <a:gd name="connsiteX12" fmla="*/ 34258 w 133445"/>
                    <a:gd name="connsiteY12" fmla="*/ 23336 h 26447"/>
                    <a:gd name="connsiteX13" fmla="*/ 23590 w 133445"/>
                    <a:gd name="connsiteY13" fmla="*/ 23813 h 26447"/>
                    <a:gd name="connsiteX14" fmla="*/ 12732 w 133445"/>
                    <a:gd name="connsiteY14" fmla="*/ 24860 h 26447"/>
                    <a:gd name="connsiteX15" fmla="*/ 1873 w 133445"/>
                    <a:gd name="connsiteY15" fmla="*/ 24098 h 26447"/>
                    <a:gd name="connsiteX16" fmla="*/ 2350 w 133445"/>
                    <a:gd name="connsiteY16" fmla="*/ 8287 h 26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33445" h="26447">
                      <a:moveTo>
                        <a:pt x="131985" y="0"/>
                      </a:moveTo>
                      <a:lnTo>
                        <a:pt x="131985" y="0"/>
                      </a:lnTo>
                      <a:cubicBezTo>
                        <a:pt x="131985" y="6001"/>
                        <a:pt x="131223" y="6001"/>
                        <a:pt x="131223" y="12097"/>
                      </a:cubicBezTo>
                      <a:cubicBezTo>
                        <a:pt x="131223" y="18097"/>
                        <a:pt x="135890" y="20098"/>
                        <a:pt x="131699" y="24670"/>
                      </a:cubicBezTo>
                      <a:cubicBezTo>
                        <a:pt x="128270" y="28670"/>
                        <a:pt x="125984" y="24670"/>
                        <a:pt x="120555" y="24670"/>
                      </a:cubicBezTo>
                      <a:cubicBezTo>
                        <a:pt x="115126" y="24670"/>
                        <a:pt x="115126" y="23431"/>
                        <a:pt x="109696" y="23431"/>
                      </a:cubicBezTo>
                      <a:cubicBezTo>
                        <a:pt x="104458" y="23431"/>
                        <a:pt x="104458" y="24670"/>
                        <a:pt x="99028" y="24670"/>
                      </a:cubicBezTo>
                      <a:cubicBezTo>
                        <a:pt x="93599" y="24670"/>
                        <a:pt x="93599" y="24670"/>
                        <a:pt x="88170" y="24670"/>
                      </a:cubicBezTo>
                      <a:cubicBezTo>
                        <a:pt x="82741" y="24670"/>
                        <a:pt x="82741" y="24955"/>
                        <a:pt x="77502" y="24955"/>
                      </a:cubicBezTo>
                      <a:cubicBezTo>
                        <a:pt x="72073" y="24955"/>
                        <a:pt x="72073" y="23908"/>
                        <a:pt x="66643" y="23908"/>
                      </a:cubicBezTo>
                      <a:cubicBezTo>
                        <a:pt x="61214" y="23908"/>
                        <a:pt x="61214" y="24384"/>
                        <a:pt x="55785" y="24384"/>
                      </a:cubicBezTo>
                      <a:cubicBezTo>
                        <a:pt x="50546" y="24384"/>
                        <a:pt x="50546" y="23622"/>
                        <a:pt x="45117" y="23622"/>
                      </a:cubicBezTo>
                      <a:cubicBezTo>
                        <a:pt x="39688" y="23622"/>
                        <a:pt x="39688" y="23336"/>
                        <a:pt x="34258" y="23336"/>
                      </a:cubicBezTo>
                      <a:cubicBezTo>
                        <a:pt x="28829" y="23336"/>
                        <a:pt x="28829" y="23813"/>
                        <a:pt x="23590" y="23813"/>
                      </a:cubicBezTo>
                      <a:cubicBezTo>
                        <a:pt x="18161" y="23813"/>
                        <a:pt x="18161" y="24860"/>
                        <a:pt x="12732" y="24860"/>
                      </a:cubicBezTo>
                      <a:cubicBezTo>
                        <a:pt x="7303" y="24860"/>
                        <a:pt x="4826" y="28670"/>
                        <a:pt x="1873" y="24098"/>
                      </a:cubicBezTo>
                      <a:cubicBezTo>
                        <a:pt x="-2603" y="17526"/>
                        <a:pt x="2350" y="16097"/>
                        <a:pt x="2350" y="828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1" name="Freeform: Shape 400">
                  <a:extLst>
                    <a:ext uri="{FF2B5EF4-FFF2-40B4-BE49-F238E27FC236}">
                      <a16:creationId xmlns:a16="http://schemas.microsoft.com/office/drawing/2014/main" id="{2E6BCB8B-268C-B346-02EC-1C3B18BEC1DA}"/>
                    </a:ext>
                  </a:extLst>
                </p:cNvPr>
                <p:cNvSpPr/>
                <p:nvPr/>
              </p:nvSpPr>
              <p:spPr>
                <a:xfrm>
                  <a:off x="5402060" y="2916924"/>
                  <a:ext cx="132410" cy="177462"/>
                </a:xfrm>
                <a:custGeom>
                  <a:avLst/>
                  <a:gdLst>
                    <a:gd name="connsiteX0" fmla="*/ 710 w 132410"/>
                    <a:gd name="connsiteY0" fmla="*/ 177462 h 177462"/>
                    <a:gd name="connsiteX1" fmla="*/ 710 w 132410"/>
                    <a:gd name="connsiteY1" fmla="*/ 177462 h 177462"/>
                    <a:gd name="connsiteX2" fmla="*/ 1948 w 132410"/>
                    <a:gd name="connsiteY2" fmla="*/ 165937 h 177462"/>
                    <a:gd name="connsiteX3" fmla="*/ 1186 w 132410"/>
                    <a:gd name="connsiteY3" fmla="*/ 154412 h 177462"/>
                    <a:gd name="connsiteX4" fmla="*/ 1186 w 132410"/>
                    <a:gd name="connsiteY4" fmla="*/ 143077 h 177462"/>
                    <a:gd name="connsiteX5" fmla="*/ 900 w 132410"/>
                    <a:gd name="connsiteY5" fmla="*/ 131552 h 177462"/>
                    <a:gd name="connsiteX6" fmla="*/ 2139 w 132410"/>
                    <a:gd name="connsiteY6" fmla="*/ 120026 h 177462"/>
                    <a:gd name="connsiteX7" fmla="*/ 2139 w 132410"/>
                    <a:gd name="connsiteY7" fmla="*/ 13442 h 177462"/>
                    <a:gd name="connsiteX8" fmla="*/ 1662 w 132410"/>
                    <a:gd name="connsiteY8" fmla="*/ 1916 h 177462"/>
                    <a:gd name="connsiteX9" fmla="*/ 12330 w 132410"/>
                    <a:gd name="connsiteY9" fmla="*/ 1154 h 177462"/>
                    <a:gd name="connsiteX10" fmla="*/ 22998 w 132410"/>
                    <a:gd name="connsiteY10" fmla="*/ 2202 h 177462"/>
                    <a:gd name="connsiteX11" fmla="*/ 33857 w 132410"/>
                    <a:gd name="connsiteY11" fmla="*/ 1440 h 177462"/>
                    <a:gd name="connsiteX12" fmla="*/ 44715 w 132410"/>
                    <a:gd name="connsiteY12" fmla="*/ 2202 h 177462"/>
                    <a:gd name="connsiteX13" fmla="*/ 55383 w 132410"/>
                    <a:gd name="connsiteY13" fmla="*/ 2202 h 177462"/>
                    <a:gd name="connsiteX14" fmla="*/ 66242 w 132410"/>
                    <a:gd name="connsiteY14" fmla="*/ 2488 h 177462"/>
                    <a:gd name="connsiteX15" fmla="*/ 76910 w 132410"/>
                    <a:gd name="connsiteY15" fmla="*/ 2202 h 177462"/>
                    <a:gd name="connsiteX16" fmla="*/ 87768 w 132410"/>
                    <a:gd name="connsiteY16" fmla="*/ 1154 h 177462"/>
                    <a:gd name="connsiteX17" fmla="*/ 98436 w 132410"/>
                    <a:gd name="connsiteY17" fmla="*/ 2202 h 177462"/>
                    <a:gd name="connsiteX18" fmla="*/ 109295 w 132410"/>
                    <a:gd name="connsiteY18" fmla="*/ 1154 h 177462"/>
                    <a:gd name="connsiteX19" fmla="*/ 120153 w 132410"/>
                    <a:gd name="connsiteY19" fmla="*/ 1916 h 177462"/>
                    <a:gd name="connsiteX20" fmla="*/ 130536 w 132410"/>
                    <a:gd name="connsiteY20" fmla="*/ 2393 h 177462"/>
                    <a:gd name="connsiteX21" fmla="*/ 131298 w 132410"/>
                    <a:gd name="connsiteY21" fmla="*/ 12203 h 177462"/>
                    <a:gd name="connsiteX22" fmla="*/ 131012 w 132410"/>
                    <a:gd name="connsiteY22" fmla="*/ 118026 h 177462"/>
                    <a:gd name="connsiteX23" fmla="*/ 130726 w 132410"/>
                    <a:gd name="connsiteY23" fmla="*/ 128599 h 177462"/>
                    <a:gd name="connsiteX24" fmla="*/ 131488 w 132410"/>
                    <a:gd name="connsiteY24" fmla="*/ 139172 h 177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2410" h="177462">
                      <a:moveTo>
                        <a:pt x="710" y="177462"/>
                      </a:moveTo>
                      <a:lnTo>
                        <a:pt x="710" y="177462"/>
                      </a:lnTo>
                      <a:cubicBezTo>
                        <a:pt x="710" y="171652"/>
                        <a:pt x="1948" y="171652"/>
                        <a:pt x="1948" y="165937"/>
                      </a:cubicBezTo>
                      <a:cubicBezTo>
                        <a:pt x="1948" y="160222"/>
                        <a:pt x="1186" y="160127"/>
                        <a:pt x="1186" y="154412"/>
                      </a:cubicBezTo>
                      <a:cubicBezTo>
                        <a:pt x="1186" y="148887"/>
                        <a:pt x="1186" y="148887"/>
                        <a:pt x="1186" y="143077"/>
                      </a:cubicBezTo>
                      <a:cubicBezTo>
                        <a:pt x="1186" y="137267"/>
                        <a:pt x="900" y="137267"/>
                        <a:pt x="900" y="131552"/>
                      </a:cubicBezTo>
                      <a:cubicBezTo>
                        <a:pt x="900" y="125741"/>
                        <a:pt x="2139" y="125741"/>
                        <a:pt x="2139" y="120026"/>
                      </a:cubicBezTo>
                      <a:cubicBezTo>
                        <a:pt x="2139" y="114216"/>
                        <a:pt x="2139" y="18966"/>
                        <a:pt x="2139" y="13442"/>
                      </a:cubicBezTo>
                      <a:cubicBezTo>
                        <a:pt x="2139" y="7631"/>
                        <a:pt x="-2338" y="6203"/>
                        <a:pt x="1662" y="1916"/>
                      </a:cubicBezTo>
                      <a:cubicBezTo>
                        <a:pt x="5377" y="-1894"/>
                        <a:pt x="6901" y="1154"/>
                        <a:pt x="12330" y="1154"/>
                      </a:cubicBezTo>
                      <a:cubicBezTo>
                        <a:pt x="17760" y="1154"/>
                        <a:pt x="17760" y="2202"/>
                        <a:pt x="22998" y="2202"/>
                      </a:cubicBezTo>
                      <a:cubicBezTo>
                        <a:pt x="28428" y="2202"/>
                        <a:pt x="28428" y="1440"/>
                        <a:pt x="33857" y="1440"/>
                      </a:cubicBezTo>
                      <a:cubicBezTo>
                        <a:pt x="39286" y="1440"/>
                        <a:pt x="39286" y="2202"/>
                        <a:pt x="44715" y="2202"/>
                      </a:cubicBezTo>
                      <a:cubicBezTo>
                        <a:pt x="49954" y="2202"/>
                        <a:pt x="49954" y="2202"/>
                        <a:pt x="55383" y="2202"/>
                      </a:cubicBezTo>
                      <a:cubicBezTo>
                        <a:pt x="60813" y="2202"/>
                        <a:pt x="60813" y="2488"/>
                        <a:pt x="66242" y="2488"/>
                      </a:cubicBezTo>
                      <a:cubicBezTo>
                        <a:pt x="71481" y="2488"/>
                        <a:pt x="71481" y="2202"/>
                        <a:pt x="76910" y="2202"/>
                      </a:cubicBezTo>
                      <a:cubicBezTo>
                        <a:pt x="82339" y="2202"/>
                        <a:pt x="82339" y="1154"/>
                        <a:pt x="87768" y="1154"/>
                      </a:cubicBezTo>
                      <a:cubicBezTo>
                        <a:pt x="93198" y="1154"/>
                        <a:pt x="93198" y="2202"/>
                        <a:pt x="98436" y="2202"/>
                      </a:cubicBezTo>
                      <a:cubicBezTo>
                        <a:pt x="103866" y="2202"/>
                        <a:pt x="103866" y="1154"/>
                        <a:pt x="109295" y="1154"/>
                      </a:cubicBezTo>
                      <a:cubicBezTo>
                        <a:pt x="114724" y="1154"/>
                        <a:pt x="114724" y="1916"/>
                        <a:pt x="120153" y="1916"/>
                      </a:cubicBezTo>
                      <a:cubicBezTo>
                        <a:pt x="125583" y="1916"/>
                        <a:pt x="126630" y="-1322"/>
                        <a:pt x="130536" y="2393"/>
                      </a:cubicBezTo>
                      <a:cubicBezTo>
                        <a:pt x="134250" y="5917"/>
                        <a:pt x="131298" y="7155"/>
                        <a:pt x="131298" y="12203"/>
                      </a:cubicBezTo>
                      <a:cubicBezTo>
                        <a:pt x="131298" y="17442"/>
                        <a:pt x="131012" y="112692"/>
                        <a:pt x="131012" y="118026"/>
                      </a:cubicBezTo>
                      <a:cubicBezTo>
                        <a:pt x="131012" y="123265"/>
                        <a:pt x="130726" y="123265"/>
                        <a:pt x="130726" y="128599"/>
                      </a:cubicBezTo>
                      <a:cubicBezTo>
                        <a:pt x="130726" y="133838"/>
                        <a:pt x="131488" y="133838"/>
                        <a:pt x="131488" y="139172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2" name="Freeform: Shape 401">
                  <a:extLst>
                    <a:ext uri="{FF2B5EF4-FFF2-40B4-BE49-F238E27FC236}">
                      <a16:creationId xmlns:a16="http://schemas.microsoft.com/office/drawing/2014/main" id="{FF4E6464-C3C4-F581-FD1E-5AAA51999CDA}"/>
                    </a:ext>
                  </a:extLst>
                </p:cNvPr>
                <p:cNvSpPr/>
                <p:nvPr/>
              </p:nvSpPr>
              <p:spPr>
                <a:xfrm>
                  <a:off x="5517546" y="3055810"/>
                  <a:ext cx="28302" cy="49625"/>
                </a:xfrm>
                <a:custGeom>
                  <a:avLst/>
                  <a:gdLst>
                    <a:gd name="connsiteX0" fmla="*/ 28289 w 28302"/>
                    <a:gd name="connsiteY0" fmla="*/ 24289 h 49625"/>
                    <a:gd name="connsiteX1" fmla="*/ 28289 w 28302"/>
                    <a:gd name="connsiteY1" fmla="*/ 24289 h 49625"/>
                    <a:gd name="connsiteX2" fmla="*/ 27051 w 28302"/>
                    <a:gd name="connsiteY2" fmla="*/ 34576 h 49625"/>
                    <a:gd name="connsiteX3" fmla="*/ 22860 w 28302"/>
                    <a:gd name="connsiteY3" fmla="*/ 43625 h 49625"/>
                    <a:gd name="connsiteX4" fmla="*/ 14669 w 28302"/>
                    <a:gd name="connsiteY4" fmla="*/ 49625 h 49625"/>
                    <a:gd name="connsiteX5" fmla="*/ 5715 w 28302"/>
                    <a:gd name="connsiteY5" fmla="*/ 44101 h 49625"/>
                    <a:gd name="connsiteX6" fmla="*/ 2000 w 28302"/>
                    <a:gd name="connsiteY6" fmla="*/ 34576 h 49625"/>
                    <a:gd name="connsiteX7" fmla="*/ 0 w 28302"/>
                    <a:gd name="connsiteY7" fmla="*/ 24289 h 49625"/>
                    <a:gd name="connsiteX8" fmla="*/ 952 w 28302"/>
                    <a:gd name="connsiteY8" fmla="*/ 14002 h 49625"/>
                    <a:gd name="connsiteX9" fmla="*/ 5429 w 28302"/>
                    <a:gd name="connsiteY9" fmla="*/ 4477 h 49625"/>
                    <a:gd name="connsiteX10" fmla="*/ 14573 w 28302"/>
                    <a:gd name="connsiteY10" fmla="*/ 0 h 49625"/>
                    <a:gd name="connsiteX11" fmla="*/ 23241 w 28302"/>
                    <a:gd name="connsiteY11" fmla="*/ 4763 h 49625"/>
                    <a:gd name="connsiteX12" fmla="*/ 27432 w 28302"/>
                    <a:gd name="connsiteY12" fmla="*/ 14097 h 49625"/>
                    <a:gd name="connsiteX13" fmla="*/ 28289 w 28302"/>
                    <a:gd name="connsiteY13" fmla="*/ 24289 h 49625"/>
                    <a:gd name="connsiteX14" fmla="*/ 28289 w 28302"/>
                    <a:gd name="connsiteY14" fmla="*/ 24289 h 49625"/>
                    <a:gd name="connsiteX15" fmla="*/ 28289 w 28302"/>
                    <a:gd name="connsiteY15" fmla="*/ 24289 h 49625"/>
                    <a:gd name="connsiteX16" fmla="*/ 28289 w 28302"/>
                    <a:gd name="connsiteY16" fmla="*/ 24289 h 4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8302" h="49625">
                      <a:moveTo>
                        <a:pt x="28289" y="24289"/>
                      </a:moveTo>
                      <a:lnTo>
                        <a:pt x="28289" y="24289"/>
                      </a:lnTo>
                      <a:cubicBezTo>
                        <a:pt x="28289" y="28099"/>
                        <a:pt x="27813" y="31337"/>
                        <a:pt x="27051" y="34576"/>
                      </a:cubicBezTo>
                      <a:cubicBezTo>
                        <a:pt x="26098" y="38100"/>
                        <a:pt x="24860" y="41339"/>
                        <a:pt x="22860" y="43625"/>
                      </a:cubicBezTo>
                      <a:cubicBezTo>
                        <a:pt x="20383" y="46863"/>
                        <a:pt x="17907" y="49625"/>
                        <a:pt x="14669" y="49625"/>
                      </a:cubicBezTo>
                      <a:cubicBezTo>
                        <a:pt x="11240" y="49625"/>
                        <a:pt x="8192" y="47339"/>
                        <a:pt x="5715" y="44101"/>
                      </a:cubicBezTo>
                      <a:cubicBezTo>
                        <a:pt x="3715" y="41624"/>
                        <a:pt x="2953" y="38291"/>
                        <a:pt x="2000" y="34576"/>
                      </a:cubicBezTo>
                      <a:cubicBezTo>
                        <a:pt x="1048" y="31528"/>
                        <a:pt x="0" y="28004"/>
                        <a:pt x="0" y="24289"/>
                      </a:cubicBezTo>
                      <a:cubicBezTo>
                        <a:pt x="0" y="20765"/>
                        <a:pt x="0" y="17050"/>
                        <a:pt x="952" y="14002"/>
                      </a:cubicBezTo>
                      <a:cubicBezTo>
                        <a:pt x="1905" y="10192"/>
                        <a:pt x="3429" y="6763"/>
                        <a:pt x="5429" y="4477"/>
                      </a:cubicBezTo>
                      <a:cubicBezTo>
                        <a:pt x="7906" y="1238"/>
                        <a:pt x="11144" y="0"/>
                        <a:pt x="14573" y="0"/>
                      </a:cubicBezTo>
                      <a:cubicBezTo>
                        <a:pt x="17812" y="0"/>
                        <a:pt x="20765" y="1524"/>
                        <a:pt x="23241" y="4763"/>
                      </a:cubicBezTo>
                      <a:cubicBezTo>
                        <a:pt x="25241" y="7048"/>
                        <a:pt x="26479" y="10287"/>
                        <a:pt x="27432" y="14097"/>
                      </a:cubicBezTo>
                      <a:cubicBezTo>
                        <a:pt x="28480" y="17240"/>
                        <a:pt x="28289" y="20765"/>
                        <a:pt x="28289" y="24289"/>
                      </a:cubicBezTo>
                      <a:lnTo>
                        <a:pt x="28289" y="24289"/>
                      </a:lnTo>
                      <a:lnTo>
                        <a:pt x="28289" y="24289"/>
                      </a:lnTo>
                      <a:lnTo>
                        <a:pt x="28289" y="24289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F8541EAA-DCA4-A88E-DCFB-9324EDC72712}"/>
                  </a:ext>
                </a:extLst>
              </p:cNvPr>
              <p:cNvSpPr/>
              <p:nvPr/>
            </p:nvSpPr>
            <p:spPr>
              <a:xfrm>
                <a:off x="892620" y="3365217"/>
                <a:ext cx="98289" cy="100294"/>
              </a:xfrm>
              <a:custGeom>
                <a:avLst/>
                <a:gdLst>
                  <a:gd name="connsiteX0" fmla="*/ 84337 w 132842"/>
                  <a:gd name="connsiteY0" fmla="*/ 2147 h 135553"/>
                  <a:gd name="connsiteX1" fmla="*/ 81503 w 132842"/>
                  <a:gd name="connsiteY1" fmla="*/ 12732 h 135553"/>
                  <a:gd name="connsiteX2" fmla="*/ 67084 w 132842"/>
                  <a:gd name="connsiteY2" fmla="*/ 66780 h 135553"/>
                  <a:gd name="connsiteX3" fmla="*/ 68376 w 132842"/>
                  <a:gd name="connsiteY3" fmla="*/ 69031 h 135553"/>
                  <a:gd name="connsiteX4" fmla="*/ 131842 w 132842"/>
                  <a:gd name="connsiteY4" fmla="*/ 85991 h 135553"/>
                  <a:gd name="connsiteX5" fmla="*/ 132843 w 132842"/>
                  <a:gd name="connsiteY5" fmla="*/ 86283 h 135553"/>
                  <a:gd name="connsiteX6" fmla="*/ 86545 w 132842"/>
                  <a:gd name="connsiteY6" fmla="*/ 132872 h 135553"/>
                  <a:gd name="connsiteX7" fmla="*/ 11828 w 132842"/>
                  <a:gd name="connsiteY7" fmla="*/ 105910 h 135553"/>
                  <a:gd name="connsiteX8" fmla="*/ 14119 w 132842"/>
                  <a:gd name="connsiteY8" fmla="*/ 26400 h 135553"/>
                  <a:gd name="connsiteX9" fmla="*/ 84337 w 132842"/>
                  <a:gd name="connsiteY9" fmla="*/ 2147 h 1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842" h="135553">
                    <a:moveTo>
                      <a:pt x="84337" y="2147"/>
                    </a:moveTo>
                    <a:cubicBezTo>
                      <a:pt x="83378" y="5731"/>
                      <a:pt x="82461" y="9232"/>
                      <a:pt x="81503" y="12732"/>
                    </a:cubicBezTo>
                    <a:cubicBezTo>
                      <a:pt x="76711" y="30734"/>
                      <a:pt x="71877" y="48778"/>
                      <a:pt x="67084" y="66780"/>
                    </a:cubicBezTo>
                    <a:cubicBezTo>
                      <a:pt x="66668" y="68406"/>
                      <a:pt x="66793" y="68614"/>
                      <a:pt x="68376" y="69031"/>
                    </a:cubicBezTo>
                    <a:cubicBezTo>
                      <a:pt x="89546" y="74698"/>
                      <a:pt x="110673" y="80324"/>
                      <a:pt x="131842" y="85991"/>
                    </a:cubicBezTo>
                    <a:cubicBezTo>
                      <a:pt x="132176" y="86075"/>
                      <a:pt x="132509" y="86200"/>
                      <a:pt x="132843" y="86283"/>
                    </a:cubicBezTo>
                    <a:cubicBezTo>
                      <a:pt x="128634" y="103577"/>
                      <a:pt x="113132" y="125121"/>
                      <a:pt x="86545" y="132872"/>
                    </a:cubicBezTo>
                    <a:cubicBezTo>
                      <a:pt x="58583" y="141040"/>
                      <a:pt x="28246" y="130122"/>
                      <a:pt x="11828" y="105910"/>
                    </a:cubicBezTo>
                    <a:cubicBezTo>
                      <a:pt x="-5258" y="80782"/>
                      <a:pt x="-3258" y="48945"/>
                      <a:pt x="14119" y="26400"/>
                    </a:cubicBezTo>
                    <a:cubicBezTo>
                      <a:pt x="32038" y="3231"/>
                      <a:pt x="60959" y="-4145"/>
                      <a:pt x="84337" y="214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C883E582-9C19-6BCB-BD1A-731373B8D25F}"/>
                  </a:ext>
                </a:extLst>
              </p:cNvPr>
              <p:cNvSpPr/>
              <p:nvPr/>
            </p:nvSpPr>
            <p:spPr>
              <a:xfrm>
                <a:off x="950857" y="3362951"/>
                <a:ext cx="49268" cy="60493"/>
              </a:xfrm>
              <a:custGeom>
                <a:avLst/>
                <a:gdLst>
                  <a:gd name="connsiteX0" fmla="*/ 0 w 66588"/>
                  <a:gd name="connsiteY0" fmla="*/ 64466 h 81760"/>
                  <a:gd name="connsiteX1" fmla="*/ 17335 w 66588"/>
                  <a:gd name="connsiteY1" fmla="*/ 0 h 81760"/>
                  <a:gd name="connsiteX2" fmla="*/ 57549 w 66588"/>
                  <a:gd name="connsiteY2" fmla="*/ 31587 h 81760"/>
                  <a:gd name="connsiteX3" fmla="*/ 64550 w 66588"/>
                  <a:gd name="connsiteY3" fmla="*/ 81760 h 81760"/>
                  <a:gd name="connsiteX4" fmla="*/ 0 w 66588"/>
                  <a:gd name="connsiteY4" fmla="*/ 64466 h 81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88" h="81760">
                    <a:moveTo>
                      <a:pt x="0" y="64466"/>
                    </a:moveTo>
                    <a:cubicBezTo>
                      <a:pt x="5792" y="42922"/>
                      <a:pt x="11543" y="21544"/>
                      <a:pt x="17335" y="0"/>
                    </a:cubicBezTo>
                    <a:cubicBezTo>
                      <a:pt x="34921" y="5334"/>
                      <a:pt x="48464" y="15710"/>
                      <a:pt x="57549" y="31587"/>
                    </a:cubicBezTo>
                    <a:cubicBezTo>
                      <a:pt x="66550" y="47298"/>
                      <a:pt x="68717" y="64050"/>
                      <a:pt x="64550" y="81760"/>
                    </a:cubicBezTo>
                    <a:cubicBezTo>
                      <a:pt x="42964" y="76010"/>
                      <a:pt x="21544" y="70259"/>
                      <a:pt x="0" y="64466"/>
                    </a:cubicBez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E23F0F78-D89C-C47F-8145-090FC69AC426}"/>
                  </a:ext>
                </a:extLst>
              </p:cNvPr>
              <p:cNvSpPr/>
              <p:nvPr/>
            </p:nvSpPr>
            <p:spPr>
              <a:xfrm>
                <a:off x="923390" y="3545025"/>
                <a:ext cx="56131" cy="9167"/>
              </a:xfrm>
              <a:custGeom>
                <a:avLst/>
                <a:gdLst>
                  <a:gd name="connsiteX0" fmla="*/ 28212 w 56131"/>
                  <a:gd name="connsiteY0" fmla="*/ 0 h 9167"/>
                  <a:gd name="connsiteX1" fmla="*/ 54132 w 56131"/>
                  <a:gd name="connsiteY1" fmla="*/ 0 h 9167"/>
                  <a:gd name="connsiteX2" fmla="*/ 56132 w 56131"/>
                  <a:gd name="connsiteY2" fmla="*/ 1959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68 h 9167"/>
                  <a:gd name="connsiteX7" fmla="*/ 0 w 56131"/>
                  <a:gd name="connsiteY7" fmla="*/ 1625 h 9167"/>
                  <a:gd name="connsiteX8" fmla="*/ 1584 w 56131"/>
                  <a:gd name="connsiteY8" fmla="*/ 42 h 9167"/>
                  <a:gd name="connsiteX9" fmla="*/ 28212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125 h 9167"/>
                  <a:gd name="connsiteX13" fmla="*/ 2084 w 56131"/>
                  <a:gd name="connsiteY13" fmla="*/ 2125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212" y="0"/>
                    </a:moveTo>
                    <a:cubicBezTo>
                      <a:pt x="36838" y="0"/>
                      <a:pt x="45506" y="0"/>
                      <a:pt x="54132" y="0"/>
                    </a:cubicBezTo>
                    <a:cubicBezTo>
                      <a:pt x="56007" y="0"/>
                      <a:pt x="56132" y="125"/>
                      <a:pt x="56132" y="1959"/>
                    </a:cubicBezTo>
                    <a:cubicBezTo>
                      <a:pt x="56132" y="3875"/>
                      <a:pt x="56132" y="5792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169" y="9168"/>
                      <a:pt x="1459" y="9168"/>
                    </a:cubicBezTo>
                    <a:cubicBezTo>
                      <a:pt x="250" y="9168"/>
                      <a:pt x="0" y="8876"/>
                      <a:pt x="0" y="7668"/>
                    </a:cubicBezTo>
                    <a:cubicBezTo>
                      <a:pt x="0" y="5667"/>
                      <a:pt x="0" y="3625"/>
                      <a:pt x="0" y="1625"/>
                    </a:cubicBezTo>
                    <a:cubicBezTo>
                      <a:pt x="0" y="292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2084" y="7043"/>
                    </a:moveTo>
                    <a:cubicBezTo>
                      <a:pt x="19461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125"/>
                    </a:cubicBezTo>
                    <a:cubicBezTo>
                      <a:pt x="36671" y="2125"/>
                      <a:pt x="19377" y="2125"/>
                      <a:pt x="2084" y="2125"/>
                    </a:cubicBezTo>
                    <a:cubicBezTo>
                      <a:pt x="2084" y="3792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3E4E8745-C6B7-B53C-705F-F1791FFAEAA9}"/>
                  </a:ext>
                </a:extLst>
              </p:cNvPr>
              <p:cNvSpPr/>
              <p:nvPr/>
            </p:nvSpPr>
            <p:spPr>
              <a:xfrm>
                <a:off x="923390" y="3504270"/>
                <a:ext cx="56131" cy="9084"/>
              </a:xfrm>
              <a:custGeom>
                <a:avLst/>
                <a:gdLst>
                  <a:gd name="connsiteX0" fmla="*/ 28003 w 56131"/>
                  <a:gd name="connsiteY0" fmla="*/ 9084 h 9084"/>
                  <a:gd name="connsiteX1" fmla="*/ 1667 w 56131"/>
                  <a:gd name="connsiteY1" fmla="*/ 9084 h 9084"/>
                  <a:gd name="connsiteX2" fmla="*/ 0 w 56131"/>
                  <a:gd name="connsiteY2" fmla="*/ 7459 h 9084"/>
                  <a:gd name="connsiteX3" fmla="*/ 0 w 56131"/>
                  <a:gd name="connsiteY3" fmla="*/ 1625 h 9084"/>
                  <a:gd name="connsiteX4" fmla="*/ 1667 w 56131"/>
                  <a:gd name="connsiteY4" fmla="*/ 0 h 9084"/>
                  <a:gd name="connsiteX5" fmla="*/ 46797 w 56131"/>
                  <a:gd name="connsiteY5" fmla="*/ 0 h 9084"/>
                  <a:gd name="connsiteX6" fmla="*/ 54590 w 56131"/>
                  <a:gd name="connsiteY6" fmla="*/ 0 h 9084"/>
                  <a:gd name="connsiteX7" fmla="*/ 56132 w 56131"/>
                  <a:gd name="connsiteY7" fmla="*/ 1584 h 9084"/>
                  <a:gd name="connsiteX8" fmla="*/ 56132 w 56131"/>
                  <a:gd name="connsiteY8" fmla="*/ 7334 h 9084"/>
                  <a:gd name="connsiteX9" fmla="*/ 54382 w 56131"/>
                  <a:gd name="connsiteY9" fmla="*/ 9084 h 9084"/>
                  <a:gd name="connsiteX10" fmla="*/ 28003 w 56131"/>
                  <a:gd name="connsiteY10" fmla="*/ 9084 h 9084"/>
                  <a:gd name="connsiteX11" fmla="*/ 54048 w 56131"/>
                  <a:gd name="connsiteY11" fmla="*/ 2167 h 9084"/>
                  <a:gd name="connsiteX12" fmla="*/ 2125 w 56131"/>
                  <a:gd name="connsiteY12" fmla="*/ 2167 h 9084"/>
                  <a:gd name="connsiteX13" fmla="*/ 2125 w 56131"/>
                  <a:gd name="connsiteY13" fmla="*/ 7001 h 9084"/>
                  <a:gd name="connsiteX14" fmla="*/ 54048 w 56131"/>
                  <a:gd name="connsiteY14" fmla="*/ 7001 h 9084"/>
                  <a:gd name="connsiteX15" fmla="*/ 54048 w 56131"/>
                  <a:gd name="connsiteY15" fmla="*/ 2167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131" h="9084">
                    <a:moveTo>
                      <a:pt x="28003" y="9084"/>
                    </a:moveTo>
                    <a:cubicBezTo>
                      <a:pt x="19211" y="9084"/>
                      <a:pt x="10460" y="9084"/>
                      <a:pt x="1667" y="9084"/>
                    </a:cubicBezTo>
                    <a:cubicBezTo>
                      <a:pt x="250" y="9084"/>
                      <a:pt x="0" y="8834"/>
                      <a:pt x="0" y="7459"/>
                    </a:cubicBezTo>
                    <a:cubicBezTo>
                      <a:pt x="0" y="5501"/>
                      <a:pt x="0" y="3542"/>
                      <a:pt x="0" y="1625"/>
                    </a:cubicBezTo>
                    <a:cubicBezTo>
                      <a:pt x="0" y="250"/>
                      <a:pt x="250" y="0"/>
                      <a:pt x="1667" y="0"/>
                    </a:cubicBezTo>
                    <a:cubicBezTo>
                      <a:pt x="16710" y="0"/>
                      <a:pt x="31754" y="0"/>
                      <a:pt x="46797" y="0"/>
                    </a:cubicBezTo>
                    <a:cubicBezTo>
                      <a:pt x="49381" y="0"/>
                      <a:pt x="52006" y="0"/>
                      <a:pt x="54590" y="0"/>
                    </a:cubicBezTo>
                    <a:cubicBezTo>
                      <a:pt x="55840" y="0"/>
                      <a:pt x="56132" y="292"/>
                      <a:pt x="56132" y="1584"/>
                    </a:cubicBezTo>
                    <a:cubicBezTo>
                      <a:pt x="56132" y="3500"/>
                      <a:pt x="56132" y="5417"/>
                      <a:pt x="56132" y="7334"/>
                    </a:cubicBezTo>
                    <a:cubicBezTo>
                      <a:pt x="56132" y="8876"/>
                      <a:pt x="55924" y="9084"/>
                      <a:pt x="54382" y="9084"/>
                    </a:cubicBezTo>
                    <a:cubicBezTo>
                      <a:pt x="45631" y="9084"/>
                      <a:pt x="36796" y="9084"/>
                      <a:pt x="28003" y="9084"/>
                    </a:cubicBezTo>
                    <a:close/>
                    <a:moveTo>
                      <a:pt x="54048" y="2167"/>
                    </a:moveTo>
                    <a:cubicBezTo>
                      <a:pt x="36671" y="2167"/>
                      <a:pt x="19377" y="2167"/>
                      <a:pt x="2125" y="2167"/>
                    </a:cubicBezTo>
                    <a:cubicBezTo>
                      <a:pt x="2125" y="3834"/>
                      <a:pt x="2125" y="5376"/>
                      <a:pt x="2125" y="7001"/>
                    </a:cubicBezTo>
                    <a:cubicBezTo>
                      <a:pt x="19461" y="7001"/>
                      <a:pt x="36755" y="7001"/>
                      <a:pt x="54048" y="7001"/>
                    </a:cubicBezTo>
                    <a:cubicBezTo>
                      <a:pt x="54048" y="5334"/>
                      <a:pt x="54048" y="3792"/>
                      <a:pt x="54048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ECDAD066-96EB-DF1E-877B-ABD54EDE66A0}"/>
                  </a:ext>
                </a:extLst>
              </p:cNvPr>
              <p:cNvSpPr/>
              <p:nvPr/>
            </p:nvSpPr>
            <p:spPr>
              <a:xfrm>
                <a:off x="923390" y="3483892"/>
                <a:ext cx="56131" cy="9167"/>
              </a:xfrm>
              <a:custGeom>
                <a:avLst/>
                <a:gdLst>
                  <a:gd name="connsiteX0" fmla="*/ 28087 w 56131"/>
                  <a:gd name="connsiteY0" fmla="*/ 0 h 9167"/>
                  <a:gd name="connsiteX1" fmla="*/ 54423 w 56131"/>
                  <a:gd name="connsiteY1" fmla="*/ 0 h 9167"/>
                  <a:gd name="connsiteX2" fmla="*/ 56132 w 56131"/>
                  <a:gd name="connsiteY2" fmla="*/ 1750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26 h 9167"/>
                  <a:gd name="connsiteX7" fmla="*/ 0 w 56131"/>
                  <a:gd name="connsiteY7" fmla="*/ 1500 h 9167"/>
                  <a:gd name="connsiteX8" fmla="*/ 1500 w 56131"/>
                  <a:gd name="connsiteY8" fmla="*/ 42 h 9167"/>
                  <a:gd name="connsiteX9" fmla="*/ 28087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084 h 9167"/>
                  <a:gd name="connsiteX13" fmla="*/ 2084 w 56131"/>
                  <a:gd name="connsiteY13" fmla="*/ 2084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087" y="0"/>
                    </a:moveTo>
                    <a:cubicBezTo>
                      <a:pt x="36880" y="0"/>
                      <a:pt x="45631" y="0"/>
                      <a:pt x="54423" y="0"/>
                    </a:cubicBezTo>
                    <a:cubicBezTo>
                      <a:pt x="55965" y="0"/>
                      <a:pt x="56132" y="208"/>
                      <a:pt x="56132" y="1750"/>
                    </a:cubicBezTo>
                    <a:cubicBezTo>
                      <a:pt x="56132" y="3750"/>
                      <a:pt x="56132" y="5709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211" y="9168"/>
                      <a:pt x="1459" y="9168"/>
                    </a:cubicBezTo>
                    <a:cubicBezTo>
                      <a:pt x="292" y="9168"/>
                      <a:pt x="0" y="8876"/>
                      <a:pt x="0" y="7626"/>
                    </a:cubicBezTo>
                    <a:cubicBezTo>
                      <a:pt x="0" y="5584"/>
                      <a:pt x="0" y="3542"/>
                      <a:pt x="0" y="1500"/>
                    </a:cubicBezTo>
                    <a:cubicBezTo>
                      <a:pt x="0" y="292"/>
                      <a:pt x="250" y="42"/>
                      <a:pt x="1500" y="42"/>
                    </a:cubicBezTo>
                    <a:cubicBezTo>
                      <a:pt x="10376" y="0"/>
                      <a:pt x="19252" y="0"/>
                      <a:pt x="28087" y="0"/>
                    </a:cubicBezTo>
                    <a:close/>
                    <a:moveTo>
                      <a:pt x="2084" y="7043"/>
                    </a:moveTo>
                    <a:cubicBezTo>
                      <a:pt x="19419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084"/>
                    </a:cubicBezTo>
                    <a:cubicBezTo>
                      <a:pt x="36671" y="2084"/>
                      <a:pt x="19419" y="2084"/>
                      <a:pt x="2084" y="2084"/>
                    </a:cubicBezTo>
                    <a:cubicBezTo>
                      <a:pt x="2084" y="3750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687E4425-1194-B565-197F-CBF6F85724FD}"/>
                  </a:ext>
                </a:extLst>
              </p:cNvPr>
              <p:cNvSpPr/>
              <p:nvPr/>
            </p:nvSpPr>
            <p:spPr>
              <a:xfrm>
                <a:off x="923390" y="3524689"/>
                <a:ext cx="56173" cy="9084"/>
              </a:xfrm>
              <a:custGeom>
                <a:avLst/>
                <a:gdLst>
                  <a:gd name="connsiteX0" fmla="*/ 28212 w 56173"/>
                  <a:gd name="connsiteY0" fmla="*/ 0 h 9084"/>
                  <a:gd name="connsiteX1" fmla="*/ 54340 w 56173"/>
                  <a:gd name="connsiteY1" fmla="*/ 0 h 9084"/>
                  <a:gd name="connsiteX2" fmla="*/ 56174 w 56173"/>
                  <a:gd name="connsiteY2" fmla="*/ 1875 h 9084"/>
                  <a:gd name="connsiteX3" fmla="*/ 56174 w 56173"/>
                  <a:gd name="connsiteY3" fmla="*/ 7626 h 9084"/>
                  <a:gd name="connsiteX4" fmla="*/ 54715 w 56173"/>
                  <a:gd name="connsiteY4" fmla="*/ 9084 h 9084"/>
                  <a:gd name="connsiteX5" fmla="*/ 1459 w 56173"/>
                  <a:gd name="connsiteY5" fmla="*/ 9084 h 9084"/>
                  <a:gd name="connsiteX6" fmla="*/ 0 w 56173"/>
                  <a:gd name="connsiteY6" fmla="*/ 7584 h 9084"/>
                  <a:gd name="connsiteX7" fmla="*/ 0 w 56173"/>
                  <a:gd name="connsiteY7" fmla="*/ 1625 h 9084"/>
                  <a:gd name="connsiteX8" fmla="*/ 1584 w 56173"/>
                  <a:gd name="connsiteY8" fmla="*/ 42 h 9084"/>
                  <a:gd name="connsiteX9" fmla="*/ 28212 w 56173"/>
                  <a:gd name="connsiteY9" fmla="*/ 0 h 9084"/>
                  <a:gd name="connsiteX10" fmla="*/ 54048 w 56173"/>
                  <a:gd name="connsiteY10" fmla="*/ 2042 h 9084"/>
                  <a:gd name="connsiteX11" fmla="*/ 52882 w 56173"/>
                  <a:gd name="connsiteY11" fmla="*/ 2042 h 9084"/>
                  <a:gd name="connsiteX12" fmla="*/ 3375 w 56173"/>
                  <a:gd name="connsiteY12" fmla="*/ 2042 h 9084"/>
                  <a:gd name="connsiteX13" fmla="*/ 2500 w 56173"/>
                  <a:gd name="connsiteY13" fmla="*/ 2084 h 9084"/>
                  <a:gd name="connsiteX14" fmla="*/ 2084 w 56173"/>
                  <a:gd name="connsiteY14" fmla="*/ 2500 h 9084"/>
                  <a:gd name="connsiteX15" fmla="*/ 2084 w 56173"/>
                  <a:gd name="connsiteY15" fmla="*/ 7001 h 9084"/>
                  <a:gd name="connsiteX16" fmla="*/ 54090 w 56173"/>
                  <a:gd name="connsiteY16" fmla="*/ 7001 h 9084"/>
                  <a:gd name="connsiteX17" fmla="*/ 54048 w 56173"/>
                  <a:gd name="connsiteY17" fmla="*/ 2042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173" h="9084">
                    <a:moveTo>
                      <a:pt x="28212" y="0"/>
                    </a:moveTo>
                    <a:cubicBezTo>
                      <a:pt x="36921" y="0"/>
                      <a:pt x="45631" y="0"/>
                      <a:pt x="54340" y="0"/>
                    </a:cubicBezTo>
                    <a:cubicBezTo>
                      <a:pt x="56007" y="0"/>
                      <a:pt x="56174" y="167"/>
                      <a:pt x="56174" y="1875"/>
                    </a:cubicBezTo>
                    <a:cubicBezTo>
                      <a:pt x="56174" y="3792"/>
                      <a:pt x="56174" y="5709"/>
                      <a:pt x="56174" y="7626"/>
                    </a:cubicBezTo>
                    <a:cubicBezTo>
                      <a:pt x="56174" y="8793"/>
                      <a:pt x="55882" y="9084"/>
                      <a:pt x="54715" y="9084"/>
                    </a:cubicBezTo>
                    <a:cubicBezTo>
                      <a:pt x="36963" y="9084"/>
                      <a:pt x="19211" y="9084"/>
                      <a:pt x="1459" y="9084"/>
                    </a:cubicBezTo>
                    <a:cubicBezTo>
                      <a:pt x="250" y="9084"/>
                      <a:pt x="0" y="8834"/>
                      <a:pt x="0" y="7584"/>
                    </a:cubicBezTo>
                    <a:cubicBezTo>
                      <a:pt x="0" y="5584"/>
                      <a:pt x="0" y="3625"/>
                      <a:pt x="0" y="1625"/>
                    </a:cubicBezTo>
                    <a:cubicBezTo>
                      <a:pt x="0" y="250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54048" y="2042"/>
                    </a:moveTo>
                    <a:cubicBezTo>
                      <a:pt x="53632" y="2042"/>
                      <a:pt x="53257" y="2042"/>
                      <a:pt x="52882" y="2042"/>
                    </a:cubicBezTo>
                    <a:cubicBezTo>
                      <a:pt x="36380" y="2042"/>
                      <a:pt x="19877" y="2042"/>
                      <a:pt x="3375" y="2042"/>
                    </a:cubicBezTo>
                    <a:cubicBezTo>
                      <a:pt x="3084" y="2042"/>
                      <a:pt x="2792" y="2000"/>
                      <a:pt x="2500" y="2084"/>
                    </a:cubicBezTo>
                    <a:cubicBezTo>
                      <a:pt x="2334" y="2125"/>
                      <a:pt x="2084" y="2334"/>
                      <a:pt x="2084" y="2500"/>
                    </a:cubicBezTo>
                    <a:cubicBezTo>
                      <a:pt x="2042" y="4000"/>
                      <a:pt x="2084" y="5459"/>
                      <a:pt x="2084" y="7001"/>
                    </a:cubicBezTo>
                    <a:cubicBezTo>
                      <a:pt x="19502" y="7001"/>
                      <a:pt x="36755" y="7001"/>
                      <a:pt x="54090" y="7001"/>
                    </a:cubicBezTo>
                    <a:cubicBezTo>
                      <a:pt x="54048" y="5334"/>
                      <a:pt x="54048" y="3750"/>
                      <a:pt x="54048" y="204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F6296604-65C9-AA5F-E9BC-15AC7D6AEF23}"/>
                  </a:ext>
                </a:extLst>
              </p:cNvPr>
              <p:cNvSpPr/>
              <p:nvPr/>
            </p:nvSpPr>
            <p:spPr>
              <a:xfrm>
                <a:off x="898679" y="3541858"/>
                <a:ext cx="15376" cy="15460"/>
              </a:xfrm>
              <a:custGeom>
                <a:avLst/>
                <a:gdLst>
                  <a:gd name="connsiteX0" fmla="*/ 15335 w 15376"/>
                  <a:gd name="connsiteY0" fmla="*/ 7751 h 15460"/>
                  <a:gd name="connsiteX1" fmla="*/ 15335 w 15376"/>
                  <a:gd name="connsiteY1" fmla="*/ 14002 h 15460"/>
                  <a:gd name="connsiteX2" fmla="*/ 13918 w 15376"/>
                  <a:gd name="connsiteY2" fmla="*/ 15460 h 15460"/>
                  <a:gd name="connsiteX3" fmla="*/ 1459 w 15376"/>
                  <a:gd name="connsiteY3" fmla="*/ 15460 h 15460"/>
                  <a:gd name="connsiteX4" fmla="*/ 0 w 15376"/>
                  <a:gd name="connsiteY4" fmla="*/ 14002 h 15460"/>
                  <a:gd name="connsiteX5" fmla="*/ 0 w 15376"/>
                  <a:gd name="connsiteY5" fmla="*/ 1417 h 15460"/>
                  <a:gd name="connsiteX6" fmla="*/ 1417 w 15376"/>
                  <a:gd name="connsiteY6" fmla="*/ 0 h 15460"/>
                  <a:gd name="connsiteX7" fmla="*/ 14002 w 15376"/>
                  <a:gd name="connsiteY7" fmla="*/ 0 h 15460"/>
                  <a:gd name="connsiteX8" fmla="*/ 15377 w 15376"/>
                  <a:gd name="connsiteY8" fmla="*/ 1375 h 15460"/>
                  <a:gd name="connsiteX9" fmla="*/ 15335 w 15376"/>
                  <a:gd name="connsiteY9" fmla="*/ 7751 h 15460"/>
                  <a:gd name="connsiteX10" fmla="*/ 2125 w 15376"/>
                  <a:gd name="connsiteY10" fmla="*/ 2125 h 15460"/>
                  <a:gd name="connsiteX11" fmla="*/ 2125 w 15376"/>
                  <a:gd name="connsiteY11" fmla="*/ 13293 h 15460"/>
                  <a:gd name="connsiteX12" fmla="*/ 13210 w 15376"/>
                  <a:gd name="connsiteY12" fmla="*/ 13293 h 15460"/>
                  <a:gd name="connsiteX13" fmla="*/ 13210 w 15376"/>
                  <a:gd name="connsiteY13" fmla="*/ 2125 h 15460"/>
                  <a:gd name="connsiteX14" fmla="*/ 2125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35" y="7751"/>
                    </a:moveTo>
                    <a:cubicBezTo>
                      <a:pt x="15335" y="9835"/>
                      <a:pt x="15335" y="11918"/>
                      <a:pt x="15335" y="14002"/>
                    </a:cubicBezTo>
                    <a:cubicBezTo>
                      <a:pt x="15335" y="15169"/>
                      <a:pt x="15044" y="15460"/>
                      <a:pt x="13918" y="15460"/>
                    </a:cubicBezTo>
                    <a:cubicBezTo>
                      <a:pt x="9751" y="15460"/>
                      <a:pt x="5584" y="15460"/>
                      <a:pt x="1459" y="15460"/>
                    </a:cubicBezTo>
                    <a:cubicBezTo>
                      <a:pt x="333" y="15460"/>
                      <a:pt x="0" y="15169"/>
                      <a:pt x="0" y="14002"/>
                    </a:cubicBezTo>
                    <a:cubicBezTo>
                      <a:pt x="0" y="9793"/>
                      <a:pt x="0" y="5626"/>
                      <a:pt x="0" y="1417"/>
                    </a:cubicBezTo>
                    <a:cubicBezTo>
                      <a:pt x="0" y="333"/>
                      <a:pt x="333" y="0"/>
                      <a:pt x="1417" y="0"/>
                    </a:cubicBezTo>
                    <a:cubicBezTo>
                      <a:pt x="5626" y="0"/>
                      <a:pt x="9793" y="0"/>
                      <a:pt x="14002" y="0"/>
                    </a:cubicBezTo>
                    <a:cubicBezTo>
                      <a:pt x="15085" y="0"/>
                      <a:pt x="15377" y="292"/>
                      <a:pt x="15377" y="1375"/>
                    </a:cubicBezTo>
                    <a:cubicBezTo>
                      <a:pt x="15377" y="3542"/>
                      <a:pt x="15335" y="5667"/>
                      <a:pt x="15335" y="7751"/>
                    </a:cubicBezTo>
                    <a:close/>
                    <a:moveTo>
                      <a:pt x="2125" y="2125"/>
                    </a:moveTo>
                    <a:cubicBezTo>
                      <a:pt x="2125" y="5876"/>
                      <a:pt x="2125" y="9585"/>
                      <a:pt x="2125" y="13293"/>
                    </a:cubicBezTo>
                    <a:cubicBezTo>
                      <a:pt x="5876" y="13293"/>
                      <a:pt x="9543" y="13293"/>
                      <a:pt x="13210" y="13293"/>
                    </a:cubicBezTo>
                    <a:cubicBezTo>
                      <a:pt x="13210" y="9501"/>
                      <a:pt x="13210" y="5834"/>
                      <a:pt x="13210" y="2125"/>
                    </a:cubicBezTo>
                    <a:cubicBezTo>
                      <a:pt x="9460" y="2125"/>
                      <a:pt x="5792" y="2125"/>
                      <a:pt x="2125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E6BAEAE8-8CF6-1E43-45E8-620F4458E142}"/>
                  </a:ext>
                </a:extLst>
              </p:cNvPr>
              <p:cNvSpPr/>
              <p:nvPr/>
            </p:nvSpPr>
            <p:spPr>
              <a:xfrm>
                <a:off x="898637" y="3480725"/>
                <a:ext cx="15387" cy="15460"/>
              </a:xfrm>
              <a:custGeom>
                <a:avLst/>
                <a:gdLst>
                  <a:gd name="connsiteX0" fmla="*/ 15377 w 15387"/>
                  <a:gd name="connsiteY0" fmla="*/ 7709 h 15460"/>
                  <a:gd name="connsiteX1" fmla="*/ 15377 w 15387"/>
                  <a:gd name="connsiteY1" fmla="*/ 14043 h 15460"/>
                  <a:gd name="connsiteX2" fmla="*/ 14002 w 15387"/>
                  <a:gd name="connsiteY2" fmla="*/ 15460 h 15460"/>
                  <a:gd name="connsiteX3" fmla="*/ 1417 w 15387"/>
                  <a:gd name="connsiteY3" fmla="*/ 15460 h 15460"/>
                  <a:gd name="connsiteX4" fmla="*/ 0 w 15387"/>
                  <a:gd name="connsiteY4" fmla="*/ 14043 h 15460"/>
                  <a:gd name="connsiteX5" fmla="*/ 0 w 15387"/>
                  <a:gd name="connsiteY5" fmla="*/ 1375 h 15460"/>
                  <a:gd name="connsiteX6" fmla="*/ 1334 w 15387"/>
                  <a:gd name="connsiteY6" fmla="*/ 0 h 15460"/>
                  <a:gd name="connsiteX7" fmla="*/ 14002 w 15387"/>
                  <a:gd name="connsiteY7" fmla="*/ 0 h 15460"/>
                  <a:gd name="connsiteX8" fmla="*/ 15335 w 15387"/>
                  <a:gd name="connsiteY8" fmla="*/ 1333 h 15460"/>
                  <a:gd name="connsiteX9" fmla="*/ 15377 w 15387"/>
                  <a:gd name="connsiteY9" fmla="*/ 7709 h 15460"/>
                  <a:gd name="connsiteX10" fmla="*/ 13252 w 15387"/>
                  <a:gd name="connsiteY10" fmla="*/ 2167 h 15460"/>
                  <a:gd name="connsiteX11" fmla="*/ 2167 w 15387"/>
                  <a:gd name="connsiteY11" fmla="*/ 2167 h 15460"/>
                  <a:gd name="connsiteX12" fmla="*/ 2167 w 15387"/>
                  <a:gd name="connsiteY12" fmla="*/ 13335 h 15460"/>
                  <a:gd name="connsiteX13" fmla="*/ 13252 w 15387"/>
                  <a:gd name="connsiteY13" fmla="*/ 13335 h 15460"/>
                  <a:gd name="connsiteX14" fmla="*/ 13252 w 15387"/>
                  <a:gd name="connsiteY14" fmla="*/ 2167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87" h="15460">
                    <a:moveTo>
                      <a:pt x="15377" y="7709"/>
                    </a:moveTo>
                    <a:cubicBezTo>
                      <a:pt x="15377" y="9835"/>
                      <a:pt x="15377" y="11918"/>
                      <a:pt x="15377" y="14043"/>
                    </a:cubicBezTo>
                    <a:cubicBezTo>
                      <a:pt x="15377" y="15127"/>
                      <a:pt x="15044" y="15460"/>
                      <a:pt x="14002" y="15460"/>
                    </a:cubicBezTo>
                    <a:cubicBezTo>
                      <a:pt x="9793" y="15460"/>
                      <a:pt x="5626" y="15460"/>
                      <a:pt x="1417" y="15460"/>
                    </a:cubicBezTo>
                    <a:cubicBezTo>
                      <a:pt x="375" y="15460"/>
                      <a:pt x="0" y="15085"/>
                      <a:pt x="0" y="14043"/>
                    </a:cubicBezTo>
                    <a:cubicBezTo>
                      <a:pt x="0" y="9835"/>
                      <a:pt x="0" y="5584"/>
                      <a:pt x="0" y="1375"/>
                    </a:cubicBezTo>
                    <a:cubicBezTo>
                      <a:pt x="0" y="375"/>
                      <a:pt x="333" y="0"/>
                      <a:pt x="1334" y="0"/>
                    </a:cubicBezTo>
                    <a:cubicBezTo>
                      <a:pt x="5542" y="0"/>
                      <a:pt x="9793" y="0"/>
                      <a:pt x="14002" y="0"/>
                    </a:cubicBezTo>
                    <a:cubicBezTo>
                      <a:pt x="15044" y="0"/>
                      <a:pt x="15335" y="333"/>
                      <a:pt x="15335" y="1333"/>
                    </a:cubicBezTo>
                    <a:cubicBezTo>
                      <a:pt x="15419" y="3500"/>
                      <a:pt x="15377" y="5584"/>
                      <a:pt x="15377" y="7709"/>
                    </a:cubicBezTo>
                    <a:close/>
                    <a:moveTo>
                      <a:pt x="13252" y="2167"/>
                    </a:moveTo>
                    <a:cubicBezTo>
                      <a:pt x="9501" y="2167"/>
                      <a:pt x="5834" y="2167"/>
                      <a:pt x="2167" y="2167"/>
                    </a:cubicBez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917" y="13335"/>
                      <a:pt x="9585" y="13335"/>
                      <a:pt x="13252" y="13335"/>
                    </a:cubicBezTo>
                    <a:cubicBezTo>
                      <a:pt x="13252" y="9585"/>
                      <a:pt x="13252" y="5876"/>
                      <a:pt x="13252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D36BA890-76EB-6AB6-CCEF-F2C9A58C526A}"/>
                  </a:ext>
                </a:extLst>
              </p:cNvPr>
              <p:cNvSpPr/>
              <p:nvPr/>
            </p:nvSpPr>
            <p:spPr>
              <a:xfrm>
                <a:off x="898637" y="3501144"/>
                <a:ext cx="15376" cy="15460"/>
              </a:xfrm>
              <a:custGeom>
                <a:avLst/>
                <a:gdLst>
                  <a:gd name="connsiteX0" fmla="*/ 15377 w 15376"/>
                  <a:gd name="connsiteY0" fmla="*/ 7709 h 15460"/>
                  <a:gd name="connsiteX1" fmla="*/ 15377 w 15376"/>
                  <a:gd name="connsiteY1" fmla="*/ 13960 h 15460"/>
                  <a:gd name="connsiteX2" fmla="*/ 13960 w 15376"/>
                  <a:gd name="connsiteY2" fmla="*/ 15460 h 15460"/>
                  <a:gd name="connsiteX3" fmla="*/ 1375 w 15376"/>
                  <a:gd name="connsiteY3" fmla="*/ 15460 h 15460"/>
                  <a:gd name="connsiteX4" fmla="*/ 0 w 15376"/>
                  <a:gd name="connsiteY4" fmla="*/ 14043 h 15460"/>
                  <a:gd name="connsiteX5" fmla="*/ 0 w 15376"/>
                  <a:gd name="connsiteY5" fmla="*/ 1459 h 15460"/>
                  <a:gd name="connsiteX6" fmla="*/ 1459 w 15376"/>
                  <a:gd name="connsiteY6" fmla="*/ 0 h 15460"/>
                  <a:gd name="connsiteX7" fmla="*/ 13835 w 15376"/>
                  <a:gd name="connsiteY7" fmla="*/ 0 h 15460"/>
                  <a:gd name="connsiteX8" fmla="*/ 15377 w 15376"/>
                  <a:gd name="connsiteY8" fmla="*/ 1584 h 15460"/>
                  <a:gd name="connsiteX9" fmla="*/ 15377 w 15376"/>
                  <a:gd name="connsiteY9" fmla="*/ 7709 h 15460"/>
                  <a:gd name="connsiteX10" fmla="*/ 2167 w 15376"/>
                  <a:gd name="connsiteY10" fmla="*/ 2125 h 15460"/>
                  <a:gd name="connsiteX11" fmla="*/ 2167 w 15376"/>
                  <a:gd name="connsiteY11" fmla="*/ 13335 h 15460"/>
                  <a:gd name="connsiteX12" fmla="*/ 13252 w 15376"/>
                  <a:gd name="connsiteY12" fmla="*/ 13335 h 15460"/>
                  <a:gd name="connsiteX13" fmla="*/ 13252 w 15376"/>
                  <a:gd name="connsiteY13" fmla="*/ 2125 h 15460"/>
                  <a:gd name="connsiteX14" fmla="*/ 2167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77" y="7709"/>
                    </a:moveTo>
                    <a:cubicBezTo>
                      <a:pt x="15377" y="9793"/>
                      <a:pt x="15377" y="11876"/>
                      <a:pt x="15377" y="13960"/>
                    </a:cubicBezTo>
                    <a:cubicBezTo>
                      <a:pt x="15377" y="15127"/>
                      <a:pt x="15085" y="15460"/>
                      <a:pt x="13960" y="15460"/>
                    </a:cubicBezTo>
                    <a:cubicBezTo>
                      <a:pt x="9751" y="15460"/>
                      <a:pt x="5584" y="15460"/>
                      <a:pt x="1375" y="15460"/>
                    </a:cubicBezTo>
                    <a:cubicBezTo>
                      <a:pt x="292" y="15460"/>
                      <a:pt x="0" y="15127"/>
                      <a:pt x="0" y="14043"/>
                    </a:cubicBezTo>
                    <a:cubicBezTo>
                      <a:pt x="0" y="9835"/>
                      <a:pt x="0" y="5667"/>
                      <a:pt x="0" y="1459"/>
                    </a:cubicBezTo>
                    <a:cubicBezTo>
                      <a:pt x="0" y="333"/>
                      <a:pt x="333" y="0"/>
                      <a:pt x="1459" y="0"/>
                    </a:cubicBezTo>
                    <a:cubicBezTo>
                      <a:pt x="5584" y="0"/>
                      <a:pt x="9710" y="0"/>
                      <a:pt x="13835" y="0"/>
                    </a:cubicBezTo>
                    <a:cubicBezTo>
                      <a:pt x="15085" y="0"/>
                      <a:pt x="15335" y="292"/>
                      <a:pt x="15377" y="1584"/>
                    </a:cubicBezTo>
                    <a:cubicBezTo>
                      <a:pt x="15377" y="3625"/>
                      <a:pt x="15377" y="5667"/>
                      <a:pt x="15377" y="7709"/>
                    </a:cubicBezTo>
                    <a:close/>
                    <a:moveTo>
                      <a:pt x="2167" y="2125"/>
                    </a:move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876" y="13335"/>
                      <a:pt x="9543" y="13335"/>
                      <a:pt x="13252" y="13335"/>
                    </a:cubicBezTo>
                    <a:cubicBezTo>
                      <a:pt x="13252" y="9585"/>
                      <a:pt x="13252" y="5834"/>
                      <a:pt x="13252" y="2125"/>
                    </a:cubicBezTo>
                    <a:cubicBezTo>
                      <a:pt x="9543" y="2125"/>
                      <a:pt x="5876" y="2125"/>
                      <a:pt x="2167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76EDAA55-09D9-53A7-3BDA-6E18C41DA1F7}"/>
                  </a:ext>
                </a:extLst>
              </p:cNvPr>
              <p:cNvSpPr/>
              <p:nvPr/>
            </p:nvSpPr>
            <p:spPr>
              <a:xfrm>
                <a:off x="898637" y="3521522"/>
                <a:ext cx="15376" cy="15376"/>
              </a:xfrm>
              <a:custGeom>
                <a:avLst/>
                <a:gdLst>
                  <a:gd name="connsiteX0" fmla="*/ 7709 w 15376"/>
                  <a:gd name="connsiteY0" fmla="*/ 42 h 15376"/>
                  <a:gd name="connsiteX1" fmla="*/ 13835 w 15376"/>
                  <a:gd name="connsiteY1" fmla="*/ 42 h 15376"/>
                  <a:gd name="connsiteX2" fmla="*/ 15377 w 15376"/>
                  <a:gd name="connsiteY2" fmla="*/ 1500 h 15376"/>
                  <a:gd name="connsiteX3" fmla="*/ 15377 w 15376"/>
                  <a:gd name="connsiteY3" fmla="*/ 13877 h 15376"/>
                  <a:gd name="connsiteX4" fmla="*/ 13877 w 15376"/>
                  <a:gd name="connsiteY4" fmla="*/ 15377 h 15376"/>
                  <a:gd name="connsiteX5" fmla="*/ 1500 w 15376"/>
                  <a:gd name="connsiteY5" fmla="*/ 15377 h 15376"/>
                  <a:gd name="connsiteX6" fmla="*/ 0 w 15376"/>
                  <a:gd name="connsiteY6" fmla="*/ 13835 h 15376"/>
                  <a:gd name="connsiteX7" fmla="*/ 0 w 15376"/>
                  <a:gd name="connsiteY7" fmla="*/ 1542 h 15376"/>
                  <a:gd name="connsiteX8" fmla="*/ 1542 w 15376"/>
                  <a:gd name="connsiteY8" fmla="*/ 0 h 15376"/>
                  <a:gd name="connsiteX9" fmla="*/ 7709 w 15376"/>
                  <a:gd name="connsiteY9" fmla="*/ 42 h 15376"/>
                  <a:gd name="connsiteX10" fmla="*/ 2167 w 15376"/>
                  <a:gd name="connsiteY10" fmla="*/ 13293 h 15376"/>
                  <a:gd name="connsiteX11" fmla="*/ 13252 w 15376"/>
                  <a:gd name="connsiteY11" fmla="*/ 13293 h 15376"/>
                  <a:gd name="connsiteX12" fmla="*/ 13335 w 15376"/>
                  <a:gd name="connsiteY12" fmla="*/ 12502 h 15376"/>
                  <a:gd name="connsiteX13" fmla="*/ 13377 w 15376"/>
                  <a:gd name="connsiteY13" fmla="*/ 3042 h 15376"/>
                  <a:gd name="connsiteX14" fmla="*/ 12335 w 15376"/>
                  <a:gd name="connsiteY14" fmla="*/ 2084 h 15376"/>
                  <a:gd name="connsiteX15" fmla="*/ 3750 w 15376"/>
                  <a:gd name="connsiteY15" fmla="*/ 2084 h 15376"/>
                  <a:gd name="connsiteX16" fmla="*/ 2167 w 15376"/>
                  <a:gd name="connsiteY16" fmla="*/ 2084 h 15376"/>
                  <a:gd name="connsiteX17" fmla="*/ 2167 w 15376"/>
                  <a:gd name="connsiteY17" fmla="*/ 13293 h 15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76" h="15376">
                    <a:moveTo>
                      <a:pt x="7709" y="42"/>
                    </a:moveTo>
                    <a:cubicBezTo>
                      <a:pt x="9751" y="42"/>
                      <a:pt x="11793" y="42"/>
                      <a:pt x="13835" y="42"/>
                    </a:cubicBezTo>
                    <a:cubicBezTo>
                      <a:pt x="15085" y="42"/>
                      <a:pt x="15335" y="292"/>
                      <a:pt x="15377" y="1500"/>
                    </a:cubicBezTo>
                    <a:cubicBezTo>
                      <a:pt x="15377" y="5626"/>
                      <a:pt x="15377" y="9751"/>
                      <a:pt x="15377" y="13877"/>
                    </a:cubicBezTo>
                    <a:cubicBezTo>
                      <a:pt x="15377" y="15085"/>
                      <a:pt x="15085" y="15377"/>
                      <a:pt x="13877" y="15377"/>
                    </a:cubicBezTo>
                    <a:cubicBezTo>
                      <a:pt x="9751" y="15377"/>
                      <a:pt x="5626" y="15377"/>
                      <a:pt x="1500" y="15377"/>
                    </a:cubicBezTo>
                    <a:cubicBezTo>
                      <a:pt x="333" y="15377"/>
                      <a:pt x="0" y="15044"/>
                      <a:pt x="0" y="13835"/>
                    </a:cubicBezTo>
                    <a:cubicBezTo>
                      <a:pt x="0" y="9751"/>
                      <a:pt x="0" y="5626"/>
                      <a:pt x="0" y="1542"/>
                    </a:cubicBezTo>
                    <a:cubicBezTo>
                      <a:pt x="0" y="292"/>
                      <a:pt x="292" y="0"/>
                      <a:pt x="1542" y="0"/>
                    </a:cubicBezTo>
                    <a:cubicBezTo>
                      <a:pt x="3625" y="42"/>
                      <a:pt x="5667" y="42"/>
                      <a:pt x="7709" y="42"/>
                    </a:cubicBezTo>
                    <a:close/>
                    <a:moveTo>
                      <a:pt x="2167" y="13293"/>
                    </a:moveTo>
                    <a:cubicBezTo>
                      <a:pt x="5917" y="13293"/>
                      <a:pt x="9543" y="13293"/>
                      <a:pt x="13252" y="13293"/>
                    </a:cubicBezTo>
                    <a:cubicBezTo>
                      <a:pt x="13293" y="13002"/>
                      <a:pt x="13335" y="12752"/>
                      <a:pt x="13335" y="12502"/>
                    </a:cubicBezTo>
                    <a:cubicBezTo>
                      <a:pt x="13335" y="9334"/>
                      <a:pt x="13293" y="6209"/>
                      <a:pt x="13377" y="3042"/>
                    </a:cubicBezTo>
                    <a:cubicBezTo>
                      <a:pt x="13377" y="2209"/>
                      <a:pt x="13085" y="2084"/>
                      <a:pt x="12335" y="2084"/>
                    </a:cubicBezTo>
                    <a:cubicBezTo>
                      <a:pt x="9460" y="2125"/>
                      <a:pt x="6626" y="2084"/>
                      <a:pt x="3750" y="2084"/>
                    </a:cubicBezTo>
                    <a:cubicBezTo>
                      <a:pt x="3250" y="2084"/>
                      <a:pt x="2750" y="2084"/>
                      <a:pt x="2167" y="2084"/>
                    </a:cubicBezTo>
                    <a:cubicBezTo>
                      <a:pt x="2167" y="5876"/>
                      <a:pt x="2167" y="9543"/>
                      <a:pt x="2167" y="1329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9D2813BB-B11D-09D2-ADF0-D2CE371C9355}"/>
                  </a:ext>
                </a:extLst>
              </p:cNvPr>
              <p:cNvSpPr/>
              <p:nvPr/>
            </p:nvSpPr>
            <p:spPr>
              <a:xfrm>
                <a:off x="925474" y="3547150"/>
                <a:ext cx="51923" cy="4917"/>
              </a:xfrm>
              <a:custGeom>
                <a:avLst/>
                <a:gdLst>
                  <a:gd name="connsiteX0" fmla="*/ 0 w 51923"/>
                  <a:gd name="connsiteY0" fmla="*/ 4917 h 4917"/>
                  <a:gd name="connsiteX1" fmla="*/ 0 w 51923"/>
                  <a:gd name="connsiteY1" fmla="*/ 0 h 4917"/>
                  <a:gd name="connsiteX2" fmla="*/ 51923 w 51923"/>
                  <a:gd name="connsiteY2" fmla="*/ 0 h 4917"/>
                  <a:gd name="connsiteX3" fmla="*/ 51923 w 51923"/>
                  <a:gd name="connsiteY3" fmla="*/ 4917 h 4917"/>
                  <a:gd name="connsiteX4" fmla="*/ 0 w 51923"/>
                  <a:gd name="connsiteY4" fmla="*/ 4917 h 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17">
                    <a:moveTo>
                      <a:pt x="0" y="4917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588" y="0"/>
                      <a:pt x="51923" y="0"/>
                    </a:cubicBezTo>
                    <a:cubicBezTo>
                      <a:pt x="51923" y="1625"/>
                      <a:pt x="51923" y="3250"/>
                      <a:pt x="51923" y="4917"/>
                    </a:cubicBezTo>
                    <a:cubicBezTo>
                      <a:pt x="34629" y="4917"/>
                      <a:pt x="17377" y="4917"/>
                      <a:pt x="0" y="491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B9B230C-9165-FEA5-CC65-EDBC5E8753EF}"/>
                  </a:ext>
                </a:extLst>
              </p:cNvPr>
              <p:cNvSpPr/>
              <p:nvPr/>
            </p:nvSpPr>
            <p:spPr>
              <a:xfrm>
                <a:off x="925516" y="3506437"/>
                <a:ext cx="51923" cy="4833"/>
              </a:xfrm>
              <a:custGeom>
                <a:avLst/>
                <a:gdLst>
                  <a:gd name="connsiteX0" fmla="*/ 51923 w 51923"/>
                  <a:gd name="connsiteY0" fmla="*/ 0 h 4833"/>
                  <a:gd name="connsiteX1" fmla="*/ 51923 w 51923"/>
                  <a:gd name="connsiteY1" fmla="*/ 4834 h 4833"/>
                  <a:gd name="connsiteX2" fmla="*/ 0 w 51923"/>
                  <a:gd name="connsiteY2" fmla="*/ 4834 h 4833"/>
                  <a:gd name="connsiteX3" fmla="*/ 0 w 51923"/>
                  <a:gd name="connsiteY3" fmla="*/ 0 h 4833"/>
                  <a:gd name="connsiteX4" fmla="*/ 51923 w 51923"/>
                  <a:gd name="connsiteY4" fmla="*/ 0 h 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833">
                    <a:moveTo>
                      <a:pt x="51923" y="0"/>
                    </a:moveTo>
                    <a:cubicBezTo>
                      <a:pt x="51923" y="1625"/>
                      <a:pt x="51923" y="3209"/>
                      <a:pt x="51923" y="4834"/>
                    </a:cubicBezTo>
                    <a:cubicBezTo>
                      <a:pt x="34588" y="4834"/>
                      <a:pt x="17335" y="4834"/>
                      <a:pt x="0" y="4834"/>
                    </a:cubicBezTo>
                    <a:cubicBezTo>
                      <a:pt x="0" y="3250"/>
                      <a:pt x="0" y="1667"/>
                      <a:pt x="0" y="0"/>
                    </a:cubicBezTo>
                    <a:cubicBezTo>
                      <a:pt x="17252" y="0"/>
                      <a:pt x="34504" y="0"/>
                      <a:pt x="51923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EF52BC2D-079B-5DCD-431B-5C3832CC2C88}"/>
                  </a:ext>
                </a:extLst>
              </p:cNvPr>
              <p:cNvSpPr/>
              <p:nvPr/>
            </p:nvSpPr>
            <p:spPr>
              <a:xfrm>
                <a:off x="925474" y="3485976"/>
                <a:ext cx="51923" cy="4958"/>
              </a:xfrm>
              <a:custGeom>
                <a:avLst/>
                <a:gdLst>
                  <a:gd name="connsiteX0" fmla="*/ 0 w 51923"/>
                  <a:gd name="connsiteY0" fmla="*/ 4959 h 4958"/>
                  <a:gd name="connsiteX1" fmla="*/ 0 w 51923"/>
                  <a:gd name="connsiteY1" fmla="*/ 0 h 4958"/>
                  <a:gd name="connsiteX2" fmla="*/ 51923 w 51923"/>
                  <a:gd name="connsiteY2" fmla="*/ 0 h 4958"/>
                  <a:gd name="connsiteX3" fmla="*/ 51923 w 51923"/>
                  <a:gd name="connsiteY3" fmla="*/ 4959 h 4958"/>
                  <a:gd name="connsiteX4" fmla="*/ 0 w 51923"/>
                  <a:gd name="connsiteY4" fmla="*/ 4959 h 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58">
                    <a:moveTo>
                      <a:pt x="0" y="4959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629" y="0"/>
                      <a:pt x="51923" y="0"/>
                    </a:cubicBezTo>
                    <a:cubicBezTo>
                      <a:pt x="51923" y="1667"/>
                      <a:pt x="51923" y="3292"/>
                      <a:pt x="51923" y="4959"/>
                    </a:cubicBezTo>
                    <a:cubicBezTo>
                      <a:pt x="34629" y="4959"/>
                      <a:pt x="17377" y="4959"/>
                      <a:pt x="0" y="4959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3C8F2DB9-CFF8-0CCC-CD2F-AB1BB4BDA87C}"/>
                  </a:ext>
                </a:extLst>
              </p:cNvPr>
              <p:cNvSpPr/>
              <p:nvPr/>
            </p:nvSpPr>
            <p:spPr>
              <a:xfrm>
                <a:off x="925432" y="3526679"/>
                <a:ext cx="52006" cy="4969"/>
              </a:xfrm>
              <a:custGeom>
                <a:avLst/>
                <a:gdLst>
                  <a:gd name="connsiteX0" fmla="*/ 52006 w 52006"/>
                  <a:gd name="connsiteY0" fmla="*/ 52 h 4969"/>
                  <a:gd name="connsiteX1" fmla="*/ 52006 w 52006"/>
                  <a:gd name="connsiteY1" fmla="*/ 4969 h 4969"/>
                  <a:gd name="connsiteX2" fmla="*/ 0 w 52006"/>
                  <a:gd name="connsiteY2" fmla="*/ 4969 h 4969"/>
                  <a:gd name="connsiteX3" fmla="*/ 0 w 52006"/>
                  <a:gd name="connsiteY3" fmla="*/ 469 h 4969"/>
                  <a:gd name="connsiteX4" fmla="*/ 417 w 52006"/>
                  <a:gd name="connsiteY4" fmla="*/ 52 h 4969"/>
                  <a:gd name="connsiteX5" fmla="*/ 1292 w 52006"/>
                  <a:gd name="connsiteY5" fmla="*/ 10 h 4969"/>
                  <a:gd name="connsiteX6" fmla="*/ 50798 w 52006"/>
                  <a:gd name="connsiteY6" fmla="*/ 10 h 4969"/>
                  <a:gd name="connsiteX7" fmla="*/ 52006 w 52006"/>
                  <a:gd name="connsiteY7" fmla="*/ 52 h 4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006" h="4969">
                    <a:moveTo>
                      <a:pt x="52006" y="52"/>
                    </a:moveTo>
                    <a:cubicBezTo>
                      <a:pt x="52006" y="1761"/>
                      <a:pt x="52006" y="3344"/>
                      <a:pt x="52006" y="4969"/>
                    </a:cubicBezTo>
                    <a:cubicBezTo>
                      <a:pt x="34671" y="4969"/>
                      <a:pt x="17419" y="4969"/>
                      <a:pt x="0" y="4969"/>
                    </a:cubicBezTo>
                    <a:cubicBezTo>
                      <a:pt x="0" y="3428"/>
                      <a:pt x="0" y="1969"/>
                      <a:pt x="0" y="469"/>
                    </a:cubicBezTo>
                    <a:cubicBezTo>
                      <a:pt x="0" y="344"/>
                      <a:pt x="250" y="94"/>
                      <a:pt x="417" y="52"/>
                    </a:cubicBezTo>
                    <a:cubicBezTo>
                      <a:pt x="708" y="-31"/>
                      <a:pt x="1000" y="10"/>
                      <a:pt x="1292" y="10"/>
                    </a:cubicBezTo>
                    <a:cubicBezTo>
                      <a:pt x="17794" y="10"/>
                      <a:pt x="34296" y="10"/>
                      <a:pt x="50798" y="10"/>
                    </a:cubicBezTo>
                    <a:cubicBezTo>
                      <a:pt x="51215" y="52"/>
                      <a:pt x="51590" y="52"/>
                      <a:pt x="52006" y="5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66525D13-75D8-79B9-5778-CC8F5066F0CB}"/>
                  </a:ext>
                </a:extLst>
              </p:cNvPr>
              <p:cNvSpPr/>
              <p:nvPr/>
            </p:nvSpPr>
            <p:spPr>
              <a:xfrm>
                <a:off x="900804" y="3543983"/>
                <a:ext cx="11084" cy="11168"/>
              </a:xfrm>
              <a:custGeom>
                <a:avLst/>
                <a:gdLst>
                  <a:gd name="connsiteX0" fmla="*/ 0 w 11084"/>
                  <a:gd name="connsiteY0" fmla="*/ 0 h 11168"/>
                  <a:gd name="connsiteX1" fmla="*/ 11085 w 11084"/>
                  <a:gd name="connsiteY1" fmla="*/ 0 h 11168"/>
                  <a:gd name="connsiteX2" fmla="*/ 11085 w 11084"/>
                  <a:gd name="connsiteY2" fmla="*/ 11168 h 11168"/>
                  <a:gd name="connsiteX3" fmla="*/ 0 w 11084"/>
                  <a:gd name="connsiteY3" fmla="*/ 11168 h 11168"/>
                  <a:gd name="connsiteX4" fmla="*/ 0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0" y="0"/>
                    </a:moveTo>
                    <a:cubicBezTo>
                      <a:pt x="3667" y="0"/>
                      <a:pt x="7334" y="0"/>
                      <a:pt x="11085" y="0"/>
                    </a:cubicBezTo>
                    <a:cubicBezTo>
                      <a:pt x="11085" y="3709"/>
                      <a:pt x="11085" y="7376"/>
                      <a:pt x="11085" y="11168"/>
                    </a:cubicBezTo>
                    <a:cubicBezTo>
                      <a:pt x="7418" y="11168"/>
                      <a:pt x="3750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261C3D61-CEB6-7BF8-8299-DBE0AB11E6FA}"/>
                  </a:ext>
                </a:extLst>
              </p:cNvPr>
              <p:cNvSpPr/>
              <p:nvPr/>
            </p:nvSpPr>
            <p:spPr>
              <a:xfrm>
                <a:off x="900804" y="3482892"/>
                <a:ext cx="11084" cy="11168"/>
              </a:xfrm>
              <a:custGeom>
                <a:avLst/>
                <a:gdLst>
                  <a:gd name="connsiteX0" fmla="*/ 11085 w 11084"/>
                  <a:gd name="connsiteY0" fmla="*/ 0 h 11168"/>
                  <a:gd name="connsiteX1" fmla="*/ 11085 w 11084"/>
                  <a:gd name="connsiteY1" fmla="*/ 11168 h 11168"/>
                  <a:gd name="connsiteX2" fmla="*/ 0 w 11084"/>
                  <a:gd name="connsiteY2" fmla="*/ 11168 h 11168"/>
                  <a:gd name="connsiteX3" fmla="*/ 0 w 11084"/>
                  <a:gd name="connsiteY3" fmla="*/ 0 h 11168"/>
                  <a:gd name="connsiteX4" fmla="*/ 11085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11085" y="0"/>
                    </a:moveTo>
                    <a:cubicBezTo>
                      <a:pt x="11085" y="3750"/>
                      <a:pt x="11085" y="7418"/>
                      <a:pt x="11085" y="11168"/>
                    </a:cubicBezTo>
                    <a:cubicBezTo>
                      <a:pt x="7376" y="11168"/>
                      <a:pt x="3709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ubicBezTo>
                      <a:pt x="3667" y="0"/>
                      <a:pt x="7376" y="0"/>
                      <a:pt x="11085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2735AA4E-1F2B-1F74-461F-CDD7406D5B98}"/>
                  </a:ext>
                </a:extLst>
              </p:cNvPr>
              <p:cNvSpPr/>
              <p:nvPr/>
            </p:nvSpPr>
            <p:spPr>
              <a:xfrm>
                <a:off x="900804" y="3503270"/>
                <a:ext cx="11084" cy="11209"/>
              </a:xfrm>
              <a:custGeom>
                <a:avLst/>
                <a:gdLst>
                  <a:gd name="connsiteX0" fmla="*/ 0 w 11084"/>
                  <a:gd name="connsiteY0" fmla="*/ 0 h 11209"/>
                  <a:gd name="connsiteX1" fmla="*/ 11085 w 11084"/>
                  <a:gd name="connsiteY1" fmla="*/ 0 h 11209"/>
                  <a:gd name="connsiteX2" fmla="*/ 11085 w 11084"/>
                  <a:gd name="connsiteY2" fmla="*/ 11210 h 11209"/>
                  <a:gd name="connsiteX3" fmla="*/ 0 w 11084"/>
                  <a:gd name="connsiteY3" fmla="*/ 11210 h 11209"/>
                  <a:gd name="connsiteX4" fmla="*/ 0 w 11084"/>
                  <a:gd name="connsiteY4" fmla="*/ 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209">
                    <a:moveTo>
                      <a:pt x="0" y="0"/>
                    </a:moveTo>
                    <a:cubicBezTo>
                      <a:pt x="3709" y="0"/>
                      <a:pt x="7376" y="0"/>
                      <a:pt x="11085" y="0"/>
                    </a:cubicBezTo>
                    <a:cubicBezTo>
                      <a:pt x="11085" y="3750"/>
                      <a:pt x="11085" y="7459"/>
                      <a:pt x="11085" y="11210"/>
                    </a:cubicBezTo>
                    <a:cubicBezTo>
                      <a:pt x="7376" y="11210"/>
                      <a:pt x="3709" y="11210"/>
                      <a:pt x="0" y="11210"/>
                    </a:cubicBezTo>
                    <a:cubicBezTo>
                      <a:pt x="0" y="7459"/>
                      <a:pt x="0" y="3792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40EE42D8-6CD8-7816-76A4-1BDF0917DF44}"/>
                  </a:ext>
                </a:extLst>
              </p:cNvPr>
              <p:cNvSpPr/>
              <p:nvPr/>
            </p:nvSpPr>
            <p:spPr>
              <a:xfrm>
                <a:off x="900804" y="3523606"/>
                <a:ext cx="11209" cy="11209"/>
              </a:xfrm>
              <a:custGeom>
                <a:avLst/>
                <a:gdLst>
                  <a:gd name="connsiteX0" fmla="*/ 0 w 11209"/>
                  <a:gd name="connsiteY0" fmla="*/ 11210 h 11209"/>
                  <a:gd name="connsiteX1" fmla="*/ 0 w 11209"/>
                  <a:gd name="connsiteY1" fmla="*/ 0 h 11209"/>
                  <a:gd name="connsiteX2" fmla="*/ 1584 w 11209"/>
                  <a:gd name="connsiteY2" fmla="*/ 0 h 11209"/>
                  <a:gd name="connsiteX3" fmla="*/ 10168 w 11209"/>
                  <a:gd name="connsiteY3" fmla="*/ 0 h 11209"/>
                  <a:gd name="connsiteX4" fmla="*/ 11210 w 11209"/>
                  <a:gd name="connsiteY4" fmla="*/ 958 h 11209"/>
                  <a:gd name="connsiteX5" fmla="*/ 11168 w 11209"/>
                  <a:gd name="connsiteY5" fmla="*/ 10418 h 11209"/>
                  <a:gd name="connsiteX6" fmla="*/ 11085 w 11209"/>
                  <a:gd name="connsiteY6" fmla="*/ 11210 h 11209"/>
                  <a:gd name="connsiteX7" fmla="*/ 0 w 11209"/>
                  <a:gd name="connsiteY7" fmla="*/ 1121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09" h="11209">
                    <a:moveTo>
                      <a:pt x="0" y="11210"/>
                    </a:moveTo>
                    <a:cubicBezTo>
                      <a:pt x="0" y="7459"/>
                      <a:pt x="0" y="3792"/>
                      <a:pt x="0" y="0"/>
                    </a:cubicBezTo>
                    <a:cubicBezTo>
                      <a:pt x="583" y="0"/>
                      <a:pt x="1083" y="0"/>
                      <a:pt x="1584" y="0"/>
                    </a:cubicBezTo>
                    <a:cubicBezTo>
                      <a:pt x="4459" y="0"/>
                      <a:pt x="7293" y="0"/>
                      <a:pt x="10168" y="0"/>
                    </a:cubicBezTo>
                    <a:cubicBezTo>
                      <a:pt x="10876" y="0"/>
                      <a:pt x="11210" y="125"/>
                      <a:pt x="11210" y="958"/>
                    </a:cubicBezTo>
                    <a:cubicBezTo>
                      <a:pt x="11168" y="4126"/>
                      <a:pt x="11210" y="7251"/>
                      <a:pt x="11168" y="10418"/>
                    </a:cubicBezTo>
                    <a:cubicBezTo>
                      <a:pt x="11168" y="10668"/>
                      <a:pt x="11126" y="10918"/>
                      <a:pt x="11085" y="11210"/>
                    </a:cubicBezTo>
                    <a:cubicBezTo>
                      <a:pt x="7376" y="11210"/>
                      <a:pt x="3750" y="11210"/>
                      <a:pt x="0" y="1121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0D7BA43-0D18-6229-A4BC-774CB116AD02}"/>
              </a:ext>
            </a:extLst>
          </p:cNvPr>
          <p:cNvGrpSpPr/>
          <p:nvPr/>
        </p:nvGrpSpPr>
        <p:grpSpPr>
          <a:xfrm>
            <a:off x="4202346" y="4431207"/>
            <a:ext cx="1245040" cy="1084376"/>
            <a:chOff x="352422" y="3992383"/>
            <a:chExt cx="1263943" cy="1066277"/>
          </a:xfrm>
        </p:grpSpPr>
        <p:grpSp>
          <p:nvGrpSpPr>
            <p:cNvPr id="341" name="Group 340">
              <a:extLst>
                <a:ext uri="{FF2B5EF4-FFF2-40B4-BE49-F238E27FC236}">
                  <a16:creationId xmlns:a16="http://schemas.microsoft.com/office/drawing/2014/main" id="{229CC87D-CA73-3F14-7EEB-EEE592770345}"/>
                </a:ext>
              </a:extLst>
            </p:cNvPr>
            <p:cNvGrpSpPr/>
            <p:nvPr/>
          </p:nvGrpSpPr>
          <p:grpSpPr>
            <a:xfrm>
              <a:off x="352422" y="3992383"/>
              <a:ext cx="862165" cy="648676"/>
              <a:chOff x="4627939" y="2589736"/>
              <a:chExt cx="3010567" cy="2265082"/>
            </a:xfrm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1DF0389E-C859-B3AC-C486-8BCF839E1224}"/>
                  </a:ext>
                </a:extLst>
              </p:cNvPr>
              <p:cNvSpPr/>
              <p:nvPr/>
            </p:nvSpPr>
            <p:spPr>
              <a:xfrm>
                <a:off x="7122628" y="3355809"/>
                <a:ext cx="515878" cy="907052"/>
              </a:xfrm>
              <a:custGeom>
                <a:avLst/>
                <a:gdLst>
                  <a:gd name="connsiteX0" fmla="*/ 515879 w 515878"/>
                  <a:gd name="connsiteY0" fmla="*/ 448624 h 907052"/>
                  <a:gd name="connsiteX1" fmla="*/ 329998 w 515878"/>
                  <a:gd name="connsiteY1" fmla="*/ 705289 h 907052"/>
                  <a:gd name="connsiteX2" fmla="*/ 196273 w 515878"/>
                  <a:gd name="connsiteY2" fmla="*/ 874700 h 907052"/>
                  <a:gd name="connsiteX3" fmla="*/ 196273 w 515878"/>
                  <a:gd name="connsiteY3" fmla="*/ 874896 h 907052"/>
                  <a:gd name="connsiteX4" fmla="*/ 111960 w 515878"/>
                  <a:gd name="connsiteY4" fmla="*/ 903327 h 907052"/>
                  <a:gd name="connsiteX5" fmla="*/ 67843 w 515878"/>
                  <a:gd name="connsiteY5" fmla="*/ 907053 h 907052"/>
                  <a:gd name="connsiteX6" fmla="*/ 0 w 515878"/>
                  <a:gd name="connsiteY6" fmla="*/ 898033 h 907052"/>
                  <a:gd name="connsiteX7" fmla="*/ 0 w 515878"/>
                  <a:gd name="connsiteY7" fmla="*/ 13921 h 907052"/>
                  <a:gd name="connsiteX8" fmla="*/ 71764 w 515878"/>
                  <a:gd name="connsiteY8" fmla="*/ 0 h 907052"/>
                  <a:gd name="connsiteX9" fmla="*/ 263920 w 515878"/>
                  <a:gd name="connsiteY9" fmla="*/ 179018 h 907052"/>
                  <a:gd name="connsiteX10" fmla="*/ 515879 w 515878"/>
                  <a:gd name="connsiteY10" fmla="*/ 44862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15878" h="907052">
                    <a:moveTo>
                      <a:pt x="515879" y="448624"/>
                    </a:moveTo>
                    <a:cubicBezTo>
                      <a:pt x="515879" y="568427"/>
                      <a:pt x="437840" y="669799"/>
                      <a:pt x="329998" y="705289"/>
                    </a:cubicBezTo>
                    <a:cubicBezTo>
                      <a:pt x="310390" y="778426"/>
                      <a:pt x="261371" y="839602"/>
                      <a:pt x="196273" y="874700"/>
                    </a:cubicBezTo>
                    <a:lnTo>
                      <a:pt x="196273" y="874896"/>
                    </a:lnTo>
                    <a:cubicBezTo>
                      <a:pt x="170391" y="888818"/>
                      <a:pt x="141960" y="898621"/>
                      <a:pt x="111960" y="903327"/>
                    </a:cubicBezTo>
                    <a:cubicBezTo>
                      <a:pt x="97647" y="905876"/>
                      <a:pt x="82941" y="907053"/>
                      <a:pt x="67843" y="907053"/>
                    </a:cubicBezTo>
                    <a:cubicBezTo>
                      <a:pt x="44510" y="907053"/>
                      <a:pt x="21765" y="903719"/>
                      <a:pt x="0" y="898033"/>
                    </a:cubicBezTo>
                    <a:lnTo>
                      <a:pt x="0" y="13921"/>
                    </a:lnTo>
                    <a:cubicBezTo>
                      <a:pt x="22157" y="4902"/>
                      <a:pt x="46274" y="0"/>
                      <a:pt x="71764" y="0"/>
                    </a:cubicBezTo>
                    <a:cubicBezTo>
                      <a:pt x="173724" y="0"/>
                      <a:pt x="256861" y="79019"/>
                      <a:pt x="263920" y="179018"/>
                    </a:cubicBezTo>
                    <a:cubicBezTo>
                      <a:pt x="404507" y="188626"/>
                      <a:pt x="515879" y="305488"/>
                      <a:pt x="515879" y="448624"/>
                    </a:cubicBez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2B12D7D7-5B88-86FE-7E96-6AAFD92BEBE6}"/>
                  </a:ext>
                </a:extLst>
              </p:cNvPr>
              <p:cNvSpPr/>
              <p:nvPr/>
            </p:nvSpPr>
            <p:spPr>
              <a:xfrm>
                <a:off x="4627939" y="3355809"/>
                <a:ext cx="515879" cy="907052"/>
              </a:xfrm>
              <a:custGeom>
                <a:avLst/>
                <a:gdLst>
                  <a:gd name="connsiteX0" fmla="*/ 512938 w 515878"/>
                  <a:gd name="connsiteY0" fmla="*/ 474114 h 907052"/>
                  <a:gd name="connsiteX1" fmla="*/ 512938 w 515878"/>
                  <a:gd name="connsiteY1" fmla="*/ 578427 h 907052"/>
                  <a:gd name="connsiteX2" fmla="*/ 515879 w 515878"/>
                  <a:gd name="connsiteY2" fmla="*/ 578427 h 907052"/>
                  <a:gd name="connsiteX3" fmla="*/ 515879 w 515878"/>
                  <a:gd name="connsiteY3" fmla="*/ 898033 h 907052"/>
                  <a:gd name="connsiteX4" fmla="*/ 448036 w 515878"/>
                  <a:gd name="connsiteY4" fmla="*/ 907053 h 907052"/>
                  <a:gd name="connsiteX5" fmla="*/ 403919 w 515878"/>
                  <a:gd name="connsiteY5" fmla="*/ 903327 h 907052"/>
                  <a:gd name="connsiteX6" fmla="*/ 319606 w 515878"/>
                  <a:gd name="connsiteY6" fmla="*/ 874896 h 907052"/>
                  <a:gd name="connsiteX7" fmla="*/ 319606 w 515878"/>
                  <a:gd name="connsiteY7" fmla="*/ 874700 h 907052"/>
                  <a:gd name="connsiteX8" fmla="*/ 185881 w 515878"/>
                  <a:gd name="connsiteY8" fmla="*/ 705289 h 907052"/>
                  <a:gd name="connsiteX9" fmla="*/ 0 w 515878"/>
                  <a:gd name="connsiteY9" fmla="*/ 448624 h 907052"/>
                  <a:gd name="connsiteX10" fmla="*/ 251959 w 515878"/>
                  <a:gd name="connsiteY10" fmla="*/ 179018 h 907052"/>
                  <a:gd name="connsiteX11" fmla="*/ 444115 w 515878"/>
                  <a:gd name="connsiteY11" fmla="*/ 0 h 907052"/>
                  <a:gd name="connsiteX12" fmla="*/ 515879 w 515878"/>
                  <a:gd name="connsiteY12" fmla="*/ 13921 h 907052"/>
                  <a:gd name="connsiteX13" fmla="*/ 515879 w 515878"/>
                  <a:gd name="connsiteY13" fmla="*/ 474114 h 907052"/>
                  <a:gd name="connsiteX14" fmla="*/ 512938 w 515878"/>
                  <a:gd name="connsiteY14" fmla="*/ 47411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5878" h="907052">
                    <a:moveTo>
                      <a:pt x="512938" y="474114"/>
                    </a:moveTo>
                    <a:lnTo>
                      <a:pt x="512938" y="578427"/>
                    </a:lnTo>
                    <a:lnTo>
                      <a:pt x="515879" y="578427"/>
                    </a:lnTo>
                    <a:lnTo>
                      <a:pt x="515879" y="898033"/>
                    </a:lnTo>
                    <a:cubicBezTo>
                      <a:pt x="494114" y="903719"/>
                      <a:pt x="471369" y="907053"/>
                      <a:pt x="448036" y="907053"/>
                    </a:cubicBezTo>
                    <a:cubicBezTo>
                      <a:pt x="432938" y="907053"/>
                      <a:pt x="418233" y="905876"/>
                      <a:pt x="403919" y="903327"/>
                    </a:cubicBezTo>
                    <a:cubicBezTo>
                      <a:pt x="373919" y="898621"/>
                      <a:pt x="345488" y="888818"/>
                      <a:pt x="319606" y="874896"/>
                    </a:cubicBezTo>
                    <a:lnTo>
                      <a:pt x="319606" y="874700"/>
                    </a:lnTo>
                    <a:cubicBezTo>
                      <a:pt x="254508" y="839602"/>
                      <a:pt x="205489" y="778426"/>
                      <a:pt x="185881" y="705289"/>
                    </a:cubicBezTo>
                    <a:cubicBezTo>
                      <a:pt x="78039" y="669799"/>
                      <a:pt x="0" y="568427"/>
                      <a:pt x="0" y="448624"/>
                    </a:cubicBezTo>
                    <a:cubicBezTo>
                      <a:pt x="0" y="305488"/>
                      <a:pt x="111372" y="188626"/>
                      <a:pt x="251959" y="179018"/>
                    </a:cubicBezTo>
                    <a:cubicBezTo>
                      <a:pt x="259018" y="79019"/>
                      <a:pt x="342155" y="0"/>
                      <a:pt x="444115" y="0"/>
                    </a:cubicBezTo>
                    <a:cubicBezTo>
                      <a:pt x="469605" y="0"/>
                      <a:pt x="493722" y="4902"/>
                      <a:pt x="515879" y="13921"/>
                    </a:cubicBezTo>
                    <a:lnTo>
                      <a:pt x="515879" y="474114"/>
                    </a:lnTo>
                    <a:lnTo>
                      <a:pt x="512938" y="474114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DE7B8D43-9BE6-8447-EFF8-51A646D4AA1F}"/>
                  </a:ext>
                </a:extLst>
              </p:cNvPr>
              <p:cNvSpPr/>
              <p:nvPr/>
            </p:nvSpPr>
            <p:spPr>
              <a:xfrm>
                <a:off x="5302444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897EECFB-BA09-8BA7-1BD2-F1B728EB5950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1560577"/>
              </a:xfrm>
              <a:custGeom>
                <a:avLst/>
                <a:gdLst>
                  <a:gd name="connsiteX0" fmla="*/ 1972928 w 1978810"/>
                  <a:gd name="connsiteY0" fmla="*/ 678819 h 1560577"/>
                  <a:gd name="connsiteX1" fmla="*/ 1972928 w 1978810"/>
                  <a:gd name="connsiteY1" fmla="*/ 1559205 h 1560577"/>
                  <a:gd name="connsiteX2" fmla="*/ 1978810 w 1978810"/>
                  <a:gd name="connsiteY2" fmla="*/ 1560578 h 1560577"/>
                  <a:gd name="connsiteX3" fmla="*/ 1978810 w 1978810"/>
                  <a:gd name="connsiteY3" fmla="*/ 676466 h 1560577"/>
                  <a:gd name="connsiteX4" fmla="*/ 1972928 w 1978810"/>
                  <a:gd name="connsiteY4" fmla="*/ 678819 h 1560577"/>
                  <a:gd name="connsiteX5" fmla="*/ 0 w 1978810"/>
                  <a:gd name="connsiteY5" fmla="*/ 676466 h 1560577"/>
                  <a:gd name="connsiteX6" fmla="*/ 0 w 1978810"/>
                  <a:gd name="connsiteY6" fmla="*/ 1560578 h 1560577"/>
                  <a:gd name="connsiteX7" fmla="*/ 5882 w 1978810"/>
                  <a:gd name="connsiteY7" fmla="*/ 1559205 h 1560577"/>
                  <a:gd name="connsiteX8" fmla="*/ 5882 w 1978810"/>
                  <a:gd name="connsiteY8" fmla="*/ 678819 h 1560577"/>
                  <a:gd name="connsiteX9" fmla="*/ 0 w 1978810"/>
                  <a:gd name="connsiteY9" fmla="*/ 676466 h 1560577"/>
                  <a:gd name="connsiteX10" fmla="*/ 0 w 1978810"/>
                  <a:gd name="connsiteY10" fmla="*/ 0 h 1560577"/>
                  <a:gd name="connsiteX11" fmla="*/ 0 w 1978810"/>
                  <a:gd name="connsiteY11" fmla="*/ 784 h 1560577"/>
                  <a:gd name="connsiteX12" fmla="*/ 1978810 w 1978810"/>
                  <a:gd name="connsiteY12" fmla="*/ 784 h 1560577"/>
                  <a:gd name="connsiteX13" fmla="*/ 1978810 w 1978810"/>
                  <a:gd name="connsiteY13" fmla="*/ 0 h 1560577"/>
                  <a:gd name="connsiteX14" fmla="*/ 0 w 1978810"/>
                  <a:gd name="connsiteY14" fmla="*/ 0 h 156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78810" h="1560577">
                    <a:moveTo>
                      <a:pt x="1972928" y="678819"/>
                    </a:moveTo>
                    <a:lnTo>
                      <a:pt x="1972928" y="1559205"/>
                    </a:lnTo>
                    <a:cubicBezTo>
                      <a:pt x="1974889" y="1559793"/>
                      <a:pt x="1976850" y="1560185"/>
                      <a:pt x="1978810" y="1560578"/>
                    </a:cubicBezTo>
                    <a:lnTo>
                      <a:pt x="1978810" y="676466"/>
                    </a:lnTo>
                    <a:cubicBezTo>
                      <a:pt x="1976850" y="677250"/>
                      <a:pt x="1974889" y="678035"/>
                      <a:pt x="1972928" y="678819"/>
                    </a:cubicBezTo>
                    <a:close/>
                    <a:moveTo>
                      <a:pt x="0" y="676466"/>
                    </a:moveTo>
                    <a:lnTo>
                      <a:pt x="0" y="1560578"/>
                    </a:lnTo>
                    <a:cubicBezTo>
                      <a:pt x="1961" y="1560185"/>
                      <a:pt x="3922" y="1559793"/>
                      <a:pt x="5882" y="1559205"/>
                    </a:cubicBezTo>
                    <a:lnTo>
                      <a:pt x="5882" y="678819"/>
                    </a:lnTo>
                    <a:cubicBezTo>
                      <a:pt x="3922" y="678035"/>
                      <a:pt x="1961" y="677250"/>
                      <a:pt x="0" y="676466"/>
                    </a:cubicBezTo>
                    <a:close/>
                    <a:moveTo>
                      <a:pt x="0" y="0"/>
                    </a:moveTo>
                    <a:lnTo>
                      <a:pt x="0" y="784"/>
                    </a:lnTo>
                    <a:lnTo>
                      <a:pt x="1978810" y="78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44A5B771-B25B-6299-FD77-B0B95102460C}"/>
                  </a:ext>
                </a:extLst>
              </p:cNvPr>
              <p:cNvSpPr/>
              <p:nvPr/>
            </p:nvSpPr>
            <p:spPr>
              <a:xfrm>
                <a:off x="5953617" y="4105216"/>
                <a:ext cx="359213" cy="550388"/>
              </a:xfrm>
              <a:custGeom>
                <a:avLst/>
                <a:gdLst>
                  <a:gd name="connsiteX0" fmla="*/ 0 w 359213"/>
                  <a:gd name="connsiteY0" fmla="*/ 0 h 550388"/>
                  <a:gd name="connsiteX1" fmla="*/ 359213 w 359213"/>
                  <a:gd name="connsiteY1" fmla="*/ 0 h 550388"/>
                  <a:gd name="connsiteX2" fmla="*/ 359213 w 359213"/>
                  <a:gd name="connsiteY2" fmla="*/ 550388 h 550388"/>
                  <a:gd name="connsiteX3" fmla="*/ 0 w 359213"/>
                  <a:gd name="connsiteY3" fmla="*/ 550388 h 55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550388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550388"/>
                    </a:lnTo>
                    <a:lnTo>
                      <a:pt x="0" y="550388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86C959E5-94FA-194A-AA90-B85518572182}"/>
                  </a:ext>
                </a:extLst>
              </p:cNvPr>
              <p:cNvSpPr/>
              <p:nvPr/>
            </p:nvSpPr>
            <p:spPr>
              <a:xfrm>
                <a:off x="5953617" y="4655604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F8596B13-2196-414F-8363-F1188B640E9F}"/>
                  </a:ext>
                </a:extLst>
              </p:cNvPr>
              <p:cNvSpPr/>
              <p:nvPr/>
            </p:nvSpPr>
            <p:spPr>
              <a:xfrm>
                <a:off x="5143818" y="3316986"/>
                <a:ext cx="1978810" cy="512937"/>
              </a:xfrm>
              <a:custGeom>
                <a:avLst/>
                <a:gdLst>
                  <a:gd name="connsiteX0" fmla="*/ 0 w 1978810"/>
                  <a:gd name="connsiteY0" fmla="*/ 0 h 512937"/>
                  <a:gd name="connsiteX1" fmla="*/ 0 w 1978810"/>
                  <a:gd name="connsiteY1" fmla="*/ 52745 h 512937"/>
                  <a:gd name="connsiteX2" fmla="*/ 5882 w 1978810"/>
                  <a:gd name="connsiteY2" fmla="*/ 55098 h 512937"/>
                  <a:gd name="connsiteX3" fmla="*/ 5882 w 1978810"/>
                  <a:gd name="connsiteY3" fmla="*/ 512938 h 512937"/>
                  <a:gd name="connsiteX4" fmla="*/ 1972928 w 1978810"/>
                  <a:gd name="connsiteY4" fmla="*/ 512938 h 512937"/>
                  <a:gd name="connsiteX5" fmla="*/ 1972928 w 1978810"/>
                  <a:gd name="connsiteY5" fmla="*/ 55098 h 512937"/>
                  <a:gd name="connsiteX6" fmla="*/ 1978810 w 1978810"/>
                  <a:gd name="connsiteY6" fmla="*/ 52745 h 512937"/>
                  <a:gd name="connsiteX7" fmla="*/ 1978810 w 1978810"/>
                  <a:gd name="connsiteY7" fmla="*/ 0 h 512937"/>
                  <a:gd name="connsiteX8" fmla="*/ 0 w 1978810"/>
                  <a:gd name="connsiteY8" fmla="*/ 0 h 512937"/>
                  <a:gd name="connsiteX9" fmla="*/ 406272 w 1978810"/>
                  <a:gd name="connsiteY9" fmla="*/ 400978 h 512937"/>
                  <a:gd name="connsiteX10" fmla="*/ 158626 w 1978810"/>
                  <a:gd name="connsiteY10" fmla="*/ 400978 h 512937"/>
                  <a:gd name="connsiteX11" fmla="*/ 158626 w 1978810"/>
                  <a:gd name="connsiteY11" fmla="*/ 102548 h 512937"/>
                  <a:gd name="connsiteX12" fmla="*/ 406272 w 1978810"/>
                  <a:gd name="connsiteY12" fmla="*/ 102548 h 512937"/>
                  <a:gd name="connsiteX13" fmla="*/ 406272 w 1978810"/>
                  <a:gd name="connsiteY13" fmla="*/ 400978 h 512937"/>
                  <a:gd name="connsiteX14" fmla="*/ 876661 w 1978810"/>
                  <a:gd name="connsiteY14" fmla="*/ 400978 h 512937"/>
                  <a:gd name="connsiteX15" fmla="*/ 629015 w 1978810"/>
                  <a:gd name="connsiteY15" fmla="*/ 400978 h 512937"/>
                  <a:gd name="connsiteX16" fmla="*/ 629015 w 1978810"/>
                  <a:gd name="connsiteY16" fmla="*/ 102548 h 512937"/>
                  <a:gd name="connsiteX17" fmla="*/ 876661 w 1978810"/>
                  <a:gd name="connsiteY17" fmla="*/ 102548 h 512937"/>
                  <a:gd name="connsiteX18" fmla="*/ 876661 w 1978810"/>
                  <a:gd name="connsiteY18" fmla="*/ 400978 h 512937"/>
                  <a:gd name="connsiteX19" fmla="*/ 1347050 w 1978810"/>
                  <a:gd name="connsiteY19" fmla="*/ 400978 h 512937"/>
                  <a:gd name="connsiteX20" fmla="*/ 1099208 w 1978810"/>
                  <a:gd name="connsiteY20" fmla="*/ 400978 h 512937"/>
                  <a:gd name="connsiteX21" fmla="*/ 1099208 w 1978810"/>
                  <a:gd name="connsiteY21" fmla="*/ 102548 h 512937"/>
                  <a:gd name="connsiteX22" fmla="*/ 1347050 w 1978810"/>
                  <a:gd name="connsiteY22" fmla="*/ 102548 h 512937"/>
                  <a:gd name="connsiteX23" fmla="*/ 1347050 w 1978810"/>
                  <a:gd name="connsiteY23" fmla="*/ 400978 h 512937"/>
                  <a:gd name="connsiteX24" fmla="*/ 1817243 w 1978810"/>
                  <a:gd name="connsiteY24" fmla="*/ 400978 h 512937"/>
                  <a:gd name="connsiteX25" fmla="*/ 1569597 w 1978810"/>
                  <a:gd name="connsiteY25" fmla="*/ 400978 h 512937"/>
                  <a:gd name="connsiteX26" fmla="*/ 1569597 w 1978810"/>
                  <a:gd name="connsiteY26" fmla="*/ 102548 h 512937"/>
                  <a:gd name="connsiteX27" fmla="*/ 1817243 w 1978810"/>
                  <a:gd name="connsiteY27" fmla="*/ 102548 h 512937"/>
                  <a:gd name="connsiteX28" fmla="*/ 1817243 w 1978810"/>
                  <a:gd name="connsiteY28" fmla="*/ 400978 h 512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78810" h="512937">
                    <a:moveTo>
                      <a:pt x="0" y="0"/>
                    </a:moveTo>
                    <a:lnTo>
                      <a:pt x="0" y="52745"/>
                    </a:lnTo>
                    <a:cubicBezTo>
                      <a:pt x="1961" y="53529"/>
                      <a:pt x="3922" y="54313"/>
                      <a:pt x="5882" y="55098"/>
                    </a:cubicBezTo>
                    <a:lnTo>
                      <a:pt x="5882" y="512938"/>
                    </a:lnTo>
                    <a:lnTo>
                      <a:pt x="1972928" y="512938"/>
                    </a:lnTo>
                    <a:lnTo>
                      <a:pt x="1972928" y="55098"/>
                    </a:lnTo>
                    <a:cubicBezTo>
                      <a:pt x="1974889" y="54313"/>
                      <a:pt x="1976850" y="53529"/>
                      <a:pt x="1978810" y="52745"/>
                    </a:cubicBez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FD616F45-A0BA-D6C3-60AD-B9DD3E6091D7}"/>
                  </a:ext>
                </a:extLst>
              </p:cNvPr>
              <p:cNvSpPr/>
              <p:nvPr/>
            </p:nvSpPr>
            <p:spPr>
              <a:xfrm>
                <a:off x="6713415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C5EA91F2-0D32-E1BB-FC62-3F066011F866}"/>
                  </a:ext>
                </a:extLst>
              </p:cNvPr>
              <p:cNvSpPr/>
              <p:nvPr/>
            </p:nvSpPr>
            <p:spPr>
              <a:xfrm>
                <a:off x="6243026" y="3419534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6E1BB1F2-6790-ABE6-1750-7B5125EBA6DC}"/>
                  </a:ext>
                </a:extLst>
              </p:cNvPr>
              <p:cNvSpPr/>
              <p:nvPr/>
            </p:nvSpPr>
            <p:spPr>
              <a:xfrm>
                <a:off x="5772833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63DDBAA2-32D9-0FE0-0210-E41B8A5A90D6}"/>
                  </a:ext>
                </a:extLst>
              </p:cNvPr>
              <p:cNvSpPr/>
              <p:nvPr/>
            </p:nvSpPr>
            <p:spPr>
              <a:xfrm>
                <a:off x="5302444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9A0B4BFE-E64E-81E1-EC37-EF22782493AF}"/>
                  </a:ext>
                </a:extLst>
              </p:cNvPr>
              <p:cNvSpPr/>
              <p:nvPr/>
            </p:nvSpPr>
            <p:spPr>
              <a:xfrm>
                <a:off x="5143818" y="2694049"/>
                <a:ext cx="1978810" cy="518623"/>
              </a:xfrm>
              <a:custGeom>
                <a:avLst/>
                <a:gdLst>
                  <a:gd name="connsiteX0" fmla="*/ 0 w 1978810"/>
                  <a:gd name="connsiteY0" fmla="*/ 0 h 518623"/>
                  <a:gd name="connsiteX1" fmla="*/ 0 w 1978810"/>
                  <a:gd name="connsiteY1" fmla="*/ 518624 h 518623"/>
                  <a:gd name="connsiteX2" fmla="*/ 1978810 w 1978810"/>
                  <a:gd name="connsiteY2" fmla="*/ 518624 h 518623"/>
                  <a:gd name="connsiteX3" fmla="*/ 1978810 w 1978810"/>
                  <a:gd name="connsiteY3" fmla="*/ 0 h 518623"/>
                  <a:gd name="connsiteX4" fmla="*/ 0 w 1978810"/>
                  <a:gd name="connsiteY4" fmla="*/ 0 h 518623"/>
                  <a:gd name="connsiteX5" fmla="*/ 406272 w 1978810"/>
                  <a:gd name="connsiteY5" fmla="*/ 400978 h 518623"/>
                  <a:gd name="connsiteX6" fmla="*/ 158626 w 1978810"/>
                  <a:gd name="connsiteY6" fmla="*/ 400978 h 518623"/>
                  <a:gd name="connsiteX7" fmla="*/ 158626 w 1978810"/>
                  <a:gd name="connsiteY7" fmla="*/ 102548 h 518623"/>
                  <a:gd name="connsiteX8" fmla="*/ 406272 w 1978810"/>
                  <a:gd name="connsiteY8" fmla="*/ 102548 h 518623"/>
                  <a:gd name="connsiteX9" fmla="*/ 406272 w 1978810"/>
                  <a:gd name="connsiteY9" fmla="*/ 400978 h 518623"/>
                  <a:gd name="connsiteX10" fmla="*/ 876661 w 1978810"/>
                  <a:gd name="connsiteY10" fmla="*/ 400978 h 518623"/>
                  <a:gd name="connsiteX11" fmla="*/ 629015 w 1978810"/>
                  <a:gd name="connsiteY11" fmla="*/ 400978 h 518623"/>
                  <a:gd name="connsiteX12" fmla="*/ 629015 w 1978810"/>
                  <a:gd name="connsiteY12" fmla="*/ 102548 h 518623"/>
                  <a:gd name="connsiteX13" fmla="*/ 876661 w 1978810"/>
                  <a:gd name="connsiteY13" fmla="*/ 102548 h 518623"/>
                  <a:gd name="connsiteX14" fmla="*/ 876661 w 1978810"/>
                  <a:gd name="connsiteY14" fmla="*/ 400978 h 518623"/>
                  <a:gd name="connsiteX15" fmla="*/ 1347050 w 1978810"/>
                  <a:gd name="connsiteY15" fmla="*/ 400978 h 518623"/>
                  <a:gd name="connsiteX16" fmla="*/ 1099208 w 1978810"/>
                  <a:gd name="connsiteY16" fmla="*/ 400978 h 518623"/>
                  <a:gd name="connsiteX17" fmla="*/ 1099208 w 1978810"/>
                  <a:gd name="connsiteY17" fmla="*/ 102548 h 518623"/>
                  <a:gd name="connsiteX18" fmla="*/ 1347050 w 1978810"/>
                  <a:gd name="connsiteY18" fmla="*/ 102548 h 518623"/>
                  <a:gd name="connsiteX19" fmla="*/ 1347050 w 1978810"/>
                  <a:gd name="connsiteY19" fmla="*/ 400978 h 518623"/>
                  <a:gd name="connsiteX20" fmla="*/ 1817243 w 1978810"/>
                  <a:gd name="connsiteY20" fmla="*/ 400978 h 518623"/>
                  <a:gd name="connsiteX21" fmla="*/ 1569597 w 1978810"/>
                  <a:gd name="connsiteY21" fmla="*/ 400978 h 518623"/>
                  <a:gd name="connsiteX22" fmla="*/ 1569597 w 1978810"/>
                  <a:gd name="connsiteY22" fmla="*/ 102548 h 518623"/>
                  <a:gd name="connsiteX23" fmla="*/ 1817243 w 1978810"/>
                  <a:gd name="connsiteY23" fmla="*/ 102548 h 518623"/>
                  <a:gd name="connsiteX24" fmla="*/ 1817243 w 1978810"/>
                  <a:gd name="connsiteY24" fmla="*/ 400978 h 51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978810" h="518623">
                    <a:moveTo>
                      <a:pt x="0" y="0"/>
                    </a:moveTo>
                    <a:lnTo>
                      <a:pt x="0" y="518624"/>
                    </a:lnTo>
                    <a:lnTo>
                      <a:pt x="1978810" y="51862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3CB14838-A929-3522-B5D3-21B5C8F97DAD}"/>
                  </a:ext>
                </a:extLst>
              </p:cNvPr>
              <p:cNvSpPr/>
              <p:nvPr/>
            </p:nvSpPr>
            <p:spPr>
              <a:xfrm>
                <a:off x="6713415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245DBC9B-B0AE-D99F-4F1C-A63CF2C967EF}"/>
                  </a:ext>
                </a:extLst>
              </p:cNvPr>
              <p:cNvSpPr/>
              <p:nvPr/>
            </p:nvSpPr>
            <p:spPr>
              <a:xfrm>
                <a:off x="6243026" y="2796598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E12685B6-3AD9-1BA4-004D-19B52C16C77B}"/>
                  </a:ext>
                </a:extLst>
              </p:cNvPr>
              <p:cNvSpPr/>
              <p:nvPr/>
            </p:nvSpPr>
            <p:spPr>
              <a:xfrm>
                <a:off x="5772833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EFBF042-2F45-8D5B-1851-5263F09FE647}"/>
                  </a:ext>
                </a:extLst>
              </p:cNvPr>
              <p:cNvSpPr/>
              <p:nvPr/>
            </p:nvSpPr>
            <p:spPr>
              <a:xfrm>
                <a:off x="5143818" y="3829924"/>
                <a:ext cx="1978810" cy="104313"/>
              </a:xfrm>
              <a:custGeom>
                <a:avLst/>
                <a:gdLst>
                  <a:gd name="connsiteX0" fmla="*/ 0 w 1967045"/>
                  <a:gd name="connsiteY0" fmla="*/ 0 h 104313"/>
                  <a:gd name="connsiteX1" fmla="*/ 1967046 w 1967045"/>
                  <a:gd name="connsiteY1" fmla="*/ 0 h 104313"/>
                  <a:gd name="connsiteX2" fmla="*/ 1967046 w 1967045"/>
                  <a:gd name="connsiteY2" fmla="*/ 104313 h 104313"/>
                  <a:gd name="connsiteX3" fmla="*/ 0 w 1967045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7045" h="104313">
                    <a:moveTo>
                      <a:pt x="0" y="0"/>
                    </a:moveTo>
                    <a:lnTo>
                      <a:pt x="1967046" y="0"/>
                    </a:lnTo>
                    <a:lnTo>
                      <a:pt x="1967046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D0F3E053-69B2-FA8A-FE0C-6E0BEC940FAD}"/>
                  </a:ext>
                </a:extLst>
              </p:cNvPr>
              <p:cNvSpPr/>
              <p:nvPr/>
            </p:nvSpPr>
            <p:spPr>
              <a:xfrm>
                <a:off x="5140877" y="3829924"/>
                <a:ext cx="8823" cy="104313"/>
              </a:xfrm>
              <a:custGeom>
                <a:avLst/>
                <a:gdLst>
                  <a:gd name="connsiteX0" fmla="*/ 0 w 8823"/>
                  <a:gd name="connsiteY0" fmla="*/ 0 h 104313"/>
                  <a:gd name="connsiteX1" fmla="*/ 8823 w 8823"/>
                  <a:gd name="connsiteY1" fmla="*/ 0 h 104313"/>
                  <a:gd name="connsiteX2" fmla="*/ 8823 w 8823"/>
                  <a:gd name="connsiteY2" fmla="*/ 104313 h 104313"/>
                  <a:gd name="connsiteX3" fmla="*/ 0 w 8823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23" h="104313">
                    <a:moveTo>
                      <a:pt x="0" y="0"/>
                    </a:moveTo>
                    <a:lnTo>
                      <a:pt x="8823" y="0"/>
                    </a:lnTo>
                    <a:lnTo>
                      <a:pt x="8823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F1271015-EC50-974B-B1B5-80E65942E8F1}"/>
                  </a:ext>
                </a:extLst>
              </p:cNvPr>
              <p:cNvSpPr/>
              <p:nvPr/>
            </p:nvSpPr>
            <p:spPr>
              <a:xfrm>
                <a:off x="7116746" y="3829924"/>
                <a:ext cx="5882" cy="104313"/>
              </a:xfrm>
              <a:custGeom>
                <a:avLst/>
                <a:gdLst>
                  <a:gd name="connsiteX0" fmla="*/ 0 w 5882"/>
                  <a:gd name="connsiteY0" fmla="*/ 0 h 104313"/>
                  <a:gd name="connsiteX1" fmla="*/ 5882 w 5882"/>
                  <a:gd name="connsiteY1" fmla="*/ 0 h 104313"/>
                  <a:gd name="connsiteX2" fmla="*/ 5882 w 5882"/>
                  <a:gd name="connsiteY2" fmla="*/ 104313 h 104313"/>
                  <a:gd name="connsiteX3" fmla="*/ 0 w 5882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82" h="104313">
                    <a:moveTo>
                      <a:pt x="0" y="0"/>
                    </a:moveTo>
                    <a:lnTo>
                      <a:pt x="5882" y="0"/>
                    </a:lnTo>
                    <a:lnTo>
                      <a:pt x="5882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FDDE94C7-3454-CDE1-EA3D-8A9BC9C311AB}"/>
                  </a:ext>
                </a:extLst>
              </p:cNvPr>
              <p:cNvSpPr/>
              <p:nvPr/>
            </p:nvSpPr>
            <p:spPr>
              <a:xfrm>
                <a:off x="5143818" y="3212673"/>
                <a:ext cx="1978810" cy="104313"/>
              </a:xfrm>
              <a:custGeom>
                <a:avLst/>
                <a:gdLst>
                  <a:gd name="connsiteX0" fmla="*/ 0 w 1978810"/>
                  <a:gd name="connsiteY0" fmla="*/ 0 h 104313"/>
                  <a:gd name="connsiteX1" fmla="*/ 1978810 w 1978810"/>
                  <a:gd name="connsiteY1" fmla="*/ 0 h 104313"/>
                  <a:gd name="connsiteX2" fmla="*/ 1978810 w 1978810"/>
                  <a:gd name="connsiteY2" fmla="*/ 104313 h 104313"/>
                  <a:gd name="connsiteX3" fmla="*/ 0 w 1978810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104313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4CB84DA8-2357-C810-3BF3-C0E1853C413F}"/>
                  </a:ext>
                </a:extLst>
              </p:cNvPr>
              <p:cNvSpPr/>
              <p:nvPr/>
            </p:nvSpPr>
            <p:spPr>
              <a:xfrm>
                <a:off x="5140877" y="3212673"/>
                <a:ext cx="2941" cy="104313"/>
              </a:xfrm>
              <a:custGeom>
                <a:avLst/>
                <a:gdLst>
                  <a:gd name="connsiteX0" fmla="*/ 0 w 2941"/>
                  <a:gd name="connsiteY0" fmla="*/ 0 h 104313"/>
                  <a:gd name="connsiteX1" fmla="*/ 2941 w 2941"/>
                  <a:gd name="connsiteY1" fmla="*/ 0 h 104313"/>
                  <a:gd name="connsiteX2" fmla="*/ 2941 w 2941"/>
                  <a:gd name="connsiteY2" fmla="*/ 104313 h 104313"/>
                  <a:gd name="connsiteX3" fmla="*/ 0 w 2941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41" h="104313">
                    <a:moveTo>
                      <a:pt x="0" y="0"/>
                    </a:moveTo>
                    <a:lnTo>
                      <a:pt x="2941" y="0"/>
                    </a:lnTo>
                    <a:lnTo>
                      <a:pt x="2941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35C376E-5E24-9D7C-B87C-8A0DE628F535}"/>
                  </a:ext>
                </a:extLst>
              </p:cNvPr>
              <p:cNvSpPr/>
              <p:nvPr/>
            </p:nvSpPr>
            <p:spPr>
              <a:xfrm>
                <a:off x="5016368" y="2589736"/>
                <a:ext cx="2230965" cy="104313"/>
              </a:xfrm>
              <a:custGeom>
                <a:avLst/>
                <a:gdLst>
                  <a:gd name="connsiteX0" fmla="*/ 2230965 w 2230965"/>
                  <a:gd name="connsiteY0" fmla="*/ 0 h 104313"/>
                  <a:gd name="connsiteX1" fmla="*/ 2230965 w 2230965"/>
                  <a:gd name="connsiteY1" fmla="*/ 104313 h 104313"/>
                  <a:gd name="connsiteX2" fmla="*/ 2106260 w 2230965"/>
                  <a:gd name="connsiteY2" fmla="*/ 104313 h 104313"/>
                  <a:gd name="connsiteX3" fmla="*/ 2106260 w 2230965"/>
                  <a:gd name="connsiteY3" fmla="*/ 103529 h 104313"/>
                  <a:gd name="connsiteX4" fmla="*/ 127450 w 2230965"/>
                  <a:gd name="connsiteY4" fmla="*/ 103529 h 104313"/>
                  <a:gd name="connsiteX5" fmla="*/ 127450 w 2230965"/>
                  <a:gd name="connsiteY5" fmla="*/ 104313 h 104313"/>
                  <a:gd name="connsiteX6" fmla="*/ 0 w 2230965"/>
                  <a:gd name="connsiteY6" fmla="*/ 104313 h 104313"/>
                  <a:gd name="connsiteX7" fmla="*/ 0 w 2230965"/>
                  <a:gd name="connsiteY7" fmla="*/ 0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0965" h="104313">
                    <a:moveTo>
                      <a:pt x="2230965" y="0"/>
                    </a:moveTo>
                    <a:lnTo>
                      <a:pt x="2230965" y="104313"/>
                    </a:lnTo>
                    <a:lnTo>
                      <a:pt x="2106260" y="104313"/>
                    </a:lnTo>
                    <a:lnTo>
                      <a:pt x="2106260" y="103529"/>
                    </a:lnTo>
                    <a:lnTo>
                      <a:pt x="127450" y="103529"/>
                    </a:lnTo>
                    <a:lnTo>
                      <a:pt x="127450" y="104313"/>
                    </a:lnTo>
                    <a:lnTo>
                      <a:pt x="0" y="1043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4B194469-C713-B18A-2E26-3F2126B88D85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784"/>
              </a:xfrm>
              <a:custGeom>
                <a:avLst/>
                <a:gdLst>
                  <a:gd name="connsiteX0" fmla="*/ 0 w 1978810"/>
                  <a:gd name="connsiteY0" fmla="*/ 0 h 784"/>
                  <a:gd name="connsiteX1" fmla="*/ 1978810 w 1978810"/>
                  <a:gd name="connsiteY1" fmla="*/ 0 h 784"/>
                  <a:gd name="connsiteX2" fmla="*/ 1978810 w 1978810"/>
                  <a:gd name="connsiteY2" fmla="*/ 784 h 784"/>
                  <a:gd name="connsiteX3" fmla="*/ 0 w 1978810"/>
                  <a:gd name="connsiteY3" fmla="*/ 784 h 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784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784"/>
                    </a:lnTo>
                    <a:lnTo>
                      <a:pt x="0" y="784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00C830D5-A2B2-9476-F4EA-D471D784E872}"/>
                  </a:ext>
                </a:extLst>
              </p:cNvPr>
              <p:cNvSpPr/>
              <p:nvPr/>
            </p:nvSpPr>
            <p:spPr>
              <a:xfrm>
                <a:off x="5140877" y="3369731"/>
                <a:ext cx="8823" cy="884111"/>
              </a:xfrm>
              <a:custGeom>
                <a:avLst/>
                <a:gdLst>
                  <a:gd name="connsiteX0" fmla="*/ 8823 w 8823"/>
                  <a:gd name="connsiteY0" fmla="*/ 2353 h 884111"/>
                  <a:gd name="connsiteX1" fmla="*/ 8823 w 8823"/>
                  <a:gd name="connsiteY1" fmla="*/ 882739 h 884111"/>
                  <a:gd name="connsiteX2" fmla="*/ 2941 w 8823"/>
                  <a:gd name="connsiteY2" fmla="*/ 884112 h 884111"/>
                  <a:gd name="connsiteX3" fmla="*/ 2941 w 8823"/>
                  <a:gd name="connsiteY3" fmla="*/ 564506 h 884111"/>
                  <a:gd name="connsiteX4" fmla="*/ 0 w 8823"/>
                  <a:gd name="connsiteY4" fmla="*/ 564506 h 884111"/>
                  <a:gd name="connsiteX5" fmla="*/ 0 w 8823"/>
                  <a:gd name="connsiteY5" fmla="*/ 460193 h 884111"/>
                  <a:gd name="connsiteX6" fmla="*/ 2941 w 8823"/>
                  <a:gd name="connsiteY6" fmla="*/ 460193 h 884111"/>
                  <a:gd name="connsiteX7" fmla="*/ 2941 w 8823"/>
                  <a:gd name="connsiteY7" fmla="*/ 0 h 884111"/>
                  <a:gd name="connsiteX8" fmla="*/ 8823 w 8823"/>
                  <a:gd name="connsiteY8" fmla="*/ 2353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23" h="884111">
                    <a:moveTo>
                      <a:pt x="8823" y="2353"/>
                    </a:moveTo>
                    <a:lnTo>
                      <a:pt x="8823" y="882739"/>
                    </a:lnTo>
                    <a:cubicBezTo>
                      <a:pt x="6863" y="883327"/>
                      <a:pt x="4902" y="883719"/>
                      <a:pt x="2941" y="884112"/>
                    </a:cubicBezTo>
                    <a:lnTo>
                      <a:pt x="2941" y="564506"/>
                    </a:lnTo>
                    <a:lnTo>
                      <a:pt x="0" y="564506"/>
                    </a:lnTo>
                    <a:lnTo>
                      <a:pt x="0" y="460193"/>
                    </a:lnTo>
                    <a:lnTo>
                      <a:pt x="2941" y="460193"/>
                    </a:lnTo>
                    <a:lnTo>
                      <a:pt x="2941" y="0"/>
                    </a:lnTo>
                    <a:cubicBezTo>
                      <a:pt x="4902" y="784"/>
                      <a:pt x="6863" y="1569"/>
                      <a:pt x="8823" y="235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F42F225-3095-34D1-6AB6-1BA2D06177DF}"/>
                  </a:ext>
                </a:extLst>
              </p:cNvPr>
              <p:cNvSpPr/>
              <p:nvPr/>
            </p:nvSpPr>
            <p:spPr>
              <a:xfrm>
                <a:off x="5143818" y="3934237"/>
                <a:ext cx="1978810" cy="900974"/>
              </a:xfrm>
              <a:custGeom>
                <a:avLst/>
                <a:gdLst>
                  <a:gd name="connsiteX0" fmla="*/ 1972928 w 1978810"/>
                  <a:gd name="connsiteY0" fmla="*/ 318233 h 900974"/>
                  <a:gd name="connsiteX1" fmla="*/ 1972928 w 1978810"/>
                  <a:gd name="connsiteY1" fmla="*/ 0 h 900974"/>
                  <a:gd name="connsiteX2" fmla="*/ 5882 w 1978810"/>
                  <a:gd name="connsiteY2" fmla="*/ 0 h 900974"/>
                  <a:gd name="connsiteX3" fmla="*/ 5882 w 1978810"/>
                  <a:gd name="connsiteY3" fmla="*/ 318233 h 900974"/>
                  <a:gd name="connsiteX4" fmla="*/ 0 w 1978810"/>
                  <a:gd name="connsiteY4" fmla="*/ 319606 h 900974"/>
                  <a:gd name="connsiteX5" fmla="*/ 0 w 1978810"/>
                  <a:gd name="connsiteY5" fmla="*/ 900974 h 900974"/>
                  <a:gd name="connsiteX6" fmla="*/ 15882 w 1978810"/>
                  <a:gd name="connsiteY6" fmla="*/ 900974 h 900974"/>
                  <a:gd name="connsiteX7" fmla="*/ 15882 w 1978810"/>
                  <a:gd name="connsiteY7" fmla="*/ 515683 h 900974"/>
                  <a:gd name="connsiteX8" fmla="*/ 809799 w 1978810"/>
                  <a:gd name="connsiteY8" fmla="*/ 515683 h 900974"/>
                  <a:gd name="connsiteX9" fmla="*/ 809799 w 1978810"/>
                  <a:gd name="connsiteY9" fmla="*/ 170979 h 900974"/>
                  <a:gd name="connsiteX10" fmla="*/ 1169012 w 1978810"/>
                  <a:gd name="connsiteY10" fmla="*/ 170979 h 900974"/>
                  <a:gd name="connsiteX11" fmla="*/ 1169012 w 1978810"/>
                  <a:gd name="connsiteY11" fmla="*/ 515683 h 900974"/>
                  <a:gd name="connsiteX12" fmla="*/ 1962928 w 1978810"/>
                  <a:gd name="connsiteY12" fmla="*/ 515683 h 900974"/>
                  <a:gd name="connsiteX13" fmla="*/ 1962928 w 1978810"/>
                  <a:gd name="connsiteY13" fmla="*/ 900974 h 900974"/>
                  <a:gd name="connsiteX14" fmla="*/ 1978810 w 1978810"/>
                  <a:gd name="connsiteY14" fmla="*/ 900974 h 900974"/>
                  <a:gd name="connsiteX15" fmla="*/ 1978810 w 1978810"/>
                  <a:gd name="connsiteY15" fmla="*/ 319606 h 900974"/>
                  <a:gd name="connsiteX16" fmla="*/ 1972928 w 1978810"/>
                  <a:gd name="connsiteY16" fmla="*/ 318233 h 900974"/>
                  <a:gd name="connsiteX17" fmla="*/ 664113 w 1978810"/>
                  <a:gd name="connsiteY17" fmla="*/ 405487 h 900974"/>
                  <a:gd name="connsiteX18" fmla="*/ 157058 w 1978810"/>
                  <a:gd name="connsiteY18" fmla="*/ 405487 h 900974"/>
                  <a:gd name="connsiteX19" fmla="*/ 157058 w 1978810"/>
                  <a:gd name="connsiteY19" fmla="*/ 107058 h 900974"/>
                  <a:gd name="connsiteX20" fmla="*/ 664113 w 1978810"/>
                  <a:gd name="connsiteY20" fmla="*/ 107058 h 900974"/>
                  <a:gd name="connsiteX21" fmla="*/ 664113 w 1978810"/>
                  <a:gd name="connsiteY21" fmla="*/ 405487 h 900974"/>
                  <a:gd name="connsiteX22" fmla="*/ 1821753 w 1978810"/>
                  <a:gd name="connsiteY22" fmla="*/ 405487 h 900974"/>
                  <a:gd name="connsiteX23" fmla="*/ 1314697 w 1978810"/>
                  <a:gd name="connsiteY23" fmla="*/ 405487 h 900974"/>
                  <a:gd name="connsiteX24" fmla="*/ 1314697 w 1978810"/>
                  <a:gd name="connsiteY24" fmla="*/ 107058 h 900974"/>
                  <a:gd name="connsiteX25" fmla="*/ 1821753 w 1978810"/>
                  <a:gd name="connsiteY25" fmla="*/ 107058 h 900974"/>
                  <a:gd name="connsiteX26" fmla="*/ 1821753 w 1978810"/>
                  <a:gd name="connsiteY26" fmla="*/ 405487 h 90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78810" h="900974">
                    <a:moveTo>
                      <a:pt x="1972928" y="318233"/>
                    </a:moveTo>
                    <a:lnTo>
                      <a:pt x="1972928" y="0"/>
                    </a:lnTo>
                    <a:lnTo>
                      <a:pt x="5882" y="0"/>
                    </a:lnTo>
                    <a:lnTo>
                      <a:pt x="5882" y="318233"/>
                    </a:lnTo>
                    <a:cubicBezTo>
                      <a:pt x="3922" y="318821"/>
                      <a:pt x="1961" y="319214"/>
                      <a:pt x="0" y="319606"/>
                    </a:cubicBezTo>
                    <a:lnTo>
                      <a:pt x="0" y="900974"/>
                    </a:lnTo>
                    <a:lnTo>
                      <a:pt x="15882" y="900974"/>
                    </a:lnTo>
                    <a:lnTo>
                      <a:pt x="15882" y="515683"/>
                    </a:lnTo>
                    <a:lnTo>
                      <a:pt x="809799" y="515683"/>
                    </a:lnTo>
                    <a:lnTo>
                      <a:pt x="809799" y="170979"/>
                    </a:lnTo>
                    <a:lnTo>
                      <a:pt x="1169012" y="170979"/>
                    </a:lnTo>
                    <a:lnTo>
                      <a:pt x="1169012" y="515683"/>
                    </a:lnTo>
                    <a:lnTo>
                      <a:pt x="1962928" y="515683"/>
                    </a:lnTo>
                    <a:lnTo>
                      <a:pt x="1962928" y="900974"/>
                    </a:lnTo>
                    <a:lnTo>
                      <a:pt x="1978810" y="900974"/>
                    </a:lnTo>
                    <a:lnTo>
                      <a:pt x="1978810" y="319606"/>
                    </a:lnTo>
                    <a:cubicBezTo>
                      <a:pt x="1976850" y="319214"/>
                      <a:pt x="1974889" y="318821"/>
                      <a:pt x="1972928" y="318233"/>
                    </a:cubicBezTo>
                    <a:close/>
                    <a:moveTo>
                      <a:pt x="664113" y="405487"/>
                    </a:moveTo>
                    <a:lnTo>
                      <a:pt x="157058" y="405487"/>
                    </a:lnTo>
                    <a:lnTo>
                      <a:pt x="157058" y="107058"/>
                    </a:lnTo>
                    <a:lnTo>
                      <a:pt x="664113" y="107058"/>
                    </a:lnTo>
                    <a:lnTo>
                      <a:pt x="664113" y="405487"/>
                    </a:lnTo>
                    <a:close/>
                    <a:moveTo>
                      <a:pt x="1821753" y="405487"/>
                    </a:moveTo>
                    <a:lnTo>
                      <a:pt x="1314697" y="405487"/>
                    </a:lnTo>
                    <a:lnTo>
                      <a:pt x="1314697" y="107058"/>
                    </a:lnTo>
                    <a:lnTo>
                      <a:pt x="1821753" y="107058"/>
                    </a:lnTo>
                    <a:lnTo>
                      <a:pt x="1821753" y="405487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4E58F21F-7E17-5BC7-63A4-47266BDAEF4C}"/>
                  </a:ext>
                </a:extLst>
              </p:cNvPr>
              <p:cNvSpPr/>
              <p:nvPr/>
            </p:nvSpPr>
            <p:spPr>
              <a:xfrm>
                <a:off x="6458515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CEC42077-BFEF-8A71-7CC3-E827AF16FB37}"/>
                  </a:ext>
                </a:extLst>
              </p:cNvPr>
              <p:cNvSpPr/>
              <p:nvPr/>
            </p:nvSpPr>
            <p:spPr>
              <a:xfrm>
                <a:off x="6712043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2D84ACD0-2A6F-9AFC-9A73-FDFB3D51F707}"/>
                  </a:ext>
                </a:extLst>
              </p:cNvPr>
              <p:cNvSpPr/>
              <p:nvPr/>
            </p:nvSpPr>
            <p:spPr>
              <a:xfrm>
                <a:off x="5300876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B62BC7FC-BD9F-F16E-210C-E797F8E51AA8}"/>
                  </a:ext>
                </a:extLst>
              </p:cNvPr>
              <p:cNvSpPr/>
              <p:nvPr/>
            </p:nvSpPr>
            <p:spPr>
              <a:xfrm>
                <a:off x="5554404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42A7B6B2-577E-E9EB-534B-3E6B8F722202}"/>
                  </a:ext>
                </a:extLst>
              </p:cNvPr>
              <p:cNvSpPr/>
              <p:nvPr/>
            </p:nvSpPr>
            <p:spPr>
              <a:xfrm>
                <a:off x="4947545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28431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0 h 604505"/>
                  <a:gd name="connsiteX4" fmla="*/ 84313 w 84313"/>
                  <a:gd name="connsiteY4" fmla="*/ 28431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28431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0"/>
                    </a:lnTo>
                    <a:cubicBezTo>
                      <a:pt x="25882" y="13921"/>
                      <a:pt x="54313" y="23725"/>
                      <a:pt x="84313" y="28431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8E074475-308E-1BA1-1F25-394E5970E511}"/>
                  </a:ext>
                </a:extLst>
              </p:cNvPr>
              <p:cNvSpPr/>
              <p:nvPr/>
            </p:nvSpPr>
            <p:spPr>
              <a:xfrm>
                <a:off x="7116746" y="3369731"/>
                <a:ext cx="5882" cy="884111"/>
              </a:xfrm>
              <a:custGeom>
                <a:avLst/>
                <a:gdLst>
                  <a:gd name="connsiteX0" fmla="*/ 5882 w 5882"/>
                  <a:gd name="connsiteY0" fmla="*/ 0 h 884111"/>
                  <a:gd name="connsiteX1" fmla="*/ 5882 w 5882"/>
                  <a:gd name="connsiteY1" fmla="*/ 884112 h 884111"/>
                  <a:gd name="connsiteX2" fmla="*/ 0 w 5882"/>
                  <a:gd name="connsiteY2" fmla="*/ 882739 h 884111"/>
                  <a:gd name="connsiteX3" fmla="*/ 0 w 5882"/>
                  <a:gd name="connsiteY3" fmla="*/ 2353 h 884111"/>
                  <a:gd name="connsiteX4" fmla="*/ 5882 w 5882"/>
                  <a:gd name="connsiteY4" fmla="*/ 0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82" h="884111">
                    <a:moveTo>
                      <a:pt x="5882" y="0"/>
                    </a:moveTo>
                    <a:lnTo>
                      <a:pt x="5882" y="884112"/>
                    </a:lnTo>
                    <a:cubicBezTo>
                      <a:pt x="3922" y="883719"/>
                      <a:pt x="1961" y="883327"/>
                      <a:pt x="0" y="882739"/>
                    </a:cubicBezTo>
                    <a:lnTo>
                      <a:pt x="0" y="2353"/>
                    </a:lnTo>
                    <a:cubicBezTo>
                      <a:pt x="1961" y="1569"/>
                      <a:pt x="3922" y="784"/>
                      <a:pt x="5882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2E29932D-DA13-4E5E-DD14-EF53B4F1302B}"/>
                  </a:ext>
                </a:extLst>
              </p:cNvPr>
              <p:cNvSpPr/>
              <p:nvPr/>
            </p:nvSpPr>
            <p:spPr>
              <a:xfrm>
                <a:off x="7234588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0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28431 h 604505"/>
                  <a:gd name="connsiteX4" fmla="*/ 84313 w 84313"/>
                  <a:gd name="connsiteY4" fmla="*/ 0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0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28431"/>
                    </a:lnTo>
                    <a:cubicBezTo>
                      <a:pt x="30000" y="23725"/>
                      <a:pt x="58431" y="13921"/>
                      <a:pt x="84313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8E871D3E-C7F8-F3BA-4DCF-B768AF97595D}"/>
                  </a:ext>
                </a:extLst>
              </p:cNvPr>
              <p:cNvSpPr/>
              <p:nvPr/>
            </p:nvSpPr>
            <p:spPr>
              <a:xfrm>
                <a:off x="712262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DDD44B6-EA37-894E-08DC-73EF8148C5AD}"/>
                  </a:ext>
                </a:extLst>
              </p:cNvPr>
              <p:cNvSpPr/>
              <p:nvPr/>
            </p:nvSpPr>
            <p:spPr>
              <a:xfrm>
                <a:off x="7318902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27E76C3A-6910-6C9E-B1BC-91F51B1451EF}"/>
                  </a:ext>
                </a:extLst>
              </p:cNvPr>
              <p:cNvSpPr/>
              <p:nvPr/>
            </p:nvSpPr>
            <p:spPr>
              <a:xfrm>
                <a:off x="6312830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859CB9BE-B484-C367-A92A-8BB7363AB7EE}"/>
                  </a:ext>
                </a:extLst>
              </p:cNvPr>
              <p:cNvSpPr/>
              <p:nvPr/>
            </p:nvSpPr>
            <p:spPr>
              <a:xfrm>
                <a:off x="5953617" y="4745408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E2274235-7919-0284-30EA-2F9460906C0A}"/>
                  </a:ext>
                </a:extLst>
              </p:cNvPr>
              <p:cNvSpPr/>
              <p:nvPr/>
            </p:nvSpPr>
            <p:spPr>
              <a:xfrm>
                <a:off x="5143818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E0A4FE10-F1C7-DA29-0CFD-F40BE4654C32}"/>
                  </a:ext>
                </a:extLst>
              </p:cNvPr>
              <p:cNvSpPr/>
              <p:nvPr/>
            </p:nvSpPr>
            <p:spPr>
              <a:xfrm>
                <a:off x="4779507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4D4EF8DC-B25C-A5B3-FB97-F3D1B2088895}"/>
                  </a:ext>
                </a:extLst>
              </p:cNvPr>
              <p:cNvSpPr/>
              <p:nvPr/>
            </p:nvSpPr>
            <p:spPr>
              <a:xfrm>
                <a:off x="503185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7B754F5-78BA-D51E-E8B1-EAE49C92856B}"/>
                </a:ext>
              </a:extLst>
            </p:cNvPr>
            <p:cNvGrpSpPr/>
            <p:nvPr/>
          </p:nvGrpSpPr>
          <p:grpSpPr>
            <a:xfrm>
              <a:off x="352422" y="4038599"/>
              <a:ext cx="1263943" cy="1020061"/>
              <a:chOff x="352422" y="4038599"/>
              <a:chExt cx="1263943" cy="1020061"/>
            </a:xfrm>
          </p:grpSpPr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F3E106C0-3EC1-AFFF-4842-7BEC2F331CEC}"/>
                  </a:ext>
                </a:extLst>
              </p:cNvPr>
              <p:cNvGrpSpPr/>
              <p:nvPr/>
            </p:nvGrpSpPr>
            <p:grpSpPr>
              <a:xfrm>
                <a:off x="352422" y="4326732"/>
                <a:ext cx="1263943" cy="731928"/>
                <a:chOff x="3752859" y="4939544"/>
                <a:chExt cx="2024462" cy="1172331"/>
              </a:xfrm>
            </p:grpSpPr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8034E1C1-D4F1-4215-C91C-861D4B3BBB06}"/>
                    </a:ext>
                  </a:extLst>
                </p:cNvPr>
                <p:cNvSpPr/>
                <p:nvPr/>
              </p:nvSpPr>
              <p:spPr>
                <a:xfrm>
                  <a:off x="4104605" y="4939544"/>
                  <a:ext cx="585917" cy="1167783"/>
                </a:xfrm>
                <a:custGeom>
                  <a:avLst/>
                  <a:gdLst>
                    <a:gd name="connsiteX0" fmla="*/ 832230 w 1469794"/>
                    <a:gd name="connsiteY0" fmla="*/ 1057385 h 2929424"/>
                    <a:gd name="connsiteX1" fmla="*/ 1258868 w 1469794"/>
                    <a:gd name="connsiteY1" fmla="*/ 1297967 h 2929424"/>
                    <a:gd name="connsiteX2" fmla="*/ 1345439 w 1469794"/>
                    <a:gd name="connsiteY2" fmla="*/ 1345796 h 2929424"/>
                    <a:gd name="connsiteX3" fmla="*/ 1428183 w 1469794"/>
                    <a:gd name="connsiteY3" fmla="*/ 1369710 h 2929424"/>
                    <a:gd name="connsiteX4" fmla="*/ 1469795 w 1469794"/>
                    <a:gd name="connsiteY4" fmla="*/ 1357275 h 2929424"/>
                    <a:gd name="connsiteX5" fmla="*/ 1459272 w 1469794"/>
                    <a:gd name="connsiteY5" fmla="*/ 1302271 h 2929424"/>
                    <a:gd name="connsiteX6" fmla="*/ 1404747 w 1469794"/>
                    <a:gd name="connsiteY6" fmla="*/ 1253964 h 2929424"/>
                    <a:gd name="connsiteX7" fmla="*/ 1348308 w 1469794"/>
                    <a:gd name="connsiteY7" fmla="*/ 1204221 h 2929424"/>
                    <a:gd name="connsiteX8" fmla="*/ 893930 w 1469794"/>
                    <a:gd name="connsiteY8" fmla="*/ 887591 h 2929424"/>
                    <a:gd name="connsiteX9" fmla="*/ 714570 w 1469794"/>
                    <a:gd name="connsiteY9" fmla="*/ 747451 h 2929424"/>
                    <a:gd name="connsiteX10" fmla="*/ 691134 w 1469794"/>
                    <a:gd name="connsiteY10" fmla="*/ 56796 h 2929424"/>
                    <a:gd name="connsiteX11" fmla="*/ 340066 w 1469794"/>
                    <a:gd name="connsiteY11" fmla="*/ 719710 h 2929424"/>
                    <a:gd name="connsiteX12" fmla="*/ 247756 w 1469794"/>
                    <a:gd name="connsiteY12" fmla="*/ 904810 h 2929424"/>
                    <a:gd name="connsiteX13" fmla="*/ 100920 w 1469794"/>
                    <a:gd name="connsiteY13" fmla="*/ 1384059 h 2929424"/>
                    <a:gd name="connsiteX14" fmla="*/ 216667 w 1469794"/>
                    <a:gd name="connsiteY14" fmla="*/ 1458195 h 2929424"/>
                    <a:gd name="connsiteX15" fmla="*/ 216667 w 1469794"/>
                    <a:gd name="connsiteY15" fmla="*/ 1736561 h 2929424"/>
                    <a:gd name="connsiteX16" fmla="*/ 428072 w 1469794"/>
                    <a:gd name="connsiteY16" fmla="*/ 2664450 h 2929424"/>
                    <a:gd name="connsiteX17" fmla="*/ 428072 w 1469794"/>
                    <a:gd name="connsiteY17" fmla="*/ 2664450 h 2929424"/>
                    <a:gd name="connsiteX18" fmla="*/ 428072 w 1469794"/>
                    <a:gd name="connsiteY18" fmla="*/ 2664450 h 2929424"/>
                    <a:gd name="connsiteX19" fmla="*/ 428072 w 1469794"/>
                    <a:gd name="connsiteY19" fmla="*/ 2664450 h 2929424"/>
                    <a:gd name="connsiteX20" fmla="*/ 0 w 1469794"/>
                    <a:gd name="connsiteY20" fmla="*/ 2891161 h 2929424"/>
                    <a:gd name="connsiteX21" fmla="*/ 289846 w 1469794"/>
                    <a:gd name="connsiteY21" fmla="*/ 2926554 h 2929424"/>
                    <a:gd name="connsiteX22" fmla="*/ 329544 w 1469794"/>
                    <a:gd name="connsiteY22" fmla="*/ 2862463 h 2929424"/>
                    <a:gd name="connsiteX23" fmla="*/ 376895 w 1469794"/>
                    <a:gd name="connsiteY23" fmla="*/ 2929424 h 2929424"/>
                    <a:gd name="connsiteX24" fmla="*/ 428072 w 1469794"/>
                    <a:gd name="connsiteY24" fmla="*/ 2929424 h 2929424"/>
                    <a:gd name="connsiteX25" fmla="*/ 450552 w 1469794"/>
                    <a:gd name="connsiteY25" fmla="*/ 2818938 h 2929424"/>
                    <a:gd name="connsiteX26" fmla="*/ 537601 w 1469794"/>
                    <a:gd name="connsiteY26" fmla="*/ 2807459 h 2929424"/>
                    <a:gd name="connsiteX27" fmla="*/ 558646 w 1469794"/>
                    <a:gd name="connsiteY27" fmla="*/ 2928468 h 2929424"/>
                    <a:gd name="connsiteX28" fmla="*/ 609824 w 1469794"/>
                    <a:gd name="connsiteY28" fmla="*/ 2916989 h 2929424"/>
                    <a:gd name="connsiteX29" fmla="*/ 661958 w 1469794"/>
                    <a:gd name="connsiteY29" fmla="*/ 2843810 h 2929424"/>
                    <a:gd name="connsiteX30" fmla="*/ 699265 w 1469794"/>
                    <a:gd name="connsiteY30" fmla="*/ 2916989 h 2929424"/>
                    <a:gd name="connsiteX31" fmla="*/ 986719 w 1469794"/>
                    <a:gd name="connsiteY31" fmla="*/ 2883986 h 2929424"/>
                    <a:gd name="connsiteX32" fmla="*/ 557211 w 1469794"/>
                    <a:gd name="connsiteY32" fmla="*/ 2652014 h 2929424"/>
                    <a:gd name="connsiteX33" fmla="*/ 737528 w 1469794"/>
                    <a:gd name="connsiteY33" fmla="*/ 1695428 h 2929424"/>
                    <a:gd name="connsiteX34" fmla="*/ 760008 w 1469794"/>
                    <a:gd name="connsiteY34" fmla="*/ 1582073 h 2929424"/>
                    <a:gd name="connsiteX35" fmla="*/ 827447 w 1469794"/>
                    <a:gd name="connsiteY35" fmla="*/ 1591160 h 2929424"/>
                    <a:gd name="connsiteX36" fmla="*/ 864754 w 1469794"/>
                    <a:gd name="connsiteY36" fmla="*/ 1581594 h 2929424"/>
                    <a:gd name="connsiteX37" fmla="*/ 780096 w 1469794"/>
                    <a:gd name="connsiteY37" fmla="*/ 1524677 h 2929424"/>
                    <a:gd name="connsiteX38" fmla="*/ 832230 w 1469794"/>
                    <a:gd name="connsiteY38" fmla="*/ 1057385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469794" h="2929424">
                      <a:moveTo>
                        <a:pt x="832230" y="1057385"/>
                      </a:moveTo>
                      <a:lnTo>
                        <a:pt x="1258868" y="1297967"/>
                      </a:lnTo>
                      <a:lnTo>
                        <a:pt x="1345439" y="1345796"/>
                      </a:lnTo>
                      <a:lnTo>
                        <a:pt x="1428183" y="1369710"/>
                      </a:lnTo>
                      <a:lnTo>
                        <a:pt x="1469795" y="1357275"/>
                      </a:lnTo>
                      <a:lnTo>
                        <a:pt x="1459272" y="1302271"/>
                      </a:lnTo>
                      <a:lnTo>
                        <a:pt x="1404747" y="1253964"/>
                      </a:lnTo>
                      <a:lnTo>
                        <a:pt x="1348308" y="1204221"/>
                      </a:lnTo>
                      <a:lnTo>
                        <a:pt x="893930" y="887591"/>
                      </a:lnTo>
                      <a:lnTo>
                        <a:pt x="714570" y="747451"/>
                      </a:lnTo>
                      <a:cubicBezTo>
                        <a:pt x="769095" y="719710"/>
                        <a:pt x="991980" y="346642"/>
                        <a:pt x="691134" y="56796"/>
                      </a:cubicBezTo>
                      <a:cubicBezTo>
                        <a:pt x="331457" y="-192873"/>
                        <a:pt x="82745" y="445170"/>
                        <a:pt x="340066" y="719710"/>
                      </a:cubicBezTo>
                      <a:cubicBezTo>
                        <a:pt x="301325" y="811542"/>
                        <a:pt x="247756" y="904810"/>
                        <a:pt x="247756" y="904810"/>
                      </a:cubicBezTo>
                      <a:cubicBezTo>
                        <a:pt x="247756" y="904810"/>
                        <a:pt x="52612" y="1315663"/>
                        <a:pt x="100920" y="1384059"/>
                      </a:cubicBezTo>
                      <a:cubicBezTo>
                        <a:pt x="149227" y="1453412"/>
                        <a:pt x="216667" y="1458195"/>
                        <a:pt x="216667" y="1458195"/>
                      </a:cubicBezTo>
                      <a:lnTo>
                        <a:pt x="216667" y="1736561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cubicBezTo>
                        <a:pt x="428072" y="2664450"/>
                        <a:pt x="64570" y="2811764"/>
                        <a:pt x="0" y="2891161"/>
                      </a:cubicBezTo>
                      <a:cubicBezTo>
                        <a:pt x="17219" y="2928946"/>
                        <a:pt x="153054" y="2931337"/>
                        <a:pt x="289846" y="2926554"/>
                      </a:cubicBezTo>
                      <a:lnTo>
                        <a:pt x="329544" y="2862463"/>
                      </a:lnTo>
                      <a:lnTo>
                        <a:pt x="376895" y="2929424"/>
                      </a:lnTo>
                      <a:lnTo>
                        <a:pt x="428072" y="2929424"/>
                      </a:lnTo>
                      <a:lnTo>
                        <a:pt x="450552" y="2818938"/>
                      </a:lnTo>
                      <a:lnTo>
                        <a:pt x="537601" y="2807459"/>
                      </a:lnTo>
                      <a:lnTo>
                        <a:pt x="558646" y="2928468"/>
                      </a:lnTo>
                      <a:lnTo>
                        <a:pt x="609824" y="2916989"/>
                      </a:lnTo>
                      <a:lnTo>
                        <a:pt x="661958" y="2843810"/>
                      </a:lnTo>
                      <a:lnTo>
                        <a:pt x="699265" y="2916989"/>
                      </a:lnTo>
                      <a:cubicBezTo>
                        <a:pt x="699265" y="2916989"/>
                        <a:pt x="953238" y="2928468"/>
                        <a:pt x="986719" y="2883986"/>
                      </a:cubicBezTo>
                      <a:cubicBezTo>
                        <a:pt x="1020199" y="2840940"/>
                        <a:pt x="557211" y="2652014"/>
                        <a:pt x="557211" y="2652014"/>
                      </a:cubicBezTo>
                      <a:lnTo>
                        <a:pt x="737528" y="1695428"/>
                      </a:lnTo>
                      <a:lnTo>
                        <a:pt x="760008" y="1582073"/>
                      </a:lnTo>
                      <a:lnTo>
                        <a:pt x="827447" y="1591160"/>
                      </a:lnTo>
                      <a:lnTo>
                        <a:pt x="864754" y="1581594"/>
                      </a:lnTo>
                      <a:lnTo>
                        <a:pt x="780096" y="1524677"/>
                      </a:lnTo>
                      <a:lnTo>
                        <a:pt x="832230" y="105738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9" name="Freeform: Shape 458">
                  <a:extLst>
                    <a:ext uri="{FF2B5EF4-FFF2-40B4-BE49-F238E27FC236}">
                      <a16:creationId xmlns:a16="http://schemas.microsoft.com/office/drawing/2014/main" id="{EEB0A103-3834-F50A-3D2D-EDCD9B5968BF}"/>
                    </a:ext>
                  </a:extLst>
                </p:cNvPr>
                <p:cNvSpPr/>
                <p:nvPr/>
              </p:nvSpPr>
              <p:spPr>
                <a:xfrm>
                  <a:off x="4190977" y="5632187"/>
                  <a:ext cx="205347" cy="403640"/>
                </a:xfrm>
                <a:custGeom>
                  <a:avLst/>
                  <a:gdLst>
                    <a:gd name="connsiteX0" fmla="*/ 0 w 515121"/>
                    <a:gd name="connsiteY0" fmla="*/ 0 h 1012546"/>
                    <a:gd name="connsiteX1" fmla="*/ 0 w 515121"/>
                    <a:gd name="connsiteY1" fmla="*/ 0 h 1012546"/>
                    <a:gd name="connsiteX2" fmla="*/ 226233 w 515121"/>
                    <a:gd name="connsiteY2" fmla="*/ 991023 h 1012546"/>
                    <a:gd name="connsiteX3" fmla="*/ 233885 w 515121"/>
                    <a:gd name="connsiteY3" fmla="*/ 1012547 h 1012546"/>
                    <a:gd name="connsiteX4" fmla="*/ 323326 w 515121"/>
                    <a:gd name="connsiteY4" fmla="*/ 1006329 h 1012546"/>
                    <a:gd name="connsiteX5" fmla="*/ 515122 w 515121"/>
                    <a:gd name="connsiteY5" fmla="*/ 59787 h 1012546"/>
                    <a:gd name="connsiteX6" fmla="*/ 487859 w 515121"/>
                    <a:gd name="connsiteY6" fmla="*/ 40655 h 1012546"/>
                    <a:gd name="connsiteX7" fmla="*/ 0 w 515121"/>
                    <a:gd name="connsiteY7" fmla="*/ 0 h 1012546"/>
                    <a:gd name="connsiteX8" fmla="*/ 0 w 515121"/>
                    <a:gd name="connsiteY8" fmla="*/ 0 h 101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54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26233" y="991023"/>
                      </a:lnTo>
                      <a:lnTo>
                        <a:pt x="233885" y="1012547"/>
                      </a:lnTo>
                      <a:lnTo>
                        <a:pt x="323326" y="1006329"/>
                      </a:lnTo>
                      <a:lnTo>
                        <a:pt x="515122" y="59787"/>
                      </a:lnTo>
                      <a:cubicBezTo>
                        <a:pt x="515122" y="59787"/>
                        <a:pt x="500295" y="42090"/>
                        <a:pt x="487859" y="40655"/>
                      </a:cubicBezTo>
                      <a:cubicBezTo>
                        <a:pt x="475423" y="3778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CCCF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0" name="Freeform: Shape 459">
                  <a:extLst>
                    <a:ext uri="{FF2B5EF4-FFF2-40B4-BE49-F238E27FC236}">
                      <a16:creationId xmlns:a16="http://schemas.microsoft.com/office/drawing/2014/main" id="{55C2AC63-B9A3-D8FE-EE5D-FED468B256C0}"/>
                    </a:ext>
                  </a:extLst>
                </p:cNvPr>
                <p:cNvSpPr/>
                <p:nvPr/>
              </p:nvSpPr>
              <p:spPr>
                <a:xfrm>
                  <a:off x="4141594" y="5241130"/>
                  <a:ext cx="308001" cy="332764"/>
                </a:xfrm>
                <a:custGeom>
                  <a:avLst/>
                  <a:gdLst>
                    <a:gd name="connsiteX0" fmla="*/ 228624 w 772631"/>
                    <a:gd name="connsiteY0" fmla="*/ 0 h 834750"/>
                    <a:gd name="connsiteX1" fmla="*/ 228624 w 772631"/>
                    <a:gd name="connsiteY1" fmla="*/ 0 h 834750"/>
                    <a:gd name="connsiteX2" fmla="*/ 208536 w 772631"/>
                    <a:gd name="connsiteY2" fmla="*/ 49264 h 834750"/>
                    <a:gd name="connsiteX3" fmla="*/ 182230 w 772631"/>
                    <a:gd name="connsiteY3" fmla="*/ 96137 h 834750"/>
                    <a:gd name="connsiteX4" fmla="*/ 158793 w 772631"/>
                    <a:gd name="connsiteY4" fmla="*/ 143010 h 834750"/>
                    <a:gd name="connsiteX5" fmla="*/ 137748 w 772631"/>
                    <a:gd name="connsiteY5" fmla="*/ 192274 h 834750"/>
                    <a:gd name="connsiteX6" fmla="*/ 116703 w 772631"/>
                    <a:gd name="connsiteY6" fmla="*/ 240103 h 834750"/>
                    <a:gd name="connsiteX7" fmla="*/ 98050 w 772631"/>
                    <a:gd name="connsiteY7" fmla="*/ 289367 h 834750"/>
                    <a:gd name="connsiteX8" fmla="*/ 77005 w 772631"/>
                    <a:gd name="connsiteY8" fmla="*/ 338631 h 834750"/>
                    <a:gd name="connsiteX9" fmla="*/ 56917 w 772631"/>
                    <a:gd name="connsiteY9" fmla="*/ 387896 h 834750"/>
                    <a:gd name="connsiteX10" fmla="*/ 39698 w 772631"/>
                    <a:gd name="connsiteY10" fmla="*/ 438117 h 834750"/>
                    <a:gd name="connsiteX11" fmla="*/ 23436 w 772631"/>
                    <a:gd name="connsiteY11" fmla="*/ 488337 h 834750"/>
                    <a:gd name="connsiteX12" fmla="*/ 11001 w 772631"/>
                    <a:gd name="connsiteY12" fmla="*/ 539993 h 834750"/>
                    <a:gd name="connsiteX13" fmla="*/ 0 w 772631"/>
                    <a:gd name="connsiteY13" fmla="*/ 591649 h 834750"/>
                    <a:gd name="connsiteX14" fmla="*/ 16262 w 772631"/>
                    <a:gd name="connsiteY14" fmla="*/ 643304 h 834750"/>
                    <a:gd name="connsiteX15" fmla="*/ 61221 w 772631"/>
                    <a:gd name="connsiteY15" fmla="*/ 669610 h 834750"/>
                    <a:gd name="connsiteX16" fmla="*/ 107138 w 772631"/>
                    <a:gd name="connsiteY16" fmla="*/ 695916 h 834750"/>
                    <a:gd name="connsiteX17" fmla="*/ 158315 w 772631"/>
                    <a:gd name="connsiteY17" fmla="*/ 709787 h 834750"/>
                    <a:gd name="connsiteX18" fmla="*/ 205666 w 772631"/>
                    <a:gd name="connsiteY18" fmla="*/ 733702 h 834750"/>
                    <a:gd name="connsiteX19" fmla="*/ 257800 w 772631"/>
                    <a:gd name="connsiteY19" fmla="*/ 742311 h 834750"/>
                    <a:gd name="connsiteX20" fmla="*/ 306108 w 772631"/>
                    <a:gd name="connsiteY20" fmla="*/ 763834 h 834750"/>
                    <a:gd name="connsiteX21" fmla="*/ 358241 w 772631"/>
                    <a:gd name="connsiteY21" fmla="*/ 772443 h 834750"/>
                    <a:gd name="connsiteX22" fmla="*/ 407984 w 772631"/>
                    <a:gd name="connsiteY22" fmla="*/ 787749 h 834750"/>
                    <a:gd name="connsiteX23" fmla="*/ 460118 w 772631"/>
                    <a:gd name="connsiteY23" fmla="*/ 797793 h 834750"/>
                    <a:gd name="connsiteX24" fmla="*/ 511295 w 772631"/>
                    <a:gd name="connsiteY24" fmla="*/ 811663 h 834750"/>
                    <a:gd name="connsiteX25" fmla="*/ 562473 w 772631"/>
                    <a:gd name="connsiteY25" fmla="*/ 823142 h 834750"/>
                    <a:gd name="connsiteX26" fmla="*/ 614607 w 772631"/>
                    <a:gd name="connsiteY26" fmla="*/ 830795 h 834750"/>
                    <a:gd name="connsiteX27" fmla="*/ 668176 w 772631"/>
                    <a:gd name="connsiteY27" fmla="*/ 832230 h 834750"/>
                    <a:gd name="connsiteX28" fmla="*/ 720310 w 772631"/>
                    <a:gd name="connsiteY28" fmla="*/ 834622 h 834750"/>
                    <a:gd name="connsiteX29" fmla="*/ 770052 w 772631"/>
                    <a:gd name="connsiteY29" fmla="*/ 829360 h 834750"/>
                    <a:gd name="connsiteX30" fmla="*/ 736571 w 772631"/>
                    <a:gd name="connsiteY30" fmla="*/ 793010 h 834750"/>
                    <a:gd name="connsiteX31" fmla="*/ 688264 w 772631"/>
                    <a:gd name="connsiteY31" fmla="*/ 767660 h 834750"/>
                    <a:gd name="connsiteX32" fmla="*/ 637086 w 772631"/>
                    <a:gd name="connsiteY32" fmla="*/ 746137 h 834750"/>
                    <a:gd name="connsiteX33" fmla="*/ 587344 w 772631"/>
                    <a:gd name="connsiteY33" fmla="*/ 722223 h 834750"/>
                    <a:gd name="connsiteX34" fmla="*/ 536167 w 772631"/>
                    <a:gd name="connsiteY34" fmla="*/ 699743 h 834750"/>
                    <a:gd name="connsiteX35" fmla="*/ 484033 w 772631"/>
                    <a:gd name="connsiteY35" fmla="*/ 683481 h 834750"/>
                    <a:gd name="connsiteX36" fmla="*/ 431899 w 772631"/>
                    <a:gd name="connsiteY36" fmla="*/ 665784 h 834750"/>
                    <a:gd name="connsiteX37" fmla="*/ 379765 w 772631"/>
                    <a:gd name="connsiteY37" fmla="*/ 648087 h 834750"/>
                    <a:gd name="connsiteX38" fmla="*/ 327631 w 772631"/>
                    <a:gd name="connsiteY38" fmla="*/ 628955 h 834750"/>
                    <a:gd name="connsiteX39" fmla="*/ 275497 w 772631"/>
                    <a:gd name="connsiteY39" fmla="*/ 609824 h 834750"/>
                    <a:gd name="connsiteX40" fmla="*/ 224319 w 772631"/>
                    <a:gd name="connsiteY40" fmla="*/ 589735 h 834750"/>
                    <a:gd name="connsiteX41" fmla="*/ 173142 w 772631"/>
                    <a:gd name="connsiteY41" fmla="*/ 574430 h 834750"/>
                    <a:gd name="connsiteX42" fmla="*/ 193230 w 772631"/>
                    <a:gd name="connsiteY42" fmla="*/ 525166 h 834750"/>
                    <a:gd name="connsiteX43" fmla="*/ 211884 w 772631"/>
                    <a:gd name="connsiteY43" fmla="*/ 474945 h 834750"/>
                    <a:gd name="connsiteX44" fmla="*/ 226711 w 772631"/>
                    <a:gd name="connsiteY44" fmla="*/ 423289 h 834750"/>
                    <a:gd name="connsiteX45" fmla="*/ 242973 w 772631"/>
                    <a:gd name="connsiteY45" fmla="*/ 371634 h 834750"/>
                    <a:gd name="connsiteX46" fmla="*/ 267844 w 772631"/>
                    <a:gd name="connsiteY46" fmla="*/ 323804 h 834750"/>
                    <a:gd name="connsiteX47" fmla="*/ 280280 w 772631"/>
                    <a:gd name="connsiteY47" fmla="*/ 270714 h 834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772631" h="834750">
                      <a:moveTo>
                        <a:pt x="228624" y="0"/>
                      </a:moveTo>
                      <a:lnTo>
                        <a:pt x="228624" y="0"/>
                      </a:lnTo>
                      <a:cubicBezTo>
                        <a:pt x="220971" y="12436"/>
                        <a:pt x="217623" y="31567"/>
                        <a:pt x="208536" y="49264"/>
                      </a:cubicBezTo>
                      <a:cubicBezTo>
                        <a:pt x="200883" y="63135"/>
                        <a:pt x="191317" y="78440"/>
                        <a:pt x="182230" y="96137"/>
                      </a:cubicBezTo>
                      <a:cubicBezTo>
                        <a:pt x="174577" y="111442"/>
                        <a:pt x="167403" y="126269"/>
                        <a:pt x="158793" y="143010"/>
                      </a:cubicBezTo>
                      <a:cubicBezTo>
                        <a:pt x="151141" y="158315"/>
                        <a:pt x="144923" y="176012"/>
                        <a:pt x="137748" y="192274"/>
                      </a:cubicBezTo>
                      <a:cubicBezTo>
                        <a:pt x="130096" y="207579"/>
                        <a:pt x="122921" y="223841"/>
                        <a:pt x="116703" y="240103"/>
                      </a:cubicBezTo>
                      <a:cubicBezTo>
                        <a:pt x="109051" y="256365"/>
                        <a:pt x="104268" y="273105"/>
                        <a:pt x="98050" y="289367"/>
                      </a:cubicBezTo>
                      <a:cubicBezTo>
                        <a:pt x="90397" y="305629"/>
                        <a:pt x="83223" y="322370"/>
                        <a:pt x="77005" y="338631"/>
                      </a:cubicBezTo>
                      <a:cubicBezTo>
                        <a:pt x="69352" y="354893"/>
                        <a:pt x="63135" y="371634"/>
                        <a:pt x="56917" y="387896"/>
                      </a:cubicBezTo>
                      <a:cubicBezTo>
                        <a:pt x="50699" y="405593"/>
                        <a:pt x="44481" y="421855"/>
                        <a:pt x="39698" y="438117"/>
                      </a:cubicBezTo>
                      <a:cubicBezTo>
                        <a:pt x="33480" y="455813"/>
                        <a:pt x="27263" y="472075"/>
                        <a:pt x="23436" y="488337"/>
                      </a:cubicBezTo>
                      <a:cubicBezTo>
                        <a:pt x="18653" y="506034"/>
                        <a:pt x="13392" y="523731"/>
                        <a:pt x="11001" y="539993"/>
                      </a:cubicBezTo>
                      <a:cubicBezTo>
                        <a:pt x="6218" y="559125"/>
                        <a:pt x="957" y="576343"/>
                        <a:pt x="0" y="591649"/>
                      </a:cubicBezTo>
                      <a:cubicBezTo>
                        <a:pt x="0" y="614128"/>
                        <a:pt x="6218" y="631825"/>
                        <a:pt x="16262" y="643304"/>
                      </a:cubicBezTo>
                      <a:cubicBezTo>
                        <a:pt x="24871" y="651913"/>
                        <a:pt x="41133" y="658610"/>
                        <a:pt x="61221" y="669610"/>
                      </a:cubicBezTo>
                      <a:cubicBezTo>
                        <a:pt x="75092" y="675828"/>
                        <a:pt x="88484" y="688742"/>
                        <a:pt x="107138" y="695916"/>
                      </a:cubicBezTo>
                      <a:cubicBezTo>
                        <a:pt x="121965" y="702134"/>
                        <a:pt x="139662" y="703569"/>
                        <a:pt x="158315" y="709787"/>
                      </a:cubicBezTo>
                      <a:cubicBezTo>
                        <a:pt x="173142" y="716005"/>
                        <a:pt x="187969" y="728919"/>
                        <a:pt x="205666" y="733702"/>
                      </a:cubicBezTo>
                      <a:cubicBezTo>
                        <a:pt x="221928" y="738963"/>
                        <a:pt x="240581" y="737528"/>
                        <a:pt x="257800" y="742311"/>
                      </a:cubicBezTo>
                      <a:cubicBezTo>
                        <a:pt x="274062" y="747572"/>
                        <a:pt x="288889" y="758573"/>
                        <a:pt x="306108" y="763834"/>
                      </a:cubicBezTo>
                      <a:cubicBezTo>
                        <a:pt x="322369" y="767660"/>
                        <a:pt x="341023" y="769095"/>
                        <a:pt x="358241" y="772443"/>
                      </a:cubicBezTo>
                      <a:cubicBezTo>
                        <a:pt x="374503" y="777705"/>
                        <a:pt x="390765" y="783922"/>
                        <a:pt x="407984" y="787749"/>
                      </a:cubicBezTo>
                      <a:cubicBezTo>
                        <a:pt x="425203" y="793010"/>
                        <a:pt x="442899" y="793966"/>
                        <a:pt x="460118" y="797793"/>
                      </a:cubicBezTo>
                      <a:cubicBezTo>
                        <a:pt x="477337" y="801619"/>
                        <a:pt x="493598" y="809272"/>
                        <a:pt x="511295" y="811663"/>
                      </a:cubicBezTo>
                      <a:cubicBezTo>
                        <a:pt x="528514" y="815490"/>
                        <a:pt x="546211" y="820273"/>
                        <a:pt x="562473" y="823142"/>
                      </a:cubicBezTo>
                      <a:cubicBezTo>
                        <a:pt x="581126" y="825534"/>
                        <a:pt x="598345" y="828404"/>
                        <a:pt x="614607" y="830795"/>
                      </a:cubicBezTo>
                      <a:cubicBezTo>
                        <a:pt x="633260" y="833187"/>
                        <a:pt x="651914" y="830795"/>
                        <a:pt x="668176" y="832230"/>
                      </a:cubicBezTo>
                      <a:cubicBezTo>
                        <a:pt x="686829" y="834622"/>
                        <a:pt x="704048" y="834622"/>
                        <a:pt x="720310" y="834622"/>
                      </a:cubicBezTo>
                      <a:cubicBezTo>
                        <a:pt x="746616" y="834622"/>
                        <a:pt x="763834" y="836056"/>
                        <a:pt x="770052" y="829360"/>
                      </a:cubicBezTo>
                      <a:cubicBezTo>
                        <a:pt x="778661" y="821708"/>
                        <a:pt x="765269" y="809272"/>
                        <a:pt x="736571" y="793010"/>
                      </a:cubicBezTo>
                      <a:cubicBezTo>
                        <a:pt x="722701" y="785357"/>
                        <a:pt x="706917" y="776748"/>
                        <a:pt x="688264" y="767660"/>
                      </a:cubicBezTo>
                      <a:cubicBezTo>
                        <a:pt x="672002" y="760008"/>
                        <a:pt x="655740" y="753790"/>
                        <a:pt x="637086" y="746137"/>
                      </a:cubicBezTo>
                      <a:cubicBezTo>
                        <a:pt x="620824" y="738485"/>
                        <a:pt x="604562" y="729875"/>
                        <a:pt x="587344" y="722223"/>
                      </a:cubicBezTo>
                      <a:cubicBezTo>
                        <a:pt x="570125" y="716005"/>
                        <a:pt x="553863" y="705961"/>
                        <a:pt x="536167" y="699743"/>
                      </a:cubicBezTo>
                      <a:cubicBezTo>
                        <a:pt x="519905" y="693525"/>
                        <a:pt x="501251" y="689699"/>
                        <a:pt x="484033" y="683481"/>
                      </a:cubicBezTo>
                      <a:cubicBezTo>
                        <a:pt x="466814" y="677263"/>
                        <a:pt x="449117" y="672002"/>
                        <a:pt x="431899" y="665784"/>
                      </a:cubicBezTo>
                      <a:cubicBezTo>
                        <a:pt x="414680" y="659566"/>
                        <a:pt x="396983" y="654305"/>
                        <a:pt x="379765" y="648087"/>
                      </a:cubicBezTo>
                      <a:cubicBezTo>
                        <a:pt x="361111" y="641869"/>
                        <a:pt x="344849" y="635652"/>
                        <a:pt x="327631" y="628955"/>
                      </a:cubicBezTo>
                      <a:cubicBezTo>
                        <a:pt x="308977" y="622738"/>
                        <a:pt x="291759" y="615085"/>
                        <a:pt x="275497" y="609824"/>
                      </a:cubicBezTo>
                      <a:cubicBezTo>
                        <a:pt x="256843" y="603606"/>
                        <a:pt x="239625" y="594518"/>
                        <a:pt x="224319" y="589735"/>
                      </a:cubicBezTo>
                      <a:cubicBezTo>
                        <a:pt x="191795" y="578256"/>
                        <a:pt x="173142" y="603606"/>
                        <a:pt x="173142" y="574430"/>
                      </a:cubicBezTo>
                      <a:cubicBezTo>
                        <a:pt x="171707" y="548124"/>
                        <a:pt x="183186" y="550515"/>
                        <a:pt x="193230" y="525166"/>
                      </a:cubicBezTo>
                      <a:cubicBezTo>
                        <a:pt x="201840" y="499816"/>
                        <a:pt x="201840" y="499816"/>
                        <a:pt x="211884" y="474945"/>
                      </a:cubicBezTo>
                      <a:cubicBezTo>
                        <a:pt x="220493" y="449596"/>
                        <a:pt x="218102" y="448639"/>
                        <a:pt x="226711" y="423289"/>
                      </a:cubicBezTo>
                      <a:cubicBezTo>
                        <a:pt x="236755" y="397940"/>
                        <a:pt x="232929" y="396983"/>
                        <a:pt x="242973" y="371634"/>
                      </a:cubicBezTo>
                      <a:cubicBezTo>
                        <a:pt x="251582" y="346284"/>
                        <a:pt x="259235" y="349154"/>
                        <a:pt x="267844" y="323804"/>
                      </a:cubicBezTo>
                      <a:cubicBezTo>
                        <a:pt x="277888" y="298455"/>
                        <a:pt x="271671" y="296063"/>
                        <a:pt x="280280" y="27071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1" name="Freeform: Shape 460">
                  <a:extLst>
                    <a:ext uri="{FF2B5EF4-FFF2-40B4-BE49-F238E27FC236}">
                      <a16:creationId xmlns:a16="http://schemas.microsoft.com/office/drawing/2014/main" id="{D3B53821-0BF1-50DA-DC79-895ADBD502F0}"/>
                    </a:ext>
                  </a:extLst>
                </p:cNvPr>
                <p:cNvSpPr/>
                <p:nvPr/>
              </p:nvSpPr>
              <p:spPr>
                <a:xfrm>
                  <a:off x="4187433" y="5520456"/>
                  <a:ext cx="208161" cy="516905"/>
                </a:xfrm>
                <a:custGeom>
                  <a:avLst/>
                  <a:gdLst>
                    <a:gd name="connsiteX0" fmla="*/ 11282 w 522179"/>
                    <a:gd name="connsiteY0" fmla="*/ 277888 h 1296673"/>
                    <a:gd name="connsiteX1" fmla="*/ 11282 w 522179"/>
                    <a:gd name="connsiteY1" fmla="*/ 277888 h 1296673"/>
                    <a:gd name="connsiteX2" fmla="*/ 19891 w 522179"/>
                    <a:gd name="connsiteY2" fmla="*/ 331935 h 1296673"/>
                    <a:gd name="connsiteX3" fmla="*/ 36153 w 522179"/>
                    <a:gd name="connsiteY3" fmla="*/ 383591 h 1296673"/>
                    <a:gd name="connsiteX4" fmla="*/ 46198 w 522179"/>
                    <a:gd name="connsiteY4" fmla="*/ 437638 h 1296673"/>
                    <a:gd name="connsiteX5" fmla="*/ 57198 w 522179"/>
                    <a:gd name="connsiteY5" fmla="*/ 490729 h 1296673"/>
                    <a:gd name="connsiteX6" fmla="*/ 68199 w 522179"/>
                    <a:gd name="connsiteY6" fmla="*/ 544776 h 1296673"/>
                    <a:gd name="connsiteX7" fmla="*/ 82069 w 522179"/>
                    <a:gd name="connsiteY7" fmla="*/ 596431 h 1296673"/>
                    <a:gd name="connsiteX8" fmla="*/ 89722 w 522179"/>
                    <a:gd name="connsiteY8" fmla="*/ 650479 h 1296673"/>
                    <a:gd name="connsiteX9" fmla="*/ 102158 w 522179"/>
                    <a:gd name="connsiteY9" fmla="*/ 704526 h 1296673"/>
                    <a:gd name="connsiteX10" fmla="*/ 120811 w 522179"/>
                    <a:gd name="connsiteY10" fmla="*/ 756181 h 1296673"/>
                    <a:gd name="connsiteX11" fmla="*/ 133247 w 522179"/>
                    <a:gd name="connsiteY11" fmla="*/ 809272 h 1296673"/>
                    <a:gd name="connsiteX12" fmla="*/ 145683 w 522179"/>
                    <a:gd name="connsiteY12" fmla="*/ 862362 h 1296673"/>
                    <a:gd name="connsiteX13" fmla="*/ 154292 w 522179"/>
                    <a:gd name="connsiteY13" fmla="*/ 916409 h 1296673"/>
                    <a:gd name="connsiteX14" fmla="*/ 166727 w 522179"/>
                    <a:gd name="connsiteY14" fmla="*/ 969500 h 1296673"/>
                    <a:gd name="connsiteX15" fmla="*/ 179163 w 522179"/>
                    <a:gd name="connsiteY15" fmla="*/ 1022591 h 1296673"/>
                    <a:gd name="connsiteX16" fmla="*/ 189207 w 522179"/>
                    <a:gd name="connsiteY16" fmla="*/ 1076638 h 1296673"/>
                    <a:gd name="connsiteX17" fmla="*/ 205469 w 522179"/>
                    <a:gd name="connsiteY17" fmla="*/ 1128293 h 1296673"/>
                    <a:gd name="connsiteX18" fmla="*/ 214078 w 522179"/>
                    <a:gd name="connsiteY18" fmla="*/ 1182340 h 1296673"/>
                    <a:gd name="connsiteX19" fmla="*/ 230340 w 522179"/>
                    <a:gd name="connsiteY19" fmla="*/ 1235431 h 1296673"/>
                    <a:gd name="connsiteX20" fmla="*/ 240385 w 522179"/>
                    <a:gd name="connsiteY20" fmla="*/ 1289478 h 1296673"/>
                    <a:gd name="connsiteX21" fmla="*/ 285344 w 522179"/>
                    <a:gd name="connsiteY21" fmla="*/ 1290913 h 1296673"/>
                    <a:gd name="connsiteX22" fmla="*/ 328869 w 522179"/>
                    <a:gd name="connsiteY22" fmla="*/ 1287087 h 1296673"/>
                    <a:gd name="connsiteX23" fmla="*/ 337478 w 522179"/>
                    <a:gd name="connsiteY23" fmla="*/ 1235431 h 1296673"/>
                    <a:gd name="connsiteX24" fmla="*/ 349914 w 522179"/>
                    <a:gd name="connsiteY24" fmla="*/ 1182340 h 1296673"/>
                    <a:gd name="connsiteX25" fmla="*/ 359958 w 522179"/>
                    <a:gd name="connsiteY25" fmla="*/ 1128293 h 1296673"/>
                    <a:gd name="connsiteX26" fmla="*/ 370002 w 522179"/>
                    <a:gd name="connsiteY26" fmla="*/ 1075203 h 1296673"/>
                    <a:gd name="connsiteX27" fmla="*/ 384829 w 522179"/>
                    <a:gd name="connsiteY27" fmla="*/ 1022112 h 1296673"/>
                    <a:gd name="connsiteX28" fmla="*/ 397265 w 522179"/>
                    <a:gd name="connsiteY28" fmla="*/ 969022 h 1296673"/>
                    <a:gd name="connsiteX29" fmla="*/ 405874 w 522179"/>
                    <a:gd name="connsiteY29" fmla="*/ 915931 h 1296673"/>
                    <a:gd name="connsiteX30" fmla="*/ 416875 w 522179"/>
                    <a:gd name="connsiteY30" fmla="*/ 862841 h 1296673"/>
                    <a:gd name="connsiteX31" fmla="*/ 427875 w 522179"/>
                    <a:gd name="connsiteY31" fmla="*/ 808794 h 1296673"/>
                    <a:gd name="connsiteX32" fmla="*/ 435528 w 522179"/>
                    <a:gd name="connsiteY32" fmla="*/ 754747 h 1296673"/>
                    <a:gd name="connsiteX33" fmla="*/ 446529 w 522179"/>
                    <a:gd name="connsiteY33" fmla="*/ 701656 h 1296673"/>
                    <a:gd name="connsiteX34" fmla="*/ 455138 w 522179"/>
                    <a:gd name="connsiteY34" fmla="*/ 648565 h 1296673"/>
                    <a:gd name="connsiteX35" fmla="*/ 465182 w 522179"/>
                    <a:gd name="connsiteY35" fmla="*/ 594518 h 1296673"/>
                    <a:gd name="connsiteX36" fmla="*/ 479053 w 522179"/>
                    <a:gd name="connsiteY36" fmla="*/ 541428 h 1296673"/>
                    <a:gd name="connsiteX37" fmla="*/ 489097 w 522179"/>
                    <a:gd name="connsiteY37" fmla="*/ 488337 h 1296673"/>
                    <a:gd name="connsiteX38" fmla="*/ 499141 w 522179"/>
                    <a:gd name="connsiteY38" fmla="*/ 434290 h 1296673"/>
                    <a:gd name="connsiteX39" fmla="*/ 505359 w 522179"/>
                    <a:gd name="connsiteY39" fmla="*/ 380243 h 1296673"/>
                    <a:gd name="connsiteX40" fmla="*/ 516360 w 522179"/>
                    <a:gd name="connsiteY40" fmla="*/ 330022 h 1296673"/>
                    <a:gd name="connsiteX41" fmla="*/ 462791 w 522179"/>
                    <a:gd name="connsiteY41" fmla="*/ 322370 h 1296673"/>
                    <a:gd name="connsiteX42" fmla="*/ 405396 w 522179"/>
                    <a:gd name="connsiteY42" fmla="*/ 314717 h 1296673"/>
                    <a:gd name="connsiteX43" fmla="*/ 348001 w 522179"/>
                    <a:gd name="connsiteY43" fmla="*/ 313282 h 1296673"/>
                    <a:gd name="connsiteX44" fmla="*/ 292040 w 522179"/>
                    <a:gd name="connsiteY44" fmla="*/ 308021 h 1296673"/>
                    <a:gd name="connsiteX45" fmla="*/ 236080 w 522179"/>
                    <a:gd name="connsiteY45" fmla="*/ 297976 h 1296673"/>
                    <a:gd name="connsiteX46" fmla="*/ 178685 w 522179"/>
                    <a:gd name="connsiteY46" fmla="*/ 294150 h 1296673"/>
                    <a:gd name="connsiteX47" fmla="*/ 121290 w 522179"/>
                    <a:gd name="connsiteY47" fmla="*/ 292715 h 1296673"/>
                    <a:gd name="connsiteX48" fmla="*/ 65329 w 522179"/>
                    <a:gd name="connsiteY48" fmla="*/ 282671 h 1296673"/>
                    <a:gd name="connsiteX49" fmla="*/ 7934 w 522179"/>
                    <a:gd name="connsiteY49" fmla="*/ 277410 h 1296673"/>
                    <a:gd name="connsiteX50" fmla="*/ 9369 w 522179"/>
                    <a:gd name="connsiteY50" fmla="*/ 221928 h 1296673"/>
                    <a:gd name="connsiteX51" fmla="*/ 7934 w 522179"/>
                    <a:gd name="connsiteY51" fmla="*/ 166446 h 1296673"/>
                    <a:gd name="connsiteX52" fmla="*/ 9369 w 522179"/>
                    <a:gd name="connsiteY52" fmla="*/ 110964 h 1296673"/>
                    <a:gd name="connsiteX53" fmla="*/ 9369 w 522179"/>
                    <a:gd name="connsiteY53" fmla="*/ 55482 h 1296673"/>
                    <a:gd name="connsiteX54" fmla="*/ 9369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11282" y="277888"/>
                      </a:moveTo>
                      <a:lnTo>
                        <a:pt x="11282" y="277888"/>
                      </a:lnTo>
                      <a:cubicBezTo>
                        <a:pt x="17500" y="304194"/>
                        <a:pt x="15109" y="305629"/>
                        <a:pt x="19891" y="331935"/>
                      </a:cubicBezTo>
                      <a:cubicBezTo>
                        <a:pt x="26109" y="358242"/>
                        <a:pt x="29936" y="357285"/>
                        <a:pt x="36153" y="383591"/>
                      </a:cubicBezTo>
                      <a:cubicBezTo>
                        <a:pt x="42371" y="409897"/>
                        <a:pt x="39980" y="411332"/>
                        <a:pt x="46198" y="437638"/>
                      </a:cubicBezTo>
                      <a:cubicBezTo>
                        <a:pt x="52415" y="463944"/>
                        <a:pt x="50981" y="463944"/>
                        <a:pt x="57198" y="490729"/>
                      </a:cubicBezTo>
                      <a:cubicBezTo>
                        <a:pt x="63416" y="517035"/>
                        <a:pt x="61981" y="518470"/>
                        <a:pt x="68199" y="544776"/>
                      </a:cubicBezTo>
                      <a:cubicBezTo>
                        <a:pt x="72982" y="571082"/>
                        <a:pt x="75852" y="570125"/>
                        <a:pt x="82069" y="596431"/>
                      </a:cubicBezTo>
                      <a:cubicBezTo>
                        <a:pt x="88287" y="622738"/>
                        <a:pt x="83504" y="624173"/>
                        <a:pt x="89722" y="650479"/>
                      </a:cubicBezTo>
                      <a:cubicBezTo>
                        <a:pt x="95940" y="676785"/>
                        <a:pt x="95940" y="676785"/>
                        <a:pt x="102158" y="704526"/>
                      </a:cubicBezTo>
                      <a:cubicBezTo>
                        <a:pt x="108376" y="730832"/>
                        <a:pt x="114593" y="729875"/>
                        <a:pt x="120811" y="756181"/>
                      </a:cubicBezTo>
                      <a:cubicBezTo>
                        <a:pt x="127029" y="782487"/>
                        <a:pt x="127029" y="782487"/>
                        <a:pt x="133247" y="809272"/>
                      </a:cubicBezTo>
                      <a:cubicBezTo>
                        <a:pt x="139465" y="835578"/>
                        <a:pt x="139465" y="835578"/>
                        <a:pt x="145683" y="862362"/>
                      </a:cubicBezTo>
                      <a:cubicBezTo>
                        <a:pt x="151900" y="888669"/>
                        <a:pt x="148074" y="890103"/>
                        <a:pt x="154292" y="916409"/>
                      </a:cubicBezTo>
                      <a:cubicBezTo>
                        <a:pt x="160510" y="942716"/>
                        <a:pt x="160510" y="942716"/>
                        <a:pt x="166727" y="969500"/>
                      </a:cubicBezTo>
                      <a:cubicBezTo>
                        <a:pt x="172945" y="995806"/>
                        <a:pt x="172945" y="995806"/>
                        <a:pt x="179163" y="1022591"/>
                      </a:cubicBezTo>
                      <a:cubicBezTo>
                        <a:pt x="185381" y="1048897"/>
                        <a:pt x="182989" y="1050332"/>
                        <a:pt x="189207" y="1076638"/>
                      </a:cubicBezTo>
                      <a:cubicBezTo>
                        <a:pt x="195425" y="1102944"/>
                        <a:pt x="199251" y="1101987"/>
                        <a:pt x="205469" y="1128293"/>
                      </a:cubicBezTo>
                      <a:cubicBezTo>
                        <a:pt x="211687" y="1154599"/>
                        <a:pt x="207861" y="1156034"/>
                        <a:pt x="214078" y="1182340"/>
                      </a:cubicBezTo>
                      <a:cubicBezTo>
                        <a:pt x="220296" y="1208647"/>
                        <a:pt x="224123" y="1208647"/>
                        <a:pt x="230340" y="1235431"/>
                      </a:cubicBezTo>
                      <a:cubicBezTo>
                        <a:pt x="236558" y="1261737"/>
                        <a:pt x="220296" y="1270825"/>
                        <a:pt x="240385" y="1289478"/>
                      </a:cubicBezTo>
                      <a:cubicBezTo>
                        <a:pt x="256647" y="1304784"/>
                        <a:pt x="262864" y="1290913"/>
                        <a:pt x="285344" y="1290913"/>
                      </a:cubicBezTo>
                      <a:cubicBezTo>
                        <a:pt x="307824" y="1290913"/>
                        <a:pt x="312607" y="1302392"/>
                        <a:pt x="328869" y="1287087"/>
                      </a:cubicBezTo>
                      <a:cubicBezTo>
                        <a:pt x="348957" y="1267955"/>
                        <a:pt x="332695" y="1261737"/>
                        <a:pt x="337478" y="1235431"/>
                      </a:cubicBezTo>
                      <a:cubicBezTo>
                        <a:pt x="342261" y="1207690"/>
                        <a:pt x="343696" y="1209125"/>
                        <a:pt x="349914" y="1182340"/>
                      </a:cubicBezTo>
                      <a:cubicBezTo>
                        <a:pt x="354697" y="1154599"/>
                        <a:pt x="354697" y="1154599"/>
                        <a:pt x="359958" y="1128293"/>
                      </a:cubicBezTo>
                      <a:cubicBezTo>
                        <a:pt x="364741" y="1101987"/>
                        <a:pt x="363784" y="1101987"/>
                        <a:pt x="370002" y="1075203"/>
                      </a:cubicBezTo>
                      <a:cubicBezTo>
                        <a:pt x="374785" y="1048897"/>
                        <a:pt x="380046" y="1048897"/>
                        <a:pt x="384829" y="1022112"/>
                      </a:cubicBezTo>
                      <a:cubicBezTo>
                        <a:pt x="391047" y="995806"/>
                        <a:pt x="392482" y="995806"/>
                        <a:pt x="397265" y="969022"/>
                      </a:cubicBezTo>
                      <a:cubicBezTo>
                        <a:pt x="402048" y="942716"/>
                        <a:pt x="401091" y="942716"/>
                        <a:pt x="405874" y="915931"/>
                      </a:cubicBezTo>
                      <a:cubicBezTo>
                        <a:pt x="410657" y="889625"/>
                        <a:pt x="412092" y="889625"/>
                        <a:pt x="416875" y="862841"/>
                      </a:cubicBezTo>
                      <a:cubicBezTo>
                        <a:pt x="423093" y="835100"/>
                        <a:pt x="423093" y="835100"/>
                        <a:pt x="427875" y="808794"/>
                      </a:cubicBezTo>
                      <a:cubicBezTo>
                        <a:pt x="434093" y="782487"/>
                        <a:pt x="429310" y="782487"/>
                        <a:pt x="435528" y="754747"/>
                      </a:cubicBezTo>
                      <a:cubicBezTo>
                        <a:pt x="440311" y="728440"/>
                        <a:pt x="441746" y="728440"/>
                        <a:pt x="446529" y="701656"/>
                      </a:cubicBezTo>
                      <a:cubicBezTo>
                        <a:pt x="451312" y="675350"/>
                        <a:pt x="450355" y="675350"/>
                        <a:pt x="455138" y="648565"/>
                      </a:cubicBezTo>
                      <a:cubicBezTo>
                        <a:pt x="459921" y="620824"/>
                        <a:pt x="459921" y="620824"/>
                        <a:pt x="465182" y="594518"/>
                      </a:cubicBezTo>
                      <a:cubicBezTo>
                        <a:pt x="469965" y="568212"/>
                        <a:pt x="473792" y="569169"/>
                        <a:pt x="479053" y="541428"/>
                      </a:cubicBezTo>
                      <a:cubicBezTo>
                        <a:pt x="483836" y="515122"/>
                        <a:pt x="483836" y="515122"/>
                        <a:pt x="489097" y="488337"/>
                      </a:cubicBezTo>
                      <a:cubicBezTo>
                        <a:pt x="493880" y="462031"/>
                        <a:pt x="493880" y="462031"/>
                        <a:pt x="499141" y="434290"/>
                      </a:cubicBezTo>
                      <a:cubicBezTo>
                        <a:pt x="503924" y="407984"/>
                        <a:pt x="500576" y="407984"/>
                        <a:pt x="505359" y="380243"/>
                      </a:cubicBezTo>
                      <a:cubicBezTo>
                        <a:pt x="510142" y="353937"/>
                        <a:pt x="532622" y="351067"/>
                        <a:pt x="516360" y="330022"/>
                      </a:cubicBezTo>
                      <a:cubicBezTo>
                        <a:pt x="499141" y="307542"/>
                        <a:pt x="490054" y="326196"/>
                        <a:pt x="462791" y="322370"/>
                      </a:cubicBezTo>
                      <a:cubicBezTo>
                        <a:pt x="434093" y="319978"/>
                        <a:pt x="434093" y="317108"/>
                        <a:pt x="405396" y="314717"/>
                      </a:cubicBezTo>
                      <a:cubicBezTo>
                        <a:pt x="376698" y="310890"/>
                        <a:pt x="376698" y="316152"/>
                        <a:pt x="348001" y="313282"/>
                      </a:cubicBezTo>
                      <a:cubicBezTo>
                        <a:pt x="320738" y="310890"/>
                        <a:pt x="319303" y="311847"/>
                        <a:pt x="292040" y="308021"/>
                      </a:cubicBezTo>
                      <a:cubicBezTo>
                        <a:pt x="263343" y="305629"/>
                        <a:pt x="263343" y="300368"/>
                        <a:pt x="236080" y="297976"/>
                      </a:cubicBezTo>
                      <a:cubicBezTo>
                        <a:pt x="207382" y="294150"/>
                        <a:pt x="207382" y="297976"/>
                        <a:pt x="178685" y="294150"/>
                      </a:cubicBezTo>
                      <a:cubicBezTo>
                        <a:pt x="149987" y="291759"/>
                        <a:pt x="149987" y="295585"/>
                        <a:pt x="121290" y="292715"/>
                      </a:cubicBezTo>
                      <a:cubicBezTo>
                        <a:pt x="92592" y="288889"/>
                        <a:pt x="92592" y="285063"/>
                        <a:pt x="65329" y="282671"/>
                      </a:cubicBezTo>
                      <a:cubicBezTo>
                        <a:pt x="36632" y="280280"/>
                        <a:pt x="26587" y="297976"/>
                        <a:pt x="7934" y="277410"/>
                      </a:cubicBezTo>
                      <a:cubicBezTo>
                        <a:pt x="-10719" y="257322"/>
                        <a:pt x="9369" y="249669"/>
                        <a:pt x="9369" y="221928"/>
                      </a:cubicBezTo>
                      <a:cubicBezTo>
                        <a:pt x="9369" y="194187"/>
                        <a:pt x="7934" y="194187"/>
                        <a:pt x="7934" y="166446"/>
                      </a:cubicBezTo>
                      <a:cubicBezTo>
                        <a:pt x="7934" y="138705"/>
                        <a:pt x="9369" y="138705"/>
                        <a:pt x="9369" y="110964"/>
                      </a:cubicBezTo>
                      <a:cubicBezTo>
                        <a:pt x="9369" y="83223"/>
                        <a:pt x="9369" y="83223"/>
                        <a:pt x="9369" y="55482"/>
                      </a:cubicBezTo>
                      <a:cubicBezTo>
                        <a:pt x="9369" y="27741"/>
                        <a:pt x="9369" y="27741"/>
                        <a:pt x="93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2" name="Freeform: Shape 461">
                  <a:extLst>
                    <a:ext uri="{FF2B5EF4-FFF2-40B4-BE49-F238E27FC236}">
                      <a16:creationId xmlns:a16="http://schemas.microsoft.com/office/drawing/2014/main" id="{92F20EFD-AEE1-0476-862D-C5B6315261FD}"/>
                    </a:ext>
                  </a:extLst>
                </p:cNvPr>
                <p:cNvSpPr/>
                <p:nvPr/>
              </p:nvSpPr>
              <p:spPr>
                <a:xfrm>
                  <a:off x="4294890" y="5641720"/>
                  <a:ext cx="2478" cy="339767"/>
                </a:xfrm>
                <a:custGeom>
                  <a:avLst/>
                  <a:gdLst>
                    <a:gd name="connsiteX0" fmla="*/ 1913 w 6217"/>
                    <a:gd name="connsiteY0" fmla="*/ 0 h 852318"/>
                    <a:gd name="connsiteX1" fmla="*/ 1913 w 6217"/>
                    <a:gd name="connsiteY1" fmla="*/ 0 h 852318"/>
                    <a:gd name="connsiteX2" fmla="*/ 3348 w 6217"/>
                    <a:gd name="connsiteY2" fmla="*/ 56917 h 852318"/>
                    <a:gd name="connsiteX3" fmla="*/ 4783 w 6217"/>
                    <a:gd name="connsiteY3" fmla="*/ 113834 h 852318"/>
                    <a:gd name="connsiteX4" fmla="*/ 6218 w 6217"/>
                    <a:gd name="connsiteY4" fmla="*/ 170751 h 852318"/>
                    <a:gd name="connsiteX5" fmla="*/ 3826 w 6217"/>
                    <a:gd name="connsiteY5" fmla="*/ 227668 h 852318"/>
                    <a:gd name="connsiteX6" fmla="*/ 0 w 6217"/>
                    <a:gd name="connsiteY6" fmla="*/ 283150 h 852318"/>
                    <a:gd name="connsiteX7" fmla="*/ 4783 w 6217"/>
                    <a:gd name="connsiteY7" fmla="*/ 340066 h 852318"/>
                    <a:gd name="connsiteX8" fmla="*/ 4783 w 6217"/>
                    <a:gd name="connsiteY8" fmla="*/ 396983 h 852318"/>
                    <a:gd name="connsiteX9" fmla="*/ 4783 w 6217"/>
                    <a:gd name="connsiteY9" fmla="*/ 453900 h 852318"/>
                    <a:gd name="connsiteX10" fmla="*/ 6218 w 6217"/>
                    <a:gd name="connsiteY10" fmla="*/ 510817 h 852318"/>
                    <a:gd name="connsiteX11" fmla="*/ 6218 w 6217"/>
                    <a:gd name="connsiteY11" fmla="*/ 567734 h 852318"/>
                    <a:gd name="connsiteX12" fmla="*/ 3826 w 6217"/>
                    <a:gd name="connsiteY12" fmla="*/ 624651 h 852318"/>
                    <a:gd name="connsiteX13" fmla="*/ 0 w 6217"/>
                    <a:gd name="connsiteY13" fmla="*/ 681568 h 852318"/>
                    <a:gd name="connsiteX14" fmla="*/ 1435 w 6217"/>
                    <a:gd name="connsiteY14" fmla="*/ 738485 h 852318"/>
                    <a:gd name="connsiteX15" fmla="*/ 5261 w 6217"/>
                    <a:gd name="connsiteY15" fmla="*/ 795401 h 852318"/>
                    <a:gd name="connsiteX16" fmla="*/ 3826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1913" y="0"/>
                      </a:moveTo>
                      <a:lnTo>
                        <a:pt x="1913" y="0"/>
                      </a:lnTo>
                      <a:cubicBezTo>
                        <a:pt x="1913" y="29176"/>
                        <a:pt x="3348" y="29176"/>
                        <a:pt x="3348" y="56917"/>
                      </a:cubicBezTo>
                      <a:cubicBezTo>
                        <a:pt x="3348" y="84658"/>
                        <a:pt x="4783" y="84658"/>
                        <a:pt x="4783" y="113834"/>
                      </a:cubicBezTo>
                      <a:cubicBezTo>
                        <a:pt x="4783" y="141575"/>
                        <a:pt x="6218" y="141575"/>
                        <a:pt x="6218" y="170751"/>
                      </a:cubicBezTo>
                      <a:cubicBezTo>
                        <a:pt x="6218" y="198492"/>
                        <a:pt x="3826" y="198492"/>
                        <a:pt x="3826" y="227668"/>
                      </a:cubicBezTo>
                      <a:cubicBezTo>
                        <a:pt x="3826" y="255409"/>
                        <a:pt x="0" y="255409"/>
                        <a:pt x="0" y="283150"/>
                      </a:cubicBezTo>
                      <a:cubicBezTo>
                        <a:pt x="0" y="312325"/>
                        <a:pt x="4783" y="312325"/>
                        <a:pt x="4783" y="340066"/>
                      </a:cubicBezTo>
                      <a:cubicBezTo>
                        <a:pt x="4783" y="369242"/>
                        <a:pt x="4783" y="369242"/>
                        <a:pt x="4783" y="396983"/>
                      </a:cubicBezTo>
                      <a:cubicBezTo>
                        <a:pt x="4783" y="426159"/>
                        <a:pt x="4783" y="426159"/>
                        <a:pt x="4783" y="453900"/>
                      </a:cubicBezTo>
                      <a:cubicBezTo>
                        <a:pt x="4783" y="483076"/>
                        <a:pt x="6218" y="483076"/>
                        <a:pt x="6218" y="510817"/>
                      </a:cubicBezTo>
                      <a:cubicBezTo>
                        <a:pt x="6218" y="538558"/>
                        <a:pt x="6218" y="538558"/>
                        <a:pt x="6218" y="567734"/>
                      </a:cubicBezTo>
                      <a:cubicBezTo>
                        <a:pt x="6218" y="595475"/>
                        <a:pt x="3826" y="595475"/>
                        <a:pt x="3826" y="624651"/>
                      </a:cubicBezTo>
                      <a:cubicBezTo>
                        <a:pt x="3826" y="652392"/>
                        <a:pt x="0" y="652392"/>
                        <a:pt x="0" y="681568"/>
                      </a:cubicBezTo>
                      <a:cubicBezTo>
                        <a:pt x="0" y="709309"/>
                        <a:pt x="1435" y="709309"/>
                        <a:pt x="1435" y="738485"/>
                      </a:cubicBezTo>
                      <a:cubicBezTo>
                        <a:pt x="1435" y="766226"/>
                        <a:pt x="5261" y="766226"/>
                        <a:pt x="5261" y="795401"/>
                      </a:cubicBezTo>
                      <a:cubicBezTo>
                        <a:pt x="5261" y="823142"/>
                        <a:pt x="3826" y="823142"/>
                        <a:pt x="3826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3" name="Freeform: Shape 462">
                  <a:extLst>
                    <a:ext uri="{FF2B5EF4-FFF2-40B4-BE49-F238E27FC236}">
                      <a16:creationId xmlns:a16="http://schemas.microsoft.com/office/drawing/2014/main" id="{213B3719-FD2F-3BD9-1665-E179B66D0E07}"/>
                    </a:ext>
                  </a:extLst>
                </p:cNvPr>
                <p:cNvSpPr/>
                <p:nvPr/>
              </p:nvSpPr>
              <p:spPr>
                <a:xfrm>
                  <a:off x="4103461" y="6010659"/>
                  <a:ext cx="179226" cy="101216"/>
                </a:xfrm>
                <a:custGeom>
                  <a:avLst/>
                  <a:gdLst>
                    <a:gd name="connsiteX0" fmla="*/ 449596 w 449595"/>
                    <a:gd name="connsiteY0" fmla="*/ 132009 h 253903"/>
                    <a:gd name="connsiteX1" fmla="*/ 449596 w 449595"/>
                    <a:gd name="connsiteY1" fmla="*/ 132009 h 253903"/>
                    <a:gd name="connsiteX2" fmla="*/ 440986 w 449595"/>
                    <a:gd name="connsiteY2" fmla="*/ 186056 h 253903"/>
                    <a:gd name="connsiteX3" fmla="*/ 437160 w 449595"/>
                    <a:gd name="connsiteY3" fmla="*/ 243929 h 253903"/>
                    <a:gd name="connsiteX4" fmla="*/ 382634 w 449595"/>
                    <a:gd name="connsiteY4" fmla="*/ 241538 h 253903"/>
                    <a:gd name="connsiteX5" fmla="*/ 359198 w 449595"/>
                    <a:gd name="connsiteY5" fmla="*/ 205188 h 253903"/>
                    <a:gd name="connsiteX6" fmla="*/ 331935 w 449595"/>
                    <a:gd name="connsiteY6" fmla="*/ 171229 h 253903"/>
                    <a:gd name="connsiteX7" fmla="*/ 289846 w 449595"/>
                    <a:gd name="connsiteY7" fmla="*/ 239147 h 253903"/>
                    <a:gd name="connsiteX8" fmla="*/ 233885 w 449595"/>
                    <a:gd name="connsiteY8" fmla="*/ 245364 h 253903"/>
                    <a:gd name="connsiteX9" fmla="*/ 174099 w 449595"/>
                    <a:gd name="connsiteY9" fmla="*/ 243929 h 253903"/>
                    <a:gd name="connsiteX10" fmla="*/ 114312 w 449595"/>
                    <a:gd name="connsiteY10" fmla="*/ 237712 h 253903"/>
                    <a:gd name="connsiteX11" fmla="*/ 54525 w 449595"/>
                    <a:gd name="connsiteY11" fmla="*/ 235320 h 253903"/>
                    <a:gd name="connsiteX12" fmla="*/ 0 w 449595"/>
                    <a:gd name="connsiteY12" fmla="*/ 207579 h 253903"/>
                    <a:gd name="connsiteX13" fmla="*/ 39698 w 449595"/>
                    <a:gd name="connsiteY13" fmla="*/ 167403 h 253903"/>
                    <a:gd name="connsiteX14" fmla="*/ 87049 w 449595"/>
                    <a:gd name="connsiteY14" fmla="*/ 139661 h 253903"/>
                    <a:gd name="connsiteX15" fmla="*/ 135357 w 449595"/>
                    <a:gd name="connsiteY15" fmla="*/ 114312 h 253903"/>
                    <a:gd name="connsiteX16" fmla="*/ 183665 w 449595"/>
                    <a:gd name="connsiteY16" fmla="*/ 88006 h 253903"/>
                    <a:gd name="connsiteX17" fmla="*/ 234842 w 449595"/>
                    <a:gd name="connsiteY17" fmla="*/ 68874 h 253903"/>
                    <a:gd name="connsiteX18" fmla="*/ 284584 w 449595"/>
                    <a:gd name="connsiteY18" fmla="*/ 44959 h 253903"/>
                    <a:gd name="connsiteX19" fmla="*/ 334327 w 449595"/>
                    <a:gd name="connsiteY19" fmla="*/ 22480 h 253903"/>
                    <a:gd name="connsiteX20" fmla="*/ 384069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449596" y="132009"/>
                      </a:moveTo>
                      <a:lnTo>
                        <a:pt x="449596" y="132009"/>
                      </a:lnTo>
                      <a:cubicBezTo>
                        <a:pt x="445769" y="159750"/>
                        <a:pt x="444813" y="158315"/>
                        <a:pt x="440986" y="186056"/>
                      </a:cubicBezTo>
                      <a:cubicBezTo>
                        <a:pt x="437160" y="213797"/>
                        <a:pt x="458205" y="225276"/>
                        <a:pt x="437160" y="243929"/>
                      </a:cubicBezTo>
                      <a:cubicBezTo>
                        <a:pt x="417072" y="261626"/>
                        <a:pt x="407506" y="252539"/>
                        <a:pt x="382634" y="241538"/>
                      </a:cubicBezTo>
                      <a:cubicBezTo>
                        <a:pt x="361590" y="232929"/>
                        <a:pt x="371634" y="222406"/>
                        <a:pt x="359198" y="205188"/>
                      </a:cubicBezTo>
                      <a:cubicBezTo>
                        <a:pt x="346763" y="186056"/>
                        <a:pt x="351545" y="161185"/>
                        <a:pt x="331935" y="171229"/>
                      </a:cubicBezTo>
                      <a:cubicBezTo>
                        <a:pt x="297020" y="190361"/>
                        <a:pt x="317108" y="209014"/>
                        <a:pt x="289846" y="239147"/>
                      </a:cubicBezTo>
                      <a:cubicBezTo>
                        <a:pt x="269757" y="261626"/>
                        <a:pt x="268801" y="245364"/>
                        <a:pt x="233885" y="245364"/>
                      </a:cubicBezTo>
                      <a:cubicBezTo>
                        <a:pt x="215232" y="246799"/>
                        <a:pt x="195143" y="243929"/>
                        <a:pt x="174099" y="243929"/>
                      </a:cubicBezTo>
                      <a:cubicBezTo>
                        <a:pt x="154010" y="242495"/>
                        <a:pt x="134400" y="238668"/>
                        <a:pt x="114312" y="237712"/>
                      </a:cubicBezTo>
                      <a:cubicBezTo>
                        <a:pt x="93267" y="236277"/>
                        <a:pt x="72222" y="237712"/>
                        <a:pt x="54525" y="235320"/>
                      </a:cubicBezTo>
                      <a:cubicBezTo>
                        <a:pt x="23436" y="230059"/>
                        <a:pt x="0" y="219058"/>
                        <a:pt x="0" y="207579"/>
                      </a:cubicBezTo>
                      <a:cubicBezTo>
                        <a:pt x="0" y="199926"/>
                        <a:pt x="16262" y="182230"/>
                        <a:pt x="39698" y="167403"/>
                      </a:cubicBezTo>
                      <a:cubicBezTo>
                        <a:pt x="53569" y="158793"/>
                        <a:pt x="69352" y="149706"/>
                        <a:pt x="87049" y="139661"/>
                      </a:cubicBezTo>
                      <a:cubicBezTo>
                        <a:pt x="101876" y="131052"/>
                        <a:pt x="119573" y="123400"/>
                        <a:pt x="135357" y="114312"/>
                      </a:cubicBezTo>
                      <a:cubicBezTo>
                        <a:pt x="151619" y="105703"/>
                        <a:pt x="167881" y="96615"/>
                        <a:pt x="183665" y="88006"/>
                      </a:cubicBezTo>
                      <a:cubicBezTo>
                        <a:pt x="199927" y="80353"/>
                        <a:pt x="218580" y="76527"/>
                        <a:pt x="234842" y="68874"/>
                      </a:cubicBezTo>
                      <a:cubicBezTo>
                        <a:pt x="252060" y="60265"/>
                        <a:pt x="268322" y="51177"/>
                        <a:pt x="284584" y="44959"/>
                      </a:cubicBezTo>
                      <a:cubicBezTo>
                        <a:pt x="301803" y="36350"/>
                        <a:pt x="319500" y="28698"/>
                        <a:pt x="334327" y="22480"/>
                      </a:cubicBezTo>
                      <a:cubicBezTo>
                        <a:pt x="363981" y="8609"/>
                        <a:pt x="357763" y="10044"/>
                        <a:pt x="3840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4" name="Freeform: Shape 463">
                  <a:extLst>
                    <a:ext uri="{FF2B5EF4-FFF2-40B4-BE49-F238E27FC236}">
                      <a16:creationId xmlns:a16="http://schemas.microsoft.com/office/drawing/2014/main" id="{203BDBC8-045C-685D-7D00-CA78008EA966}"/>
                    </a:ext>
                  </a:extLst>
                </p:cNvPr>
                <p:cNvSpPr/>
                <p:nvPr/>
              </p:nvSpPr>
              <p:spPr>
                <a:xfrm>
                  <a:off x="4319486" y="6003414"/>
                  <a:ext cx="177510" cy="104082"/>
                </a:xfrm>
                <a:custGeom>
                  <a:avLst/>
                  <a:gdLst>
                    <a:gd name="connsiteX0" fmla="*/ 70788 w 445290"/>
                    <a:gd name="connsiteY0" fmla="*/ 0 h 261094"/>
                    <a:gd name="connsiteX1" fmla="*/ 70788 w 445290"/>
                    <a:gd name="connsiteY1" fmla="*/ 0 h 261094"/>
                    <a:gd name="connsiteX2" fmla="*/ 120530 w 445290"/>
                    <a:gd name="connsiteY2" fmla="*/ 22480 h 261094"/>
                    <a:gd name="connsiteX3" fmla="*/ 167881 w 445290"/>
                    <a:gd name="connsiteY3" fmla="*/ 50221 h 261094"/>
                    <a:gd name="connsiteX4" fmla="*/ 219058 w 445290"/>
                    <a:gd name="connsiteY4" fmla="*/ 71744 h 261094"/>
                    <a:gd name="connsiteX5" fmla="*/ 268801 w 445290"/>
                    <a:gd name="connsiteY5" fmla="*/ 94224 h 261094"/>
                    <a:gd name="connsiteX6" fmla="*/ 314717 w 445290"/>
                    <a:gd name="connsiteY6" fmla="*/ 123400 h 261094"/>
                    <a:gd name="connsiteX7" fmla="*/ 364459 w 445290"/>
                    <a:gd name="connsiteY7" fmla="*/ 147314 h 261094"/>
                    <a:gd name="connsiteX8" fmla="*/ 411810 w 445290"/>
                    <a:gd name="connsiteY8" fmla="*/ 175055 h 261094"/>
                    <a:gd name="connsiteX9" fmla="*/ 445291 w 445290"/>
                    <a:gd name="connsiteY9" fmla="*/ 214275 h 261094"/>
                    <a:gd name="connsiteX10" fmla="*/ 396983 w 445290"/>
                    <a:gd name="connsiteY10" fmla="*/ 234363 h 261094"/>
                    <a:gd name="connsiteX11" fmla="*/ 338632 w 445290"/>
                    <a:gd name="connsiteY11" fmla="*/ 242973 h 261094"/>
                    <a:gd name="connsiteX12" fmla="*/ 278845 w 445290"/>
                    <a:gd name="connsiteY12" fmla="*/ 250625 h 261094"/>
                    <a:gd name="connsiteX13" fmla="*/ 219058 w 445290"/>
                    <a:gd name="connsiteY13" fmla="*/ 250625 h 261094"/>
                    <a:gd name="connsiteX14" fmla="*/ 159272 w 445290"/>
                    <a:gd name="connsiteY14" fmla="*/ 248234 h 261094"/>
                    <a:gd name="connsiteX15" fmla="*/ 120530 w 445290"/>
                    <a:gd name="connsiteY15" fmla="*/ 176490 h 261094"/>
                    <a:gd name="connsiteX16" fmla="*/ 95659 w 445290"/>
                    <a:gd name="connsiteY16" fmla="*/ 212840 h 261094"/>
                    <a:gd name="connsiteX17" fmla="*/ 70788 w 445290"/>
                    <a:gd name="connsiteY17" fmla="*/ 252060 h 261094"/>
                    <a:gd name="connsiteX18" fmla="*/ 16262 w 445290"/>
                    <a:gd name="connsiteY18" fmla="*/ 248234 h 261094"/>
                    <a:gd name="connsiteX19" fmla="*/ 8609 w 445290"/>
                    <a:gd name="connsiteY19" fmla="*/ 194187 h 261094"/>
                    <a:gd name="connsiteX20" fmla="*/ 0 w 445290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0" h="261094">
                      <a:moveTo>
                        <a:pt x="70788" y="0"/>
                      </a:moveTo>
                      <a:lnTo>
                        <a:pt x="70788" y="0"/>
                      </a:lnTo>
                      <a:cubicBezTo>
                        <a:pt x="95659" y="11479"/>
                        <a:pt x="90876" y="8609"/>
                        <a:pt x="120530" y="22480"/>
                      </a:cubicBezTo>
                      <a:cubicBezTo>
                        <a:pt x="135357" y="30133"/>
                        <a:pt x="150184" y="41611"/>
                        <a:pt x="167881" y="50221"/>
                      </a:cubicBezTo>
                      <a:cubicBezTo>
                        <a:pt x="184143" y="57873"/>
                        <a:pt x="201362" y="64091"/>
                        <a:pt x="219058" y="71744"/>
                      </a:cubicBezTo>
                      <a:cubicBezTo>
                        <a:pt x="235320" y="80353"/>
                        <a:pt x="252539" y="85615"/>
                        <a:pt x="268801" y="94224"/>
                      </a:cubicBezTo>
                      <a:cubicBezTo>
                        <a:pt x="285063" y="101876"/>
                        <a:pt x="299890" y="114312"/>
                        <a:pt x="314717" y="123400"/>
                      </a:cubicBezTo>
                      <a:cubicBezTo>
                        <a:pt x="331936" y="132009"/>
                        <a:pt x="349632" y="138705"/>
                        <a:pt x="364459" y="147314"/>
                      </a:cubicBezTo>
                      <a:cubicBezTo>
                        <a:pt x="381678" y="157358"/>
                        <a:pt x="399375" y="166446"/>
                        <a:pt x="411810" y="175055"/>
                      </a:cubicBezTo>
                      <a:cubicBezTo>
                        <a:pt x="435247" y="190361"/>
                        <a:pt x="445291" y="206623"/>
                        <a:pt x="445291" y="214275"/>
                      </a:cubicBezTo>
                      <a:cubicBezTo>
                        <a:pt x="445291" y="225754"/>
                        <a:pt x="428072" y="229581"/>
                        <a:pt x="396983" y="234363"/>
                      </a:cubicBezTo>
                      <a:cubicBezTo>
                        <a:pt x="379765" y="238190"/>
                        <a:pt x="359676" y="242016"/>
                        <a:pt x="338632" y="242973"/>
                      </a:cubicBezTo>
                      <a:cubicBezTo>
                        <a:pt x="318543" y="244408"/>
                        <a:pt x="298933" y="249191"/>
                        <a:pt x="278845" y="250625"/>
                      </a:cubicBezTo>
                      <a:cubicBezTo>
                        <a:pt x="257800" y="250625"/>
                        <a:pt x="237712" y="250625"/>
                        <a:pt x="219058" y="250625"/>
                      </a:cubicBezTo>
                      <a:cubicBezTo>
                        <a:pt x="184143" y="250625"/>
                        <a:pt x="179360" y="270714"/>
                        <a:pt x="159272" y="248234"/>
                      </a:cubicBezTo>
                      <a:cubicBezTo>
                        <a:pt x="132009" y="218102"/>
                        <a:pt x="156880" y="195143"/>
                        <a:pt x="120530" y="176490"/>
                      </a:cubicBezTo>
                      <a:cubicBezTo>
                        <a:pt x="101876" y="166446"/>
                        <a:pt x="108094" y="195622"/>
                        <a:pt x="95659" y="212840"/>
                      </a:cubicBezTo>
                      <a:cubicBezTo>
                        <a:pt x="83223" y="230537"/>
                        <a:pt x="91832" y="242973"/>
                        <a:pt x="70788" y="252060"/>
                      </a:cubicBezTo>
                      <a:cubicBezTo>
                        <a:pt x="45916" y="263539"/>
                        <a:pt x="35872" y="265931"/>
                        <a:pt x="16262" y="248234"/>
                      </a:cubicBezTo>
                      <a:cubicBezTo>
                        <a:pt x="-4783" y="230537"/>
                        <a:pt x="12436" y="220493"/>
                        <a:pt x="8609" y="194187"/>
                      </a:cubicBezTo>
                      <a:cubicBezTo>
                        <a:pt x="3826" y="166446"/>
                        <a:pt x="3826" y="166446"/>
                        <a:pt x="0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5" name="Freeform: Shape 464">
                  <a:extLst>
                    <a:ext uri="{FF2B5EF4-FFF2-40B4-BE49-F238E27FC236}">
                      <a16:creationId xmlns:a16="http://schemas.microsoft.com/office/drawing/2014/main" id="{C5B1C227-75B6-ACAE-44F2-E5C9CA500499}"/>
                    </a:ext>
                  </a:extLst>
                </p:cNvPr>
                <p:cNvSpPr/>
                <p:nvPr/>
              </p:nvSpPr>
              <p:spPr>
                <a:xfrm>
                  <a:off x="4390414" y="5238651"/>
                  <a:ext cx="55484" cy="41374"/>
                </a:xfrm>
                <a:custGeom>
                  <a:avLst/>
                  <a:gdLst>
                    <a:gd name="connsiteX0" fmla="*/ 0 w 139183"/>
                    <a:gd name="connsiteY0" fmla="*/ 0 h 103789"/>
                    <a:gd name="connsiteX1" fmla="*/ 0 w 139183"/>
                    <a:gd name="connsiteY1" fmla="*/ 0 h 103789"/>
                    <a:gd name="connsiteX2" fmla="*/ 43525 w 139183"/>
                    <a:gd name="connsiteY2" fmla="*/ 39220 h 103789"/>
                    <a:gd name="connsiteX3" fmla="*/ 89441 w 139183"/>
                    <a:gd name="connsiteY3" fmla="*/ 72222 h 103789"/>
                    <a:gd name="connsiteX4" fmla="*/ 139183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2480" y="17697"/>
                        <a:pt x="20088" y="21523"/>
                        <a:pt x="43525" y="39220"/>
                      </a:cubicBezTo>
                      <a:cubicBezTo>
                        <a:pt x="66005" y="55482"/>
                        <a:pt x="66005" y="55482"/>
                        <a:pt x="89441" y="72222"/>
                      </a:cubicBezTo>
                      <a:cubicBezTo>
                        <a:pt x="112877" y="89919"/>
                        <a:pt x="115747" y="86093"/>
                        <a:pt x="139183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6" name="Freeform: Shape 465">
                  <a:extLst>
                    <a:ext uri="{FF2B5EF4-FFF2-40B4-BE49-F238E27FC236}">
                      <a16:creationId xmlns:a16="http://schemas.microsoft.com/office/drawing/2014/main" id="{C85E349B-CB8B-B8DF-BEDA-CCB7D97D519C}"/>
                    </a:ext>
                  </a:extLst>
                </p:cNvPr>
                <p:cNvSpPr/>
                <p:nvPr/>
              </p:nvSpPr>
              <p:spPr>
                <a:xfrm>
                  <a:off x="4322918" y="5030634"/>
                  <a:ext cx="1907" cy="28600"/>
                </a:xfrm>
                <a:custGeom>
                  <a:avLst/>
                  <a:gdLst>
                    <a:gd name="connsiteX0" fmla="*/ 0 w 4783"/>
                    <a:gd name="connsiteY0" fmla="*/ 0 h 71743"/>
                    <a:gd name="connsiteX1" fmla="*/ 0 w 4783"/>
                    <a:gd name="connsiteY1" fmla="*/ 0 h 71743"/>
                    <a:gd name="connsiteX2" fmla="*/ 4783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392" y="35394"/>
                        <a:pt x="2392" y="35394"/>
                        <a:pt x="4783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7" name="Freeform: Shape 466">
                  <a:extLst>
                    <a:ext uri="{FF2B5EF4-FFF2-40B4-BE49-F238E27FC236}">
                      <a16:creationId xmlns:a16="http://schemas.microsoft.com/office/drawing/2014/main" id="{7D296C0F-3414-8F07-7651-9EABF1717004}"/>
                    </a:ext>
                  </a:extLst>
                </p:cNvPr>
                <p:cNvSpPr/>
                <p:nvPr/>
              </p:nvSpPr>
              <p:spPr>
                <a:xfrm>
                  <a:off x="4359100" y="5027202"/>
                  <a:ext cx="616" cy="28600"/>
                </a:xfrm>
                <a:custGeom>
                  <a:avLst/>
                  <a:gdLst>
                    <a:gd name="connsiteX0" fmla="*/ 112 w 1546"/>
                    <a:gd name="connsiteY0" fmla="*/ 0 h 71743"/>
                    <a:gd name="connsiteX1" fmla="*/ 112 w 1546"/>
                    <a:gd name="connsiteY1" fmla="*/ 0 h 71743"/>
                    <a:gd name="connsiteX2" fmla="*/ 1547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12" y="0"/>
                      </a:moveTo>
                      <a:lnTo>
                        <a:pt x="112" y="0"/>
                      </a:lnTo>
                      <a:cubicBezTo>
                        <a:pt x="2503" y="35394"/>
                        <a:pt x="-2280" y="36350"/>
                        <a:pt x="1547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8" name="Freeform: Shape 467">
                  <a:extLst>
                    <a:ext uri="{FF2B5EF4-FFF2-40B4-BE49-F238E27FC236}">
                      <a16:creationId xmlns:a16="http://schemas.microsoft.com/office/drawing/2014/main" id="{00E47AD9-AD4B-E6DD-3000-CC4E84CD78DE}"/>
                    </a:ext>
                  </a:extLst>
                </p:cNvPr>
                <p:cNvSpPr/>
                <p:nvPr/>
              </p:nvSpPr>
              <p:spPr>
                <a:xfrm>
                  <a:off x="4197460" y="4939566"/>
                  <a:ext cx="241946" cy="327077"/>
                </a:xfrm>
                <a:custGeom>
                  <a:avLst/>
                  <a:gdLst>
                    <a:gd name="connsiteX0" fmla="*/ 605997 w 606931"/>
                    <a:gd name="connsiteY0" fmla="*/ 408765 h 820484"/>
                    <a:gd name="connsiteX1" fmla="*/ 605997 w 606931"/>
                    <a:gd name="connsiteY1" fmla="*/ 408765 h 820484"/>
                    <a:gd name="connsiteX2" fmla="*/ 603606 w 606931"/>
                    <a:gd name="connsiteY2" fmla="*/ 464247 h 820484"/>
                    <a:gd name="connsiteX3" fmla="*/ 594997 w 606931"/>
                    <a:gd name="connsiteY3" fmla="*/ 521164 h 820484"/>
                    <a:gd name="connsiteX4" fmla="*/ 581126 w 606931"/>
                    <a:gd name="connsiteY4" fmla="*/ 575211 h 820484"/>
                    <a:gd name="connsiteX5" fmla="*/ 564864 w 606931"/>
                    <a:gd name="connsiteY5" fmla="*/ 629258 h 820484"/>
                    <a:gd name="connsiteX6" fmla="*/ 538558 w 606931"/>
                    <a:gd name="connsiteY6" fmla="*/ 679479 h 820484"/>
                    <a:gd name="connsiteX7" fmla="*/ 506034 w 606931"/>
                    <a:gd name="connsiteY7" fmla="*/ 724917 h 820484"/>
                    <a:gd name="connsiteX8" fmla="*/ 466336 w 606931"/>
                    <a:gd name="connsiteY8" fmla="*/ 766528 h 820484"/>
                    <a:gd name="connsiteX9" fmla="*/ 416593 w 606931"/>
                    <a:gd name="connsiteY9" fmla="*/ 792834 h 820484"/>
                    <a:gd name="connsiteX10" fmla="*/ 366851 w 606931"/>
                    <a:gd name="connsiteY10" fmla="*/ 816749 h 820484"/>
                    <a:gd name="connsiteX11" fmla="*/ 310891 w 606931"/>
                    <a:gd name="connsiteY11" fmla="*/ 819141 h 820484"/>
                    <a:gd name="connsiteX12" fmla="*/ 254930 w 606931"/>
                    <a:gd name="connsiteY12" fmla="*/ 817706 h 820484"/>
                    <a:gd name="connsiteX13" fmla="*/ 203753 w 606931"/>
                    <a:gd name="connsiteY13" fmla="*/ 795226 h 820484"/>
                    <a:gd name="connsiteX14" fmla="*/ 156402 w 606931"/>
                    <a:gd name="connsiteY14" fmla="*/ 766050 h 820484"/>
                    <a:gd name="connsiteX15" fmla="*/ 112877 w 606931"/>
                    <a:gd name="connsiteY15" fmla="*/ 730656 h 820484"/>
                    <a:gd name="connsiteX16" fmla="*/ 77962 w 606931"/>
                    <a:gd name="connsiteY16" fmla="*/ 685219 h 820484"/>
                    <a:gd name="connsiteX17" fmla="*/ 50699 w 606931"/>
                    <a:gd name="connsiteY17" fmla="*/ 635954 h 820484"/>
                    <a:gd name="connsiteX18" fmla="*/ 27263 w 606931"/>
                    <a:gd name="connsiteY18" fmla="*/ 582864 h 820484"/>
                    <a:gd name="connsiteX19" fmla="*/ 17219 w 606931"/>
                    <a:gd name="connsiteY19" fmla="*/ 527382 h 820484"/>
                    <a:gd name="connsiteX20" fmla="*/ 4783 w 606931"/>
                    <a:gd name="connsiteY20" fmla="*/ 471900 h 820484"/>
                    <a:gd name="connsiteX21" fmla="*/ 0 w 606931"/>
                    <a:gd name="connsiteY21" fmla="*/ 414983 h 820484"/>
                    <a:gd name="connsiteX22" fmla="*/ 3826 w 606931"/>
                    <a:gd name="connsiteY22" fmla="*/ 358066 h 820484"/>
                    <a:gd name="connsiteX23" fmla="*/ 12436 w 606931"/>
                    <a:gd name="connsiteY23" fmla="*/ 302584 h 820484"/>
                    <a:gd name="connsiteX24" fmla="*/ 24871 w 606931"/>
                    <a:gd name="connsiteY24" fmla="*/ 247102 h 820484"/>
                    <a:gd name="connsiteX25" fmla="*/ 45916 w 606931"/>
                    <a:gd name="connsiteY25" fmla="*/ 194012 h 820484"/>
                    <a:gd name="connsiteX26" fmla="*/ 73179 w 606931"/>
                    <a:gd name="connsiteY26" fmla="*/ 144747 h 820484"/>
                    <a:gd name="connsiteX27" fmla="*/ 105703 w 606931"/>
                    <a:gd name="connsiteY27" fmla="*/ 97875 h 820484"/>
                    <a:gd name="connsiteX28" fmla="*/ 149227 w 606931"/>
                    <a:gd name="connsiteY28" fmla="*/ 62481 h 820484"/>
                    <a:gd name="connsiteX29" fmla="*/ 194187 w 606931"/>
                    <a:gd name="connsiteY29" fmla="*/ 29479 h 820484"/>
                    <a:gd name="connsiteX30" fmla="*/ 243929 w 606931"/>
                    <a:gd name="connsiteY30" fmla="*/ 3173 h 820484"/>
                    <a:gd name="connsiteX31" fmla="*/ 299890 w 606931"/>
                    <a:gd name="connsiteY31" fmla="*/ 781 h 820484"/>
                    <a:gd name="connsiteX32" fmla="*/ 355850 w 606931"/>
                    <a:gd name="connsiteY32" fmla="*/ 6999 h 820484"/>
                    <a:gd name="connsiteX33" fmla="*/ 407984 w 606931"/>
                    <a:gd name="connsiteY33" fmla="*/ 24696 h 820484"/>
                    <a:gd name="connsiteX34" fmla="*/ 453900 w 606931"/>
                    <a:gd name="connsiteY34" fmla="*/ 56263 h 820484"/>
                    <a:gd name="connsiteX35" fmla="*/ 495990 w 606931"/>
                    <a:gd name="connsiteY35" fmla="*/ 94048 h 820484"/>
                    <a:gd name="connsiteX36" fmla="*/ 533297 w 606931"/>
                    <a:gd name="connsiteY36" fmla="*/ 135660 h 820484"/>
                    <a:gd name="connsiteX37" fmla="*/ 556733 w 606931"/>
                    <a:gd name="connsiteY37" fmla="*/ 188750 h 820484"/>
                    <a:gd name="connsiteX38" fmla="*/ 576821 w 606931"/>
                    <a:gd name="connsiteY38" fmla="*/ 240406 h 820484"/>
                    <a:gd name="connsiteX39" fmla="*/ 596910 w 606931"/>
                    <a:gd name="connsiteY39" fmla="*/ 293497 h 820484"/>
                    <a:gd name="connsiteX40" fmla="*/ 605519 w 606931"/>
                    <a:gd name="connsiteY40" fmla="*/ 350413 h 820484"/>
                    <a:gd name="connsiteX41" fmla="*/ 605997 w 606931"/>
                    <a:gd name="connsiteY41" fmla="*/ 408765 h 820484"/>
                    <a:gd name="connsiteX42" fmla="*/ 605997 w 606931"/>
                    <a:gd name="connsiteY42" fmla="*/ 408765 h 820484"/>
                    <a:gd name="connsiteX43" fmla="*/ 605997 w 606931"/>
                    <a:gd name="connsiteY43" fmla="*/ 408765 h 820484"/>
                    <a:gd name="connsiteX44" fmla="*/ 605997 w 606931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6931" h="820484">
                      <a:moveTo>
                        <a:pt x="605997" y="408765"/>
                      </a:moveTo>
                      <a:lnTo>
                        <a:pt x="605997" y="408765"/>
                      </a:lnTo>
                      <a:cubicBezTo>
                        <a:pt x="606954" y="427419"/>
                        <a:pt x="604562" y="446550"/>
                        <a:pt x="603606" y="464247"/>
                      </a:cubicBezTo>
                      <a:cubicBezTo>
                        <a:pt x="602171" y="484335"/>
                        <a:pt x="598823" y="502032"/>
                        <a:pt x="594997" y="521164"/>
                      </a:cubicBezTo>
                      <a:cubicBezTo>
                        <a:pt x="591170" y="540296"/>
                        <a:pt x="587344" y="557514"/>
                        <a:pt x="581126" y="575211"/>
                      </a:cubicBezTo>
                      <a:cubicBezTo>
                        <a:pt x="576343" y="592908"/>
                        <a:pt x="573473" y="612996"/>
                        <a:pt x="564864" y="629258"/>
                      </a:cubicBezTo>
                      <a:cubicBezTo>
                        <a:pt x="557211" y="646955"/>
                        <a:pt x="548602" y="663217"/>
                        <a:pt x="538558" y="679479"/>
                      </a:cubicBezTo>
                      <a:cubicBezTo>
                        <a:pt x="528514" y="695741"/>
                        <a:pt x="517513" y="711046"/>
                        <a:pt x="506034" y="724917"/>
                      </a:cubicBezTo>
                      <a:cubicBezTo>
                        <a:pt x="493598" y="740222"/>
                        <a:pt x="481163" y="754093"/>
                        <a:pt x="466336" y="766528"/>
                      </a:cubicBezTo>
                      <a:cubicBezTo>
                        <a:pt x="451509" y="778007"/>
                        <a:pt x="432855" y="784225"/>
                        <a:pt x="416593" y="792834"/>
                      </a:cubicBezTo>
                      <a:cubicBezTo>
                        <a:pt x="400331" y="801444"/>
                        <a:pt x="384069" y="811966"/>
                        <a:pt x="366851" y="816749"/>
                      </a:cubicBezTo>
                      <a:cubicBezTo>
                        <a:pt x="348197" y="822010"/>
                        <a:pt x="329544" y="818184"/>
                        <a:pt x="310891" y="819141"/>
                      </a:cubicBezTo>
                      <a:cubicBezTo>
                        <a:pt x="292237" y="819141"/>
                        <a:pt x="272149" y="822967"/>
                        <a:pt x="254930" y="817706"/>
                      </a:cubicBezTo>
                      <a:cubicBezTo>
                        <a:pt x="236277" y="813879"/>
                        <a:pt x="220015" y="803835"/>
                        <a:pt x="203753" y="795226"/>
                      </a:cubicBezTo>
                      <a:cubicBezTo>
                        <a:pt x="187491" y="787573"/>
                        <a:pt x="171229" y="778964"/>
                        <a:pt x="156402" y="766050"/>
                      </a:cubicBezTo>
                      <a:cubicBezTo>
                        <a:pt x="141575" y="754571"/>
                        <a:pt x="125313" y="744527"/>
                        <a:pt x="112877" y="730656"/>
                      </a:cubicBezTo>
                      <a:cubicBezTo>
                        <a:pt x="100441" y="716786"/>
                        <a:pt x="89441" y="700524"/>
                        <a:pt x="77962" y="685219"/>
                      </a:cubicBezTo>
                      <a:cubicBezTo>
                        <a:pt x="67918" y="668957"/>
                        <a:pt x="59308" y="652216"/>
                        <a:pt x="50699" y="635954"/>
                      </a:cubicBezTo>
                      <a:cubicBezTo>
                        <a:pt x="42090" y="618258"/>
                        <a:pt x="33481" y="601996"/>
                        <a:pt x="27263" y="582864"/>
                      </a:cubicBezTo>
                      <a:cubicBezTo>
                        <a:pt x="21045" y="566602"/>
                        <a:pt x="22480" y="546514"/>
                        <a:pt x="17219" y="527382"/>
                      </a:cubicBezTo>
                      <a:cubicBezTo>
                        <a:pt x="13392" y="509685"/>
                        <a:pt x="7174" y="491032"/>
                        <a:pt x="4783" y="471900"/>
                      </a:cubicBezTo>
                      <a:cubicBezTo>
                        <a:pt x="3348" y="452768"/>
                        <a:pt x="0" y="434115"/>
                        <a:pt x="0" y="414983"/>
                      </a:cubicBezTo>
                      <a:cubicBezTo>
                        <a:pt x="0" y="395851"/>
                        <a:pt x="1435" y="377198"/>
                        <a:pt x="3826" y="358066"/>
                      </a:cubicBezTo>
                      <a:cubicBezTo>
                        <a:pt x="5261" y="338934"/>
                        <a:pt x="8609" y="320281"/>
                        <a:pt x="12436" y="302584"/>
                      </a:cubicBezTo>
                      <a:cubicBezTo>
                        <a:pt x="16262" y="283452"/>
                        <a:pt x="20088" y="264799"/>
                        <a:pt x="24871" y="247102"/>
                      </a:cubicBezTo>
                      <a:cubicBezTo>
                        <a:pt x="31089" y="227970"/>
                        <a:pt x="38742" y="211708"/>
                        <a:pt x="45916" y="194012"/>
                      </a:cubicBezTo>
                      <a:cubicBezTo>
                        <a:pt x="54525" y="176315"/>
                        <a:pt x="64569" y="160053"/>
                        <a:pt x="73179" y="144747"/>
                      </a:cubicBezTo>
                      <a:cubicBezTo>
                        <a:pt x="84180" y="128485"/>
                        <a:pt x="93267" y="111745"/>
                        <a:pt x="105703" y="97875"/>
                      </a:cubicBezTo>
                      <a:cubicBezTo>
                        <a:pt x="118138" y="82569"/>
                        <a:pt x="134400" y="73960"/>
                        <a:pt x="149227" y="62481"/>
                      </a:cubicBezTo>
                      <a:cubicBezTo>
                        <a:pt x="164055" y="50045"/>
                        <a:pt x="177925" y="38566"/>
                        <a:pt x="194187" y="29479"/>
                      </a:cubicBezTo>
                      <a:cubicBezTo>
                        <a:pt x="211405" y="20869"/>
                        <a:pt x="226711" y="7956"/>
                        <a:pt x="243929" y="3173"/>
                      </a:cubicBezTo>
                      <a:cubicBezTo>
                        <a:pt x="262583" y="-2089"/>
                        <a:pt x="281236" y="781"/>
                        <a:pt x="299890" y="781"/>
                      </a:cubicBezTo>
                      <a:cubicBezTo>
                        <a:pt x="319978" y="781"/>
                        <a:pt x="337197" y="2216"/>
                        <a:pt x="355850" y="6999"/>
                      </a:cubicBezTo>
                      <a:cubicBezTo>
                        <a:pt x="373069" y="10825"/>
                        <a:pt x="391722" y="15608"/>
                        <a:pt x="407984" y="24696"/>
                      </a:cubicBezTo>
                      <a:cubicBezTo>
                        <a:pt x="425203" y="32349"/>
                        <a:pt x="439073" y="44784"/>
                        <a:pt x="453900" y="56263"/>
                      </a:cubicBezTo>
                      <a:cubicBezTo>
                        <a:pt x="468727" y="67742"/>
                        <a:pt x="483554" y="78743"/>
                        <a:pt x="495990" y="94048"/>
                      </a:cubicBezTo>
                      <a:cubicBezTo>
                        <a:pt x="508426" y="106484"/>
                        <a:pt x="522296" y="120354"/>
                        <a:pt x="533297" y="135660"/>
                      </a:cubicBezTo>
                      <a:cubicBezTo>
                        <a:pt x="543341" y="151922"/>
                        <a:pt x="548124" y="171054"/>
                        <a:pt x="556733" y="188750"/>
                      </a:cubicBezTo>
                      <a:cubicBezTo>
                        <a:pt x="564386" y="205012"/>
                        <a:pt x="570604" y="222709"/>
                        <a:pt x="576821" y="240406"/>
                      </a:cubicBezTo>
                      <a:cubicBezTo>
                        <a:pt x="583039" y="258103"/>
                        <a:pt x="593083" y="274365"/>
                        <a:pt x="596910" y="293497"/>
                      </a:cubicBezTo>
                      <a:cubicBezTo>
                        <a:pt x="600736" y="312628"/>
                        <a:pt x="603128" y="331282"/>
                        <a:pt x="605519" y="350413"/>
                      </a:cubicBezTo>
                      <a:cubicBezTo>
                        <a:pt x="608389" y="369545"/>
                        <a:pt x="605997" y="389633"/>
                        <a:pt x="605997" y="408765"/>
                      </a:cubicBezTo>
                      <a:lnTo>
                        <a:pt x="605997" y="408765"/>
                      </a:lnTo>
                      <a:lnTo>
                        <a:pt x="605997" y="408765"/>
                      </a:lnTo>
                      <a:lnTo>
                        <a:pt x="605997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9" name="Freeform: Shape 468">
                  <a:extLst>
                    <a:ext uri="{FF2B5EF4-FFF2-40B4-BE49-F238E27FC236}">
                      <a16:creationId xmlns:a16="http://schemas.microsoft.com/office/drawing/2014/main" id="{6C9F3A0A-5BDF-BAC2-746B-1DB5D09E05BF}"/>
                    </a:ext>
                  </a:extLst>
                </p:cNvPr>
                <p:cNvSpPr/>
                <p:nvPr/>
              </p:nvSpPr>
              <p:spPr>
                <a:xfrm>
                  <a:off x="4277349" y="5107664"/>
                  <a:ext cx="140221" cy="119370"/>
                </a:xfrm>
                <a:custGeom>
                  <a:avLst/>
                  <a:gdLst>
                    <a:gd name="connsiteX0" fmla="*/ 0 w 351749"/>
                    <a:gd name="connsiteY0" fmla="*/ 54047 h 299445"/>
                    <a:gd name="connsiteX1" fmla="*/ 0 w 351749"/>
                    <a:gd name="connsiteY1" fmla="*/ 54047 h 299445"/>
                    <a:gd name="connsiteX2" fmla="*/ 51177 w 351749"/>
                    <a:gd name="connsiteY2" fmla="*/ 67918 h 299445"/>
                    <a:gd name="connsiteX3" fmla="*/ 103311 w 351749"/>
                    <a:gd name="connsiteY3" fmla="*/ 71744 h 299445"/>
                    <a:gd name="connsiteX4" fmla="*/ 154489 w 351749"/>
                    <a:gd name="connsiteY4" fmla="*/ 74135 h 299445"/>
                    <a:gd name="connsiteX5" fmla="*/ 205666 w 351749"/>
                    <a:gd name="connsiteY5" fmla="*/ 61700 h 299445"/>
                    <a:gd name="connsiteX6" fmla="*/ 256843 w 351749"/>
                    <a:gd name="connsiteY6" fmla="*/ 54047 h 299445"/>
                    <a:gd name="connsiteX7" fmla="*/ 304194 w 351749"/>
                    <a:gd name="connsiteY7" fmla="*/ 31567 h 299445"/>
                    <a:gd name="connsiteX8" fmla="*/ 343893 w 351749"/>
                    <a:gd name="connsiteY8" fmla="*/ 0 h 299445"/>
                    <a:gd name="connsiteX9" fmla="*/ 351546 w 351749"/>
                    <a:gd name="connsiteY9" fmla="*/ 51656 h 299445"/>
                    <a:gd name="connsiteX10" fmla="*/ 339110 w 351749"/>
                    <a:gd name="connsiteY10" fmla="*/ 104746 h 299445"/>
                    <a:gd name="connsiteX11" fmla="*/ 319022 w 351749"/>
                    <a:gd name="connsiteY11" fmla="*/ 154967 h 299445"/>
                    <a:gd name="connsiteX12" fmla="*/ 300368 w 351749"/>
                    <a:gd name="connsiteY12" fmla="*/ 206623 h 299445"/>
                    <a:gd name="connsiteX13" fmla="*/ 266888 w 351749"/>
                    <a:gd name="connsiteY13" fmla="*/ 249669 h 299445"/>
                    <a:gd name="connsiteX14" fmla="*/ 227189 w 351749"/>
                    <a:gd name="connsiteY14" fmla="*/ 285063 h 299445"/>
                    <a:gd name="connsiteX15" fmla="*/ 178882 w 351749"/>
                    <a:gd name="connsiteY15" fmla="*/ 298933 h 299445"/>
                    <a:gd name="connsiteX16" fmla="*/ 131531 w 351749"/>
                    <a:gd name="connsiteY16" fmla="*/ 277410 h 299445"/>
                    <a:gd name="connsiteX17" fmla="*/ 91832 w 351749"/>
                    <a:gd name="connsiteY17" fmla="*/ 243451 h 299445"/>
                    <a:gd name="connsiteX18" fmla="*/ 58352 w 351749"/>
                    <a:gd name="connsiteY18" fmla="*/ 203275 h 299445"/>
                    <a:gd name="connsiteX19" fmla="*/ 31089 w 351749"/>
                    <a:gd name="connsiteY19" fmla="*/ 157837 h 299445"/>
                    <a:gd name="connsiteX20" fmla="*/ 8609 w 351749"/>
                    <a:gd name="connsiteY20" fmla="*/ 110007 h 299445"/>
                    <a:gd name="connsiteX21" fmla="*/ 0 w 351749"/>
                    <a:gd name="connsiteY21" fmla="*/ 54047 h 299445"/>
                    <a:gd name="connsiteX22" fmla="*/ 0 w 351749"/>
                    <a:gd name="connsiteY22" fmla="*/ 54047 h 299445"/>
                    <a:gd name="connsiteX23" fmla="*/ 0 w 351749"/>
                    <a:gd name="connsiteY23" fmla="*/ 54047 h 299445"/>
                    <a:gd name="connsiteX24" fmla="*/ 0 w 351749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9" h="299445">
                      <a:moveTo>
                        <a:pt x="0" y="54047"/>
                      </a:moveTo>
                      <a:lnTo>
                        <a:pt x="0" y="54047"/>
                      </a:lnTo>
                      <a:cubicBezTo>
                        <a:pt x="21045" y="40177"/>
                        <a:pt x="20088" y="62656"/>
                        <a:pt x="51177" y="67918"/>
                      </a:cubicBezTo>
                      <a:cubicBezTo>
                        <a:pt x="66005" y="69352"/>
                        <a:pt x="83701" y="70309"/>
                        <a:pt x="103311" y="71744"/>
                      </a:cubicBezTo>
                      <a:cubicBezTo>
                        <a:pt x="119573" y="71744"/>
                        <a:pt x="136792" y="75570"/>
                        <a:pt x="154489" y="74135"/>
                      </a:cubicBezTo>
                      <a:cubicBezTo>
                        <a:pt x="171707" y="72701"/>
                        <a:pt x="187969" y="65526"/>
                        <a:pt x="205666" y="61700"/>
                      </a:cubicBezTo>
                      <a:cubicBezTo>
                        <a:pt x="221928" y="59308"/>
                        <a:pt x="240582" y="60265"/>
                        <a:pt x="256843" y="54047"/>
                      </a:cubicBezTo>
                      <a:cubicBezTo>
                        <a:pt x="273105" y="48786"/>
                        <a:pt x="289367" y="40177"/>
                        <a:pt x="304194" y="31567"/>
                      </a:cubicBezTo>
                      <a:cubicBezTo>
                        <a:pt x="319022" y="22958"/>
                        <a:pt x="331457" y="12436"/>
                        <a:pt x="343893" y="0"/>
                      </a:cubicBezTo>
                      <a:cubicBezTo>
                        <a:pt x="350111" y="13870"/>
                        <a:pt x="352502" y="30132"/>
                        <a:pt x="351546" y="51656"/>
                      </a:cubicBezTo>
                      <a:cubicBezTo>
                        <a:pt x="350111" y="67918"/>
                        <a:pt x="343893" y="85614"/>
                        <a:pt x="339110" y="104746"/>
                      </a:cubicBezTo>
                      <a:cubicBezTo>
                        <a:pt x="334327" y="122443"/>
                        <a:pt x="326674" y="138705"/>
                        <a:pt x="319022" y="154967"/>
                      </a:cubicBezTo>
                      <a:cubicBezTo>
                        <a:pt x="312804" y="172664"/>
                        <a:pt x="308977" y="191317"/>
                        <a:pt x="300368" y="206623"/>
                      </a:cubicBezTo>
                      <a:cubicBezTo>
                        <a:pt x="291759" y="222885"/>
                        <a:pt x="277888" y="235799"/>
                        <a:pt x="266888" y="249669"/>
                      </a:cubicBezTo>
                      <a:cubicBezTo>
                        <a:pt x="254452" y="264974"/>
                        <a:pt x="242016" y="275019"/>
                        <a:pt x="227189" y="285063"/>
                      </a:cubicBezTo>
                      <a:cubicBezTo>
                        <a:pt x="212362" y="295107"/>
                        <a:pt x="197535" y="301325"/>
                        <a:pt x="178882" y="298933"/>
                      </a:cubicBezTo>
                      <a:cubicBezTo>
                        <a:pt x="164055" y="296542"/>
                        <a:pt x="147793" y="287454"/>
                        <a:pt x="131531" y="277410"/>
                      </a:cubicBezTo>
                      <a:cubicBezTo>
                        <a:pt x="117660" y="268801"/>
                        <a:pt x="105225" y="255887"/>
                        <a:pt x="91832" y="243451"/>
                      </a:cubicBezTo>
                      <a:cubicBezTo>
                        <a:pt x="80832" y="231016"/>
                        <a:pt x="69353" y="218102"/>
                        <a:pt x="58352" y="203275"/>
                      </a:cubicBezTo>
                      <a:cubicBezTo>
                        <a:pt x="48308" y="189404"/>
                        <a:pt x="38263" y="174099"/>
                        <a:pt x="31089" y="157837"/>
                      </a:cubicBezTo>
                      <a:cubicBezTo>
                        <a:pt x="23436" y="142531"/>
                        <a:pt x="13871" y="126269"/>
                        <a:pt x="8609" y="110007"/>
                      </a:cubicBezTo>
                      <a:cubicBezTo>
                        <a:pt x="2391" y="91832"/>
                        <a:pt x="957" y="71744"/>
                        <a:pt x="0" y="54047"/>
                      </a:cubicBezTo>
                      <a:lnTo>
                        <a:pt x="0" y="54047"/>
                      </a:lnTo>
                      <a:lnTo>
                        <a:pt x="0" y="54047"/>
                      </a:lnTo>
                      <a:lnTo>
                        <a:pt x="0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0" name="Freeform: Shape 469">
                  <a:extLst>
                    <a:ext uri="{FF2B5EF4-FFF2-40B4-BE49-F238E27FC236}">
                      <a16:creationId xmlns:a16="http://schemas.microsoft.com/office/drawing/2014/main" id="{6F6F8384-2F6E-D8A6-5184-44806ED0A11A}"/>
                    </a:ext>
                  </a:extLst>
                </p:cNvPr>
                <p:cNvSpPr/>
                <p:nvPr/>
              </p:nvSpPr>
              <p:spPr>
                <a:xfrm>
                  <a:off x="3752859" y="6037705"/>
                  <a:ext cx="1069964" cy="73228"/>
                </a:xfrm>
                <a:custGeom>
                  <a:avLst/>
                  <a:gdLst>
                    <a:gd name="connsiteX0" fmla="*/ 3392055 w 3392054"/>
                    <a:gd name="connsiteY0" fmla="*/ 76728 h 86733"/>
                    <a:gd name="connsiteX1" fmla="*/ 3392055 w 3392054"/>
                    <a:gd name="connsiteY1" fmla="*/ 76728 h 86733"/>
                    <a:gd name="connsiteX2" fmla="*/ 3338486 w 3392054"/>
                    <a:gd name="connsiteY2" fmla="*/ 78163 h 86733"/>
                    <a:gd name="connsiteX3" fmla="*/ 3283961 w 3392054"/>
                    <a:gd name="connsiteY3" fmla="*/ 74337 h 86733"/>
                    <a:gd name="connsiteX4" fmla="*/ 3229435 w 3392054"/>
                    <a:gd name="connsiteY4" fmla="*/ 79598 h 86733"/>
                    <a:gd name="connsiteX5" fmla="*/ 3175866 w 3392054"/>
                    <a:gd name="connsiteY5" fmla="*/ 77206 h 86733"/>
                    <a:gd name="connsiteX6" fmla="*/ 3121341 w 3392054"/>
                    <a:gd name="connsiteY6" fmla="*/ 75771 h 86733"/>
                    <a:gd name="connsiteX7" fmla="*/ 3066816 w 3392054"/>
                    <a:gd name="connsiteY7" fmla="*/ 74337 h 86733"/>
                    <a:gd name="connsiteX8" fmla="*/ 3013247 w 3392054"/>
                    <a:gd name="connsiteY8" fmla="*/ 81989 h 86733"/>
                    <a:gd name="connsiteX9" fmla="*/ 2958721 w 3392054"/>
                    <a:gd name="connsiteY9" fmla="*/ 76728 h 86733"/>
                    <a:gd name="connsiteX10" fmla="*/ 2905152 w 3392054"/>
                    <a:gd name="connsiteY10" fmla="*/ 78163 h 86733"/>
                    <a:gd name="connsiteX11" fmla="*/ 2850627 w 3392054"/>
                    <a:gd name="connsiteY11" fmla="*/ 78163 h 86733"/>
                    <a:gd name="connsiteX12" fmla="*/ 2796102 w 3392054"/>
                    <a:gd name="connsiteY12" fmla="*/ 76728 h 86733"/>
                    <a:gd name="connsiteX13" fmla="*/ 2742533 w 3392054"/>
                    <a:gd name="connsiteY13" fmla="*/ 76728 h 86733"/>
                    <a:gd name="connsiteX14" fmla="*/ 2688007 w 3392054"/>
                    <a:gd name="connsiteY14" fmla="*/ 78163 h 86733"/>
                    <a:gd name="connsiteX15" fmla="*/ 2634439 w 3392054"/>
                    <a:gd name="connsiteY15" fmla="*/ 75771 h 86733"/>
                    <a:gd name="connsiteX16" fmla="*/ 2579913 w 3392054"/>
                    <a:gd name="connsiteY16" fmla="*/ 81033 h 86733"/>
                    <a:gd name="connsiteX17" fmla="*/ 2525388 w 3392054"/>
                    <a:gd name="connsiteY17" fmla="*/ 74815 h 86733"/>
                    <a:gd name="connsiteX18" fmla="*/ 2470862 w 3392054"/>
                    <a:gd name="connsiteY18" fmla="*/ 76250 h 86733"/>
                    <a:gd name="connsiteX19" fmla="*/ 2417293 w 3392054"/>
                    <a:gd name="connsiteY19" fmla="*/ 80076 h 86733"/>
                    <a:gd name="connsiteX20" fmla="*/ 2362768 w 3392054"/>
                    <a:gd name="connsiteY20" fmla="*/ 82468 h 86733"/>
                    <a:gd name="connsiteX21" fmla="*/ 2308243 w 3392054"/>
                    <a:gd name="connsiteY21" fmla="*/ 74815 h 86733"/>
                    <a:gd name="connsiteX22" fmla="*/ 2254674 w 3392054"/>
                    <a:gd name="connsiteY22" fmla="*/ 77206 h 86733"/>
                    <a:gd name="connsiteX23" fmla="*/ 2200148 w 3392054"/>
                    <a:gd name="connsiteY23" fmla="*/ 82468 h 86733"/>
                    <a:gd name="connsiteX24" fmla="*/ 2145623 w 3392054"/>
                    <a:gd name="connsiteY24" fmla="*/ 74815 h 86733"/>
                    <a:gd name="connsiteX25" fmla="*/ 2092054 w 3392054"/>
                    <a:gd name="connsiteY25" fmla="*/ 77206 h 86733"/>
                    <a:gd name="connsiteX26" fmla="*/ 2037529 w 3392054"/>
                    <a:gd name="connsiteY26" fmla="*/ 78641 h 86733"/>
                    <a:gd name="connsiteX27" fmla="*/ 1983003 w 3392054"/>
                    <a:gd name="connsiteY27" fmla="*/ 77206 h 86733"/>
                    <a:gd name="connsiteX28" fmla="*/ 1929435 w 3392054"/>
                    <a:gd name="connsiteY28" fmla="*/ 79598 h 86733"/>
                    <a:gd name="connsiteX29" fmla="*/ 1874909 w 3392054"/>
                    <a:gd name="connsiteY29" fmla="*/ 77206 h 86733"/>
                    <a:gd name="connsiteX30" fmla="*/ 1820384 w 3392054"/>
                    <a:gd name="connsiteY30" fmla="*/ 78641 h 86733"/>
                    <a:gd name="connsiteX31" fmla="*/ 1765858 w 3392054"/>
                    <a:gd name="connsiteY31" fmla="*/ 76250 h 86733"/>
                    <a:gd name="connsiteX32" fmla="*/ 1712289 w 3392054"/>
                    <a:gd name="connsiteY32" fmla="*/ 78641 h 86733"/>
                    <a:gd name="connsiteX33" fmla="*/ 1657764 w 3392054"/>
                    <a:gd name="connsiteY33" fmla="*/ 81033 h 86733"/>
                    <a:gd name="connsiteX34" fmla="*/ 1603238 w 3392054"/>
                    <a:gd name="connsiteY34" fmla="*/ 82468 h 86733"/>
                    <a:gd name="connsiteX35" fmla="*/ 1549670 w 3392054"/>
                    <a:gd name="connsiteY35" fmla="*/ 81033 h 86733"/>
                    <a:gd name="connsiteX36" fmla="*/ 1495144 w 3392054"/>
                    <a:gd name="connsiteY36" fmla="*/ 77206 h 86733"/>
                    <a:gd name="connsiteX37" fmla="*/ 1440619 w 3392054"/>
                    <a:gd name="connsiteY37" fmla="*/ 79598 h 86733"/>
                    <a:gd name="connsiteX38" fmla="*/ 1387050 w 3392054"/>
                    <a:gd name="connsiteY38" fmla="*/ 79598 h 86733"/>
                    <a:gd name="connsiteX39" fmla="*/ 1332525 w 3392054"/>
                    <a:gd name="connsiteY39" fmla="*/ 79598 h 86733"/>
                    <a:gd name="connsiteX40" fmla="*/ 1277999 w 3392054"/>
                    <a:gd name="connsiteY40" fmla="*/ 75771 h 86733"/>
                    <a:gd name="connsiteX41" fmla="*/ 1224430 w 3392054"/>
                    <a:gd name="connsiteY41" fmla="*/ 74337 h 86733"/>
                    <a:gd name="connsiteX42" fmla="*/ 1169905 w 3392054"/>
                    <a:gd name="connsiteY42" fmla="*/ 80554 h 86733"/>
                    <a:gd name="connsiteX43" fmla="*/ 1116336 w 3392054"/>
                    <a:gd name="connsiteY43" fmla="*/ 76728 h 86733"/>
                    <a:gd name="connsiteX44" fmla="*/ 1061811 w 3392054"/>
                    <a:gd name="connsiteY44" fmla="*/ 80554 h 86733"/>
                    <a:gd name="connsiteX45" fmla="*/ 1018286 w 3392054"/>
                    <a:gd name="connsiteY45" fmla="*/ 59031 h 86733"/>
                    <a:gd name="connsiteX46" fmla="*/ 973327 w 3392054"/>
                    <a:gd name="connsiteY46" fmla="*/ 41334 h 86733"/>
                    <a:gd name="connsiteX47" fmla="*/ 929802 w 3392054"/>
                    <a:gd name="connsiteY47" fmla="*/ 22203 h 86733"/>
                    <a:gd name="connsiteX48" fmla="*/ 887712 w 3392054"/>
                    <a:gd name="connsiteY48" fmla="*/ 5941 h 86733"/>
                    <a:gd name="connsiteX49" fmla="*/ 911148 w 3392054"/>
                    <a:gd name="connsiteY49" fmla="*/ 38943 h 86733"/>
                    <a:gd name="connsiteX50" fmla="*/ 929802 w 3392054"/>
                    <a:gd name="connsiteY50" fmla="*/ 79119 h 86733"/>
                    <a:gd name="connsiteX51" fmla="*/ 877668 w 3392054"/>
                    <a:gd name="connsiteY51" fmla="*/ 52813 h 86733"/>
                    <a:gd name="connsiteX52" fmla="*/ 826491 w 3392054"/>
                    <a:gd name="connsiteY52" fmla="*/ 26507 h 86733"/>
                    <a:gd name="connsiteX53" fmla="*/ 772922 w 3392054"/>
                    <a:gd name="connsiteY53" fmla="*/ 2593 h 86733"/>
                    <a:gd name="connsiteX54" fmla="*/ 793967 w 3392054"/>
                    <a:gd name="connsiteY54" fmla="*/ 40378 h 86733"/>
                    <a:gd name="connsiteX55" fmla="*/ 811185 w 3392054"/>
                    <a:gd name="connsiteY55" fmla="*/ 78163 h 86733"/>
                    <a:gd name="connsiteX56" fmla="*/ 756660 w 3392054"/>
                    <a:gd name="connsiteY56" fmla="*/ 76728 h 86733"/>
                    <a:gd name="connsiteX57" fmla="*/ 703091 w 3392054"/>
                    <a:gd name="connsiteY57" fmla="*/ 74337 h 86733"/>
                    <a:gd name="connsiteX58" fmla="*/ 648565 w 3392054"/>
                    <a:gd name="connsiteY58" fmla="*/ 78163 h 86733"/>
                    <a:gd name="connsiteX59" fmla="*/ 594997 w 3392054"/>
                    <a:gd name="connsiteY59" fmla="*/ 74337 h 86733"/>
                    <a:gd name="connsiteX60" fmla="*/ 540471 w 3392054"/>
                    <a:gd name="connsiteY60" fmla="*/ 78163 h 86733"/>
                    <a:gd name="connsiteX61" fmla="*/ 486902 w 3392054"/>
                    <a:gd name="connsiteY61" fmla="*/ 79598 h 86733"/>
                    <a:gd name="connsiteX62" fmla="*/ 432377 w 3392054"/>
                    <a:gd name="connsiteY62" fmla="*/ 75771 h 86733"/>
                    <a:gd name="connsiteX63" fmla="*/ 378808 w 3392054"/>
                    <a:gd name="connsiteY63" fmla="*/ 77206 h 86733"/>
                    <a:gd name="connsiteX64" fmla="*/ 324283 w 3392054"/>
                    <a:gd name="connsiteY64" fmla="*/ 78641 h 86733"/>
                    <a:gd name="connsiteX65" fmla="*/ 270714 w 3392054"/>
                    <a:gd name="connsiteY65" fmla="*/ 80076 h 86733"/>
                    <a:gd name="connsiteX66" fmla="*/ 216189 w 3392054"/>
                    <a:gd name="connsiteY66" fmla="*/ 80076 h 86733"/>
                    <a:gd name="connsiteX67" fmla="*/ 162620 w 3392054"/>
                    <a:gd name="connsiteY67" fmla="*/ 78641 h 86733"/>
                    <a:gd name="connsiteX68" fmla="*/ 108094 w 3392054"/>
                    <a:gd name="connsiteY68" fmla="*/ 78641 h 86733"/>
                    <a:gd name="connsiteX69" fmla="*/ 54525 w 3392054"/>
                    <a:gd name="connsiteY69" fmla="*/ 77206 h 86733"/>
                    <a:gd name="connsiteX70" fmla="*/ 0 w 3392054"/>
                    <a:gd name="connsiteY70" fmla="*/ 75771 h 86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3392054" h="86733">
                      <a:moveTo>
                        <a:pt x="3392055" y="76728"/>
                      </a:moveTo>
                      <a:lnTo>
                        <a:pt x="3392055" y="76728"/>
                      </a:lnTo>
                      <a:cubicBezTo>
                        <a:pt x="3374836" y="76728"/>
                        <a:pt x="3356183" y="78163"/>
                        <a:pt x="3338486" y="78163"/>
                      </a:cubicBezTo>
                      <a:cubicBezTo>
                        <a:pt x="3319833" y="78163"/>
                        <a:pt x="3302614" y="74337"/>
                        <a:pt x="3283961" y="74337"/>
                      </a:cubicBezTo>
                      <a:cubicBezTo>
                        <a:pt x="3266742" y="74337"/>
                        <a:pt x="3248089" y="79598"/>
                        <a:pt x="3229435" y="79598"/>
                      </a:cubicBezTo>
                      <a:cubicBezTo>
                        <a:pt x="3212217" y="79598"/>
                        <a:pt x="3193563" y="77206"/>
                        <a:pt x="3175866" y="77206"/>
                      </a:cubicBezTo>
                      <a:cubicBezTo>
                        <a:pt x="3157213" y="77206"/>
                        <a:pt x="3139994" y="75771"/>
                        <a:pt x="3121341" y="75771"/>
                      </a:cubicBezTo>
                      <a:cubicBezTo>
                        <a:pt x="3104122" y="75771"/>
                        <a:pt x="3085469" y="74337"/>
                        <a:pt x="3066816" y="74337"/>
                      </a:cubicBezTo>
                      <a:cubicBezTo>
                        <a:pt x="3049597" y="74337"/>
                        <a:pt x="3030944" y="81989"/>
                        <a:pt x="3013247" y="81989"/>
                      </a:cubicBezTo>
                      <a:cubicBezTo>
                        <a:pt x="2994593" y="81989"/>
                        <a:pt x="2977375" y="76728"/>
                        <a:pt x="2958721" y="76728"/>
                      </a:cubicBezTo>
                      <a:cubicBezTo>
                        <a:pt x="2941503" y="76728"/>
                        <a:pt x="2922849" y="78163"/>
                        <a:pt x="2905152" y="78163"/>
                      </a:cubicBezTo>
                      <a:cubicBezTo>
                        <a:pt x="2886499" y="78163"/>
                        <a:pt x="2869280" y="78163"/>
                        <a:pt x="2850627" y="78163"/>
                      </a:cubicBezTo>
                      <a:cubicBezTo>
                        <a:pt x="2833408" y="78163"/>
                        <a:pt x="2814755" y="76728"/>
                        <a:pt x="2796102" y="76728"/>
                      </a:cubicBezTo>
                      <a:cubicBezTo>
                        <a:pt x="2778883" y="76728"/>
                        <a:pt x="2760230" y="76728"/>
                        <a:pt x="2742533" y="76728"/>
                      </a:cubicBezTo>
                      <a:cubicBezTo>
                        <a:pt x="2723879" y="76728"/>
                        <a:pt x="2706661" y="78163"/>
                        <a:pt x="2688007" y="78163"/>
                      </a:cubicBezTo>
                      <a:cubicBezTo>
                        <a:pt x="2670789" y="78163"/>
                        <a:pt x="2652135" y="75771"/>
                        <a:pt x="2634439" y="75771"/>
                      </a:cubicBezTo>
                      <a:cubicBezTo>
                        <a:pt x="2615785" y="75771"/>
                        <a:pt x="2597132" y="81033"/>
                        <a:pt x="2579913" y="81033"/>
                      </a:cubicBezTo>
                      <a:cubicBezTo>
                        <a:pt x="2561260" y="81033"/>
                        <a:pt x="2544041" y="74815"/>
                        <a:pt x="2525388" y="74815"/>
                      </a:cubicBezTo>
                      <a:cubicBezTo>
                        <a:pt x="2508169" y="74815"/>
                        <a:pt x="2489516" y="76250"/>
                        <a:pt x="2470862" y="76250"/>
                      </a:cubicBezTo>
                      <a:cubicBezTo>
                        <a:pt x="2453644" y="76250"/>
                        <a:pt x="2434990" y="80076"/>
                        <a:pt x="2417293" y="80076"/>
                      </a:cubicBezTo>
                      <a:cubicBezTo>
                        <a:pt x="2398640" y="80076"/>
                        <a:pt x="2381421" y="82468"/>
                        <a:pt x="2362768" y="82468"/>
                      </a:cubicBezTo>
                      <a:cubicBezTo>
                        <a:pt x="2344115" y="82468"/>
                        <a:pt x="2326896" y="74815"/>
                        <a:pt x="2308243" y="74815"/>
                      </a:cubicBezTo>
                      <a:cubicBezTo>
                        <a:pt x="2291024" y="74815"/>
                        <a:pt x="2272371" y="77206"/>
                        <a:pt x="2254674" y="77206"/>
                      </a:cubicBezTo>
                      <a:cubicBezTo>
                        <a:pt x="2236020" y="77206"/>
                        <a:pt x="2217367" y="82468"/>
                        <a:pt x="2200148" y="82468"/>
                      </a:cubicBezTo>
                      <a:cubicBezTo>
                        <a:pt x="2181495" y="82468"/>
                        <a:pt x="2164276" y="74815"/>
                        <a:pt x="2145623" y="74815"/>
                      </a:cubicBezTo>
                      <a:cubicBezTo>
                        <a:pt x="2128405" y="74815"/>
                        <a:pt x="2109751" y="77206"/>
                        <a:pt x="2092054" y="77206"/>
                      </a:cubicBezTo>
                      <a:cubicBezTo>
                        <a:pt x="2073401" y="77206"/>
                        <a:pt x="2054747" y="78641"/>
                        <a:pt x="2037529" y="78641"/>
                      </a:cubicBezTo>
                      <a:cubicBezTo>
                        <a:pt x="2018875" y="78641"/>
                        <a:pt x="2001657" y="77206"/>
                        <a:pt x="1983003" y="77206"/>
                      </a:cubicBezTo>
                      <a:cubicBezTo>
                        <a:pt x="1965785" y="77206"/>
                        <a:pt x="1947131" y="79598"/>
                        <a:pt x="1929435" y="79598"/>
                      </a:cubicBezTo>
                      <a:cubicBezTo>
                        <a:pt x="1910781" y="79598"/>
                        <a:pt x="1892128" y="77206"/>
                        <a:pt x="1874909" y="77206"/>
                      </a:cubicBezTo>
                      <a:cubicBezTo>
                        <a:pt x="1856256" y="77206"/>
                        <a:pt x="1839037" y="78641"/>
                        <a:pt x="1820384" y="78641"/>
                      </a:cubicBezTo>
                      <a:cubicBezTo>
                        <a:pt x="1801730" y="78641"/>
                        <a:pt x="1784512" y="76250"/>
                        <a:pt x="1765858" y="76250"/>
                      </a:cubicBezTo>
                      <a:cubicBezTo>
                        <a:pt x="1748640" y="76250"/>
                        <a:pt x="1729986" y="78641"/>
                        <a:pt x="1712289" y="78641"/>
                      </a:cubicBezTo>
                      <a:cubicBezTo>
                        <a:pt x="1693636" y="78641"/>
                        <a:pt x="1674982" y="81033"/>
                        <a:pt x="1657764" y="81033"/>
                      </a:cubicBezTo>
                      <a:cubicBezTo>
                        <a:pt x="1639110" y="81033"/>
                        <a:pt x="1621892" y="82468"/>
                        <a:pt x="1603238" y="82468"/>
                      </a:cubicBezTo>
                      <a:cubicBezTo>
                        <a:pt x="1584585" y="82468"/>
                        <a:pt x="1567366" y="81033"/>
                        <a:pt x="1549670" y="81033"/>
                      </a:cubicBezTo>
                      <a:cubicBezTo>
                        <a:pt x="1531016" y="81033"/>
                        <a:pt x="1512363" y="77206"/>
                        <a:pt x="1495144" y="77206"/>
                      </a:cubicBezTo>
                      <a:cubicBezTo>
                        <a:pt x="1476491" y="77206"/>
                        <a:pt x="1459272" y="79598"/>
                        <a:pt x="1440619" y="79598"/>
                      </a:cubicBezTo>
                      <a:cubicBezTo>
                        <a:pt x="1421965" y="79598"/>
                        <a:pt x="1404747" y="79598"/>
                        <a:pt x="1387050" y="79598"/>
                      </a:cubicBezTo>
                      <a:cubicBezTo>
                        <a:pt x="1368397" y="79598"/>
                        <a:pt x="1349743" y="79598"/>
                        <a:pt x="1332525" y="79598"/>
                      </a:cubicBezTo>
                      <a:cubicBezTo>
                        <a:pt x="1313871" y="79598"/>
                        <a:pt x="1295218" y="75771"/>
                        <a:pt x="1277999" y="75771"/>
                      </a:cubicBezTo>
                      <a:cubicBezTo>
                        <a:pt x="1259346" y="75771"/>
                        <a:pt x="1240692" y="74337"/>
                        <a:pt x="1224430" y="74337"/>
                      </a:cubicBezTo>
                      <a:cubicBezTo>
                        <a:pt x="1204342" y="74337"/>
                        <a:pt x="1185689" y="80554"/>
                        <a:pt x="1169905" y="80554"/>
                      </a:cubicBezTo>
                      <a:cubicBezTo>
                        <a:pt x="1148860" y="80554"/>
                        <a:pt x="1131163" y="76728"/>
                        <a:pt x="1116336" y="76728"/>
                      </a:cubicBezTo>
                      <a:cubicBezTo>
                        <a:pt x="1080464" y="76728"/>
                        <a:pt x="1086682" y="88207"/>
                        <a:pt x="1061811" y="80554"/>
                      </a:cubicBezTo>
                      <a:cubicBezTo>
                        <a:pt x="1038374" y="72902"/>
                        <a:pt x="1040766" y="68119"/>
                        <a:pt x="1018286" y="59031"/>
                      </a:cubicBezTo>
                      <a:cubicBezTo>
                        <a:pt x="995806" y="48987"/>
                        <a:pt x="995806" y="51378"/>
                        <a:pt x="973327" y="41334"/>
                      </a:cubicBezTo>
                      <a:cubicBezTo>
                        <a:pt x="950847" y="32725"/>
                        <a:pt x="952282" y="31290"/>
                        <a:pt x="929802" y="22203"/>
                      </a:cubicBezTo>
                      <a:cubicBezTo>
                        <a:pt x="907322" y="13593"/>
                        <a:pt x="906365" y="-10800"/>
                        <a:pt x="887712" y="5941"/>
                      </a:cubicBezTo>
                      <a:cubicBezTo>
                        <a:pt x="871450" y="19811"/>
                        <a:pt x="900148" y="19811"/>
                        <a:pt x="911148" y="38943"/>
                      </a:cubicBezTo>
                      <a:cubicBezTo>
                        <a:pt x="921193" y="58075"/>
                        <a:pt x="949890" y="70510"/>
                        <a:pt x="929802" y="79119"/>
                      </a:cubicBezTo>
                      <a:cubicBezTo>
                        <a:pt x="903496" y="90599"/>
                        <a:pt x="903496" y="65249"/>
                        <a:pt x="877668" y="52813"/>
                      </a:cubicBezTo>
                      <a:cubicBezTo>
                        <a:pt x="851362" y="40378"/>
                        <a:pt x="852797" y="38943"/>
                        <a:pt x="826491" y="26507"/>
                      </a:cubicBezTo>
                      <a:cubicBezTo>
                        <a:pt x="800184" y="14072"/>
                        <a:pt x="800184" y="-7452"/>
                        <a:pt x="772922" y="2593"/>
                      </a:cubicBezTo>
                      <a:cubicBezTo>
                        <a:pt x="754268" y="10245"/>
                        <a:pt x="783922" y="21724"/>
                        <a:pt x="793967" y="40378"/>
                      </a:cubicBezTo>
                      <a:cubicBezTo>
                        <a:pt x="802576" y="58075"/>
                        <a:pt x="825056" y="62858"/>
                        <a:pt x="811185" y="78163"/>
                      </a:cubicBezTo>
                      <a:cubicBezTo>
                        <a:pt x="792532" y="98251"/>
                        <a:pt x="783922" y="76728"/>
                        <a:pt x="756660" y="76728"/>
                      </a:cubicBezTo>
                      <a:cubicBezTo>
                        <a:pt x="729397" y="76728"/>
                        <a:pt x="729397" y="74337"/>
                        <a:pt x="703091" y="74337"/>
                      </a:cubicBezTo>
                      <a:cubicBezTo>
                        <a:pt x="675828" y="74337"/>
                        <a:pt x="675828" y="78163"/>
                        <a:pt x="648565" y="78163"/>
                      </a:cubicBezTo>
                      <a:cubicBezTo>
                        <a:pt x="621303" y="78163"/>
                        <a:pt x="621303" y="74337"/>
                        <a:pt x="594997" y="74337"/>
                      </a:cubicBezTo>
                      <a:cubicBezTo>
                        <a:pt x="567734" y="74337"/>
                        <a:pt x="567734" y="78163"/>
                        <a:pt x="540471" y="78163"/>
                      </a:cubicBezTo>
                      <a:cubicBezTo>
                        <a:pt x="513209" y="78163"/>
                        <a:pt x="513209" y="79598"/>
                        <a:pt x="486902" y="79598"/>
                      </a:cubicBezTo>
                      <a:cubicBezTo>
                        <a:pt x="459640" y="79598"/>
                        <a:pt x="459640" y="75771"/>
                        <a:pt x="432377" y="75771"/>
                      </a:cubicBezTo>
                      <a:cubicBezTo>
                        <a:pt x="405114" y="75771"/>
                        <a:pt x="405114" y="77206"/>
                        <a:pt x="378808" y="77206"/>
                      </a:cubicBezTo>
                      <a:cubicBezTo>
                        <a:pt x="351545" y="77206"/>
                        <a:pt x="351545" y="78641"/>
                        <a:pt x="324283" y="78641"/>
                      </a:cubicBezTo>
                      <a:cubicBezTo>
                        <a:pt x="297020" y="78641"/>
                        <a:pt x="297020" y="80076"/>
                        <a:pt x="270714" y="80076"/>
                      </a:cubicBezTo>
                      <a:cubicBezTo>
                        <a:pt x="243451" y="80076"/>
                        <a:pt x="243451" y="80076"/>
                        <a:pt x="216189" y="80076"/>
                      </a:cubicBezTo>
                      <a:cubicBezTo>
                        <a:pt x="188926" y="80076"/>
                        <a:pt x="188926" y="78641"/>
                        <a:pt x="162620" y="78641"/>
                      </a:cubicBezTo>
                      <a:cubicBezTo>
                        <a:pt x="135357" y="78641"/>
                        <a:pt x="135357" y="78641"/>
                        <a:pt x="108094" y="78641"/>
                      </a:cubicBezTo>
                      <a:cubicBezTo>
                        <a:pt x="80832" y="78641"/>
                        <a:pt x="80832" y="77206"/>
                        <a:pt x="54525" y="77206"/>
                      </a:cubicBezTo>
                      <a:cubicBezTo>
                        <a:pt x="27263" y="77206"/>
                        <a:pt x="27263" y="75771"/>
                        <a:pt x="0" y="75771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1" name="Freeform: Shape 470">
                  <a:extLst>
                    <a:ext uri="{FF2B5EF4-FFF2-40B4-BE49-F238E27FC236}">
                      <a16:creationId xmlns:a16="http://schemas.microsoft.com/office/drawing/2014/main" id="{3361ABED-0887-082A-78D2-DE5A48DAF32F}"/>
                    </a:ext>
                  </a:extLst>
                </p:cNvPr>
                <p:cNvSpPr/>
                <p:nvPr/>
              </p:nvSpPr>
              <p:spPr>
                <a:xfrm>
                  <a:off x="4997877" y="6106374"/>
                  <a:ext cx="779444" cy="2478"/>
                </a:xfrm>
                <a:custGeom>
                  <a:avLst/>
                  <a:gdLst>
                    <a:gd name="connsiteX0" fmla="*/ 1955263 w 1955262"/>
                    <a:gd name="connsiteY0" fmla="*/ 4305 h 6217"/>
                    <a:gd name="connsiteX1" fmla="*/ 1955263 w 1955262"/>
                    <a:gd name="connsiteY1" fmla="*/ 4305 h 6217"/>
                    <a:gd name="connsiteX2" fmla="*/ 1904085 w 1955262"/>
                    <a:gd name="connsiteY2" fmla="*/ 1913 h 6217"/>
                    <a:gd name="connsiteX3" fmla="*/ 417072 w 1955262"/>
                    <a:gd name="connsiteY3" fmla="*/ 3348 h 6217"/>
                    <a:gd name="connsiteX4" fmla="*/ 364938 w 1955262"/>
                    <a:gd name="connsiteY4" fmla="*/ 4783 h 6217"/>
                    <a:gd name="connsiteX5" fmla="*/ 312804 w 1955262"/>
                    <a:gd name="connsiteY5" fmla="*/ 2392 h 6217"/>
                    <a:gd name="connsiteX6" fmla="*/ 260670 w 1955262"/>
                    <a:gd name="connsiteY6" fmla="*/ 2392 h 6217"/>
                    <a:gd name="connsiteX7" fmla="*/ 208536 w 1955262"/>
                    <a:gd name="connsiteY7" fmla="*/ 0 h 6217"/>
                    <a:gd name="connsiteX8" fmla="*/ 156402 w 1955262"/>
                    <a:gd name="connsiteY8" fmla="*/ 6218 h 6217"/>
                    <a:gd name="connsiteX9" fmla="*/ 104268 w 1955262"/>
                    <a:gd name="connsiteY9" fmla="*/ 4783 h 6217"/>
                    <a:gd name="connsiteX10" fmla="*/ 52134 w 1955262"/>
                    <a:gd name="connsiteY10" fmla="*/ 6218 h 6217"/>
                    <a:gd name="connsiteX11" fmla="*/ 0 w 1955262"/>
                    <a:gd name="connsiteY11" fmla="*/ 0 h 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55262" h="6217">
                      <a:moveTo>
                        <a:pt x="1955263" y="4305"/>
                      </a:moveTo>
                      <a:lnTo>
                        <a:pt x="1955263" y="4305"/>
                      </a:lnTo>
                      <a:cubicBezTo>
                        <a:pt x="1951436" y="4305"/>
                        <a:pt x="1932783" y="1913"/>
                        <a:pt x="1904085" y="1913"/>
                      </a:cubicBezTo>
                      <a:cubicBezTo>
                        <a:pt x="1889258" y="1913"/>
                        <a:pt x="436682" y="3348"/>
                        <a:pt x="417072" y="3348"/>
                      </a:cubicBezTo>
                      <a:cubicBezTo>
                        <a:pt x="400810" y="3348"/>
                        <a:pt x="383591" y="4783"/>
                        <a:pt x="364938" y="4783"/>
                      </a:cubicBezTo>
                      <a:cubicBezTo>
                        <a:pt x="348676" y="4783"/>
                        <a:pt x="331457" y="2392"/>
                        <a:pt x="312804" y="2392"/>
                      </a:cubicBezTo>
                      <a:cubicBezTo>
                        <a:pt x="296542" y="2392"/>
                        <a:pt x="279323" y="2392"/>
                        <a:pt x="260670" y="2392"/>
                      </a:cubicBezTo>
                      <a:cubicBezTo>
                        <a:pt x="243451" y="2392"/>
                        <a:pt x="227189" y="0"/>
                        <a:pt x="208536" y="0"/>
                      </a:cubicBezTo>
                      <a:cubicBezTo>
                        <a:pt x="191317" y="0"/>
                        <a:pt x="173621" y="6218"/>
                        <a:pt x="156402" y="6218"/>
                      </a:cubicBezTo>
                      <a:cubicBezTo>
                        <a:pt x="139183" y="6218"/>
                        <a:pt x="121486" y="4783"/>
                        <a:pt x="104268" y="4783"/>
                      </a:cubicBezTo>
                      <a:cubicBezTo>
                        <a:pt x="87050" y="4783"/>
                        <a:pt x="69353" y="6218"/>
                        <a:pt x="52134" y="6218"/>
                      </a:cubicBezTo>
                      <a:cubicBezTo>
                        <a:pt x="34916" y="6218"/>
                        <a:pt x="1721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2" name="Freeform: Shape 471">
                  <a:extLst>
                    <a:ext uri="{FF2B5EF4-FFF2-40B4-BE49-F238E27FC236}">
                      <a16:creationId xmlns:a16="http://schemas.microsoft.com/office/drawing/2014/main" id="{70CC973D-4D93-82C1-32E8-BB33F2217A32}"/>
                    </a:ext>
                  </a:extLst>
                </p:cNvPr>
                <p:cNvSpPr/>
                <p:nvPr/>
              </p:nvSpPr>
              <p:spPr>
                <a:xfrm>
                  <a:off x="4429656" y="5278402"/>
                  <a:ext cx="265244" cy="208149"/>
                </a:xfrm>
                <a:custGeom>
                  <a:avLst/>
                  <a:gdLst>
                    <a:gd name="connsiteX0" fmla="*/ 41700 w 665374"/>
                    <a:gd name="connsiteY0" fmla="*/ 10293 h 522150"/>
                    <a:gd name="connsiteX1" fmla="*/ 292326 w 665374"/>
                    <a:gd name="connsiteY1" fmla="*/ 197305 h 522150"/>
                    <a:gd name="connsiteX2" fmla="*/ 536255 w 665374"/>
                    <a:gd name="connsiteY2" fmla="*/ 362795 h 522150"/>
                    <a:gd name="connsiteX3" fmla="*/ 642436 w 665374"/>
                    <a:gd name="connsiteY3" fmla="*/ 465628 h 522150"/>
                    <a:gd name="connsiteX4" fmla="*/ 638610 w 665374"/>
                    <a:gd name="connsiteY4" fmla="*/ 492412 h 522150"/>
                    <a:gd name="connsiteX5" fmla="*/ 618522 w 665374"/>
                    <a:gd name="connsiteY5" fmla="*/ 509152 h 522150"/>
                    <a:gd name="connsiteX6" fmla="*/ 582650 w 665374"/>
                    <a:gd name="connsiteY6" fmla="*/ 506283 h 522150"/>
                    <a:gd name="connsiteX7" fmla="*/ 507558 w 665374"/>
                    <a:gd name="connsiteY7" fmla="*/ 479020 h 522150"/>
                    <a:gd name="connsiteX8" fmla="*/ 278934 w 665374"/>
                    <a:gd name="connsiteY8" fmla="*/ 346533 h 522150"/>
                    <a:gd name="connsiteX9" fmla="*/ 7741 w 665374"/>
                    <a:gd name="connsiteY9" fmla="*/ 195392 h 522150"/>
                    <a:gd name="connsiteX10" fmla="*/ 2480 w 665374"/>
                    <a:gd name="connsiteY10" fmla="*/ 204480 h 522150"/>
                    <a:gd name="connsiteX11" fmla="*/ 282760 w 665374"/>
                    <a:gd name="connsiteY11" fmla="*/ 360403 h 522150"/>
                    <a:gd name="connsiteX12" fmla="*/ 413334 w 665374"/>
                    <a:gd name="connsiteY12" fmla="*/ 434539 h 522150"/>
                    <a:gd name="connsiteX13" fmla="*/ 543908 w 665374"/>
                    <a:gd name="connsiteY13" fmla="*/ 506283 h 522150"/>
                    <a:gd name="connsiteX14" fmla="*/ 658220 w 665374"/>
                    <a:gd name="connsiteY14" fmla="*/ 510109 h 522150"/>
                    <a:gd name="connsiteX15" fmla="*/ 629522 w 665374"/>
                    <a:gd name="connsiteY15" fmla="*/ 432147 h 522150"/>
                    <a:gd name="connsiteX16" fmla="*/ 376505 w 665374"/>
                    <a:gd name="connsiteY16" fmla="*/ 243222 h 522150"/>
                    <a:gd name="connsiteX17" fmla="*/ 46483 w 665374"/>
                    <a:gd name="connsiteY17" fmla="*/ 727 h 522150"/>
                    <a:gd name="connsiteX18" fmla="*/ 41700 w 665374"/>
                    <a:gd name="connsiteY18" fmla="*/ 10293 h 522150"/>
                    <a:gd name="connsiteX19" fmla="*/ 41700 w 665374"/>
                    <a:gd name="connsiteY19" fmla="*/ 10293 h 52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5374" h="522150">
                      <a:moveTo>
                        <a:pt x="41700" y="10293"/>
                      </a:moveTo>
                      <a:cubicBezTo>
                        <a:pt x="124445" y="73906"/>
                        <a:pt x="207190" y="137041"/>
                        <a:pt x="292326" y="197305"/>
                      </a:cubicBezTo>
                      <a:cubicBezTo>
                        <a:pt x="372201" y="254222"/>
                        <a:pt x="457337" y="304443"/>
                        <a:pt x="536255" y="362795"/>
                      </a:cubicBezTo>
                      <a:cubicBezTo>
                        <a:pt x="575954" y="391971"/>
                        <a:pt x="614217" y="424973"/>
                        <a:pt x="642436" y="465628"/>
                      </a:cubicBezTo>
                      <a:cubicBezTo>
                        <a:pt x="651524" y="479020"/>
                        <a:pt x="650089" y="474237"/>
                        <a:pt x="638610" y="492412"/>
                      </a:cubicBezTo>
                      <a:cubicBezTo>
                        <a:pt x="625218" y="513935"/>
                        <a:pt x="633827" y="506761"/>
                        <a:pt x="618522" y="509152"/>
                      </a:cubicBezTo>
                      <a:cubicBezTo>
                        <a:pt x="607521" y="511066"/>
                        <a:pt x="593172" y="508196"/>
                        <a:pt x="582650" y="506283"/>
                      </a:cubicBezTo>
                      <a:cubicBezTo>
                        <a:pt x="556343" y="501500"/>
                        <a:pt x="531472" y="490977"/>
                        <a:pt x="507558" y="479020"/>
                      </a:cubicBezTo>
                      <a:cubicBezTo>
                        <a:pt x="429596" y="438843"/>
                        <a:pt x="356417" y="388623"/>
                        <a:pt x="278934" y="346533"/>
                      </a:cubicBezTo>
                      <a:cubicBezTo>
                        <a:pt x="188058" y="297269"/>
                        <a:pt x="95269" y="249918"/>
                        <a:pt x="7741" y="195392"/>
                      </a:cubicBezTo>
                      <a:cubicBezTo>
                        <a:pt x="2002" y="191566"/>
                        <a:pt x="-3259" y="200653"/>
                        <a:pt x="2480" y="204480"/>
                      </a:cubicBezTo>
                      <a:cubicBezTo>
                        <a:pt x="93356" y="261397"/>
                        <a:pt x="188536" y="309704"/>
                        <a:pt x="282760" y="360403"/>
                      </a:cubicBezTo>
                      <a:cubicBezTo>
                        <a:pt x="326763" y="384318"/>
                        <a:pt x="370766" y="408233"/>
                        <a:pt x="413334" y="434539"/>
                      </a:cubicBezTo>
                      <a:cubicBezTo>
                        <a:pt x="455424" y="460367"/>
                        <a:pt x="497035" y="489064"/>
                        <a:pt x="543908" y="506283"/>
                      </a:cubicBezTo>
                      <a:cubicBezTo>
                        <a:pt x="570214" y="515849"/>
                        <a:pt x="634784" y="534502"/>
                        <a:pt x="658220" y="510109"/>
                      </a:cubicBezTo>
                      <a:cubicBezTo>
                        <a:pt x="680700" y="486673"/>
                        <a:pt x="644349" y="449366"/>
                        <a:pt x="629522" y="432147"/>
                      </a:cubicBezTo>
                      <a:cubicBezTo>
                        <a:pt x="560648" y="352272"/>
                        <a:pt x="462598" y="301573"/>
                        <a:pt x="376505" y="243222"/>
                      </a:cubicBezTo>
                      <a:cubicBezTo>
                        <a:pt x="263628" y="166216"/>
                        <a:pt x="154577" y="83950"/>
                        <a:pt x="46483" y="727"/>
                      </a:cubicBezTo>
                      <a:cubicBezTo>
                        <a:pt x="41700" y="-2621"/>
                        <a:pt x="36439" y="6466"/>
                        <a:pt x="41700" y="10293"/>
                      </a:cubicBezTo>
                      <a:lnTo>
                        <a:pt x="41700" y="1029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73" name="Freeform: Shape 472">
                  <a:extLst>
                    <a:ext uri="{FF2B5EF4-FFF2-40B4-BE49-F238E27FC236}">
                      <a16:creationId xmlns:a16="http://schemas.microsoft.com/office/drawing/2014/main" id="{E1AB8F5D-9CB9-FD43-6BF4-065F711DEF62}"/>
                    </a:ext>
                  </a:extLst>
                </p:cNvPr>
                <p:cNvSpPr/>
                <p:nvPr/>
              </p:nvSpPr>
              <p:spPr>
                <a:xfrm>
                  <a:off x="4385783" y="5582565"/>
                  <a:ext cx="25172" cy="71311"/>
                </a:xfrm>
                <a:custGeom>
                  <a:avLst/>
                  <a:gdLst>
                    <a:gd name="connsiteX0" fmla="*/ 11617 w 63146"/>
                    <a:gd name="connsiteY0" fmla="*/ 172306 h 178886"/>
                    <a:gd name="connsiteX1" fmla="*/ 18792 w 63146"/>
                    <a:gd name="connsiteY1" fmla="*/ 132129 h 178886"/>
                    <a:gd name="connsiteX2" fmla="*/ 33619 w 63146"/>
                    <a:gd name="connsiteY2" fmla="*/ 89561 h 178886"/>
                    <a:gd name="connsiteX3" fmla="*/ 62795 w 63146"/>
                    <a:gd name="connsiteY3" fmla="*/ 6338 h 178886"/>
                    <a:gd name="connsiteX4" fmla="*/ 52751 w 63146"/>
                    <a:gd name="connsiteY4" fmla="*/ 3469 h 178886"/>
                    <a:gd name="connsiteX5" fmla="*/ 21183 w 63146"/>
                    <a:gd name="connsiteY5" fmla="*/ 93388 h 178886"/>
                    <a:gd name="connsiteX6" fmla="*/ 5878 w 63146"/>
                    <a:gd name="connsiteY6" fmla="*/ 137391 h 178886"/>
                    <a:gd name="connsiteX7" fmla="*/ 1573 w 63146"/>
                    <a:gd name="connsiteY7" fmla="*/ 175654 h 178886"/>
                    <a:gd name="connsiteX8" fmla="*/ 11617 w 63146"/>
                    <a:gd name="connsiteY8" fmla="*/ 172306 h 178886"/>
                    <a:gd name="connsiteX9" fmla="*/ 11617 w 63146"/>
                    <a:gd name="connsiteY9" fmla="*/ 172306 h 178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146" h="178886">
                      <a:moveTo>
                        <a:pt x="11617" y="172306"/>
                      </a:moveTo>
                      <a:cubicBezTo>
                        <a:pt x="7313" y="158436"/>
                        <a:pt x="14009" y="144565"/>
                        <a:pt x="18792" y="132129"/>
                      </a:cubicBezTo>
                      <a:cubicBezTo>
                        <a:pt x="23575" y="117781"/>
                        <a:pt x="28836" y="103910"/>
                        <a:pt x="33619" y="89561"/>
                      </a:cubicBezTo>
                      <a:cubicBezTo>
                        <a:pt x="43185" y="61820"/>
                        <a:pt x="53229" y="34079"/>
                        <a:pt x="62795" y="6338"/>
                      </a:cubicBezTo>
                      <a:cubicBezTo>
                        <a:pt x="65186" y="121"/>
                        <a:pt x="54664" y="-2749"/>
                        <a:pt x="52751" y="3469"/>
                      </a:cubicBezTo>
                      <a:cubicBezTo>
                        <a:pt x="42228" y="33601"/>
                        <a:pt x="31706" y="63255"/>
                        <a:pt x="21183" y="93388"/>
                      </a:cubicBezTo>
                      <a:cubicBezTo>
                        <a:pt x="15922" y="108215"/>
                        <a:pt x="10661" y="122564"/>
                        <a:pt x="5878" y="137391"/>
                      </a:cubicBezTo>
                      <a:cubicBezTo>
                        <a:pt x="1573" y="149826"/>
                        <a:pt x="-2253" y="162262"/>
                        <a:pt x="1573" y="175654"/>
                      </a:cubicBezTo>
                      <a:cubicBezTo>
                        <a:pt x="3486" y="181394"/>
                        <a:pt x="13530" y="179002"/>
                        <a:pt x="11617" y="172306"/>
                      </a:cubicBezTo>
                      <a:lnTo>
                        <a:pt x="11617" y="172306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6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74" name="Freeform: Shape 473">
                  <a:extLst>
                    <a:ext uri="{FF2B5EF4-FFF2-40B4-BE49-F238E27FC236}">
                      <a16:creationId xmlns:a16="http://schemas.microsoft.com/office/drawing/2014/main" id="{95BA79A6-1B7B-0A12-5C78-50AB01B635B0}"/>
                    </a:ext>
                  </a:extLst>
                </p:cNvPr>
                <p:cNvSpPr/>
                <p:nvPr/>
              </p:nvSpPr>
              <p:spPr>
                <a:xfrm>
                  <a:off x="4415176" y="5369836"/>
                  <a:ext cx="23311" cy="169949"/>
                </a:xfrm>
                <a:custGeom>
                  <a:avLst/>
                  <a:gdLst>
                    <a:gd name="connsiteX0" fmla="*/ 10106 w 58477"/>
                    <a:gd name="connsiteY0" fmla="*/ 421361 h 426324"/>
                    <a:gd name="connsiteX1" fmla="*/ 58413 w 58477"/>
                    <a:gd name="connsiteY1" fmla="*/ 6681 h 426324"/>
                    <a:gd name="connsiteX2" fmla="*/ 48369 w 58477"/>
                    <a:gd name="connsiteY2" fmla="*/ 3811 h 426324"/>
                    <a:gd name="connsiteX3" fmla="*/ 61 w 58477"/>
                    <a:gd name="connsiteY3" fmla="*/ 420883 h 426324"/>
                    <a:gd name="connsiteX4" fmla="*/ 10106 w 58477"/>
                    <a:gd name="connsiteY4" fmla="*/ 421361 h 426324"/>
                    <a:gd name="connsiteX5" fmla="*/ 10106 w 58477"/>
                    <a:gd name="connsiteY5" fmla="*/ 421361 h 426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6324">
                      <a:moveTo>
                        <a:pt x="10106" y="421361"/>
                      </a:moveTo>
                      <a:cubicBezTo>
                        <a:pt x="22541" y="282656"/>
                        <a:pt x="38325" y="144429"/>
                        <a:pt x="58413" y="6681"/>
                      </a:cubicBezTo>
                      <a:cubicBezTo>
                        <a:pt x="59370" y="-15"/>
                        <a:pt x="49326" y="-2885"/>
                        <a:pt x="48369" y="3811"/>
                      </a:cubicBezTo>
                      <a:cubicBezTo>
                        <a:pt x="28281" y="142516"/>
                        <a:pt x="12497" y="281700"/>
                        <a:pt x="61" y="420883"/>
                      </a:cubicBezTo>
                      <a:cubicBezTo>
                        <a:pt x="-895" y="428057"/>
                        <a:pt x="9627" y="428057"/>
                        <a:pt x="10106" y="421361"/>
                      </a:cubicBezTo>
                      <a:lnTo>
                        <a:pt x="10106" y="42136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75" name="Freeform: Shape 474">
                  <a:extLst>
                    <a:ext uri="{FF2B5EF4-FFF2-40B4-BE49-F238E27FC236}">
                      <a16:creationId xmlns:a16="http://schemas.microsoft.com/office/drawing/2014/main" id="{8CDE5309-29FE-E9C3-D216-0328FC2DB58D}"/>
                    </a:ext>
                  </a:extLst>
                </p:cNvPr>
                <p:cNvSpPr/>
                <p:nvPr/>
              </p:nvSpPr>
              <p:spPr>
                <a:xfrm>
                  <a:off x="4785665" y="4939735"/>
                  <a:ext cx="585917" cy="1167783"/>
                </a:xfrm>
                <a:custGeom>
                  <a:avLst/>
                  <a:gdLst>
                    <a:gd name="connsiteX0" fmla="*/ 637565 w 1469794"/>
                    <a:gd name="connsiteY0" fmla="*/ 1056907 h 2929424"/>
                    <a:gd name="connsiteX1" fmla="*/ 210927 w 1469794"/>
                    <a:gd name="connsiteY1" fmla="*/ 1297488 h 2929424"/>
                    <a:gd name="connsiteX2" fmla="*/ 124356 w 1469794"/>
                    <a:gd name="connsiteY2" fmla="*/ 1345318 h 2929424"/>
                    <a:gd name="connsiteX3" fmla="*/ 41612 w 1469794"/>
                    <a:gd name="connsiteY3" fmla="*/ 1369232 h 2929424"/>
                    <a:gd name="connsiteX4" fmla="*/ 0 w 1469794"/>
                    <a:gd name="connsiteY4" fmla="*/ 1356797 h 2929424"/>
                    <a:gd name="connsiteX5" fmla="*/ 10523 w 1469794"/>
                    <a:gd name="connsiteY5" fmla="*/ 1301793 h 2929424"/>
                    <a:gd name="connsiteX6" fmla="*/ 65048 w 1469794"/>
                    <a:gd name="connsiteY6" fmla="*/ 1253485 h 2929424"/>
                    <a:gd name="connsiteX7" fmla="*/ 121486 w 1469794"/>
                    <a:gd name="connsiteY7" fmla="*/ 1203743 h 2929424"/>
                    <a:gd name="connsiteX8" fmla="*/ 575865 w 1469794"/>
                    <a:gd name="connsiteY8" fmla="*/ 887113 h 2929424"/>
                    <a:gd name="connsiteX9" fmla="*/ 755225 w 1469794"/>
                    <a:gd name="connsiteY9" fmla="*/ 747451 h 2929424"/>
                    <a:gd name="connsiteX10" fmla="*/ 778661 w 1469794"/>
                    <a:gd name="connsiteY10" fmla="*/ 56796 h 2929424"/>
                    <a:gd name="connsiteX11" fmla="*/ 1129729 w 1469794"/>
                    <a:gd name="connsiteY11" fmla="*/ 719710 h 2929424"/>
                    <a:gd name="connsiteX12" fmla="*/ 1222039 w 1469794"/>
                    <a:gd name="connsiteY12" fmla="*/ 904810 h 2929424"/>
                    <a:gd name="connsiteX13" fmla="*/ 1368875 w 1469794"/>
                    <a:gd name="connsiteY13" fmla="*/ 1384059 h 2929424"/>
                    <a:gd name="connsiteX14" fmla="*/ 1253128 w 1469794"/>
                    <a:gd name="connsiteY14" fmla="*/ 1458195 h 2929424"/>
                    <a:gd name="connsiteX15" fmla="*/ 1253128 w 1469794"/>
                    <a:gd name="connsiteY15" fmla="*/ 1736561 h 2929424"/>
                    <a:gd name="connsiteX16" fmla="*/ 1041722 w 1469794"/>
                    <a:gd name="connsiteY16" fmla="*/ 2664450 h 2929424"/>
                    <a:gd name="connsiteX17" fmla="*/ 1041722 w 1469794"/>
                    <a:gd name="connsiteY17" fmla="*/ 2664450 h 2929424"/>
                    <a:gd name="connsiteX18" fmla="*/ 1041722 w 1469794"/>
                    <a:gd name="connsiteY18" fmla="*/ 2664450 h 2929424"/>
                    <a:gd name="connsiteX19" fmla="*/ 1041722 w 1469794"/>
                    <a:gd name="connsiteY19" fmla="*/ 2664450 h 2929424"/>
                    <a:gd name="connsiteX20" fmla="*/ 1469795 w 1469794"/>
                    <a:gd name="connsiteY20" fmla="*/ 2891161 h 2929424"/>
                    <a:gd name="connsiteX21" fmla="*/ 1179949 w 1469794"/>
                    <a:gd name="connsiteY21" fmla="*/ 2926554 h 2929424"/>
                    <a:gd name="connsiteX22" fmla="*/ 1140251 w 1469794"/>
                    <a:gd name="connsiteY22" fmla="*/ 2862463 h 2929424"/>
                    <a:gd name="connsiteX23" fmla="*/ 1092900 w 1469794"/>
                    <a:gd name="connsiteY23" fmla="*/ 2929424 h 2929424"/>
                    <a:gd name="connsiteX24" fmla="*/ 1041722 w 1469794"/>
                    <a:gd name="connsiteY24" fmla="*/ 2929424 h 2929424"/>
                    <a:gd name="connsiteX25" fmla="*/ 1018764 w 1469794"/>
                    <a:gd name="connsiteY25" fmla="*/ 2818460 h 2929424"/>
                    <a:gd name="connsiteX26" fmla="*/ 931715 w 1469794"/>
                    <a:gd name="connsiteY26" fmla="*/ 2806981 h 2929424"/>
                    <a:gd name="connsiteX27" fmla="*/ 910670 w 1469794"/>
                    <a:gd name="connsiteY27" fmla="*/ 2927989 h 2929424"/>
                    <a:gd name="connsiteX28" fmla="*/ 859493 w 1469794"/>
                    <a:gd name="connsiteY28" fmla="*/ 2916510 h 2929424"/>
                    <a:gd name="connsiteX29" fmla="*/ 807359 w 1469794"/>
                    <a:gd name="connsiteY29" fmla="*/ 2843331 h 2929424"/>
                    <a:gd name="connsiteX30" fmla="*/ 770052 w 1469794"/>
                    <a:gd name="connsiteY30" fmla="*/ 2916510 h 2929424"/>
                    <a:gd name="connsiteX31" fmla="*/ 482598 w 1469794"/>
                    <a:gd name="connsiteY31" fmla="*/ 2883508 h 2929424"/>
                    <a:gd name="connsiteX32" fmla="*/ 912105 w 1469794"/>
                    <a:gd name="connsiteY32" fmla="*/ 2651536 h 2929424"/>
                    <a:gd name="connsiteX33" fmla="*/ 729397 w 1469794"/>
                    <a:gd name="connsiteY33" fmla="*/ 1723647 h 2929424"/>
                    <a:gd name="connsiteX34" fmla="*/ 706917 w 1469794"/>
                    <a:gd name="connsiteY34" fmla="*/ 1610292 h 2929424"/>
                    <a:gd name="connsiteX35" fmla="*/ 637565 w 1469794"/>
                    <a:gd name="connsiteY35" fmla="*/ 1056907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469794" h="2929424">
                      <a:moveTo>
                        <a:pt x="637565" y="1056907"/>
                      </a:moveTo>
                      <a:lnTo>
                        <a:pt x="210927" y="1297488"/>
                      </a:lnTo>
                      <a:lnTo>
                        <a:pt x="124356" y="1345318"/>
                      </a:lnTo>
                      <a:lnTo>
                        <a:pt x="41612" y="1369232"/>
                      </a:lnTo>
                      <a:lnTo>
                        <a:pt x="0" y="1356797"/>
                      </a:lnTo>
                      <a:lnTo>
                        <a:pt x="10523" y="1301793"/>
                      </a:lnTo>
                      <a:lnTo>
                        <a:pt x="65048" y="1253485"/>
                      </a:lnTo>
                      <a:lnTo>
                        <a:pt x="121486" y="1203743"/>
                      </a:lnTo>
                      <a:lnTo>
                        <a:pt x="575865" y="887113"/>
                      </a:lnTo>
                      <a:lnTo>
                        <a:pt x="755225" y="747451"/>
                      </a:lnTo>
                      <a:cubicBezTo>
                        <a:pt x="700700" y="719710"/>
                        <a:pt x="477815" y="346642"/>
                        <a:pt x="778661" y="56796"/>
                      </a:cubicBezTo>
                      <a:cubicBezTo>
                        <a:pt x="1138338" y="-192873"/>
                        <a:pt x="1387050" y="445170"/>
                        <a:pt x="1129729" y="719710"/>
                      </a:cubicBezTo>
                      <a:cubicBezTo>
                        <a:pt x="1168470" y="811542"/>
                        <a:pt x="1222039" y="904810"/>
                        <a:pt x="1222039" y="904810"/>
                      </a:cubicBezTo>
                      <a:cubicBezTo>
                        <a:pt x="1222039" y="904810"/>
                        <a:pt x="1417182" y="1315663"/>
                        <a:pt x="1368875" y="1384059"/>
                      </a:cubicBezTo>
                      <a:cubicBezTo>
                        <a:pt x="1320567" y="1453412"/>
                        <a:pt x="1253128" y="1458195"/>
                        <a:pt x="1253128" y="1458195"/>
                      </a:cubicBezTo>
                      <a:lnTo>
                        <a:pt x="1253128" y="1736561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cubicBezTo>
                        <a:pt x="1041722" y="2664450"/>
                        <a:pt x="1405225" y="2811764"/>
                        <a:pt x="1469795" y="2891161"/>
                      </a:cubicBezTo>
                      <a:cubicBezTo>
                        <a:pt x="1452576" y="2928946"/>
                        <a:pt x="1316741" y="2931337"/>
                        <a:pt x="1179949" y="2926554"/>
                      </a:cubicBezTo>
                      <a:lnTo>
                        <a:pt x="1140251" y="2862463"/>
                      </a:lnTo>
                      <a:lnTo>
                        <a:pt x="1092900" y="2929424"/>
                      </a:lnTo>
                      <a:lnTo>
                        <a:pt x="1041722" y="2929424"/>
                      </a:lnTo>
                      <a:lnTo>
                        <a:pt x="1018764" y="2818460"/>
                      </a:lnTo>
                      <a:lnTo>
                        <a:pt x="931715" y="2806981"/>
                      </a:lnTo>
                      <a:lnTo>
                        <a:pt x="910670" y="2927989"/>
                      </a:lnTo>
                      <a:lnTo>
                        <a:pt x="859493" y="2916510"/>
                      </a:lnTo>
                      <a:lnTo>
                        <a:pt x="807359" y="2843331"/>
                      </a:lnTo>
                      <a:lnTo>
                        <a:pt x="770052" y="2916510"/>
                      </a:lnTo>
                      <a:cubicBezTo>
                        <a:pt x="770052" y="2916510"/>
                        <a:pt x="516078" y="2927989"/>
                        <a:pt x="482598" y="2883508"/>
                      </a:cubicBezTo>
                      <a:cubicBezTo>
                        <a:pt x="449117" y="2840462"/>
                        <a:pt x="912105" y="2651536"/>
                        <a:pt x="912105" y="2651536"/>
                      </a:cubicBezTo>
                      <a:lnTo>
                        <a:pt x="729397" y="1723647"/>
                      </a:lnTo>
                      <a:lnTo>
                        <a:pt x="706917" y="1610292"/>
                      </a:lnTo>
                      <a:lnTo>
                        <a:pt x="637565" y="1056907"/>
                      </a:lnTo>
                      <a:close/>
                    </a:path>
                  </a:pathLst>
                </a:custGeom>
                <a:solidFill>
                  <a:srgbClr val="E1EBE5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6" name="Freeform: Shape 475">
                  <a:extLst>
                    <a:ext uri="{FF2B5EF4-FFF2-40B4-BE49-F238E27FC236}">
                      <a16:creationId xmlns:a16="http://schemas.microsoft.com/office/drawing/2014/main" id="{4CC00E63-F487-4CA6-1EA5-D69F74B2164F}"/>
                    </a:ext>
                  </a:extLst>
                </p:cNvPr>
                <p:cNvSpPr/>
                <p:nvPr/>
              </p:nvSpPr>
              <p:spPr>
                <a:xfrm>
                  <a:off x="5079673" y="5632187"/>
                  <a:ext cx="205347" cy="403450"/>
                </a:xfrm>
                <a:custGeom>
                  <a:avLst/>
                  <a:gdLst>
                    <a:gd name="connsiteX0" fmla="*/ 515122 w 515121"/>
                    <a:gd name="connsiteY0" fmla="*/ 0 h 1012068"/>
                    <a:gd name="connsiteX1" fmla="*/ 515122 w 515121"/>
                    <a:gd name="connsiteY1" fmla="*/ 0 h 1012068"/>
                    <a:gd name="connsiteX2" fmla="*/ 288889 w 515121"/>
                    <a:gd name="connsiteY2" fmla="*/ 990545 h 1012068"/>
                    <a:gd name="connsiteX3" fmla="*/ 281237 w 515121"/>
                    <a:gd name="connsiteY3" fmla="*/ 1012068 h 1012068"/>
                    <a:gd name="connsiteX4" fmla="*/ 191796 w 515121"/>
                    <a:gd name="connsiteY4" fmla="*/ 1005850 h 1012068"/>
                    <a:gd name="connsiteX5" fmla="*/ 0 w 515121"/>
                    <a:gd name="connsiteY5" fmla="*/ 59308 h 1012068"/>
                    <a:gd name="connsiteX6" fmla="*/ 27263 w 515121"/>
                    <a:gd name="connsiteY6" fmla="*/ 40177 h 1012068"/>
                    <a:gd name="connsiteX7" fmla="*/ 515122 w 515121"/>
                    <a:gd name="connsiteY7" fmla="*/ 0 h 1012068"/>
                    <a:gd name="connsiteX8" fmla="*/ 515122 w 515121"/>
                    <a:gd name="connsiteY8" fmla="*/ 0 h 101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068">
                      <a:moveTo>
                        <a:pt x="515122" y="0"/>
                      </a:moveTo>
                      <a:lnTo>
                        <a:pt x="515122" y="0"/>
                      </a:lnTo>
                      <a:lnTo>
                        <a:pt x="288889" y="990545"/>
                      </a:lnTo>
                      <a:lnTo>
                        <a:pt x="281237" y="1012068"/>
                      </a:lnTo>
                      <a:lnTo>
                        <a:pt x="191796" y="1005850"/>
                      </a:lnTo>
                      <a:lnTo>
                        <a:pt x="0" y="59308"/>
                      </a:lnTo>
                      <a:cubicBezTo>
                        <a:pt x="0" y="59308"/>
                        <a:pt x="14827" y="41611"/>
                        <a:pt x="27263" y="40177"/>
                      </a:cubicBezTo>
                      <a:cubicBezTo>
                        <a:pt x="39698" y="37785"/>
                        <a:pt x="515122" y="0"/>
                        <a:pt x="515122" y="0"/>
                      </a:cubicBezTo>
                      <a:lnTo>
                        <a:pt x="515122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7" name="Freeform: Shape 476">
                  <a:extLst>
                    <a:ext uri="{FF2B5EF4-FFF2-40B4-BE49-F238E27FC236}">
                      <a16:creationId xmlns:a16="http://schemas.microsoft.com/office/drawing/2014/main" id="{EBF4F4D9-A5AA-67BE-FB1E-B8C45470E36D}"/>
                    </a:ext>
                  </a:extLst>
                </p:cNvPr>
                <p:cNvSpPr/>
                <p:nvPr/>
              </p:nvSpPr>
              <p:spPr>
                <a:xfrm>
                  <a:off x="5080403" y="5520456"/>
                  <a:ext cx="208161" cy="516905"/>
                </a:xfrm>
                <a:custGeom>
                  <a:avLst/>
                  <a:gdLst>
                    <a:gd name="connsiteX0" fmla="*/ 510897 w 522179"/>
                    <a:gd name="connsiteY0" fmla="*/ 277888 h 1296673"/>
                    <a:gd name="connsiteX1" fmla="*/ 510897 w 522179"/>
                    <a:gd name="connsiteY1" fmla="*/ 277888 h 1296673"/>
                    <a:gd name="connsiteX2" fmla="*/ 502288 w 522179"/>
                    <a:gd name="connsiteY2" fmla="*/ 331935 h 1296673"/>
                    <a:gd name="connsiteX3" fmla="*/ 486026 w 522179"/>
                    <a:gd name="connsiteY3" fmla="*/ 383591 h 1296673"/>
                    <a:gd name="connsiteX4" fmla="*/ 475982 w 522179"/>
                    <a:gd name="connsiteY4" fmla="*/ 437638 h 1296673"/>
                    <a:gd name="connsiteX5" fmla="*/ 464981 w 522179"/>
                    <a:gd name="connsiteY5" fmla="*/ 490729 h 1296673"/>
                    <a:gd name="connsiteX6" fmla="*/ 453981 w 522179"/>
                    <a:gd name="connsiteY6" fmla="*/ 544776 h 1296673"/>
                    <a:gd name="connsiteX7" fmla="*/ 440110 w 522179"/>
                    <a:gd name="connsiteY7" fmla="*/ 596431 h 1296673"/>
                    <a:gd name="connsiteX8" fmla="*/ 432457 w 522179"/>
                    <a:gd name="connsiteY8" fmla="*/ 650479 h 1296673"/>
                    <a:gd name="connsiteX9" fmla="*/ 420021 w 522179"/>
                    <a:gd name="connsiteY9" fmla="*/ 704526 h 1296673"/>
                    <a:gd name="connsiteX10" fmla="*/ 401368 w 522179"/>
                    <a:gd name="connsiteY10" fmla="*/ 756181 h 1296673"/>
                    <a:gd name="connsiteX11" fmla="*/ 388933 w 522179"/>
                    <a:gd name="connsiteY11" fmla="*/ 809272 h 1296673"/>
                    <a:gd name="connsiteX12" fmla="*/ 376497 w 522179"/>
                    <a:gd name="connsiteY12" fmla="*/ 862362 h 1296673"/>
                    <a:gd name="connsiteX13" fmla="*/ 367888 w 522179"/>
                    <a:gd name="connsiteY13" fmla="*/ 916409 h 1296673"/>
                    <a:gd name="connsiteX14" fmla="*/ 355452 w 522179"/>
                    <a:gd name="connsiteY14" fmla="*/ 969500 h 1296673"/>
                    <a:gd name="connsiteX15" fmla="*/ 343016 w 522179"/>
                    <a:gd name="connsiteY15" fmla="*/ 1022591 h 1296673"/>
                    <a:gd name="connsiteX16" fmla="*/ 332972 w 522179"/>
                    <a:gd name="connsiteY16" fmla="*/ 1076638 h 1296673"/>
                    <a:gd name="connsiteX17" fmla="*/ 316710 w 522179"/>
                    <a:gd name="connsiteY17" fmla="*/ 1128293 h 1296673"/>
                    <a:gd name="connsiteX18" fmla="*/ 308101 w 522179"/>
                    <a:gd name="connsiteY18" fmla="*/ 1182340 h 1296673"/>
                    <a:gd name="connsiteX19" fmla="*/ 291839 w 522179"/>
                    <a:gd name="connsiteY19" fmla="*/ 1235431 h 1296673"/>
                    <a:gd name="connsiteX20" fmla="*/ 281795 w 522179"/>
                    <a:gd name="connsiteY20" fmla="*/ 1289478 h 1296673"/>
                    <a:gd name="connsiteX21" fmla="*/ 236835 w 522179"/>
                    <a:gd name="connsiteY21" fmla="*/ 1290913 h 1296673"/>
                    <a:gd name="connsiteX22" fmla="*/ 193311 w 522179"/>
                    <a:gd name="connsiteY22" fmla="*/ 1287087 h 1296673"/>
                    <a:gd name="connsiteX23" fmla="*/ 184701 w 522179"/>
                    <a:gd name="connsiteY23" fmla="*/ 1235431 h 1296673"/>
                    <a:gd name="connsiteX24" fmla="*/ 172266 w 522179"/>
                    <a:gd name="connsiteY24" fmla="*/ 1182340 h 1296673"/>
                    <a:gd name="connsiteX25" fmla="*/ 162221 w 522179"/>
                    <a:gd name="connsiteY25" fmla="*/ 1128293 h 1296673"/>
                    <a:gd name="connsiteX26" fmla="*/ 152177 w 522179"/>
                    <a:gd name="connsiteY26" fmla="*/ 1075203 h 1296673"/>
                    <a:gd name="connsiteX27" fmla="*/ 137350 w 522179"/>
                    <a:gd name="connsiteY27" fmla="*/ 1022112 h 1296673"/>
                    <a:gd name="connsiteX28" fmla="*/ 124915 w 522179"/>
                    <a:gd name="connsiteY28" fmla="*/ 969022 h 1296673"/>
                    <a:gd name="connsiteX29" fmla="*/ 116305 w 522179"/>
                    <a:gd name="connsiteY29" fmla="*/ 915931 h 1296673"/>
                    <a:gd name="connsiteX30" fmla="*/ 105305 w 522179"/>
                    <a:gd name="connsiteY30" fmla="*/ 862841 h 1296673"/>
                    <a:gd name="connsiteX31" fmla="*/ 94304 w 522179"/>
                    <a:gd name="connsiteY31" fmla="*/ 808794 h 1296673"/>
                    <a:gd name="connsiteX32" fmla="*/ 86651 w 522179"/>
                    <a:gd name="connsiteY32" fmla="*/ 754747 h 1296673"/>
                    <a:gd name="connsiteX33" fmla="*/ 75650 w 522179"/>
                    <a:gd name="connsiteY33" fmla="*/ 701656 h 1296673"/>
                    <a:gd name="connsiteX34" fmla="*/ 67041 w 522179"/>
                    <a:gd name="connsiteY34" fmla="*/ 648565 h 1296673"/>
                    <a:gd name="connsiteX35" fmla="*/ 56997 w 522179"/>
                    <a:gd name="connsiteY35" fmla="*/ 594518 h 1296673"/>
                    <a:gd name="connsiteX36" fmla="*/ 43127 w 522179"/>
                    <a:gd name="connsiteY36" fmla="*/ 541428 h 1296673"/>
                    <a:gd name="connsiteX37" fmla="*/ 33082 w 522179"/>
                    <a:gd name="connsiteY37" fmla="*/ 488337 h 1296673"/>
                    <a:gd name="connsiteX38" fmla="*/ 23038 w 522179"/>
                    <a:gd name="connsiteY38" fmla="*/ 434290 h 1296673"/>
                    <a:gd name="connsiteX39" fmla="*/ 16820 w 522179"/>
                    <a:gd name="connsiteY39" fmla="*/ 380243 h 1296673"/>
                    <a:gd name="connsiteX40" fmla="*/ 5820 w 522179"/>
                    <a:gd name="connsiteY40" fmla="*/ 330022 h 1296673"/>
                    <a:gd name="connsiteX41" fmla="*/ 59389 w 522179"/>
                    <a:gd name="connsiteY41" fmla="*/ 322370 h 1296673"/>
                    <a:gd name="connsiteX42" fmla="*/ 116784 w 522179"/>
                    <a:gd name="connsiteY42" fmla="*/ 314717 h 1296673"/>
                    <a:gd name="connsiteX43" fmla="*/ 174179 w 522179"/>
                    <a:gd name="connsiteY43" fmla="*/ 313282 h 1296673"/>
                    <a:gd name="connsiteX44" fmla="*/ 230139 w 522179"/>
                    <a:gd name="connsiteY44" fmla="*/ 308021 h 1296673"/>
                    <a:gd name="connsiteX45" fmla="*/ 286100 w 522179"/>
                    <a:gd name="connsiteY45" fmla="*/ 297976 h 1296673"/>
                    <a:gd name="connsiteX46" fmla="*/ 343495 w 522179"/>
                    <a:gd name="connsiteY46" fmla="*/ 294150 h 1296673"/>
                    <a:gd name="connsiteX47" fmla="*/ 400890 w 522179"/>
                    <a:gd name="connsiteY47" fmla="*/ 292715 h 1296673"/>
                    <a:gd name="connsiteX48" fmla="*/ 456850 w 522179"/>
                    <a:gd name="connsiteY48" fmla="*/ 282671 h 1296673"/>
                    <a:gd name="connsiteX49" fmla="*/ 514245 w 522179"/>
                    <a:gd name="connsiteY49" fmla="*/ 277410 h 1296673"/>
                    <a:gd name="connsiteX50" fmla="*/ 512810 w 522179"/>
                    <a:gd name="connsiteY50" fmla="*/ 221928 h 1296673"/>
                    <a:gd name="connsiteX51" fmla="*/ 514245 w 522179"/>
                    <a:gd name="connsiteY51" fmla="*/ 166446 h 1296673"/>
                    <a:gd name="connsiteX52" fmla="*/ 512810 w 522179"/>
                    <a:gd name="connsiteY52" fmla="*/ 110964 h 1296673"/>
                    <a:gd name="connsiteX53" fmla="*/ 512810 w 522179"/>
                    <a:gd name="connsiteY53" fmla="*/ 55482 h 1296673"/>
                    <a:gd name="connsiteX54" fmla="*/ 512810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510897" y="277888"/>
                      </a:moveTo>
                      <a:lnTo>
                        <a:pt x="510897" y="277888"/>
                      </a:lnTo>
                      <a:cubicBezTo>
                        <a:pt x="504679" y="304194"/>
                        <a:pt x="507071" y="305629"/>
                        <a:pt x="502288" y="331935"/>
                      </a:cubicBezTo>
                      <a:cubicBezTo>
                        <a:pt x="496070" y="358242"/>
                        <a:pt x="492244" y="357285"/>
                        <a:pt x="486026" y="383591"/>
                      </a:cubicBezTo>
                      <a:cubicBezTo>
                        <a:pt x="479808" y="409897"/>
                        <a:pt x="482200" y="411332"/>
                        <a:pt x="475982" y="437638"/>
                      </a:cubicBezTo>
                      <a:cubicBezTo>
                        <a:pt x="469764" y="463944"/>
                        <a:pt x="471199" y="463944"/>
                        <a:pt x="464981" y="490729"/>
                      </a:cubicBezTo>
                      <a:cubicBezTo>
                        <a:pt x="458763" y="517035"/>
                        <a:pt x="460198" y="518470"/>
                        <a:pt x="453981" y="544776"/>
                      </a:cubicBezTo>
                      <a:cubicBezTo>
                        <a:pt x="449197" y="571082"/>
                        <a:pt x="446328" y="570125"/>
                        <a:pt x="440110" y="596431"/>
                      </a:cubicBezTo>
                      <a:cubicBezTo>
                        <a:pt x="433892" y="622738"/>
                        <a:pt x="438675" y="624173"/>
                        <a:pt x="432457" y="650479"/>
                      </a:cubicBezTo>
                      <a:cubicBezTo>
                        <a:pt x="426239" y="676785"/>
                        <a:pt x="426239" y="676785"/>
                        <a:pt x="420021" y="704526"/>
                      </a:cubicBezTo>
                      <a:cubicBezTo>
                        <a:pt x="413804" y="730832"/>
                        <a:pt x="407586" y="729875"/>
                        <a:pt x="401368" y="756181"/>
                      </a:cubicBezTo>
                      <a:cubicBezTo>
                        <a:pt x="395150" y="782487"/>
                        <a:pt x="395150" y="782487"/>
                        <a:pt x="388933" y="809272"/>
                      </a:cubicBezTo>
                      <a:cubicBezTo>
                        <a:pt x="382715" y="835578"/>
                        <a:pt x="382715" y="835578"/>
                        <a:pt x="376497" y="862362"/>
                      </a:cubicBezTo>
                      <a:cubicBezTo>
                        <a:pt x="370279" y="888669"/>
                        <a:pt x="374105" y="890103"/>
                        <a:pt x="367888" y="916409"/>
                      </a:cubicBezTo>
                      <a:cubicBezTo>
                        <a:pt x="361670" y="942716"/>
                        <a:pt x="361670" y="942716"/>
                        <a:pt x="355452" y="969500"/>
                      </a:cubicBezTo>
                      <a:cubicBezTo>
                        <a:pt x="349234" y="995806"/>
                        <a:pt x="349234" y="995806"/>
                        <a:pt x="343016" y="1022591"/>
                      </a:cubicBezTo>
                      <a:cubicBezTo>
                        <a:pt x="336798" y="1048897"/>
                        <a:pt x="339190" y="1050332"/>
                        <a:pt x="332972" y="1076638"/>
                      </a:cubicBezTo>
                      <a:cubicBezTo>
                        <a:pt x="326754" y="1102944"/>
                        <a:pt x="322928" y="1101987"/>
                        <a:pt x="316710" y="1128293"/>
                      </a:cubicBezTo>
                      <a:cubicBezTo>
                        <a:pt x="310493" y="1154599"/>
                        <a:pt x="314319" y="1156034"/>
                        <a:pt x="308101" y="1182340"/>
                      </a:cubicBezTo>
                      <a:cubicBezTo>
                        <a:pt x="301883" y="1208647"/>
                        <a:pt x="298057" y="1208647"/>
                        <a:pt x="291839" y="1235431"/>
                      </a:cubicBezTo>
                      <a:cubicBezTo>
                        <a:pt x="285621" y="1261737"/>
                        <a:pt x="301883" y="1270825"/>
                        <a:pt x="281795" y="1289478"/>
                      </a:cubicBezTo>
                      <a:cubicBezTo>
                        <a:pt x="265533" y="1304784"/>
                        <a:pt x="259315" y="1290913"/>
                        <a:pt x="236835" y="1290913"/>
                      </a:cubicBezTo>
                      <a:cubicBezTo>
                        <a:pt x="214356" y="1290913"/>
                        <a:pt x="209573" y="1302392"/>
                        <a:pt x="193311" y="1287087"/>
                      </a:cubicBezTo>
                      <a:cubicBezTo>
                        <a:pt x="173222" y="1267955"/>
                        <a:pt x="189484" y="1261737"/>
                        <a:pt x="184701" y="1235431"/>
                      </a:cubicBezTo>
                      <a:cubicBezTo>
                        <a:pt x="179918" y="1207690"/>
                        <a:pt x="178484" y="1209125"/>
                        <a:pt x="172266" y="1182340"/>
                      </a:cubicBezTo>
                      <a:cubicBezTo>
                        <a:pt x="167483" y="1154599"/>
                        <a:pt x="167483" y="1154599"/>
                        <a:pt x="162221" y="1128293"/>
                      </a:cubicBezTo>
                      <a:cubicBezTo>
                        <a:pt x="157439" y="1101987"/>
                        <a:pt x="158395" y="1101987"/>
                        <a:pt x="152177" y="1075203"/>
                      </a:cubicBezTo>
                      <a:cubicBezTo>
                        <a:pt x="147394" y="1048897"/>
                        <a:pt x="142133" y="1048897"/>
                        <a:pt x="137350" y="1022112"/>
                      </a:cubicBezTo>
                      <a:cubicBezTo>
                        <a:pt x="131133" y="995806"/>
                        <a:pt x="129697" y="995806"/>
                        <a:pt x="124915" y="969022"/>
                      </a:cubicBezTo>
                      <a:cubicBezTo>
                        <a:pt x="120132" y="942716"/>
                        <a:pt x="121088" y="942716"/>
                        <a:pt x="116305" y="915931"/>
                      </a:cubicBezTo>
                      <a:cubicBezTo>
                        <a:pt x="111522" y="889625"/>
                        <a:pt x="110088" y="889625"/>
                        <a:pt x="105305" y="862841"/>
                      </a:cubicBezTo>
                      <a:cubicBezTo>
                        <a:pt x="99087" y="835100"/>
                        <a:pt x="99087" y="835100"/>
                        <a:pt x="94304" y="808794"/>
                      </a:cubicBezTo>
                      <a:cubicBezTo>
                        <a:pt x="88086" y="782487"/>
                        <a:pt x="92869" y="782487"/>
                        <a:pt x="86651" y="754747"/>
                      </a:cubicBezTo>
                      <a:cubicBezTo>
                        <a:pt x="81868" y="728440"/>
                        <a:pt x="80433" y="728440"/>
                        <a:pt x="75650" y="701656"/>
                      </a:cubicBezTo>
                      <a:cubicBezTo>
                        <a:pt x="70868" y="675350"/>
                        <a:pt x="71824" y="675350"/>
                        <a:pt x="67041" y="648565"/>
                      </a:cubicBezTo>
                      <a:cubicBezTo>
                        <a:pt x="62258" y="620824"/>
                        <a:pt x="62258" y="620824"/>
                        <a:pt x="56997" y="594518"/>
                      </a:cubicBezTo>
                      <a:cubicBezTo>
                        <a:pt x="52214" y="568212"/>
                        <a:pt x="48388" y="569169"/>
                        <a:pt x="43127" y="541428"/>
                      </a:cubicBezTo>
                      <a:cubicBezTo>
                        <a:pt x="38344" y="515122"/>
                        <a:pt x="38344" y="515122"/>
                        <a:pt x="33082" y="488337"/>
                      </a:cubicBezTo>
                      <a:cubicBezTo>
                        <a:pt x="28300" y="462031"/>
                        <a:pt x="28300" y="462031"/>
                        <a:pt x="23038" y="434290"/>
                      </a:cubicBezTo>
                      <a:cubicBezTo>
                        <a:pt x="18255" y="407984"/>
                        <a:pt x="21603" y="407984"/>
                        <a:pt x="16820" y="380243"/>
                      </a:cubicBezTo>
                      <a:cubicBezTo>
                        <a:pt x="12037" y="353937"/>
                        <a:pt x="-10442" y="351067"/>
                        <a:pt x="5820" y="330022"/>
                      </a:cubicBezTo>
                      <a:cubicBezTo>
                        <a:pt x="23038" y="307542"/>
                        <a:pt x="32126" y="326196"/>
                        <a:pt x="59389" y="322370"/>
                      </a:cubicBezTo>
                      <a:cubicBezTo>
                        <a:pt x="88086" y="319978"/>
                        <a:pt x="88086" y="317108"/>
                        <a:pt x="116784" y="314717"/>
                      </a:cubicBezTo>
                      <a:cubicBezTo>
                        <a:pt x="145481" y="310890"/>
                        <a:pt x="145481" y="316152"/>
                        <a:pt x="174179" y="313282"/>
                      </a:cubicBezTo>
                      <a:cubicBezTo>
                        <a:pt x="201441" y="310890"/>
                        <a:pt x="202877" y="311847"/>
                        <a:pt x="230139" y="308021"/>
                      </a:cubicBezTo>
                      <a:cubicBezTo>
                        <a:pt x="258837" y="305629"/>
                        <a:pt x="258837" y="300368"/>
                        <a:pt x="286100" y="297976"/>
                      </a:cubicBezTo>
                      <a:cubicBezTo>
                        <a:pt x="314797" y="294150"/>
                        <a:pt x="314797" y="297976"/>
                        <a:pt x="343495" y="294150"/>
                      </a:cubicBezTo>
                      <a:cubicBezTo>
                        <a:pt x="372192" y="291759"/>
                        <a:pt x="372192" y="295585"/>
                        <a:pt x="400890" y="292715"/>
                      </a:cubicBezTo>
                      <a:cubicBezTo>
                        <a:pt x="429587" y="288889"/>
                        <a:pt x="429587" y="285063"/>
                        <a:pt x="456850" y="282671"/>
                      </a:cubicBezTo>
                      <a:cubicBezTo>
                        <a:pt x="485548" y="280280"/>
                        <a:pt x="495592" y="297976"/>
                        <a:pt x="514245" y="277410"/>
                      </a:cubicBezTo>
                      <a:cubicBezTo>
                        <a:pt x="532899" y="257322"/>
                        <a:pt x="512810" y="249669"/>
                        <a:pt x="512810" y="221928"/>
                      </a:cubicBezTo>
                      <a:cubicBezTo>
                        <a:pt x="512810" y="194187"/>
                        <a:pt x="514245" y="194187"/>
                        <a:pt x="514245" y="166446"/>
                      </a:cubicBezTo>
                      <a:cubicBezTo>
                        <a:pt x="514245" y="138705"/>
                        <a:pt x="512810" y="138705"/>
                        <a:pt x="512810" y="110964"/>
                      </a:cubicBezTo>
                      <a:cubicBezTo>
                        <a:pt x="512810" y="83223"/>
                        <a:pt x="512810" y="83223"/>
                        <a:pt x="512810" y="55482"/>
                      </a:cubicBezTo>
                      <a:cubicBezTo>
                        <a:pt x="512810" y="27741"/>
                        <a:pt x="512810" y="27741"/>
                        <a:pt x="51281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8" name="Freeform: Shape 477">
                  <a:extLst>
                    <a:ext uri="{FF2B5EF4-FFF2-40B4-BE49-F238E27FC236}">
                      <a16:creationId xmlns:a16="http://schemas.microsoft.com/office/drawing/2014/main" id="{F522D29A-AE4F-8EF7-321D-A3B66D98F159}"/>
                    </a:ext>
                  </a:extLst>
                </p:cNvPr>
                <p:cNvSpPr/>
                <p:nvPr/>
              </p:nvSpPr>
              <p:spPr>
                <a:xfrm>
                  <a:off x="5178629" y="5641720"/>
                  <a:ext cx="2478" cy="339767"/>
                </a:xfrm>
                <a:custGeom>
                  <a:avLst/>
                  <a:gdLst>
                    <a:gd name="connsiteX0" fmla="*/ 4305 w 6217"/>
                    <a:gd name="connsiteY0" fmla="*/ 0 h 852318"/>
                    <a:gd name="connsiteX1" fmla="*/ 4305 w 6217"/>
                    <a:gd name="connsiteY1" fmla="*/ 0 h 852318"/>
                    <a:gd name="connsiteX2" fmla="*/ 2870 w 6217"/>
                    <a:gd name="connsiteY2" fmla="*/ 56917 h 852318"/>
                    <a:gd name="connsiteX3" fmla="*/ 1435 w 6217"/>
                    <a:gd name="connsiteY3" fmla="*/ 113834 h 852318"/>
                    <a:gd name="connsiteX4" fmla="*/ 0 w 6217"/>
                    <a:gd name="connsiteY4" fmla="*/ 170751 h 852318"/>
                    <a:gd name="connsiteX5" fmla="*/ 2392 w 6217"/>
                    <a:gd name="connsiteY5" fmla="*/ 227668 h 852318"/>
                    <a:gd name="connsiteX6" fmla="*/ 6218 w 6217"/>
                    <a:gd name="connsiteY6" fmla="*/ 283150 h 852318"/>
                    <a:gd name="connsiteX7" fmla="*/ 1435 w 6217"/>
                    <a:gd name="connsiteY7" fmla="*/ 340066 h 852318"/>
                    <a:gd name="connsiteX8" fmla="*/ 1435 w 6217"/>
                    <a:gd name="connsiteY8" fmla="*/ 396983 h 852318"/>
                    <a:gd name="connsiteX9" fmla="*/ 1435 w 6217"/>
                    <a:gd name="connsiteY9" fmla="*/ 453900 h 852318"/>
                    <a:gd name="connsiteX10" fmla="*/ 0 w 6217"/>
                    <a:gd name="connsiteY10" fmla="*/ 510817 h 852318"/>
                    <a:gd name="connsiteX11" fmla="*/ 0 w 6217"/>
                    <a:gd name="connsiteY11" fmla="*/ 567734 h 852318"/>
                    <a:gd name="connsiteX12" fmla="*/ 2392 w 6217"/>
                    <a:gd name="connsiteY12" fmla="*/ 624651 h 852318"/>
                    <a:gd name="connsiteX13" fmla="*/ 6218 w 6217"/>
                    <a:gd name="connsiteY13" fmla="*/ 681568 h 852318"/>
                    <a:gd name="connsiteX14" fmla="*/ 4783 w 6217"/>
                    <a:gd name="connsiteY14" fmla="*/ 738485 h 852318"/>
                    <a:gd name="connsiteX15" fmla="*/ 956 w 6217"/>
                    <a:gd name="connsiteY15" fmla="*/ 795401 h 852318"/>
                    <a:gd name="connsiteX16" fmla="*/ 2392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4305" y="0"/>
                      </a:moveTo>
                      <a:lnTo>
                        <a:pt x="4305" y="0"/>
                      </a:lnTo>
                      <a:cubicBezTo>
                        <a:pt x="4305" y="29176"/>
                        <a:pt x="2870" y="29176"/>
                        <a:pt x="2870" y="56917"/>
                      </a:cubicBezTo>
                      <a:cubicBezTo>
                        <a:pt x="2870" y="84658"/>
                        <a:pt x="1435" y="84658"/>
                        <a:pt x="1435" y="113834"/>
                      </a:cubicBezTo>
                      <a:cubicBezTo>
                        <a:pt x="1435" y="141575"/>
                        <a:pt x="0" y="141575"/>
                        <a:pt x="0" y="170751"/>
                      </a:cubicBezTo>
                      <a:cubicBezTo>
                        <a:pt x="0" y="198492"/>
                        <a:pt x="2392" y="198492"/>
                        <a:pt x="2392" y="227668"/>
                      </a:cubicBezTo>
                      <a:cubicBezTo>
                        <a:pt x="2392" y="255409"/>
                        <a:pt x="6218" y="255409"/>
                        <a:pt x="6218" y="283150"/>
                      </a:cubicBezTo>
                      <a:cubicBezTo>
                        <a:pt x="6218" y="312325"/>
                        <a:pt x="1435" y="312325"/>
                        <a:pt x="1435" y="340066"/>
                      </a:cubicBezTo>
                      <a:cubicBezTo>
                        <a:pt x="1435" y="369242"/>
                        <a:pt x="1435" y="369242"/>
                        <a:pt x="1435" y="396983"/>
                      </a:cubicBezTo>
                      <a:cubicBezTo>
                        <a:pt x="1435" y="426159"/>
                        <a:pt x="1435" y="426159"/>
                        <a:pt x="1435" y="453900"/>
                      </a:cubicBezTo>
                      <a:cubicBezTo>
                        <a:pt x="1435" y="483076"/>
                        <a:pt x="0" y="483076"/>
                        <a:pt x="0" y="510817"/>
                      </a:cubicBezTo>
                      <a:cubicBezTo>
                        <a:pt x="0" y="538558"/>
                        <a:pt x="0" y="538558"/>
                        <a:pt x="0" y="567734"/>
                      </a:cubicBezTo>
                      <a:cubicBezTo>
                        <a:pt x="0" y="595475"/>
                        <a:pt x="2392" y="595475"/>
                        <a:pt x="2392" y="624651"/>
                      </a:cubicBezTo>
                      <a:cubicBezTo>
                        <a:pt x="2392" y="652392"/>
                        <a:pt x="6218" y="652392"/>
                        <a:pt x="6218" y="681568"/>
                      </a:cubicBezTo>
                      <a:cubicBezTo>
                        <a:pt x="6218" y="709309"/>
                        <a:pt x="4783" y="709309"/>
                        <a:pt x="4783" y="738485"/>
                      </a:cubicBezTo>
                      <a:cubicBezTo>
                        <a:pt x="4783" y="766226"/>
                        <a:pt x="956" y="766226"/>
                        <a:pt x="956" y="795401"/>
                      </a:cubicBezTo>
                      <a:cubicBezTo>
                        <a:pt x="956" y="823142"/>
                        <a:pt x="2392" y="823142"/>
                        <a:pt x="2392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9" name="Freeform: Shape 478">
                  <a:extLst>
                    <a:ext uri="{FF2B5EF4-FFF2-40B4-BE49-F238E27FC236}">
                      <a16:creationId xmlns:a16="http://schemas.microsoft.com/office/drawing/2014/main" id="{7B82AB20-3868-64AD-5FBC-863AD6E7C49A}"/>
                    </a:ext>
                  </a:extLst>
                </p:cNvPr>
                <p:cNvSpPr/>
                <p:nvPr/>
              </p:nvSpPr>
              <p:spPr>
                <a:xfrm>
                  <a:off x="5193310" y="6010659"/>
                  <a:ext cx="179226" cy="101216"/>
                </a:xfrm>
                <a:custGeom>
                  <a:avLst/>
                  <a:gdLst>
                    <a:gd name="connsiteX0" fmla="*/ 0 w 449595"/>
                    <a:gd name="connsiteY0" fmla="*/ 132009 h 253903"/>
                    <a:gd name="connsiteX1" fmla="*/ 0 w 449595"/>
                    <a:gd name="connsiteY1" fmla="*/ 132009 h 253903"/>
                    <a:gd name="connsiteX2" fmla="*/ 8609 w 449595"/>
                    <a:gd name="connsiteY2" fmla="*/ 186056 h 253903"/>
                    <a:gd name="connsiteX3" fmla="*/ 12436 w 449595"/>
                    <a:gd name="connsiteY3" fmla="*/ 243929 h 253903"/>
                    <a:gd name="connsiteX4" fmla="*/ 66961 w 449595"/>
                    <a:gd name="connsiteY4" fmla="*/ 241538 h 253903"/>
                    <a:gd name="connsiteX5" fmla="*/ 90398 w 449595"/>
                    <a:gd name="connsiteY5" fmla="*/ 205188 h 253903"/>
                    <a:gd name="connsiteX6" fmla="*/ 117660 w 449595"/>
                    <a:gd name="connsiteY6" fmla="*/ 171229 h 253903"/>
                    <a:gd name="connsiteX7" fmla="*/ 159750 w 449595"/>
                    <a:gd name="connsiteY7" fmla="*/ 239147 h 253903"/>
                    <a:gd name="connsiteX8" fmla="*/ 215710 w 449595"/>
                    <a:gd name="connsiteY8" fmla="*/ 245364 h 253903"/>
                    <a:gd name="connsiteX9" fmla="*/ 275497 w 449595"/>
                    <a:gd name="connsiteY9" fmla="*/ 243929 h 253903"/>
                    <a:gd name="connsiteX10" fmla="*/ 335284 w 449595"/>
                    <a:gd name="connsiteY10" fmla="*/ 237712 h 253903"/>
                    <a:gd name="connsiteX11" fmla="*/ 395070 w 449595"/>
                    <a:gd name="connsiteY11" fmla="*/ 235320 h 253903"/>
                    <a:gd name="connsiteX12" fmla="*/ 449596 w 449595"/>
                    <a:gd name="connsiteY12" fmla="*/ 207579 h 253903"/>
                    <a:gd name="connsiteX13" fmla="*/ 409898 w 449595"/>
                    <a:gd name="connsiteY13" fmla="*/ 167403 h 253903"/>
                    <a:gd name="connsiteX14" fmla="*/ 362546 w 449595"/>
                    <a:gd name="connsiteY14" fmla="*/ 139661 h 253903"/>
                    <a:gd name="connsiteX15" fmla="*/ 314239 w 449595"/>
                    <a:gd name="connsiteY15" fmla="*/ 114312 h 253903"/>
                    <a:gd name="connsiteX16" fmla="*/ 265931 w 449595"/>
                    <a:gd name="connsiteY16" fmla="*/ 88006 h 253903"/>
                    <a:gd name="connsiteX17" fmla="*/ 214754 w 449595"/>
                    <a:gd name="connsiteY17" fmla="*/ 68874 h 253903"/>
                    <a:gd name="connsiteX18" fmla="*/ 165011 w 449595"/>
                    <a:gd name="connsiteY18" fmla="*/ 44959 h 253903"/>
                    <a:gd name="connsiteX19" fmla="*/ 115269 w 449595"/>
                    <a:gd name="connsiteY19" fmla="*/ 22480 h 253903"/>
                    <a:gd name="connsiteX20" fmla="*/ 65526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0" y="132009"/>
                      </a:moveTo>
                      <a:lnTo>
                        <a:pt x="0" y="132009"/>
                      </a:lnTo>
                      <a:cubicBezTo>
                        <a:pt x="3826" y="159750"/>
                        <a:pt x="4783" y="158315"/>
                        <a:pt x="8609" y="186056"/>
                      </a:cubicBezTo>
                      <a:cubicBezTo>
                        <a:pt x="12436" y="213797"/>
                        <a:pt x="-8609" y="225276"/>
                        <a:pt x="12436" y="243929"/>
                      </a:cubicBezTo>
                      <a:cubicBezTo>
                        <a:pt x="32524" y="261626"/>
                        <a:pt x="42090" y="252539"/>
                        <a:pt x="66961" y="241538"/>
                      </a:cubicBezTo>
                      <a:cubicBezTo>
                        <a:pt x="88006" y="232929"/>
                        <a:pt x="77962" y="222406"/>
                        <a:pt x="90398" y="205188"/>
                      </a:cubicBezTo>
                      <a:cubicBezTo>
                        <a:pt x="102833" y="186056"/>
                        <a:pt x="98050" y="161185"/>
                        <a:pt x="117660" y="171229"/>
                      </a:cubicBezTo>
                      <a:cubicBezTo>
                        <a:pt x="152576" y="190361"/>
                        <a:pt x="132487" y="209014"/>
                        <a:pt x="159750" y="239147"/>
                      </a:cubicBezTo>
                      <a:cubicBezTo>
                        <a:pt x="179838" y="261626"/>
                        <a:pt x="180795" y="245364"/>
                        <a:pt x="215710" y="245364"/>
                      </a:cubicBezTo>
                      <a:cubicBezTo>
                        <a:pt x="234364" y="246799"/>
                        <a:pt x="254452" y="243929"/>
                        <a:pt x="275497" y="243929"/>
                      </a:cubicBezTo>
                      <a:cubicBezTo>
                        <a:pt x="295585" y="242495"/>
                        <a:pt x="315195" y="238668"/>
                        <a:pt x="335284" y="237712"/>
                      </a:cubicBezTo>
                      <a:cubicBezTo>
                        <a:pt x="356329" y="236277"/>
                        <a:pt x="377374" y="237712"/>
                        <a:pt x="395070" y="235320"/>
                      </a:cubicBezTo>
                      <a:cubicBezTo>
                        <a:pt x="426159" y="230059"/>
                        <a:pt x="449596" y="219058"/>
                        <a:pt x="449596" y="207579"/>
                      </a:cubicBezTo>
                      <a:cubicBezTo>
                        <a:pt x="449596" y="199926"/>
                        <a:pt x="433334" y="182230"/>
                        <a:pt x="409898" y="167403"/>
                      </a:cubicBezTo>
                      <a:cubicBezTo>
                        <a:pt x="396027" y="158793"/>
                        <a:pt x="380243" y="149706"/>
                        <a:pt x="362546" y="139661"/>
                      </a:cubicBezTo>
                      <a:cubicBezTo>
                        <a:pt x="347719" y="131052"/>
                        <a:pt x="330022" y="123400"/>
                        <a:pt x="314239" y="114312"/>
                      </a:cubicBezTo>
                      <a:cubicBezTo>
                        <a:pt x="297977" y="105703"/>
                        <a:pt x="281715" y="96615"/>
                        <a:pt x="265931" y="88006"/>
                      </a:cubicBezTo>
                      <a:cubicBezTo>
                        <a:pt x="249669" y="80353"/>
                        <a:pt x="231016" y="76527"/>
                        <a:pt x="214754" y="68874"/>
                      </a:cubicBezTo>
                      <a:cubicBezTo>
                        <a:pt x="197535" y="60265"/>
                        <a:pt x="181273" y="51177"/>
                        <a:pt x="165011" y="44959"/>
                      </a:cubicBezTo>
                      <a:cubicBezTo>
                        <a:pt x="147793" y="36350"/>
                        <a:pt x="130096" y="28698"/>
                        <a:pt x="115269" y="22480"/>
                      </a:cubicBezTo>
                      <a:cubicBezTo>
                        <a:pt x="85615" y="8609"/>
                        <a:pt x="91833" y="10044"/>
                        <a:pt x="65526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0" name="Freeform: Shape 479">
                  <a:extLst>
                    <a:ext uri="{FF2B5EF4-FFF2-40B4-BE49-F238E27FC236}">
                      <a16:creationId xmlns:a16="http://schemas.microsoft.com/office/drawing/2014/main" id="{B245FA68-B003-725B-CD2D-C1A41F99DEE6}"/>
                    </a:ext>
                  </a:extLst>
                </p:cNvPr>
                <p:cNvSpPr/>
                <p:nvPr/>
              </p:nvSpPr>
              <p:spPr>
                <a:xfrm>
                  <a:off x="4979001" y="6003414"/>
                  <a:ext cx="177510" cy="104082"/>
                </a:xfrm>
                <a:custGeom>
                  <a:avLst/>
                  <a:gdLst>
                    <a:gd name="connsiteX0" fmla="*/ 374504 w 445291"/>
                    <a:gd name="connsiteY0" fmla="*/ 0 h 261094"/>
                    <a:gd name="connsiteX1" fmla="*/ 374504 w 445291"/>
                    <a:gd name="connsiteY1" fmla="*/ 0 h 261094"/>
                    <a:gd name="connsiteX2" fmla="*/ 324761 w 445291"/>
                    <a:gd name="connsiteY2" fmla="*/ 22480 h 261094"/>
                    <a:gd name="connsiteX3" fmla="*/ 277410 w 445291"/>
                    <a:gd name="connsiteY3" fmla="*/ 50221 h 261094"/>
                    <a:gd name="connsiteX4" fmla="*/ 226233 w 445291"/>
                    <a:gd name="connsiteY4" fmla="*/ 71744 h 261094"/>
                    <a:gd name="connsiteX5" fmla="*/ 176490 w 445291"/>
                    <a:gd name="connsiteY5" fmla="*/ 94224 h 261094"/>
                    <a:gd name="connsiteX6" fmla="*/ 130574 w 445291"/>
                    <a:gd name="connsiteY6" fmla="*/ 123400 h 261094"/>
                    <a:gd name="connsiteX7" fmla="*/ 80832 w 445291"/>
                    <a:gd name="connsiteY7" fmla="*/ 147314 h 261094"/>
                    <a:gd name="connsiteX8" fmla="*/ 33481 w 445291"/>
                    <a:gd name="connsiteY8" fmla="*/ 175055 h 261094"/>
                    <a:gd name="connsiteX9" fmla="*/ 0 w 445291"/>
                    <a:gd name="connsiteY9" fmla="*/ 214275 h 261094"/>
                    <a:gd name="connsiteX10" fmla="*/ 48308 w 445291"/>
                    <a:gd name="connsiteY10" fmla="*/ 234363 h 261094"/>
                    <a:gd name="connsiteX11" fmla="*/ 106660 w 445291"/>
                    <a:gd name="connsiteY11" fmla="*/ 242973 h 261094"/>
                    <a:gd name="connsiteX12" fmla="*/ 166446 w 445291"/>
                    <a:gd name="connsiteY12" fmla="*/ 250625 h 261094"/>
                    <a:gd name="connsiteX13" fmla="*/ 226233 w 445291"/>
                    <a:gd name="connsiteY13" fmla="*/ 250625 h 261094"/>
                    <a:gd name="connsiteX14" fmla="*/ 286019 w 445291"/>
                    <a:gd name="connsiteY14" fmla="*/ 248234 h 261094"/>
                    <a:gd name="connsiteX15" fmla="*/ 324761 w 445291"/>
                    <a:gd name="connsiteY15" fmla="*/ 176490 h 261094"/>
                    <a:gd name="connsiteX16" fmla="*/ 349633 w 445291"/>
                    <a:gd name="connsiteY16" fmla="*/ 212840 h 261094"/>
                    <a:gd name="connsiteX17" fmla="*/ 374504 w 445291"/>
                    <a:gd name="connsiteY17" fmla="*/ 252060 h 261094"/>
                    <a:gd name="connsiteX18" fmla="*/ 429029 w 445291"/>
                    <a:gd name="connsiteY18" fmla="*/ 248234 h 261094"/>
                    <a:gd name="connsiteX19" fmla="*/ 436682 w 445291"/>
                    <a:gd name="connsiteY19" fmla="*/ 194187 h 261094"/>
                    <a:gd name="connsiteX20" fmla="*/ 445291 w 445291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1" h="261094">
                      <a:moveTo>
                        <a:pt x="374504" y="0"/>
                      </a:moveTo>
                      <a:lnTo>
                        <a:pt x="374504" y="0"/>
                      </a:lnTo>
                      <a:cubicBezTo>
                        <a:pt x="349633" y="11479"/>
                        <a:pt x="354415" y="8609"/>
                        <a:pt x="324761" y="22480"/>
                      </a:cubicBezTo>
                      <a:cubicBezTo>
                        <a:pt x="309934" y="30133"/>
                        <a:pt x="295107" y="41611"/>
                        <a:pt x="277410" y="50221"/>
                      </a:cubicBezTo>
                      <a:cubicBezTo>
                        <a:pt x="261148" y="57873"/>
                        <a:pt x="243929" y="64091"/>
                        <a:pt x="226233" y="71744"/>
                      </a:cubicBezTo>
                      <a:cubicBezTo>
                        <a:pt x="209971" y="80353"/>
                        <a:pt x="192752" y="85615"/>
                        <a:pt x="176490" y="94224"/>
                      </a:cubicBezTo>
                      <a:cubicBezTo>
                        <a:pt x="160228" y="101876"/>
                        <a:pt x="145401" y="114312"/>
                        <a:pt x="130574" y="123400"/>
                      </a:cubicBezTo>
                      <a:cubicBezTo>
                        <a:pt x="113356" y="132009"/>
                        <a:pt x="95659" y="138705"/>
                        <a:pt x="80832" y="147314"/>
                      </a:cubicBezTo>
                      <a:cubicBezTo>
                        <a:pt x="63613" y="157358"/>
                        <a:pt x="45916" y="166446"/>
                        <a:pt x="33481" y="175055"/>
                      </a:cubicBezTo>
                      <a:cubicBezTo>
                        <a:pt x="10044" y="190361"/>
                        <a:pt x="0" y="206623"/>
                        <a:pt x="0" y="214275"/>
                      </a:cubicBezTo>
                      <a:cubicBezTo>
                        <a:pt x="0" y="225754"/>
                        <a:pt x="17219" y="229581"/>
                        <a:pt x="48308" y="234363"/>
                      </a:cubicBezTo>
                      <a:cubicBezTo>
                        <a:pt x="65526" y="238190"/>
                        <a:pt x="85615" y="242016"/>
                        <a:pt x="106660" y="242973"/>
                      </a:cubicBezTo>
                      <a:cubicBezTo>
                        <a:pt x="126748" y="244408"/>
                        <a:pt x="146358" y="249191"/>
                        <a:pt x="166446" y="250625"/>
                      </a:cubicBezTo>
                      <a:cubicBezTo>
                        <a:pt x="187491" y="250625"/>
                        <a:pt x="207579" y="250625"/>
                        <a:pt x="226233" y="250625"/>
                      </a:cubicBezTo>
                      <a:cubicBezTo>
                        <a:pt x="261148" y="250625"/>
                        <a:pt x="265931" y="270714"/>
                        <a:pt x="286019" y="248234"/>
                      </a:cubicBezTo>
                      <a:cubicBezTo>
                        <a:pt x="313282" y="218102"/>
                        <a:pt x="288411" y="195143"/>
                        <a:pt x="324761" y="176490"/>
                      </a:cubicBezTo>
                      <a:cubicBezTo>
                        <a:pt x="343414" y="166446"/>
                        <a:pt x="337197" y="195622"/>
                        <a:pt x="349633" y="212840"/>
                      </a:cubicBezTo>
                      <a:cubicBezTo>
                        <a:pt x="362068" y="230537"/>
                        <a:pt x="353459" y="242973"/>
                        <a:pt x="374504" y="252060"/>
                      </a:cubicBezTo>
                      <a:cubicBezTo>
                        <a:pt x="399375" y="263539"/>
                        <a:pt x="409419" y="265931"/>
                        <a:pt x="429029" y="248234"/>
                      </a:cubicBezTo>
                      <a:cubicBezTo>
                        <a:pt x="450074" y="230537"/>
                        <a:pt x="432855" y="220493"/>
                        <a:pt x="436682" y="194187"/>
                      </a:cubicBezTo>
                      <a:cubicBezTo>
                        <a:pt x="441465" y="166446"/>
                        <a:pt x="441465" y="166446"/>
                        <a:pt x="445291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1" name="Freeform: Shape 480">
                  <a:extLst>
                    <a:ext uri="{FF2B5EF4-FFF2-40B4-BE49-F238E27FC236}">
                      <a16:creationId xmlns:a16="http://schemas.microsoft.com/office/drawing/2014/main" id="{5AFE01FF-EFF7-FF2E-10CD-6BD9E002D515}"/>
                    </a:ext>
                  </a:extLst>
                </p:cNvPr>
                <p:cNvSpPr/>
                <p:nvPr/>
              </p:nvSpPr>
              <p:spPr>
                <a:xfrm>
                  <a:off x="5030099" y="5238651"/>
                  <a:ext cx="55484" cy="41374"/>
                </a:xfrm>
                <a:custGeom>
                  <a:avLst/>
                  <a:gdLst>
                    <a:gd name="connsiteX0" fmla="*/ 139183 w 139183"/>
                    <a:gd name="connsiteY0" fmla="*/ 0 h 103789"/>
                    <a:gd name="connsiteX1" fmla="*/ 139183 w 139183"/>
                    <a:gd name="connsiteY1" fmla="*/ 0 h 103789"/>
                    <a:gd name="connsiteX2" fmla="*/ 95659 w 139183"/>
                    <a:gd name="connsiteY2" fmla="*/ 39220 h 103789"/>
                    <a:gd name="connsiteX3" fmla="*/ 49743 w 139183"/>
                    <a:gd name="connsiteY3" fmla="*/ 72222 h 103789"/>
                    <a:gd name="connsiteX4" fmla="*/ 0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139183" y="0"/>
                      </a:moveTo>
                      <a:lnTo>
                        <a:pt x="139183" y="0"/>
                      </a:lnTo>
                      <a:cubicBezTo>
                        <a:pt x="116704" y="17697"/>
                        <a:pt x="119095" y="21523"/>
                        <a:pt x="95659" y="39220"/>
                      </a:cubicBezTo>
                      <a:cubicBezTo>
                        <a:pt x="73179" y="55482"/>
                        <a:pt x="73179" y="55482"/>
                        <a:pt x="49743" y="72222"/>
                      </a:cubicBezTo>
                      <a:cubicBezTo>
                        <a:pt x="26306" y="89919"/>
                        <a:pt x="23436" y="86093"/>
                        <a:pt x="0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E1364178-F319-1BB1-FFC8-28CE4A535E77}"/>
                    </a:ext>
                  </a:extLst>
                </p:cNvPr>
                <p:cNvSpPr/>
                <p:nvPr/>
              </p:nvSpPr>
              <p:spPr>
                <a:xfrm>
                  <a:off x="5151173" y="5030634"/>
                  <a:ext cx="1907" cy="28600"/>
                </a:xfrm>
                <a:custGeom>
                  <a:avLst/>
                  <a:gdLst>
                    <a:gd name="connsiteX0" fmla="*/ 4783 w 4783"/>
                    <a:gd name="connsiteY0" fmla="*/ 0 h 71743"/>
                    <a:gd name="connsiteX1" fmla="*/ 4783 w 4783"/>
                    <a:gd name="connsiteY1" fmla="*/ 0 h 71743"/>
                    <a:gd name="connsiteX2" fmla="*/ 0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4783" y="0"/>
                      </a:moveTo>
                      <a:lnTo>
                        <a:pt x="4783" y="0"/>
                      </a:lnTo>
                      <a:cubicBezTo>
                        <a:pt x="2392" y="35394"/>
                        <a:pt x="2392" y="35394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3" name="Freeform: Shape 482">
                  <a:extLst>
                    <a:ext uri="{FF2B5EF4-FFF2-40B4-BE49-F238E27FC236}">
                      <a16:creationId xmlns:a16="http://schemas.microsoft.com/office/drawing/2014/main" id="{B391599D-D7A2-3CE8-86AE-595C5D4D5A16}"/>
                    </a:ext>
                  </a:extLst>
                </p:cNvPr>
                <p:cNvSpPr/>
                <p:nvPr/>
              </p:nvSpPr>
              <p:spPr>
                <a:xfrm>
                  <a:off x="5116281" y="5027202"/>
                  <a:ext cx="616" cy="28600"/>
                </a:xfrm>
                <a:custGeom>
                  <a:avLst/>
                  <a:gdLst>
                    <a:gd name="connsiteX0" fmla="*/ 1435 w 1546"/>
                    <a:gd name="connsiteY0" fmla="*/ 0 h 71743"/>
                    <a:gd name="connsiteX1" fmla="*/ 1435 w 1546"/>
                    <a:gd name="connsiteY1" fmla="*/ 0 h 71743"/>
                    <a:gd name="connsiteX2" fmla="*/ 0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435" y="0"/>
                      </a:moveTo>
                      <a:lnTo>
                        <a:pt x="1435" y="0"/>
                      </a:lnTo>
                      <a:cubicBezTo>
                        <a:pt x="-957" y="35394"/>
                        <a:pt x="3826" y="36350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4" name="Freeform: Shape 483">
                  <a:extLst>
                    <a:ext uri="{FF2B5EF4-FFF2-40B4-BE49-F238E27FC236}">
                      <a16:creationId xmlns:a16="http://schemas.microsoft.com/office/drawing/2014/main" id="{9B7E8FE0-6456-2E4B-07DB-AE81CE40A6D1}"/>
                    </a:ext>
                  </a:extLst>
                </p:cNvPr>
                <p:cNvSpPr/>
                <p:nvPr/>
              </p:nvSpPr>
              <p:spPr>
                <a:xfrm>
                  <a:off x="5036698" y="4939566"/>
                  <a:ext cx="242031" cy="327077"/>
                </a:xfrm>
                <a:custGeom>
                  <a:avLst/>
                  <a:gdLst>
                    <a:gd name="connsiteX0" fmla="*/ 1145 w 607142"/>
                    <a:gd name="connsiteY0" fmla="*/ 408765 h 820484"/>
                    <a:gd name="connsiteX1" fmla="*/ 1145 w 607142"/>
                    <a:gd name="connsiteY1" fmla="*/ 408765 h 820484"/>
                    <a:gd name="connsiteX2" fmla="*/ 3536 w 607142"/>
                    <a:gd name="connsiteY2" fmla="*/ 464247 h 820484"/>
                    <a:gd name="connsiteX3" fmla="*/ 12145 w 607142"/>
                    <a:gd name="connsiteY3" fmla="*/ 521164 h 820484"/>
                    <a:gd name="connsiteX4" fmla="*/ 26016 w 607142"/>
                    <a:gd name="connsiteY4" fmla="*/ 575211 h 820484"/>
                    <a:gd name="connsiteX5" fmla="*/ 42278 w 607142"/>
                    <a:gd name="connsiteY5" fmla="*/ 629258 h 820484"/>
                    <a:gd name="connsiteX6" fmla="*/ 68584 w 607142"/>
                    <a:gd name="connsiteY6" fmla="*/ 679479 h 820484"/>
                    <a:gd name="connsiteX7" fmla="*/ 101108 w 607142"/>
                    <a:gd name="connsiteY7" fmla="*/ 724917 h 820484"/>
                    <a:gd name="connsiteX8" fmla="*/ 140806 w 607142"/>
                    <a:gd name="connsiteY8" fmla="*/ 766528 h 820484"/>
                    <a:gd name="connsiteX9" fmla="*/ 190549 w 607142"/>
                    <a:gd name="connsiteY9" fmla="*/ 792834 h 820484"/>
                    <a:gd name="connsiteX10" fmla="*/ 240291 w 607142"/>
                    <a:gd name="connsiteY10" fmla="*/ 816749 h 820484"/>
                    <a:gd name="connsiteX11" fmla="*/ 296252 w 607142"/>
                    <a:gd name="connsiteY11" fmla="*/ 819141 h 820484"/>
                    <a:gd name="connsiteX12" fmla="*/ 352212 w 607142"/>
                    <a:gd name="connsiteY12" fmla="*/ 817706 h 820484"/>
                    <a:gd name="connsiteX13" fmla="*/ 403389 w 607142"/>
                    <a:gd name="connsiteY13" fmla="*/ 795226 h 820484"/>
                    <a:gd name="connsiteX14" fmla="*/ 450740 w 607142"/>
                    <a:gd name="connsiteY14" fmla="*/ 766050 h 820484"/>
                    <a:gd name="connsiteX15" fmla="*/ 494265 w 607142"/>
                    <a:gd name="connsiteY15" fmla="*/ 730656 h 820484"/>
                    <a:gd name="connsiteX16" fmla="*/ 529180 w 607142"/>
                    <a:gd name="connsiteY16" fmla="*/ 685219 h 820484"/>
                    <a:gd name="connsiteX17" fmla="*/ 556443 w 607142"/>
                    <a:gd name="connsiteY17" fmla="*/ 635954 h 820484"/>
                    <a:gd name="connsiteX18" fmla="*/ 579879 w 607142"/>
                    <a:gd name="connsiteY18" fmla="*/ 582864 h 820484"/>
                    <a:gd name="connsiteX19" fmla="*/ 589924 w 607142"/>
                    <a:gd name="connsiteY19" fmla="*/ 527382 h 820484"/>
                    <a:gd name="connsiteX20" fmla="*/ 602359 w 607142"/>
                    <a:gd name="connsiteY20" fmla="*/ 471900 h 820484"/>
                    <a:gd name="connsiteX21" fmla="*/ 607142 w 607142"/>
                    <a:gd name="connsiteY21" fmla="*/ 414983 h 820484"/>
                    <a:gd name="connsiteX22" fmla="*/ 603316 w 607142"/>
                    <a:gd name="connsiteY22" fmla="*/ 358066 h 820484"/>
                    <a:gd name="connsiteX23" fmla="*/ 594706 w 607142"/>
                    <a:gd name="connsiteY23" fmla="*/ 302584 h 820484"/>
                    <a:gd name="connsiteX24" fmla="*/ 582271 w 607142"/>
                    <a:gd name="connsiteY24" fmla="*/ 247102 h 820484"/>
                    <a:gd name="connsiteX25" fmla="*/ 561226 w 607142"/>
                    <a:gd name="connsiteY25" fmla="*/ 194012 h 820484"/>
                    <a:gd name="connsiteX26" fmla="*/ 533963 w 607142"/>
                    <a:gd name="connsiteY26" fmla="*/ 144747 h 820484"/>
                    <a:gd name="connsiteX27" fmla="*/ 501439 w 607142"/>
                    <a:gd name="connsiteY27" fmla="*/ 97875 h 820484"/>
                    <a:gd name="connsiteX28" fmla="*/ 457915 w 607142"/>
                    <a:gd name="connsiteY28" fmla="*/ 62481 h 820484"/>
                    <a:gd name="connsiteX29" fmla="*/ 412955 w 607142"/>
                    <a:gd name="connsiteY29" fmla="*/ 29479 h 820484"/>
                    <a:gd name="connsiteX30" fmla="*/ 363213 w 607142"/>
                    <a:gd name="connsiteY30" fmla="*/ 3173 h 820484"/>
                    <a:gd name="connsiteX31" fmla="*/ 307252 w 607142"/>
                    <a:gd name="connsiteY31" fmla="*/ 781 h 820484"/>
                    <a:gd name="connsiteX32" fmla="*/ 251292 w 607142"/>
                    <a:gd name="connsiteY32" fmla="*/ 6999 h 820484"/>
                    <a:gd name="connsiteX33" fmla="*/ 199158 w 607142"/>
                    <a:gd name="connsiteY33" fmla="*/ 24696 h 820484"/>
                    <a:gd name="connsiteX34" fmla="*/ 153242 w 607142"/>
                    <a:gd name="connsiteY34" fmla="*/ 56263 h 820484"/>
                    <a:gd name="connsiteX35" fmla="*/ 111152 w 607142"/>
                    <a:gd name="connsiteY35" fmla="*/ 94048 h 820484"/>
                    <a:gd name="connsiteX36" fmla="*/ 73845 w 607142"/>
                    <a:gd name="connsiteY36" fmla="*/ 135660 h 820484"/>
                    <a:gd name="connsiteX37" fmla="*/ 50409 w 607142"/>
                    <a:gd name="connsiteY37" fmla="*/ 188750 h 820484"/>
                    <a:gd name="connsiteX38" fmla="*/ 30321 w 607142"/>
                    <a:gd name="connsiteY38" fmla="*/ 240406 h 820484"/>
                    <a:gd name="connsiteX39" fmla="*/ 10232 w 607142"/>
                    <a:gd name="connsiteY39" fmla="*/ 293497 h 820484"/>
                    <a:gd name="connsiteX40" fmla="*/ 1623 w 607142"/>
                    <a:gd name="connsiteY40" fmla="*/ 350413 h 820484"/>
                    <a:gd name="connsiteX41" fmla="*/ 1145 w 607142"/>
                    <a:gd name="connsiteY41" fmla="*/ 408765 h 820484"/>
                    <a:gd name="connsiteX42" fmla="*/ 1145 w 607142"/>
                    <a:gd name="connsiteY42" fmla="*/ 408765 h 820484"/>
                    <a:gd name="connsiteX43" fmla="*/ 1145 w 607142"/>
                    <a:gd name="connsiteY43" fmla="*/ 408765 h 820484"/>
                    <a:gd name="connsiteX44" fmla="*/ 1145 w 607142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7142" h="820484">
                      <a:moveTo>
                        <a:pt x="1145" y="408765"/>
                      </a:moveTo>
                      <a:lnTo>
                        <a:pt x="1145" y="408765"/>
                      </a:lnTo>
                      <a:cubicBezTo>
                        <a:pt x="-290" y="427419"/>
                        <a:pt x="2101" y="446550"/>
                        <a:pt x="3536" y="464247"/>
                      </a:cubicBezTo>
                      <a:cubicBezTo>
                        <a:pt x="4971" y="484335"/>
                        <a:pt x="8319" y="502032"/>
                        <a:pt x="12145" y="521164"/>
                      </a:cubicBezTo>
                      <a:cubicBezTo>
                        <a:pt x="15972" y="540296"/>
                        <a:pt x="19798" y="557514"/>
                        <a:pt x="26016" y="575211"/>
                      </a:cubicBezTo>
                      <a:cubicBezTo>
                        <a:pt x="30799" y="592908"/>
                        <a:pt x="33669" y="612996"/>
                        <a:pt x="42278" y="629258"/>
                      </a:cubicBezTo>
                      <a:cubicBezTo>
                        <a:pt x="49931" y="646955"/>
                        <a:pt x="58540" y="663217"/>
                        <a:pt x="68584" y="679479"/>
                      </a:cubicBezTo>
                      <a:cubicBezTo>
                        <a:pt x="78628" y="695741"/>
                        <a:pt x="89629" y="711046"/>
                        <a:pt x="101108" y="724917"/>
                      </a:cubicBezTo>
                      <a:cubicBezTo>
                        <a:pt x="113544" y="740222"/>
                        <a:pt x="125979" y="754093"/>
                        <a:pt x="140806" y="766528"/>
                      </a:cubicBezTo>
                      <a:cubicBezTo>
                        <a:pt x="155633" y="778007"/>
                        <a:pt x="174287" y="784225"/>
                        <a:pt x="190549" y="792834"/>
                      </a:cubicBezTo>
                      <a:cubicBezTo>
                        <a:pt x="206811" y="801444"/>
                        <a:pt x="223073" y="811966"/>
                        <a:pt x="240291" y="816749"/>
                      </a:cubicBezTo>
                      <a:cubicBezTo>
                        <a:pt x="258945" y="822010"/>
                        <a:pt x="277598" y="818184"/>
                        <a:pt x="296252" y="819141"/>
                      </a:cubicBezTo>
                      <a:cubicBezTo>
                        <a:pt x="314905" y="819141"/>
                        <a:pt x="334993" y="822967"/>
                        <a:pt x="352212" y="817706"/>
                      </a:cubicBezTo>
                      <a:cubicBezTo>
                        <a:pt x="370865" y="813879"/>
                        <a:pt x="387127" y="803835"/>
                        <a:pt x="403389" y="795226"/>
                      </a:cubicBezTo>
                      <a:cubicBezTo>
                        <a:pt x="419651" y="787573"/>
                        <a:pt x="435913" y="778964"/>
                        <a:pt x="450740" y="766050"/>
                      </a:cubicBezTo>
                      <a:cubicBezTo>
                        <a:pt x="465567" y="754571"/>
                        <a:pt x="481829" y="744527"/>
                        <a:pt x="494265" y="730656"/>
                      </a:cubicBezTo>
                      <a:cubicBezTo>
                        <a:pt x="506701" y="716786"/>
                        <a:pt x="517701" y="700524"/>
                        <a:pt x="529180" y="685219"/>
                      </a:cubicBezTo>
                      <a:cubicBezTo>
                        <a:pt x="539225" y="668957"/>
                        <a:pt x="547834" y="652216"/>
                        <a:pt x="556443" y="635954"/>
                      </a:cubicBezTo>
                      <a:cubicBezTo>
                        <a:pt x="565052" y="618258"/>
                        <a:pt x="573662" y="601996"/>
                        <a:pt x="579879" y="582864"/>
                      </a:cubicBezTo>
                      <a:cubicBezTo>
                        <a:pt x="586097" y="566602"/>
                        <a:pt x="584662" y="546514"/>
                        <a:pt x="589924" y="527382"/>
                      </a:cubicBezTo>
                      <a:cubicBezTo>
                        <a:pt x="593750" y="509685"/>
                        <a:pt x="599968" y="491032"/>
                        <a:pt x="602359" y="471900"/>
                      </a:cubicBezTo>
                      <a:cubicBezTo>
                        <a:pt x="603794" y="452768"/>
                        <a:pt x="607142" y="434115"/>
                        <a:pt x="607142" y="414983"/>
                      </a:cubicBezTo>
                      <a:cubicBezTo>
                        <a:pt x="607142" y="395851"/>
                        <a:pt x="605707" y="377198"/>
                        <a:pt x="603316" y="358066"/>
                      </a:cubicBezTo>
                      <a:cubicBezTo>
                        <a:pt x="601881" y="338934"/>
                        <a:pt x="598533" y="320281"/>
                        <a:pt x="594706" y="302584"/>
                      </a:cubicBezTo>
                      <a:cubicBezTo>
                        <a:pt x="590880" y="283452"/>
                        <a:pt x="587054" y="264799"/>
                        <a:pt x="582271" y="247102"/>
                      </a:cubicBezTo>
                      <a:cubicBezTo>
                        <a:pt x="576053" y="227970"/>
                        <a:pt x="568400" y="211708"/>
                        <a:pt x="561226" y="194012"/>
                      </a:cubicBezTo>
                      <a:cubicBezTo>
                        <a:pt x="552617" y="176315"/>
                        <a:pt x="542573" y="160053"/>
                        <a:pt x="533963" y="144747"/>
                      </a:cubicBezTo>
                      <a:cubicBezTo>
                        <a:pt x="522962" y="128485"/>
                        <a:pt x="513875" y="111745"/>
                        <a:pt x="501439" y="97875"/>
                      </a:cubicBezTo>
                      <a:cubicBezTo>
                        <a:pt x="489004" y="82569"/>
                        <a:pt x="472742" y="73960"/>
                        <a:pt x="457915" y="62481"/>
                      </a:cubicBezTo>
                      <a:cubicBezTo>
                        <a:pt x="443088" y="50045"/>
                        <a:pt x="429217" y="38566"/>
                        <a:pt x="412955" y="29479"/>
                      </a:cubicBezTo>
                      <a:cubicBezTo>
                        <a:pt x="395737" y="20869"/>
                        <a:pt x="380431" y="7956"/>
                        <a:pt x="363213" y="3173"/>
                      </a:cubicBezTo>
                      <a:cubicBezTo>
                        <a:pt x="344559" y="-2089"/>
                        <a:pt x="325906" y="781"/>
                        <a:pt x="307252" y="781"/>
                      </a:cubicBezTo>
                      <a:cubicBezTo>
                        <a:pt x="287164" y="781"/>
                        <a:pt x="269945" y="2216"/>
                        <a:pt x="251292" y="6999"/>
                      </a:cubicBezTo>
                      <a:cubicBezTo>
                        <a:pt x="234073" y="10825"/>
                        <a:pt x="215420" y="15608"/>
                        <a:pt x="199158" y="24696"/>
                      </a:cubicBezTo>
                      <a:cubicBezTo>
                        <a:pt x="181940" y="32349"/>
                        <a:pt x="168069" y="44784"/>
                        <a:pt x="153242" y="56263"/>
                      </a:cubicBezTo>
                      <a:cubicBezTo>
                        <a:pt x="138415" y="67742"/>
                        <a:pt x="123588" y="78743"/>
                        <a:pt x="111152" y="94048"/>
                      </a:cubicBezTo>
                      <a:cubicBezTo>
                        <a:pt x="98717" y="106484"/>
                        <a:pt x="84846" y="120354"/>
                        <a:pt x="73845" y="135660"/>
                      </a:cubicBezTo>
                      <a:cubicBezTo>
                        <a:pt x="63801" y="151922"/>
                        <a:pt x="59018" y="171054"/>
                        <a:pt x="50409" y="188750"/>
                      </a:cubicBezTo>
                      <a:cubicBezTo>
                        <a:pt x="42756" y="205012"/>
                        <a:pt x="36538" y="222709"/>
                        <a:pt x="30321" y="240406"/>
                      </a:cubicBezTo>
                      <a:cubicBezTo>
                        <a:pt x="24103" y="258103"/>
                        <a:pt x="14059" y="274365"/>
                        <a:pt x="10232" y="293497"/>
                      </a:cubicBezTo>
                      <a:cubicBezTo>
                        <a:pt x="6406" y="312628"/>
                        <a:pt x="4014" y="331282"/>
                        <a:pt x="1623" y="350413"/>
                      </a:cubicBezTo>
                      <a:cubicBezTo>
                        <a:pt x="-1725" y="369545"/>
                        <a:pt x="1145" y="389633"/>
                        <a:pt x="1145" y="408765"/>
                      </a:cubicBezTo>
                      <a:lnTo>
                        <a:pt x="1145" y="408765"/>
                      </a:lnTo>
                      <a:lnTo>
                        <a:pt x="1145" y="408765"/>
                      </a:lnTo>
                      <a:lnTo>
                        <a:pt x="1145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5" name="Freeform: Shape 484">
                  <a:extLst>
                    <a:ext uri="{FF2B5EF4-FFF2-40B4-BE49-F238E27FC236}">
                      <a16:creationId xmlns:a16="http://schemas.microsoft.com/office/drawing/2014/main" id="{82DA93A4-896F-F83E-2F03-424D97119804}"/>
                    </a:ext>
                  </a:extLst>
                </p:cNvPr>
                <p:cNvSpPr/>
                <p:nvPr/>
              </p:nvSpPr>
              <p:spPr>
                <a:xfrm>
                  <a:off x="5058619" y="5107664"/>
                  <a:ext cx="140221" cy="119370"/>
                </a:xfrm>
                <a:custGeom>
                  <a:avLst/>
                  <a:gdLst>
                    <a:gd name="connsiteX0" fmla="*/ 351749 w 351748"/>
                    <a:gd name="connsiteY0" fmla="*/ 54047 h 299445"/>
                    <a:gd name="connsiteX1" fmla="*/ 351749 w 351748"/>
                    <a:gd name="connsiteY1" fmla="*/ 54047 h 299445"/>
                    <a:gd name="connsiteX2" fmla="*/ 300572 w 351748"/>
                    <a:gd name="connsiteY2" fmla="*/ 67918 h 299445"/>
                    <a:gd name="connsiteX3" fmla="*/ 248438 w 351748"/>
                    <a:gd name="connsiteY3" fmla="*/ 71744 h 299445"/>
                    <a:gd name="connsiteX4" fmla="*/ 197260 w 351748"/>
                    <a:gd name="connsiteY4" fmla="*/ 74135 h 299445"/>
                    <a:gd name="connsiteX5" fmla="*/ 146083 w 351748"/>
                    <a:gd name="connsiteY5" fmla="*/ 61700 h 299445"/>
                    <a:gd name="connsiteX6" fmla="*/ 94906 w 351748"/>
                    <a:gd name="connsiteY6" fmla="*/ 54047 h 299445"/>
                    <a:gd name="connsiteX7" fmla="*/ 47554 w 351748"/>
                    <a:gd name="connsiteY7" fmla="*/ 31567 h 299445"/>
                    <a:gd name="connsiteX8" fmla="*/ 7856 w 351748"/>
                    <a:gd name="connsiteY8" fmla="*/ 0 h 299445"/>
                    <a:gd name="connsiteX9" fmla="*/ 204 w 351748"/>
                    <a:gd name="connsiteY9" fmla="*/ 51656 h 299445"/>
                    <a:gd name="connsiteX10" fmla="*/ 12639 w 351748"/>
                    <a:gd name="connsiteY10" fmla="*/ 104746 h 299445"/>
                    <a:gd name="connsiteX11" fmla="*/ 32728 w 351748"/>
                    <a:gd name="connsiteY11" fmla="*/ 154967 h 299445"/>
                    <a:gd name="connsiteX12" fmla="*/ 51381 w 351748"/>
                    <a:gd name="connsiteY12" fmla="*/ 206623 h 299445"/>
                    <a:gd name="connsiteX13" fmla="*/ 84862 w 351748"/>
                    <a:gd name="connsiteY13" fmla="*/ 249669 h 299445"/>
                    <a:gd name="connsiteX14" fmla="*/ 124560 w 351748"/>
                    <a:gd name="connsiteY14" fmla="*/ 285063 h 299445"/>
                    <a:gd name="connsiteX15" fmla="*/ 172867 w 351748"/>
                    <a:gd name="connsiteY15" fmla="*/ 298933 h 299445"/>
                    <a:gd name="connsiteX16" fmla="*/ 220218 w 351748"/>
                    <a:gd name="connsiteY16" fmla="*/ 277410 h 299445"/>
                    <a:gd name="connsiteX17" fmla="*/ 259917 w 351748"/>
                    <a:gd name="connsiteY17" fmla="*/ 243451 h 299445"/>
                    <a:gd name="connsiteX18" fmla="*/ 293397 w 351748"/>
                    <a:gd name="connsiteY18" fmla="*/ 203275 h 299445"/>
                    <a:gd name="connsiteX19" fmla="*/ 320660 w 351748"/>
                    <a:gd name="connsiteY19" fmla="*/ 157837 h 299445"/>
                    <a:gd name="connsiteX20" fmla="*/ 343140 w 351748"/>
                    <a:gd name="connsiteY20" fmla="*/ 110007 h 299445"/>
                    <a:gd name="connsiteX21" fmla="*/ 351749 w 351748"/>
                    <a:gd name="connsiteY21" fmla="*/ 54047 h 299445"/>
                    <a:gd name="connsiteX22" fmla="*/ 351749 w 351748"/>
                    <a:gd name="connsiteY22" fmla="*/ 54047 h 299445"/>
                    <a:gd name="connsiteX23" fmla="*/ 351749 w 351748"/>
                    <a:gd name="connsiteY23" fmla="*/ 54047 h 299445"/>
                    <a:gd name="connsiteX24" fmla="*/ 351749 w 351748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8" h="299445">
                      <a:moveTo>
                        <a:pt x="351749" y="54047"/>
                      </a:moveTo>
                      <a:lnTo>
                        <a:pt x="351749" y="54047"/>
                      </a:lnTo>
                      <a:cubicBezTo>
                        <a:pt x="330704" y="40177"/>
                        <a:pt x="331661" y="62656"/>
                        <a:pt x="300572" y="67918"/>
                      </a:cubicBezTo>
                      <a:cubicBezTo>
                        <a:pt x="285745" y="69352"/>
                        <a:pt x="268048" y="70309"/>
                        <a:pt x="248438" y="71744"/>
                      </a:cubicBezTo>
                      <a:cubicBezTo>
                        <a:pt x="232176" y="71744"/>
                        <a:pt x="214957" y="75570"/>
                        <a:pt x="197260" y="74135"/>
                      </a:cubicBezTo>
                      <a:cubicBezTo>
                        <a:pt x="180042" y="72701"/>
                        <a:pt x="163780" y="65526"/>
                        <a:pt x="146083" y="61700"/>
                      </a:cubicBezTo>
                      <a:cubicBezTo>
                        <a:pt x="129821" y="59308"/>
                        <a:pt x="111168" y="60265"/>
                        <a:pt x="94906" y="54047"/>
                      </a:cubicBezTo>
                      <a:cubicBezTo>
                        <a:pt x="78644" y="48786"/>
                        <a:pt x="62382" y="40177"/>
                        <a:pt x="47554" y="31567"/>
                      </a:cubicBezTo>
                      <a:cubicBezTo>
                        <a:pt x="32728" y="22958"/>
                        <a:pt x="20292" y="12436"/>
                        <a:pt x="7856" y="0"/>
                      </a:cubicBezTo>
                      <a:cubicBezTo>
                        <a:pt x="1638" y="13870"/>
                        <a:pt x="-753" y="30132"/>
                        <a:pt x="204" y="51656"/>
                      </a:cubicBezTo>
                      <a:cubicBezTo>
                        <a:pt x="1638" y="67918"/>
                        <a:pt x="7856" y="85614"/>
                        <a:pt x="12639" y="104746"/>
                      </a:cubicBezTo>
                      <a:cubicBezTo>
                        <a:pt x="17422" y="122443"/>
                        <a:pt x="25075" y="138705"/>
                        <a:pt x="32728" y="154967"/>
                      </a:cubicBezTo>
                      <a:cubicBezTo>
                        <a:pt x="38945" y="172664"/>
                        <a:pt x="42772" y="191317"/>
                        <a:pt x="51381" y="206623"/>
                      </a:cubicBezTo>
                      <a:cubicBezTo>
                        <a:pt x="59990" y="222885"/>
                        <a:pt x="73861" y="235799"/>
                        <a:pt x="84862" y="249669"/>
                      </a:cubicBezTo>
                      <a:cubicBezTo>
                        <a:pt x="97297" y="264974"/>
                        <a:pt x="109733" y="275019"/>
                        <a:pt x="124560" y="285063"/>
                      </a:cubicBezTo>
                      <a:cubicBezTo>
                        <a:pt x="139387" y="295107"/>
                        <a:pt x="154214" y="301325"/>
                        <a:pt x="172867" y="298933"/>
                      </a:cubicBezTo>
                      <a:cubicBezTo>
                        <a:pt x="187694" y="296542"/>
                        <a:pt x="203957" y="287454"/>
                        <a:pt x="220218" y="277410"/>
                      </a:cubicBezTo>
                      <a:cubicBezTo>
                        <a:pt x="234089" y="268801"/>
                        <a:pt x="246525" y="255887"/>
                        <a:pt x="259917" y="243451"/>
                      </a:cubicBezTo>
                      <a:cubicBezTo>
                        <a:pt x="270918" y="231016"/>
                        <a:pt x="282397" y="218102"/>
                        <a:pt x="293397" y="203275"/>
                      </a:cubicBezTo>
                      <a:cubicBezTo>
                        <a:pt x="303442" y="189404"/>
                        <a:pt x="313486" y="174099"/>
                        <a:pt x="320660" y="157837"/>
                      </a:cubicBezTo>
                      <a:cubicBezTo>
                        <a:pt x="328313" y="142531"/>
                        <a:pt x="337878" y="126269"/>
                        <a:pt x="343140" y="110007"/>
                      </a:cubicBezTo>
                      <a:cubicBezTo>
                        <a:pt x="348879" y="91832"/>
                        <a:pt x="350314" y="71744"/>
                        <a:pt x="351749" y="54047"/>
                      </a:cubicBezTo>
                      <a:lnTo>
                        <a:pt x="351749" y="54047"/>
                      </a:lnTo>
                      <a:lnTo>
                        <a:pt x="351749" y="54047"/>
                      </a:lnTo>
                      <a:lnTo>
                        <a:pt x="351749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6" name="Freeform: Shape 485">
                  <a:extLst>
                    <a:ext uri="{FF2B5EF4-FFF2-40B4-BE49-F238E27FC236}">
                      <a16:creationId xmlns:a16="http://schemas.microsoft.com/office/drawing/2014/main" id="{1808BD27-68E3-DF8F-2810-6B4823C40F4A}"/>
                    </a:ext>
                  </a:extLst>
                </p:cNvPr>
                <p:cNvSpPr/>
                <p:nvPr/>
              </p:nvSpPr>
              <p:spPr>
                <a:xfrm>
                  <a:off x="4781144" y="5278515"/>
                  <a:ext cx="265007" cy="207664"/>
                </a:xfrm>
                <a:custGeom>
                  <a:avLst/>
                  <a:gdLst>
                    <a:gd name="connsiteX0" fmla="*/ 618774 w 664778"/>
                    <a:gd name="connsiteY0" fmla="*/ 921 h 520933"/>
                    <a:gd name="connsiteX1" fmla="*/ 326058 w 664778"/>
                    <a:gd name="connsiteY1" fmla="*/ 217588 h 520933"/>
                    <a:gd name="connsiteX2" fmla="*/ 62518 w 664778"/>
                    <a:gd name="connsiteY2" fmla="*/ 404122 h 520933"/>
                    <a:gd name="connsiteX3" fmla="*/ 340 w 664778"/>
                    <a:gd name="connsiteY3" fmla="*/ 495954 h 520933"/>
                    <a:gd name="connsiteX4" fmla="*/ 84998 w 664778"/>
                    <a:gd name="connsiteY4" fmla="*/ 516521 h 520933"/>
                    <a:gd name="connsiteX5" fmla="*/ 218442 w 664778"/>
                    <a:gd name="connsiteY5" fmla="*/ 455778 h 520933"/>
                    <a:gd name="connsiteX6" fmla="*/ 347581 w 664778"/>
                    <a:gd name="connsiteY6" fmla="*/ 379251 h 520933"/>
                    <a:gd name="connsiteX7" fmla="*/ 662298 w 664778"/>
                    <a:gd name="connsiteY7" fmla="*/ 204196 h 520933"/>
                    <a:gd name="connsiteX8" fmla="*/ 657037 w 664778"/>
                    <a:gd name="connsiteY8" fmla="*/ 195108 h 520933"/>
                    <a:gd name="connsiteX9" fmla="*/ 416934 w 664778"/>
                    <a:gd name="connsiteY9" fmla="*/ 329509 h 520933"/>
                    <a:gd name="connsiteX10" fmla="*/ 187353 w 664778"/>
                    <a:gd name="connsiteY10" fmla="*/ 461996 h 520933"/>
                    <a:gd name="connsiteX11" fmla="*/ 51040 w 664778"/>
                    <a:gd name="connsiteY11" fmla="*/ 508868 h 520933"/>
                    <a:gd name="connsiteX12" fmla="*/ 26646 w 664778"/>
                    <a:gd name="connsiteY12" fmla="*/ 492128 h 520933"/>
                    <a:gd name="connsiteX13" fmla="*/ 19950 w 664778"/>
                    <a:gd name="connsiteY13" fmla="*/ 469170 h 520933"/>
                    <a:gd name="connsiteX14" fmla="*/ 42909 w 664778"/>
                    <a:gd name="connsiteY14" fmla="*/ 439516 h 520933"/>
                    <a:gd name="connsiteX15" fmla="*/ 95521 w 664778"/>
                    <a:gd name="connsiteY15" fmla="*/ 388817 h 520933"/>
                    <a:gd name="connsiteX16" fmla="*/ 340885 w 664778"/>
                    <a:gd name="connsiteY16" fmla="*/ 219979 h 520933"/>
                    <a:gd name="connsiteX17" fmla="*/ 624034 w 664778"/>
                    <a:gd name="connsiteY17" fmla="*/ 10009 h 520933"/>
                    <a:gd name="connsiteX18" fmla="*/ 618774 w 664778"/>
                    <a:gd name="connsiteY18" fmla="*/ 921 h 520933"/>
                    <a:gd name="connsiteX19" fmla="*/ 618774 w 664778"/>
                    <a:gd name="connsiteY19" fmla="*/ 921 h 520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4778" h="520933">
                      <a:moveTo>
                        <a:pt x="618774" y="921"/>
                      </a:moveTo>
                      <a:cubicBezTo>
                        <a:pt x="522637" y="75057"/>
                        <a:pt x="426021" y="148235"/>
                        <a:pt x="326058" y="217588"/>
                      </a:cubicBezTo>
                      <a:cubicBezTo>
                        <a:pt x="238530" y="278331"/>
                        <a:pt x="140002" y="330465"/>
                        <a:pt x="62518" y="404122"/>
                      </a:cubicBezTo>
                      <a:cubicBezTo>
                        <a:pt x="42430" y="423254"/>
                        <a:pt x="-4442" y="463909"/>
                        <a:pt x="340" y="495954"/>
                      </a:cubicBezTo>
                      <a:cubicBezTo>
                        <a:pt x="5123" y="529913"/>
                        <a:pt x="62040" y="520826"/>
                        <a:pt x="84998" y="516521"/>
                      </a:cubicBezTo>
                      <a:cubicBezTo>
                        <a:pt x="133306" y="507434"/>
                        <a:pt x="177309" y="481127"/>
                        <a:pt x="218442" y="455778"/>
                      </a:cubicBezTo>
                      <a:cubicBezTo>
                        <a:pt x="261010" y="429472"/>
                        <a:pt x="304057" y="403644"/>
                        <a:pt x="347581" y="379251"/>
                      </a:cubicBezTo>
                      <a:cubicBezTo>
                        <a:pt x="452806" y="321378"/>
                        <a:pt x="560422" y="267809"/>
                        <a:pt x="662298" y="204196"/>
                      </a:cubicBezTo>
                      <a:cubicBezTo>
                        <a:pt x="668038" y="200848"/>
                        <a:pt x="662776" y="191282"/>
                        <a:pt x="657037" y="195108"/>
                      </a:cubicBezTo>
                      <a:cubicBezTo>
                        <a:pt x="579075" y="243894"/>
                        <a:pt x="497765" y="286462"/>
                        <a:pt x="416934" y="329509"/>
                      </a:cubicBezTo>
                      <a:cubicBezTo>
                        <a:pt x="338972" y="371120"/>
                        <a:pt x="263880" y="417036"/>
                        <a:pt x="187353" y="461996"/>
                      </a:cubicBezTo>
                      <a:cubicBezTo>
                        <a:pt x="145741" y="486389"/>
                        <a:pt x="100304" y="509347"/>
                        <a:pt x="51040" y="508868"/>
                      </a:cubicBezTo>
                      <a:cubicBezTo>
                        <a:pt x="33821" y="508868"/>
                        <a:pt x="37647" y="509825"/>
                        <a:pt x="26646" y="492128"/>
                      </a:cubicBezTo>
                      <a:cubicBezTo>
                        <a:pt x="9428" y="465344"/>
                        <a:pt x="15646" y="483041"/>
                        <a:pt x="19950" y="469170"/>
                      </a:cubicBezTo>
                      <a:cubicBezTo>
                        <a:pt x="23298" y="458648"/>
                        <a:pt x="35734" y="447647"/>
                        <a:pt x="42909" y="439516"/>
                      </a:cubicBezTo>
                      <a:cubicBezTo>
                        <a:pt x="58692" y="420862"/>
                        <a:pt x="76389" y="404122"/>
                        <a:pt x="95521" y="388817"/>
                      </a:cubicBezTo>
                      <a:cubicBezTo>
                        <a:pt x="171569" y="325204"/>
                        <a:pt x="259575" y="276418"/>
                        <a:pt x="340885" y="219979"/>
                      </a:cubicBezTo>
                      <a:cubicBezTo>
                        <a:pt x="437022" y="152540"/>
                        <a:pt x="531246" y="81753"/>
                        <a:pt x="624034" y="10009"/>
                      </a:cubicBezTo>
                      <a:cubicBezTo>
                        <a:pt x="629296" y="6182"/>
                        <a:pt x="624034" y="-2905"/>
                        <a:pt x="618774" y="921"/>
                      </a:cubicBezTo>
                      <a:lnTo>
                        <a:pt x="618774" y="92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87" name="Freeform: Shape 486">
                  <a:extLst>
                    <a:ext uri="{FF2B5EF4-FFF2-40B4-BE49-F238E27FC236}">
                      <a16:creationId xmlns:a16="http://schemas.microsoft.com/office/drawing/2014/main" id="{A3C7F447-0AF1-3DB3-7225-749E6C80DF54}"/>
                    </a:ext>
                  </a:extLst>
                </p:cNvPr>
                <p:cNvSpPr/>
                <p:nvPr/>
              </p:nvSpPr>
              <p:spPr>
                <a:xfrm>
                  <a:off x="5065227" y="5582511"/>
                  <a:ext cx="25219" cy="71335"/>
                </a:xfrm>
                <a:custGeom>
                  <a:avLst/>
                  <a:gdLst>
                    <a:gd name="connsiteX0" fmla="*/ 61587 w 63262"/>
                    <a:gd name="connsiteY0" fmla="*/ 175312 h 178947"/>
                    <a:gd name="connsiteX1" fmla="*/ 57761 w 63262"/>
                    <a:gd name="connsiteY1" fmla="*/ 138961 h 178947"/>
                    <a:gd name="connsiteX2" fmla="*/ 41977 w 63262"/>
                    <a:gd name="connsiteY2" fmla="*/ 93524 h 178947"/>
                    <a:gd name="connsiteX3" fmla="*/ 10409 w 63262"/>
                    <a:gd name="connsiteY3" fmla="*/ 3605 h 178947"/>
                    <a:gd name="connsiteX4" fmla="*/ 365 w 63262"/>
                    <a:gd name="connsiteY4" fmla="*/ 6474 h 178947"/>
                    <a:gd name="connsiteX5" fmla="*/ 29541 w 63262"/>
                    <a:gd name="connsiteY5" fmla="*/ 89697 h 178947"/>
                    <a:gd name="connsiteX6" fmla="*/ 43890 w 63262"/>
                    <a:gd name="connsiteY6" fmla="*/ 130830 h 178947"/>
                    <a:gd name="connsiteX7" fmla="*/ 51543 w 63262"/>
                    <a:gd name="connsiteY7" fmla="*/ 172920 h 178947"/>
                    <a:gd name="connsiteX8" fmla="*/ 61587 w 63262"/>
                    <a:gd name="connsiteY8" fmla="*/ 175312 h 178947"/>
                    <a:gd name="connsiteX9" fmla="*/ 61587 w 63262"/>
                    <a:gd name="connsiteY9" fmla="*/ 175312 h 178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262" h="178947">
                      <a:moveTo>
                        <a:pt x="61587" y="175312"/>
                      </a:moveTo>
                      <a:cubicBezTo>
                        <a:pt x="65413" y="162876"/>
                        <a:pt x="62065" y="150919"/>
                        <a:pt x="57761" y="138961"/>
                      </a:cubicBezTo>
                      <a:cubicBezTo>
                        <a:pt x="52499" y="123656"/>
                        <a:pt x="47238" y="108351"/>
                        <a:pt x="41977" y="93524"/>
                      </a:cubicBezTo>
                      <a:cubicBezTo>
                        <a:pt x="31454" y="63391"/>
                        <a:pt x="20932" y="33737"/>
                        <a:pt x="10409" y="3605"/>
                      </a:cubicBezTo>
                      <a:cubicBezTo>
                        <a:pt x="8018" y="-2613"/>
                        <a:pt x="-2026" y="-222"/>
                        <a:pt x="365" y="6474"/>
                      </a:cubicBezTo>
                      <a:cubicBezTo>
                        <a:pt x="9931" y="34215"/>
                        <a:pt x="19975" y="61956"/>
                        <a:pt x="29541" y="89697"/>
                      </a:cubicBezTo>
                      <a:cubicBezTo>
                        <a:pt x="34324" y="103568"/>
                        <a:pt x="39107" y="116960"/>
                        <a:pt x="43890" y="130830"/>
                      </a:cubicBezTo>
                      <a:cubicBezTo>
                        <a:pt x="48673" y="144223"/>
                        <a:pt x="55847" y="158571"/>
                        <a:pt x="51543" y="172920"/>
                      </a:cubicBezTo>
                      <a:cubicBezTo>
                        <a:pt x="49151" y="179138"/>
                        <a:pt x="59674" y="181530"/>
                        <a:pt x="61587" y="175312"/>
                      </a:cubicBezTo>
                      <a:lnTo>
                        <a:pt x="61587" y="175312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8" name="Freeform: Shape 487">
                  <a:extLst>
                    <a:ext uri="{FF2B5EF4-FFF2-40B4-BE49-F238E27FC236}">
                      <a16:creationId xmlns:a16="http://schemas.microsoft.com/office/drawing/2014/main" id="{BEFDAE61-056E-F543-4EC3-335928EC13CF}"/>
                    </a:ext>
                  </a:extLst>
                </p:cNvPr>
                <p:cNvSpPr/>
                <p:nvPr/>
              </p:nvSpPr>
              <p:spPr>
                <a:xfrm>
                  <a:off x="5037701" y="5370026"/>
                  <a:ext cx="23311" cy="169807"/>
                </a:xfrm>
                <a:custGeom>
                  <a:avLst/>
                  <a:gdLst>
                    <a:gd name="connsiteX0" fmla="*/ 58416 w 58477"/>
                    <a:gd name="connsiteY0" fmla="*/ 420883 h 425966"/>
                    <a:gd name="connsiteX1" fmla="*/ 10108 w 58477"/>
                    <a:gd name="connsiteY1" fmla="*/ 3811 h 425966"/>
                    <a:gd name="connsiteX2" fmla="*/ 64 w 58477"/>
                    <a:gd name="connsiteY2" fmla="*/ 6681 h 425966"/>
                    <a:gd name="connsiteX3" fmla="*/ 48372 w 58477"/>
                    <a:gd name="connsiteY3" fmla="*/ 421361 h 425966"/>
                    <a:gd name="connsiteX4" fmla="*/ 58416 w 58477"/>
                    <a:gd name="connsiteY4" fmla="*/ 420883 h 425966"/>
                    <a:gd name="connsiteX5" fmla="*/ 58416 w 58477"/>
                    <a:gd name="connsiteY5" fmla="*/ 420883 h 425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5966">
                      <a:moveTo>
                        <a:pt x="58416" y="420883"/>
                      </a:moveTo>
                      <a:cubicBezTo>
                        <a:pt x="45980" y="281221"/>
                        <a:pt x="29718" y="142038"/>
                        <a:pt x="10108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cubicBezTo>
                        <a:pt x="19674" y="144429"/>
                        <a:pt x="35936" y="282656"/>
                        <a:pt x="48372" y="421361"/>
                      </a:cubicBezTo>
                      <a:cubicBezTo>
                        <a:pt x="48850" y="427579"/>
                        <a:pt x="59372" y="427579"/>
                        <a:pt x="58416" y="420883"/>
                      </a:cubicBezTo>
                      <a:lnTo>
                        <a:pt x="58416" y="42088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89" name="Freeform: Shape 488">
                  <a:extLst>
                    <a:ext uri="{FF2B5EF4-FFF2-40B4-BE49-F238E27FC236}">
                      <a16:creationId xmlns:a16="http://schemas.microsoft.com/office/drawing/2014/main" id="{DF44DC4A-AFF0-BD69-0B9F-EB40D9773B61}"/>
                    </a:ext>
                  </a:extLst>
                </p:cNvPr>
                <p:cNvSpPr/>
                <p:nvPr/>
              </p:nvSpPr>
              <p:spPr>
                <a:xfrm>
                  <a:off x="5260439" y="5382950"/>
                  <a:ext cx="26775" cy="141040"/>
                </a:xfrm>
                <a:custGeom>
                  <a:avLst/>
                  <a:gdLst>
                    <a:gd name="connsiteX0" fmla="*/ 921 w 67166"/>
                    <a:gd name="connsiteY0" fmla="*/ 7741 h 353803"/>
                    <a:gd name="connsiteX1" fmla="*/ 56882 w 67166"/>
                    <a:gd name="connsiteY1" fmla="*/ 350199 h 353803"/>
                    <a:gd name="connsiteX2" fmla="*/ 66926 w 67166"/>
                    <a:gd name="connsiteY2" fmla="*/ 347329 h 353803"/>
                    <a:gd name="connsiteX3" fmla="*/ 10009 w 67166"/>
                    <a:gd name="connsiteY3" fmla="*/ 2480 h 353803"/>
                    <a:gd name="connsiteX4" fmla="*/ 921 w 67166"/>
                    <a:gd name="connsiteY4" fmla="*/ 7741 h 353803"/>
                    <a:gd name="connsiteX5" fmla="*/ 921 w 67166"/>
                    <a:gd name="connsiteY5" fmla="*/ 7741 h 353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166" h="353803">
                      <a:moveTo>
                        <a:pt x="921" y="7741"/>
                      </a:moveTo>
                      <a:cubicBezTo>
                        <a:pt x="61186" y="112009"/>
                        <a:pt x="22445" y="238757"/>
                        <a:pt x="56882" y="350199"/>
                      </a:cubicBezTo>
                      <a:cubicBezTo>
                        <a:pt x="58795" y="356417"/>
                        <a:pt x="68839" y="354026"/>
                        <a:pt x="66926" y="347329"/>
                      </a:cubicBezTo>
                      <a:cubicBezTo>
                        <a:pt x="32010" y="234931"/>
                        <a:pt x="70752" y="108183"/>
                        <a:pt x="10009" y="2480"/>
                      </a:cubicBezTo>
                      <a:cubicBezTo>
                        <a:pt x="6182" y="-3259"/>
                        <a:pt x="-2905" y="2002"/>
                        <a:pt x="921" y="7741"/>
                      </a:cubicBezTo>
                      <a:lnTo>
                        <a:pt x="921" y="774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90" name="Freeform: Shape 489">
                  <a:extLst>
                    <a:ext uri="{FF2B5EF4-FFF2-40B4-BE49-F238E27FC236}">
                      <a16:creationId xmlns:a16="http://schemas.microsoft.com/office/drawing/2014/main" id="{26F6B637-260B-DA47-8476-E58A35312CE7}"/>
                    </a:ext>
                  </a:extLst>
                </p:cNvPr>
                <p:cNvSpPr/>
                <p:nvPr/>
              </p:nvSpPr>
              <p:spPr>
                <a:xfrm>
                  <a:off x="5235967" y="5224219"/>
                  <a:ext cx="100242" cy="300990"/>
                </a:xfrm>
                <a:custGeom>
                  <a:avLst/>
                  <a:gdLst>
                    <a:gd name="connsiteX0" fmla="*/ 129269 w 251460"/>
                    <a:gd name="connsiteY0" fmla="*/ 754123 h 755044"/>
                    <a:gd name="connsiteX1" fmla="*/ 248364 w 251460"/>
                    <a:gd name="connsiteY1" fmla="*/ 650334 h 755044"/>
                    <a:gd name="connsiteX2" fmla="*/ 211536 w 251460"/>
                    <a:gd name="connsiteY2" fmla="*/ 424101 h 755044"/>
                    <a:gd name="connsiteX3" fmla="*/ 8740 w 251460"/>
                    <a:gd name="connsiteY3" fmla="*/ 1768 h 755044"/>
                    <a:gd name="connsiteX4" fmla="*/ 1087 w 251460"/>
                    <a:gd name="connsiteY4" fmla="*/ 9421 h 755044"/>
                    <a:gd name="connsiteX5" fmla="*/ 180447 w 251460"/>
                    <a:gd name="connsiteY5" fmla="*/ 385359 h 755044"/>
                    <a:gd name="connsiteX6" fmla="*/ 225406 w 251460"/>
                    <a:gd name="connsiteY6" fmla="*/ 483410 h 755044"/>
                    <a:gd name="connsiteX7" fmla="*/ 239277 w 251460"/>
                    <a:gd name="connsiteY7" fmla="*/ 600591 h 755044"/>
                    <a:gd name="connsiteX8" fmla="*/ 199578 w 251460"/>
                    <a:gd name="connsiteY8" fmla="*/ 707729 h 755044"/>
                    <a:gd name="connsiteX9" fmla="*/ 123530 w 251460"/>
                    <a:gd name="connsiteY9" fmla="*/ 745036 h 755044"/>
                    <a:gd name="connsiteX10" fmla="*/ 129269 w 251460"/>
                    <a:gd name="connsiteY10" fmla="*/ 754123 h 755044"/>
                    <a:gd name="connsiteX11" fmla="*/ 129269 w 251460"/>
                    <a:gd name="connsiteY11" fmla="*/ 754123 h 75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51460" h="755044">
                      <a:moveTo>
                        <a:pt x="129269" y="754123"/>
                      </a:moveTo>
                      <a:cubicBezTo>
                        <a:pt x="176620" y="722556"/>
                        <a:pt x="240712" y="717773"/>
                        <a:pt x="248364" y="650334"/>
                      </a:cubicBezTo>
                      <a:cubicBezTo>
                        <a:pt x="257452" y="570937"/>
                        <a:pt x="246929" y="495367"/>
                        <a:pt x="211536" y="424101"/>
                      </a:cubicBezTo>
                      <a:cubicBezTo>
                        <a:pt x="142661" y="284918"/>
                        <a:pt x="107746" y="124690"/>
                        <a:pt x="8740" y="1768"/>
                      </a:cubicBezTo>
                      <a:cubicBezTo>
                        <a:pt x="4435" y="-3493"/>
                        <a:pt x="-2740" y="4160"/>
                        <a:pt x="1087" y="9421"/>
                      </a:cubicBezTo>
                      <a:cubicBezTo>
                        <a:pt x="89571" y="119428"/>
                        <a:pt x="122095" y="259090"/>
                        <a:pt x="180447" y="385359"/>
                      </a:cubicBezTo>
                      <a:cubicBezTo>
                        <a:pt x="195274" y="417883"/>
                        <a:pt x="214405" y="449451"/>
                        <a:pt x="225406" y="483410"/>
                      </a:cubicBezTo>
                      <a:cubicBezTo>
                        <a:pt x="237842" y="521195"/>
                        <a:pt x="239755" y="560893"/>
                        <a:pt x="239277" y="600591"/>
                      </a:cubicBezTo>
                      <a:cubicBezTo>
                        <a:pt x="238798" y="642681"/>
                        <a:pt x="239755" y="683814"/>
                        <a:pt x="199578" y="707729"/>
                      </a:cubicBezTo>
                      <a:cubicBezTo>
                        <a:pt x="175185" y="722078"/>
                        <a:pt x="147445" y="729252"/>
                        <a:pt x="123530" y="745036"/>
                      </a:cubicBezTo>
                      <a:cubicBezTo>
                        <a:pt x="118269" y="748862"/>
                        <a:pt x="123530" y="757950"/>
                        <a:pt x="129269" y="754123"/>
                      </a:cubicBezTo>
                      <a:lnTo>
                        <a:pt x="129269" y="75412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1" name="Freeform: Shape 490">
                  <a:extLst>
                    <a:ext uri="{FF2B5EF4-FFF2-40B4-BE49-F238E27FC236}">
                      <a16:creationId xmlns:a16="http://schemas.microsoft.com/office/drawing/2014/main" id="{1D9EE457-6C04-EF9F-9690-E6586A9730FF}"/>
                    </a:ext>
                  </a:extLst>
                </p:cNvPr>
                <p:cNvSpPr/>
                <p:nvPr/>
              </p:nvSpPr>
              <p:spPr>
                <a:xfrm>
                  <a:off x="5252582" y="5317593"/>
                  <a:ext cx="12444" cy="65195"/>
                </a:xfrm>
                <a:custGeom>
                  <a:avLst/>
                  <a:gdLst>
                    <a:gd name="connsiteX0" fmla="*/ 64 w 31217"/>
                    <a:gd name="connsiteY0" fmla="*/ 6681 h 163545"/>
                    <a:gd name="connsiteX1" fmla="*/ 21109 w 31217"/>
                    <a:gd name="connsiteY1" fmla="*/ 159735 h 163545"/>
                    <a:gd name="connsiteX2" fmla="*/ 31153 w 31217"/>
                    <a:gd name="connsiteY2" fmla="*/ 156865 h 163545"/>
                    <a:gd name="connsiteX3" fmla="*/ 10109 w 31217"/>
                    <a:gd name="connsiteY3" fmla="*/ 3811 h 163545"/>
                    <a:gd name="connsiteX4" fmla="*/ 64 w 31217"/>
                    <a:gd name="connsiteY4" fmla="*/ 6681 h 163545"/>
                    <a:gd name="connsiteX5" fmla="*/ 64 w 31217"/>
                    <a:gd name="connsiteY5" fmla="*/ 6681 h 163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217" h="163545">
                      <a:moveTo>
                        <a:pt x="64" y="6681"/>
                      </a:moveTo>
                      <a:cubicBezTo>
                        <a:pt x="7239" y="57858"/>
                        <a:pt x="13935" y="109036"/>
                        <a:pt x="21109" y="159735"/>
                      </a:cubicBezTo>
                      <a:cubicBezTo>
                        <a:pt x="22066" y="166431"/>
                        <a:pt x="32110" y="163561"/>
                        <a:pt x="31153" y="156865"/>
                      </a:cubicBezTo>
                      <a:cubicBezTo>
                        <a:pt x="23979" y="105688"/>
                        <a:pt x="17283" y="54510"/>
                        <a:pt x="10109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lnTo>
                        <a:pt x="64" y="668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92" name="Freeform: Shape 491">
                  <a:extLst>
                    <a:ext uri="{FF2B5EF4-FFF2-40B4-BE49-F238E27FC236}">
                      <a16:creationId xmlns:a16="http://schemas.microsoft.com/office/drawing/2014/main" id="{B07B6B0F-1146-B6AE-A5B3-D384068EB167}"/>
                    </a:ext>
                  </a:extLst>
                </p:cNvPr>
                <p:cNvSpPr/>
                <p:nvPr/>
              </p:nvSpPr>
              <p:spPr>
                <a:xfrm>
                  <a:off x="5275311" y="5432269"/>
                  <a:ext cx="25380" cy="23778"/>
                </a:xfrm>
                <a:custGeom>
                  <a:avLst/>
                  <a:gdLst>
                    <a:gd name="connsiteX0" fmla="*/ 10009 w 63666"/>
                    <a:gd name="connsiteY0" fmla="*/ 57167 h 59647"/>
                    <a:gd name="connsiteX1" fmla="*/ 61186 w 63666"/>
                    <a:gd name="connsiteY1" fmla="*/ 9816 h 59647"/>
                    <a:gd name="connsiteX2" fmla="*/ 55925 w 63666"/>
                    <a:gd name="connsiteY2" fmla="*/ 729 h 59647"/>
                    <a:gd name="connsiteX3" fmla="*/ 921 w 63666"/>
                    <a:gd name="connsiteY3" fmla="*/ 51906 h 59647"/>
                    <a:gd name="connsiteX4" fmla="*/ 10009 w 63666"/>
                    <a:gd name="connsiteY4" fmla="*/ 57167 h 59647"/>
                    <a:gd name="connsiteX5" fmla="*/ 10009 w 63666"/>
                    <a:gd name="connsiteY5" fmla="*/ 57167 h 5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666" h="59647">
                      <a:moveTo>
                        <a:pt x="10009" y="57167"/>
                      </a:moveTo>
                      <a:cubicBezTo>
                        <a:pt x="22923" y="37557"/>
                        <a:pt x="40619" y="21295"/>
                        <a:pt x="61186" y="9816"/>
                      </a:cubicBezTo>
                      <a:cubicBezTo>
                        <a:pt x="66926" y="6468"/>
                        <a:pt x="61664" y="-2619"/>
                        <a:pt x="55925" y="729"/>
                      </a:cubicBezTo>
                      <a:cubicBezTo>
                        <a:pt x="33923" y="13164"/>
                        <a:pt x="15270" y="30861"/>
                        <a:pt x="921" y="51906"/>
                      </a:cubicBezTo>
                      <a:cubicBezTo>
                        <a:pt x="-2905" y="57646"/>
                        <a:pt x="6182" y="62907"/>
                        <a:pt x="10009" y="57167"/>
                      </a:cubicBezTo>
                      <a:lnTo>
                        <a:pt x="10009" y="5716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493" name="Group 492">
                <a:extLst>
                  <a:ext uri="{FF2B5EF4-FFF2-40B4-BE49-F238E27FC236}">
                    <a16:creationId xmlns:a16="http://schemas.microsoft.com/office/drawing/2014/main" id="{9D044BDD-EAED-23BF-51F2-0C1FE629DFB7}"/>
                  </a:ext>
                </a:extLst>
              </p:cNvPr>
              <p:cNvGrpSpPr/>
              <p:nvPr/>
            </p:nvGrpSpPr>
            <p:grpSpPr>
              <a:xfrm>
                <a:off x="859766" y="4555073"/>
                <a:ext cx="104642" cy="140620"/>
                <a:chOff x="5649818" y="2799799"/>
                <a:chExt cx="1387448" cy="1864483"/>
              </a:xfrm>
            </p:grpSpPr>
            <p:sp>
              <p:nvSpPr>
                <p:cNvPr id="494" name="Freeform: Shape 493">
                  <a:extLst>
                    <a:ext uri="{FF2B5EF4-FFF2-40B4-BE49-F238E27FC236}">
                      <a16:creationId xmlns:a16="http://schemas.microsoft.com/office/drawing/2014/main" id="{551744BA-A896-F0D9-BD33-A3A75677C899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5" name="Freeform: Shape 494">
                  <a:extLst>
                    <a:ext uri="{FF2B5EF4-FFF2-40B4-BE49-F238E27FC236}">
                      <a16:creationId xmlns:a16="http://schemas.microsoft.com/office/drawing/2014/main" id="{CD1DD83C-0501-3D66-B819-12AFF5069EE8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6" name="Freeform: Shape 495">
                  <a:extLst>
                    <a:ext uri="{FF2B5EF4-FFF2-40B4-BE49-F238E27FC236}">
                      <a16:creationId xmlns:a16="http://schemas.microsoft.com/office/drawing/2014/main" id="{54072FA3-8F47-C2ED-0CF0-9E0E790A4C80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7" name="Freeform: Shape 496">
                  <a:extLst>
                    <a:ext uri="{FF2B5EF4-FFF2-40B4-BE49-F238E27FC236}">
                      <a16:creationId xmlns:a16="http://schemas.microsoft.com/office/drawing/2014/main" id="{57D9DB6C-5E80-80FB-7373-4A1894A2747A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8" name="Freeform: Shape 497">
                  <a:extLst>
                    <a:ext uri="{FF2B5EF4-FFF2-40B4-BE49-F238E27FC236}">
                      <a16:creationId xmlns:a16="http://schemas.microsoft.com/office/drawing/2014/main" id="{A568A183-101F-5C67-2E4D-C41383CD1E0E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99" name="Group 498">
                <a:extLst>
                  <a:ext uri="{FF2B5EF4-FFF2-40B4-BE49-F238E27FC236}">
                    <a16:creationId xmlns:a16="http://schemas.microsoft.com/office/drawing/2014/main" id="{869E3D19-62E7-642C-7572-35F27C64F6CB}"/>
                  </a:ext>
                </a:extLst>
              </p:cNvPr>
              <p:cNvGrpSpPr/>
              <p:nvPr/>
            </p:nvGrpSpPr>
            <p:grpSpPr>
              <a:xfrm>
                <a:off x="871673" y="4571741"/>
                <a:ext cx="104642" cy="140620"/>
                <a:chOff x="5649818" y="2799799"/>
                <a:chExt cx="1387448" cy="1864483"/>
              </a:xfrm>
            </p:grpSpPr>
            <p:sp>
              <p:nvSpPr>
                <p:cNvPr id="500" name="Freeform: Shape 499">
                  <a:extLst>
                    <a:ext uri="{FF2B5EF4-FFF2-40B4-BE49-F238E27FC236}">
                      <a16:creationId xmlns:a16="http://schemas.microsoft.com/office/drawing/2014/main" id="{8B05F33B-FE2A-231A-930C-4B41978295E2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1" name="Freeform: Shape 500">
                  <a:extLst>
                    <a:ext uri="{FF2B5EF4-FFF2-40B4-BE49-F238E27FC236}">
                      <a16:creationId xmlns:a16="http://schemas.microsoft.com/office/drawing/2014/main" id="{5B54A737-1A75-C98C-0EE5-5650ADD3DA2C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2" name="Freeform: Shape 501">
                  <a:extLst>
                    <a:ext uri="{FF2B5EF4-FFF2-40B4-BE49-F238E27FC236}">
                      <a16:creationId xmlns:a16="http://schemas.microsoft.com/office/drawing/2014/main" id="{21C6C824-8696-E178-7BFF-021B52EEA9BA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3" name="Freeform: Shape 502">
                  <a:extLst>
                    <a:ext uri="{FF2B5EF4-FFF2-40B4-BE49-F238E27FC236}">
                      <a16:creationId xmlns:a16="http://schemas.microsoft.com/office/drawing/2014/main" id="{087C087E-9197-7DCA-86AA-C25533032348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4" name="Freeform: Shape 503">
                  <a:extLst>
                    <a:ext uri="{FF2B5EF4-FFF2-40B4-BE49-F238E27FC236}">
                      <a16:creationId xmlns:a16="http://schemas.microsoft.com/office/drawing/2014/main" id="{F14C348C-4522-774B-00AE-CC4BAEE0FC51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9" name="Speech Bubble: Rectangle with Corners Rounded 8">
                <a:extLst>
                  <a:ext uri="{FF2B5EF4-FFF2-40B4-BE49-F238E27FC236}">
                    <a16:creationId xmlns:a16="http://schemas.microsoft.com/office/drawing/2014/main" id="{6F2C5CA8-C7ED-A237-6D96-C8974692EBBD}"/>
                  </a:ext>
                </a:extLst>
              </p:cNvPr>
              <p:cNvSpPr/>
              <p:nvPr/>
            </p:nvSpPr>
            <p:spPr>
              <a:xfrm>
                <a:off x="1092993" y="4038599"/>
                <a:ext cx="378619" cy="269082"/>
              </a:xfrm>
              <a:prstGeom prst="wedgeRoundRectCallout">
                <a:avLst>
                  <a:gd name="adj1" fmla="val 14165"/>
                  <a:gd name="adj2" fmla="val 78844"/>
                  <a:gd name="adj3" fmla="val 16667"/>
                </a:avLst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696A511E-8032-93DB-7AAD-AE7D28245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169193" y="4052413"/>
                <a:ext cx="219550" cy="219550"/>
              </a:xfrm>
              <a:prstGeom prst="rect">
                <a:avLst/>
              </a:prstGeom>
            </p:spPr>
          </p:pic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D41E47-FB4A-2E50-39D9-69125CB66923}"/>
              </a:ext>
            </a:extLst>
          </p:cNvPr>
          <p:cNvGrpSpPr/>
          <p:nvPr/>
        </p:nvGrpSpPr>
        <p:grpSpPr>
          <a:xfrm>
            <a:off x="6921951" y="4388290"/>
            <a:ext cx="1054730" cy="1111458"/>
            <a:chOff x="5146732" y="4259752"/>
            <a:chExt cx="1019587" cy="1182198"/>
          </a:xfrm>
        </p:grpSpPr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F8BE8532-0B36-F358-7568-921B1C642BDE}"/>
                </a:ext>
              </a:extLst>
            </p:cNvPr>
            <p:cNvSpPr/>
            <p:nvPr/>
          </p:nvSpPr>
          <p:spPr>
            <a:xfrm>
              <a:off x="5993409" y="4498624"/>
              <a:ext cx="20738" cy="28643"/>
            </a:xfrm>
            <a:custGeom>
              <a:avLst/>
              <a:gdLst>
                <a:gd name="connsiteX0" fmla="*/ 109 w 14206"/>
                <a:gd name="connsiteY0" fmla="*/ 18574 h 19621"/>
                <a:gd name="connsiteX1" fmla="*/ 395 w 14206"/>
                <a:gd name="connsiteY1" fmla="*/ 19431 h 19621"/>
                <a:gd name="connsiteX2" fmla="*/ 1252 w 14206"/>
                <a:gd name="connsiteY2" fmla="*/ 19621 h 19621"/>
                <a:gd name="connsiteX3" fmla="*/ 14206 w 14206"/>
                <a:gd name="connsiteY3" fmla="*/ 19050 h 19621"/>
                <a:gd name="connsiteX4" fmla="*/ 12111 w 14206"/>
                <a:gd name="connsiteY4" fmla="*/ 15621 h 19621"/>
                <a:gd name="connsiteX5" fmla="*/ 4396 w 14206"/>
                <a:gd name="connsiteY5" fmla="*/ 15811 h 19621"/>
                <a:gd name="connsiteX6" fmla="*/ 4110 w 14206"/>
                <a:gd name="connsiteY6" fmla="*/ 15716 h 19621"/>
                <a:gd name="connsiteX7" fmla="*/ 4110 w 14206"/>
                <a:gd name="connsiteY7" fmla="*/ 15430 h 19621"/>
                <a:gd name="connsiteX8" fmla="*/ 5824 w 14206"/>
                <a:gd name="connsiteY8" fmla="*/ 5429 h 19621"/>
                <a:gd name="connsiteX9" fmla="*/ 2491 w 14206"/>
                <a:gd name="connsiteY9" fmla="*/ 0 h 19621"/>
                <a:gd name="connsiteX10" fmla="*/ 2300 w 14206"/>
                <a:gd name="connsiteY10" fmla="*/ 1429 h 19621"/>
                <a:gd name="connsiteX11" fmla="*/ 109 w 14206"/>
                <a:gd name="connsiteY11" fmla="*/ 18574 h 1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06" h="19621">
                  <a:moveTo>
                    <a:pt x="109" y="18574"/>
                  </a:moveTo>
                  <a:cubicBezTo>
                    <a:pt x="109" y="18859"/>
                    <a:pt x="205" y="19241"/>
                    <a:pt x="395" y="19431"/>
                  </a:cubicBezTo>
                  <a:cubicBezTo>
                    <a:pt x="586" y="19621"/>
                    <a:pt x="967" y="19621"/>
                    <a:pt x="1252" y="19621"/>
                  </a:cubicBezTo>
                  <a:cubicBezTo>
                    <a:pt x="5539" y="19431"/>
                    <a:pt x="9920" y="19241"/>
                    <a:pt x="14206" y="19050"/>
                  </a:cubicBezTo>
                  <a:lnTo>
                    <a:pt x="12111" y="15621"/>
                  </a:lnTo>
                  <a:cubicBezTo>
                    <a:pt x="9539" y="15811"/>
                    <a:pt x="6967" y="15907"/>
                    <a:pt x="4396" y="15811"/>
                  </a:cubicBezTo>
                  <a:cubicBezTo>
                    <a:pt x="4300" y="15811"/>
                    <a:pt x="4205" y="15811"/>
                    <a:pt x="4110" y="15716"/>
                  </a:cubicBezTo>
                  <a:cubicBezTo>
                    <a:pt x="4015" y="15621"/>
                    <a:pt x="4015" y="15526"/>
                    <a:pt x="4110" y="15430"/>
                  </a:cubicBezTo>
                  <a:cubicBezTo>
                    <a:pt x="4491" y="12097"/>
                    <a:pt x="5348" y="8763"/>
                    <a:pt x="5824" y="5429"/>
                  </a:cubicBezTo>
                  <a:lnTo>
                    <a:pt x="2491" y="0"/>
                  </a:lnTo>
                  <a:cubicBezTo>
                    <a:pt x="2395" y="476"/>
                    <a:pt x="2395" y="953"/>
                    <a:pt x="2300" y="1429"/>
                  </a:cubicBezTo>
                  <a:cubicBezTo>
                    <a:pt x="776" y="7048"/>
                    <a:pt x="-367" y="12859"/>
                    <a:pt x="109" y="18574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413CBDCD-601D-CD26-A8DC-DB3ED37550C4}"/>
                </a:ext>
              </a:extLst>
            </p:cNvPr>
            <p:cNvSpPr/>
            <p:nvPr/>
          </p:nvSpPr>
          <p:spPr>
            <a:xfrm>
              <a:off x="5521500" y="4681611"/>
              <a:ext cx="24611" cy="11957"/>
            </a:xfrm>
            <a:custGeom>
              <a:avLst/>
              <a:gdLst>
                <a:gd name="connsiteX0" fmla="*/ 16859 w 16859"/>
                <a:gd name="connsiteY0" fmla="*/ 0 h 8191"/>
                <a:gd name="connsiteX1" fmla="*/ 4001 w 16859"/>
                <a:gd name="connsiteY1" fmla="*/ 191 h 8191"/>
                <a:gd name="connsiteX2" fmla="*/ 0 w 16859"/>
                <a:gd name="connsiteY2" fmla="*/ 8192 h 8191"/>
                <a:gd name="connsiteX3" fmla="*/ 16859 w 16859"/>
                <a:gd name="connsiteY3" fmla="*/ 0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59" h="8191">
                  <a:moveTo>
                    <a:pt x="16859" y="0"/>
                  </a:moveTo>
                  <a:cubicBezTo>
                    <a:pt x="12573" y="95"/>
                    <a:pt x="8287" y="95"/>
                    <a:pt x="4001" y="191"/>
                  </a:cubicBezTo>
                  <a:lnTo>
                    <a:pt x="0" y="8192"/>
                  </a:lnTo>
                  <a:lnTo>
                    <a:pt x="16859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1C5A49EF-9C9D-5A9E-225E-F7313169904A}"/>
                </a:ext>
              </a:extLst>
            </p:cNvPr>
            <p:cNvSpPr/>
            <p:nvPr/>
          </p:nvSpPr>
          <p:spPr>
            <a:xfrm>
              <a:off x="5828127" y="4351372"/>
              <a:ext cx="51838" cy="22943"/>
            </a:xfrm>
            <a:custGeom>
              <a:avLst/>
              <a:gdLst>
                <a:gd name="connsiteX0" fmla="*/ 33129 w 35510"/>
                <a:gd name="connsiteY0" fmla="*/ 1238 h 15716"/>
                <a:gd name="connsiteX1" fmla="*/ 33225 w 35510"/>
                <a:gd name="connsiteY1" fmla="*/ 0 h 15716"/>
                <a:gd name="connsiteX2" fmla="*/ 31796 w 35510"/>
                <a:gd name="connsiteY2" fmla="*/ 1810 h 15716"/>
                <a:gd name="connsiteX3" fmla="*/ 12365 w 35510"/>
                <a:gd name="connsiteY3" fmla="*/ 2000 h 15716"/>
                <a:gd name="connsiteX4" fmla="*/ 840 w 35510"/>
                <a:gd name="connsiteY4" fmla="*/ 5239 h 15716"/>
                <a:gd name="connsiteX5" fmla="*/ 363 w 35510"/>
                <a:gd name="connsiteY5" fmla="*/ 7906 h 15716"/>
                <a:gd name="connsiteX6" fmla="*/ 2078 w 35510"/>
                <a:gd name="connsiteY6" fmla="*/ 8382 h 15716"/>
                <a:gd name="connsiteX7" fmla="*/ 33510 w 35510"/>
                <a:gd name="connsiteY7" fmla="*/ 8954 h 15716"/>
                <a:gd name="connsiteX8" fmla="*/ 35511 w 35510"/>
                <a:gd name="connsiteY8" fmla="*/ 15716 h 15716"/>
                <a:gd name="connsiteX9" fmla="*/ 34939 w 35510"/>
                <a:gd name="connsiteY9" fmla="*/ 11716 h 15716"/>
                <a:gd name="connsiteX10" fmla="*/ 33129 w 35510"/>
                <a:gd name="connsiteY10" fmla="*/ 1238 h 15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510" h="15716">
                  <a:moveTo>
                    <a:pt x="33129" y="1238"/>
                  </a:moveTo>
                  <a:cubicBezTo>
                    <a:pt x="33129" y="857"/>
                    <a:pt x="33225" y="476"/>
                    <a:pt x="33225" y="0"/>
                  </a:cubicBezTo>
                  <a:lnTo>
                    <a:pt x="31796" y="1810"/>
                  </a:lnTo>
                  <a:cubicBezTo>
                    <a:pt x="25319" y="1905"/>
                    <a:pt x="18842" y="1905"/>
                    <a:pt x="12365" y="2000"/>
                  </a:cubicBezTo>
                  <a:cubicBezTo>
                    <a:pt x="8269" y="2000"/>
                    <a:pt x="3697" y="2286"/>
                    <a:pt x="840" y="5239"/>
                  </a:cubicBezTo>
                  <a:cubicBezTo>
                    <a:pt x="173" y="6001"/>
                    <a:pt x="-399" y="7239"/>
                    <a:pt x="363" y="7906"/>
                  </a:cubicBezTo>
                  <a:cubicBezTo>
                    <a:pt x="744" y="8382"/>
                    <a:pt x="1506" y="8382"/>
                    <a:pt x="2078" y="8382"/>
                  </a:cubicBezTo>
                  <a:cubicBezTo>
                    <a:pt x="12555" y="8572"/>
                    <a:pt x="23033" y="8763"/>
                    <a:pt x="33510" y="8954"/>
                  </a:cubicBezTo>
                  <a:lnTo>
                    <a:pt x="35511" y="15716"/>
                  </a:lnTo>
                  <a:cubicBezTo>
                    <a:pt x="35415" y="14383"/>
                    <a:pt x="35225" y="13049"/>
                    <a:pt x="34939" y="11716"/>
                  </a:cubicBezTo>
                  <a:cubicBezTo>
                    <a:pt x="34368" y="8287"/>
                    <a:pt x="33129" y="4763"/>
                    <a:pt x="33129" y="1238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0017209E-5051-6E50-9BFA-FD8CDFE1677B}"/>
                </a:ext>
              </a:extLst>
            </p:cNvPr>
            <p:cNvSpPr/>
            <p:nvPr/>
          </p:nvSpPr>
          <p:spPr>
            <a:xfrm>
              <a:off x="6031945" y="4504604"/>
              <a:ext cx="8620" cy="3188"/>
            </a:xfrm>
            <a:custGeom>
              <a:avLst/>
              <a:gdLst>
                <a:gd name="connsiteX0" fmla="*/ 0 w 5905"/>
                <a:gd name="connsiteY0" fmla="*/ 0 h 2184"/>
                <a:gd name="connsiteX1" fmla="*/ 1143 w 5905"/>
                <a:gd name="connsiteY1" fmla="*/ 1238 h 2184"/>
                <a:gd name="connsiteX2" fmla="*/ 5906 w 5905"/>
                <a:gd name="connsiteY2" fmla="*/ 2000 h 2184"/>
                <a:gd name="connsiteX3" fmla="*/ 5906 w 5905"/>
                <a:gd name="connsiteY3" fmla="*/ 1810 h 2184"/>
                <a:gd name="connsiteX4" fmla="*/ 0 w 5905"/>
                <a:gd name="connsiteY4" fmla="*/ 0 h 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5" h="2184">
                  <a:moveTo>
                    <a:pt x="0" y="0"/>
                  </a:moveTo>
                  <a:cubicBezTo>
                    <a:pt x="381" y="381"/>
                    <a:pt x="667" y="952"/>
                    <a:pt x="1143" y="1238"/>
                  </a:cubicBezTo>
                  <a:cubicBezTo>
                    <a:pt x="2477" y="2191"/>
                    <a:pt x="4286" y="2381"/>
                    <a:pt x="5906" y="2000"/>
                  </a:cubicBezTo>
                  <a:cubicBezTo>
                    <a:pt x="5906" y="1905"/>
                    <a:pt x="5906" y="1905"/>
                    <a:pt x="5906" y="181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99C6E600-11D9-8BF3-E66B-E554167D0477}"/>
                </a:ext>
              </a:extLst>
            </p:cNvPr>
            <p:cNvSpPr/>
            <p:nvPr/>
          </p:nvSpPr>
          <p:spPr>
            <a:xfrm>
              <a:off x="6014147" y="4526155"/>
              <a:ext cx="5562" cy="7230"/>
            </a:xfrm>
            <a:custGeom>
              <a:avLst/>
              <a:gdLst>
                <a:gd name="connsiteX0" fmla="*/ 0 w 3810"/>
                <a:gd name="connsiteY0" fmla="*/ 191 h 4953"/>
                <a:gd name="connsiteX1" fmla="*/ 2953 w 3810"/>
                <a:gd name="connsiteY1" fmla="*/ 4953 h 4953"/>
                <a:gd name="connsiteX2" fmla="*/ 3810 w 3810"/>
                <a:gd name="connsiteY2" fmla="*/ 0 h 4953"/>
                <a:gd name="connsiteX3" fmla="*/ 0 w 3810"/>
                <a:gd name="connsiteY3" fmla="*/ 191 h 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4953">
                  <a:moveTo>
                    <a:pt x="0" y="191"/>
                  </a:moveTo>
                  <a:lnTo>
                    <a:pt x="2953" y="4953"/>
                  </a:lnTo>
                  <a:cubicBezTo>
                    <a:pt x="3524" y="3334"/>
                    <a:pt x="3810" y="1715"/>
                    <a:pt x="3810" y="0"/>
                  </a:cubicBezTo>
                  <a:cubicBezTo>
                    <a:pt x="2477" y="95"/>
                    <a:pt x="1238" y="191"/>
                    <a:pt x="0" y="191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CC434A2B-BDAD-5547-85B8-E865D8FD35CD}"/>
                </a:ext>
              </a:extLst>
            </p:cNvPr>
            <p:cNvSpPr/>
            <p:nvPr/>
          </p:nvSpPr>
          <p:spPr>
            <a:xfrm>
              <a:off x="5946292" y="4447872"/>
              <a:ext cx="91354" cy="154760"/>
            </a:xfrm>
            <a:custGeom>
              <a:avLst/>
              <a:gdLst>
                <a:gd name="connsiteX0" fmla="*/ 0 w 62579"/>
                <a:gd name="connsiteY0" fmla="*/ 8001 h 106013"/>
                <a:gd name="connsiteX1" fmla="*/ 16954 w 62579"/>
                <a:gd name="connsiteY1" fmla="*/ 73247 h 106013"/>
                <a:gd name="connsiteX2" fmla="*/ 20955 w 62579"/>
                <a:gd name="connsiteY2" fmla="*/ 106013 h 106013"/>
                <a:gd name="connsiteX3" fmla="*/ 39338 w 62579"/>
                <a:gd name="connsiteY3" fmla="*/ 98679 h 106013"/>
                <a:gd name="connsiteX4" fmla="*/ 32290 w 62579"/>
                <a:gd name="connsiteY4" fmla="*/ 93345 h 106013"/>
                <a:gd name="connsiteX5" fmla="*/ 62579 w 62579"/>
                <a:gd name="connsiteY5" fmla="*/ 88964 h 106013"/>
                <a:gd name="connsiteX6" fmla="*/ 60769 w 62579"/>
                <a:gd name="connsiteY6" fmla="*/ 82677 h 106013"/>
                <a:gd name="connsiteX7" fmla="*/ 31052 w 62579"/>
                <a:gd name="connsiteY7" fmla="*/ 86677 h 106013"/>
                <a:gd name="connsiteX8" fmla="*/ 28289 w 62579"/>
                <a:gd name="connsiteY8" fmla="*/ 78200 h 106013"/>
                <a:gd name="connsiteX9" fmla="*/ 37433 w 62579"/>
                <a:gd name="connsiteY9" fmla="*/ 76200 h 106013"/>
                <a:gd name="connsiteX10" fmla="*/ 59055 w 62579"/>
                <a:gd name="connsiteY10" fmla="*/ 74295 h 106013"/>
                <a:gd name="connsiteX11" fmla="*/ 49340 w 62579"/>
                <a:gd name="connsiteY11" fmla="*/ 58579 h 106013"/>
                <a:gd name="connsiteX12" fmla="*/ 46101 w 62579"/>
                <a:gd name="connsiteY12" fmla="*/ 64103 h 106013"/>
                <a:gd name="connsiteX13" fmla="*/ 35719 w 62579"/>
                <a:gd name="connsiteY13" fmla="*/ 68294 h 106013"/>
                <a:gd name="connsiteX14" fmla="*/ 24479 w 62579"/>
                <a:gd name="connsiteY14" fmla="*/ 61722 h 106013"/>
                <a:gd name="connsiteX15" fmla="*/ 20860 w 62579"/>
                <a:gd name="connsiteY15" fmla="*/ 48959 h 106013"/>
                <a:gd name="connsiteX16" fmla="*/ 23336 w 62579"/>
                <a:gd name="connsiteY16" fmla="*/ 35719 h 106013"/>
                <a:gd name="connsiteX17" fmla="*/ 25622 w 62579"/>
                <a:gd name="connsiteY17" fmla="*/ 32099 h 106013"/>
                <a:gd name="connsiteX18" fmla="*/ 28670 w 62579"/>
                <a:gd name="connsiteY18" fmla="*/ 31528 h 106013"/>
                <a:gd name="connsiteX19" fmla="*/ 33052 w 62579"/>
                <a:gd name="connsiteY19" fmla="*/ 32099 h 106013"/>
                <a:gd name="connsiteX20" fmla="*/ 34671 w 62579"/>
                <a:gd name="connsiteY20" fmla="*/ 34766 h 106013"/>
                <a:gd name="connsiteX21" fmla="*/ 34100 w 62579"/>
                <a:gd name="connsiteY21" fmla="*/ 32385 h 106013"/>
                <a:gd name="connsiteX22" fmla="*/ 37909 w 62579"/>
                <a:gd name="connsiteY22" fmla="*/ 31528 h 106013"/>
                <a:gd name="connsiteX23" fmla="*/ 46863 w 62579"/>
                <a:gd name="connsiteY23" fmla="*/ 33528 h 106013"/>
                <a:gd name="connsiteX24" fmla="*/ 47625 w 62579"/>
                <a:gd name="connsiteY24" fmla="*/ 35719 h 106013"/>
                <a:gd name="connsiteX25" fmla="*/ 58483 w 62579"/>
                <a:gd name="connsiteY25" fmla="*/ 38957 h 106013"/>
                <a:gd name="connsiteX26" fmla="*/ 56007 w 62579"/>
                <a:gd name="connsiteY26" fmla="*/ 34290 h 106013"/>
                <a:gd name="connsiteX27" fmla="*/ 55912 w 62579"/>
                <a:gd name="connsiteY27" fmla="*/ 27241 h 106013"/>
                <a:gd name="connsiteX28" fmla="*/ 59055 w 62579"/>
                <a:gd name="connsiteY28" fmla="*/ 17526 h 106013"/>
                <a:gd name="connsiteX29" fmla="*/ 61531 w 62579"/>
                <a:gd name="connsiteY29" fmla="*/ 17050 h 106013"/>
                <a:gd name="connsiteX30" fmla="*/ 56674 w 62579"/>
                <a:gd name="connsiteY30" fmla="*/ 15811 h 106013"/>
                <a:gd name="connsiteX31" fmla="*/ 43910 w 62579"/>
                <a:gd name="connsiteY31" fmla="*/ 0 h 106013"/>
                <a:gd name="connsiteX32" fmla="*/ 571 w 62579"/>
                <a:gd name="connsiteY32" fmla="*/ 7906 h 106013"/>
                <a:gd name="connsiteX33" fmla="*/ 0 w 62579"/>
                <a:gd name="connsiteY33" fmla="*/ 8001 h 10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2579" h="106013">
                  <a:moveTo>
                    <a:pt x="0" y="8001"/>
                  </a:moveTo>
                  <a:cubicBezTo>
                    <a:pt x="7810" y="29147"/>
                    <a:pt x="13430" y="51054"/>
                    <a:pt x="16954" y="73247"/>
                  </a:cubicBezTo>
                  <a:cubicBezTo>
                    <a:pt x="18669" y="84106"/>
                    <a:pt x="19812" y="95060"/>
                    <a:pt x="20955" y="106013"/>
                  </a:cubicBezTo>
                  <a:cubicBezTo>
                    <a:pt x="26003" y="101537"/>
                    <a:pt x="32575" y="99441"/>
                    <a:pt x="39338" y="98679"/>
                  </a:cubicBezTo>
                  <a:lnTo>
                    <a:pt x="32290" y="93345"/>
                  </a:lnTo>
                  <a:cubicBezTo>
                    <a:pt x="42481" y="92297"/>
                    <a:pt x="52578" y="90869"/>
                    <a:pt x="62579" y="88964"/>
                  </a:cubicBezTo>
                  <a:lnTo>
                    <a:pt x="60769" y="82677"/>
                  </a:lnTo>
                  <a:cubicBezTo>
                    <a:pt x="50959" y="84487"/>
                    <a:pt x="40957" y="85820"/>
                    <a:pt x="31052" y="86677"/>
                  </a:cubicBezTo>
                  <a:lnTo>
                    <a:pt x="28289" y="78200"/>
                  </a:lnTo>
                  <a:cubicBezTo>
                    <a:pt x="31337" y="77724"/>
                    <a:pt x="34385" y="76867"/>
                    <a:pt x="37433" y="76200"/>
                  </a:cubicBezTo>
                  <a:cubicBezTo>
                    <a:pt x="44577" y="74771"/>
                    <a:pt x="51816" y="74486"/>
                    <a:pt x="59055" y="74295"/>
                  </a:cubicBezTo>
                  <a:lnTo>
                    <a:pt x="49340" y="58579"/>
                  </a:lnTo>
                  <a:cubicBezTo>
                    <a:pt x="48673" y="60674"/>
                    <a:pt x="47625" y="62579"/>
                    <a:pt x="46101" y="64103"/>
                  </a:cubicBezTo>
                  <a:cubicBezTo>
                    <a:pt x="43434" y="66865"/>
                    <a:pt x="39624" y="68485"/>
                    <a:pt x="35719" y="68294"/>
                  </a:cubicBezTo>
                  <a:cubicBezTo>
                    <a:pt x="31242" y="68104"/>
                    <a:pt x="27051" y="65341"/>
                    <a:pt x="24479" y="61722"/>
                  </a:cubicBezTo>
                  <a:cubicBezTo>
                    <a:pt x="21907" y="58007"/>
                    <a:pt x="20765" y="53435"/>
                    <a:pt x="20860" y="48959"/>
                  </a:cubicBezTo>
                  <a:cubicBezTo>
                    <a:pt x="20860" y="44482"/>
                    <a:pt x="21907" y="40005"/>
                    <a:pt x="23336" y="35719"/>
                  </a:cubicBezTo>
                  <a:cubicBezTo>
                    <a:pt x="23813" y="34385"/>
                    <a:pt x="24384" y="32861"/>
                    <a:pt x="25622" y="32099"/>
                  </a:cubicBezTo>
                  <a:cubicBezTo>
                    <a:pt x="26575" y="31528"/>
                    <a:pt x="27623" y="31433"/>
                    <a:pt x="28670" y="31528"/>
                  </a:cubicBezTo>
                  <a:cubicBezTo>
                    <a:pt x="30099" y="31528"/>
                    <a:pt x="31623" y="31718"/>
                    <a:pt x="33052" y="32099"/>
                  </a:cubicBezTo>
                  <a:lnTo>
                    <a:pt x="34671" y="34766"/>
                  </a:lnTo>
                  <a:cubicBezTo>
                    <a:pt x="34766" y="33814"/>
                    <a:pt x="34766" y="32957"/>
                    <a:pt x="34100" y="32385"/>
                  </a:cubicBezTo>
                  <a:lnTo>
                    <a:pt x="37909" y="31528"/>
                  </a:lnTo>
                  <a:cubicBezTo>
                    <a:pt x="40767" y="29718"/>
                    <a:pt x="45053" y="30671"/>
                    <a:pt x="46863" y="33528"/>
                  </a:cubicBezTo>
                  <a:cubicBezTo>
                    <a:pt x="47244" y="34195"/>
                    <a:pt x="47434" y="34957"/>
                    <a:pt x="47625" y="35719"/>
                  </a:cubicBezTo>
                  <a:lnTo>
                    <a:pt x="58483" y="38957"/>
                  </a:lnTo>
                  <a:cubicBezTo>
                    <a:pt x="57245" y="37624"/>
                    <a:pt x="56388" y="36004"/>
                    <a:pt x="56007" y="34290"/>
                  </a:cubicBezTo>
                  <a:cubicBezTo>
                    <a:pt x="55531" y="32004"/>
                    <a:pt x="55721" y="29623"/>
                    <a:pt x="55912" y="27241"/>
                  </a:cubicBezTo>
                  <a:cubicBezTo>
                    <a:pt x="56198" y="23813"/>
                    <a:pt x="56579" y="20003"/>
                    <a:pt x="59055" y="17526"/>
                  </a:cubicBezTo>
                  <a:lnTo>
                    <a:pt x="61531" y="17050"/>
                  </a:lnTo>
                  <a:cubicBezTo>
                    <a:pt x="60007" y="16383"/>
                    <a:pt x="58293" y="16002"/>
                    <a:pt x="56674" y="15811"/>
                  </a:cubicBezTo>
                  <a:lnTo>
                    <a:pt x="43910" y="0"/>
                  </a:lnTo>
                  <a:cubicBezTo>
                    <a:pt x="29527" y="3143"/>
                    <a:pt x="15145" y="5905"/>
                    <a:pt x="571" y="7906"/>
                  </a:cubicBezTo>
                  <a:lnTo>
                    <a:pt x="0" y="8001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58F6E22C-7B52-4E90-9540-42C096DE39C0}"/>
                </a:ext>
              </a:extLst>
            </p:cNvPr>
            <p:cNvSpPr/>
            <p:nvPr/>
          </p:nvSpPr>
          <p:spPr>
            <a:xfrm>
              <a:off x="5643862" y="4684392"/>
              <a:ext cx="145165" cy="22802"/>
            </a:xfrm>
            <a:custGeom>
              <a:avLst/>
              <a:gdLst>
                <a:gd name="connsiteX0" fmla="*/ 0 w 99440"/>
                <a:gd name="connsiteY0" fmla="*/ 15430 h 15620"/>
                <a:gd name="connsiteX1" fmla="*/ 99441 w 99440"/>
                <a:gd name="connsiteY1" fmla="*/ 15621 h 15620"/>
                <a:gd name="connsiteX2" fmla="*/ 63151 w 99440"/>
                <a:gd name="connsiteY2" fmla="*/ 0 h 15620"/>
                <a:gd name="connsiteX3" fmla="*/ 14288 w 99440"/>
                <a:gd name="connsiteY3" fmla="*/ 381 h 15620"/>
                <a:gd name="connsiteX4" fmla="*/ 0 w 99440"/>
                <a:gd name="connsiteY4" fmla="*/ 15430 h 1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40" h="15620">
                  <a:moveTo>
                    <a:pt x="0" y="15430"/>
                  </a:moveTo>
                  <a:cubicBezTo>
                    <a:pt x="33147" y="15526"/>
                    <a:pt x="66294" y="15526"/>
                    <a:pt x="99441" y="15621"/>
                  </a:cubicBezTo>
                  <a:lnTo>
                    <a:pt x="63151" y="0"/>
                  </a:lnTo>
                  <a:cubicBezTo>
                    <a:pt x="46863" y="95"/>
                    <a:pt x="30575" y="286"/>
                    <a:pt x="14288" y="381"/>
                  </a:cubicBezTo>
                  <a:lnTo>
                    <a:pt x="0" y="1543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58A13EE0-7B02-7017-8920-1C38FA592BE4}"/>
                </a:ext>
              </a:extLst>
            </p:cNvPr>
            <p:cNvSpPr/>
            <p:nvPr/>
          </p:nvSpPr>
          <p:spPr>
            <a:xfrm>
              <a:off x="5828379" y="4839431"/>
              <a:ext cx="123475" cy="291583"/>
            </a:xfrm>
            <a:custGeom>
              <a:avLst/>
              <a:gdLst>
                <a:gd name="connsiteX0" fmla="*/ 6001 w 84582"/>
                <a:gd name="connsiteY0" fmla="*/ 193643 h 199739"/>
                <a:gd name="connsiteX1" fmla="*/ 84582 w 84582"/>
                <a:gd name="connsiteY1" fmla="*/ 199739 h 199739"/>
                <a:gd name="connsiteX2" fmla="*/ 81629 w 84582"/>
                <a:gd name="connsiteY2" fmla="*/ 189167 h 199739"/>
                <a:gd name="connsiteX3" fmla="*/ 77914 w 84582"/>
                <a:gd name="connsiteY3" fmla="*/ 178594 h 199739"/>
                <a:gd name="connsiteX4" fmla="*/ 73247 w 84582"/>
                <a:gd name="connsiteY4" fmla="*/ 168593 h 199739"/>
                <a:gd name="connsiteX5" fmla="*/ 70771 w 84582"/>
                <a:gd name="connsiteY5" fmla="*/ 157544 h 199739"/>
                <a:gd name="connsiteX6" fmla="*/ 66770 w 84582"/>
                <a:gd name="connsiteY6" fmla="*/ 147257 h 199739"/>
                <a:gd name="connsiteX7" fmla="*/ 62103 w 84582"/>
                <a:gd name="connsiteY7" fmla="*/ 137255 h 199739"/>
                <a:gd name="connsiteX8" fmla="*/ 59341 w 84582"/>
                <a:gd name="connsiteY8" fmla="*/ 126492 h 199739"/>
                <a:gd name="connsiteX9" fmla="*/ 54388 w 84582"/>
                <a:gd name="connsiteY9" fmla="*/ 116681 h 199739"/>
                <a:gd name="connsiteX10" fmla="*/ 50197 w 84582"/>
                <a:gd name="connsiteY10" fmla="*/ 106394 h 199739"/>
                <a:gd name="connsiteX11" fmla="*/ 47244 w 84582"/>
                <a:gd name="connsiteY11" fmla="*/ 95631 h 199739"/>
                <a:gd name="connsiteX12" fmla="*/ 42291 w 84582"/>
                <a:gd name="connsiteY12" fmla="*/ 85630 h 199739"/>
                <a:gd name="connsiteX13" fmla="*/ 37624 w 84582"/>
                <a:gd name="connsiteY13" fmla="*/ 75629 h 199739"/>
                <a:gd name="connsiteX14" fmla="*/ 33623 w 84582"/>
                <a:gd name="connsiteY14" fmla="*/ 65342 h 199739"/>
                <a:gd name="connsiteX15" fmla="*/ 28956 w 84582"/>
                <a:gd name="connsiteY15" fmla="*/ 55340 h 199739"/>
                <a:gd name="connsiteX16" fmla="*/ 25527 w 84582"/>
                <a:gd name="connsiteY16" fmla="*/ 44768 h 199739"/>
                <a:gd name="connsiteX17" fmla="*/ 19621 w 84582"/>
                <a:gd name="connsiteY17" fmla="*/ 35243 h 199739"/>
                <a:gd name="connsiteX18" fmla="*/ 14668 w 84582"/>
                <a:gd name="connsiteY18" fmla="*/ 25432 h 199739"/>
                <a:gd name="connsiteX19" fmla="*/ 9430 w 84582"/>
                <a:gd name="connsiteY19" fmla="*/ 15621 h 199739"/>
                <a:gd name="connsiteX20" fmla="*/ 4000 w 84582"/>
                <a:gd name="connsiteY20" fmla="*/ 6096 h 199739"/>
                <a:gd name="connsiteX21" fmla="*/ 0 w 84582"/>
                <a:gd name="connsiteY21" fmla="*/ 0 h 199739"/>
                <a:gd name="connsiteX22" fmla="*/ 3429 w 84582"/>
                <a:gd name="connsiteY22" fmla="*/ 27718 h 199739"/>
                <a:gd name="connsiteX23" fmla="*/ 6001 w 84582"/>
                <a:gd name="connsiteY23" fmla="*/ 193643 h 199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4582" h="199739">
                  <a:moveTo>
                    <a:pt x="6001" y="193643"/>
                  </a:moveTo>
                  <a:lnTo>
                    <a:pt x="84582" y="199739"/>
                  </a:lnTo>
                  <a:cubicBezTo>
                    <a:pt x="83629" y="196691"/>
                    <a:pt x="83058" y="192977"/>
                    <a:pt x="81629" y="189167"/>
                  </a:cubicBezTo>
                  <a:cubicBezTo>
                    <a:pt x="80677" y="185928"/>
                    <a:pt x="79153" y="182404"/>
                    <a:pt x="77914" y="178594"/>
                  </a:cubicBezTo>
                  <a:cubicBezTo>
                    <a:pt x="76676" y="175355"/>
                    <a:pt x="74485" y="172022"/>
                    <a:pt x="73247" y="168593"/>
                  </a:cubicBezTo>
                  <a:cubicBezTo>
                    <a:pt x="72009" y="165354"/>
                    <a:pt x="72009" y="161354"/>
                    <a:pt x="70771" y="157544"/>
                  </a:cubicBezTo>
                  <a:cubicBezTo>
                    <a:pt x="69532" y="154305"/>
                    <a:pt x="68008" y="150971"/>
                    <a:pt x="66770" y="147257"/>
                  </a:cubicBezTo>
                  <a:cubicBezTo>
                    <a:pt x="65532" y="144018"/>
                    <a:pt x="63341" y="140684"/>
                    <a:pt x="62103" y="137255"/>
                  </a:cubicBezTo>
                  <a:cubicBezTo>
                    <a:pt x="60865" y="134017"/>
                    <a:pt x="60865" y="130016"/>
                    <a:pt x="59341" y="126492"/>
                  </a:cubicBezTo>
                  <a:cubicBezTo>
                    <a:pt x="58102" y="122968"/>
                    <a:pt x="55626" y="119920"/>
                    <a:pt x="54388" y="116681"/>
                  </a:cubicBezTo>
                  <a:cubicBezTo>
                    <a:pt x="53149" y="113157"/>
                    <a:pt x="51625" y="109633"/>
                    <a:pt x="50197" y="106394"/>
                  </a:cubicBezTo>
                  <a:cubicBezTo>
                    <a:pt x="48958" y="102870"/>
                    <a:pt x="48482" y="99155"/>
                    <a:pt x="47244" y="95631"/>
                  </a:cubicBezTo>
                  <a:cubicBezTo>
                    <a:pt x="45720" y="92107"/>
                    <a:pt x="43529" y="89059"/>
                    <a:pt x="42291" y="85630"/>
                  </a:cubicBezTo>
                  <a:cubicBezTo>
                    <a:pt x="40767" y="82391"/>
                    <a:pt x="39052" y="79058"/>
                    <a:pt x="37624" y="75629"/>
                  </a:cubicBezTo>
                  <a:cubicBezTo>
                    <a:pt x="36100" y="72390"/>
                    <a:pt x="35147" y="68866"/>
                    <a:pt x="33623" y="65342"/>
                  </a:cubicBezTo>
                  <a:cubicBezTo>
                    <a:pt x="32099" y="62103"/>
                    <a:pt x="30385" y="58579"/>
                    <a:pt x="28956" y="55340"/>
                  </a:cubicBezTo>
                  <a:cubicBezTo>
                    <a:pt x="27432" y="52102"/>
                    <a:pt x="26956" y="48101"/>
                    <a:pt x="25527" y="44768"/>
                  </a:cubicBezTo>
                  <a:cubicBezTo>
                    <a:pt x="23813" y="41243"/>
                    <a:pt x="21050" y="38481"/>
                    <a:pt x="19621" y="35243"/>
                  </a:cubicBezTo>
                  <a:cubicBezTo>
                    <a:pt x="17907" y="32004"/>
                    <a:pt x="16192" y="28670"/>
                    <a:pt x="14668" y="25432"/>
                  </a:cubicBezTo>
                  <a:cubicBezTo>
                    <a:pt x="12668" y="22193"/>
                    <a:pt x="11430" y="18669"/>
                    <a:pt x="9430" y="15621"/>
                  </a:cubicBezTo>
                  <a:cubicBezTo>
                    <a:pt x="7715" y="12383"/>
                    <a:pt x="5715" y="9049"/>
                    <a:pt x="4000" y="6096"/>
                  </a:cubicBezTo>
                  <a:cubicBezTo>
                    <a:pt x="2572" y="4001"/>
                    <a:pt x="1238" y="2000"/>
                    <a:pt x="0" y="0"/>
                  </a:cubicBezTo>
                  <a:lnTo>
                    <a:pt x="3429" y="27718"/>
                  </a:lnTo>
                  <a:cubicBezTo>
                    <a:pt x="1238" y="102013"/>
                    <a:pt x="2191" y="119348"/>
                    <a:pt x="6001" y="193643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5749EE8C-7E2E-BD11-605E-824F76FCACD5}"/>
                </a:ext>
              </a:extLst>
            </p:cNvPr>
            <p:cNvSpPr/>
            <p:nvPr/>
          </p:nvSpPr>
          <p:spPr>
            <a:xfrm>
              <a:off x="5505926" y="4693570"/>
              <a:ext cx="15572" cy="7647"/>
            </a:xfrm>
            <a:custGeom>
              <a:avLst/>
              <a:gdLst>
                <a:gd name="connsiteX0" fmla="*/ 10668 w 10667"/>
                <a:gd name="connsiteY0" fmla="*/ 0 h 5238"/>
                <a:gd name="connsiteX1" fmla="*/ 0 w 10667"/>
                <a:gd name="connsiteY1" fmla="*/ 5239 h 5238"/>
                <a:gd name="connsiteX2" fmla="*/ 8192 w 10667"/>
                <a:gd name="connsiteY2" fmla="*/ 4953 h 5238"/>
                <a:gd name="connsiteX3" fmla="*/ 10668 w 10667"/>
                <a:gd name="connsiteY3" fmla="*/ 0 h 5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7" h="5238">
                  <a:moveTo>
                    <a:pt x="10668" y="0"/>
                  </a:moveTo>
                  <a:lnTo>
                    <a:pt x="0" y="5239"/>
                  </a:lnTo>
                  <a:cubicBezTo>
                    <a:pt x="2762" y="5143"/>
                    <a:pt x="5429" y="5048"/>
                    <a:pt x="8192" y="4953"/>
                  </a:cubicBezTo>
                  <a:lnTo>
                    <a:pt x="10668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5D44A053-D1EB-C583-8E21-D581FC02A704}"/>
                </a:ext>
              </a:extLst>
            </p:cNvPr>
            <p:cNvSpPr/>
            <p:nvPr/>
          </p:nvSpPr>
          <p:spPr>
            <a:xfrm>
              <a:off x="5876490" y="4274758"/>
              <a:ext cx="117078" cy="134320"/>
            </a:xfrm>
            <a:custGeom>
              <a:avLst/>
              <a:gdLst>
                <a:gd name="connsiteX0" fmla="*/ 6286 w 80200"/>
                <a:gd name="connsiteY0" fmla="*/ 44958 h 92011"/>
                <a:gd name="connsiteX1" fmla="*/ 95 w 80200"/>
                <a:gd name="connsiteY1" fmla="*/ 52578 h 92011"/>
                <a:gd name="connsiteX2" fmla="*/ 0 w 80200"/>
                <a:gd name="connsiteY2" fmla="*/ 53816 h 92011"/>
                <a:gd name="connsiteX3" fmla="*/ 1715 w 80200"/>
                <a:gd name="connsiteY3" fmla="*/ 64389 h 92011"/>
                <a:gd name="connsiteX4" fmla="*/ 2286 w 80200"/>
                <a:gd name="connsiteY4" fmla="*/ 68390 h 92011"/>
                <a:gd name="connsiteX5" fmla="*/ 5334 w 80200"/>
                <a:gd name="connsiteY5" fmla="*/ 78962 h 92011"/>
                <a:gd name="connsiteX6" fmla="*/ 9906 w 80200"/>
                <a:gd name="connsiteY6" fmla="*/ 71628 h 92011"/>
                <a:gd name="connsiteX7" fmla="*/ 17907 w 80200"/>
                <a:gd name="connsiteY7" fmla="*/ 67913 h 92011"/>
                <a:gd name="connsiteX8" fmla="*/ 30480 w 80200"/>
                <a:gd name="connsiteY8" fmla="*/ 65913 h 92011"/>
                <a:gd name="connsiteX9" fmla="*/ 35243 w 80200"/>
                <a:gd name="connsiteY9" fmla="*/ 66485 h 92011"/>
                <a:gd name="connsiteX10" fmla="*/ 42196 w 80200"/>
                <a:gd name="connsiteY10" fmla="*/ 77153 h 92011"/>
                <a:gd name="connsiteX11" fmla="*/ 67913 w 80200"/>
                <a:gd name="connsiteY11" fmla="*/ 92012 h 92011"/>
                <a:gd name="connsiteX12" fmla="*/ 72866 w 80200"/>
                <a:gd name="connsiteY12" fmla="*/ 84772 h 92011"/>
                <a:gd name="connsiteX13" fmla="*/ 77057 w 80200"/>
                <a:gd name="connsiteY13" fmla="*/ 74962 h 92011"/>
                <a:gd name="connsiteX14" fmla="*/ 79248 w 80200"/>
                <a:gd name="connsiteY14" fmla="*/ 64389 h 92011"/>
                <a:gd name="connsiteX15" fmla="*/ 80201 w 80200"/>
                <a:gd name="connsiteY15" fmla="*/ 53816 h 92011"/>
                <a:gd name="connsiteX16" fmla="*/ 78486 w 80200"/>
                <a:gd name="connsiteY16" fmla="*/ 43244 h 92011"/>
                <a:gd name="connsiteX17" fmla="*/ 76105 w 80200"/>
                <a:gd name="connsiteY17" fmla="*/ 33147 h 92011"/>
                <a:gd name="connsiteX18" fmla="*/ 72866 w 80200"/>
                <a:gd name="connsiteY18" fmla="*/ 22860 h 92011"/>
                <a:gd name="connsiteX19" fmla="*/ 66961 w 80200"/>
                <a:gd name="connsiteY19" fmla="*/ 14287 h 92011"/>
                <a:gd name="connsiteX20" fmla="*/ 59817 w 80200"/>
                <a:gd name="connsiteY20" fmla="*/ 6763 h 92011"/>
                <a:gd name="connsiteX21" fmla="*/ 50673 w 80200"/>
                <a:gd name="connsiteY21" fmla="*/ 1238 h 92011"/>
                <a:gd name="connsiteX22" fmla="*/ 40291 w 80200"/>
                <a:gd name="connsiteY22" fmla="*/ 0 h 92011"/>
                <a:gd name="connsiteX23" fmla="*/ 30099 w 80200"/>
                <a:gd name="connsiteY23" fmla="*/ 1524 h 92011"/>
                <a:gd name="connsiteX24" fmla="*/ 20955 w 80200"/>
                <a:gd name="connsiteY24" fmla="*/ 6763 h 92011"/>
                <a:gd name="connsiteX25" fmla="*/ 13525 w 80200"/>
                <a:gd name="connsiteY25" fmla="*/ 14002 h 92011"/>
                <a:gd name="connsiteX26" fmla="*/ 7810 w 80200"/>
                <a:gd name="connsiteY26" fmla="*/ 23051 h 92011"/>
                <a:gd name="connsiteX27" fmla="*/ 4096 w 80200"/>
                <a:gd name="connsiteY27" fmla="*/ 32861 h 92011"/>
                <a:gd name="connsiteX28" fmla="*/ 2381 w 80200"/>
                <a:gd name="connsiteY28" fmla="*/ 38862 h 92011"/>
                <a:gd name="connsiteX29" fmla="*/ 16002 w 80200"/>
                <a:gd name="connsiteY29" fmla="*/ 41339 h 92011"/>
                <a:gd name="connsiteX30" fmla="*/ 6286 w 80200"/>
                <a:gd name="connsiteY30" fmla="*/ 44958 h 9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0200" h="92011">
                  <a:moveTo>
                    <a:pt x="6286" y="44958"/>
                  </a:moveTo>
                  <a:lnTo>
                    <a:pt x="95" y="52578"/>
                  </a:lnTo>
                  <a:cubicBezTo>
                    <a:pt x="95" y="52959"/>
                    <a:pt x="0" y="53340"/>
                    <a:pt x="0" y="53816"/>
                  </a:cubicBezTo>
                  <a:cubicBezTo>
                    <a:pt x="0" y="57341"/>
                    <a:pt x="1238" y="60865"/>
                    <a:pt x="1715" y="64389"/>
                  </a:cubicBezTo>
                  <a:cubicBezTo>
                    <a:pt x="2000" y="65723"/>
                    <a:pt x="2095" y="67056"/>
                    <a:pt x="2286" y="68390"/>
                  </a:cubicBezTo>
                  <a:lnTo>
                    <a:pt x="5334" y="78962"/>
                  </a:lnTo>
                  <a:cubicBezTo>
                    <a:pt x="5715" y="76010"/>
                    <a:pt x="7620" y="73438"/>
                    <a:pt x="9906" y="71628"/>
                  </a:cubicBezTo>
                  <a:cubicBezTo>
                    <a:pt x="12287" y="69818"/>
                    <a:pt x="15049" y="68675"/>
                    <a:pt x="17907" y="67913"/>
                  </a:cubicBezTo>
                  <a:cubicBezTo>
                    <a:pt x="22003" y="66675"/>
                    <a:pt x="26194" y="66008"/>
                    <a:pt x="30480" y="65913"/>
                  </a:cubicBezTo>
                  <a:cubicBezTo>
                    <a:pt x="32099" y="65818"/>
                    <a:pt x="33719" y="65913"/>
                    <a:pt x="35243" y="66485"/>
                  </a:cubicBezTo>
                  <a:cubicBezTo>
                    <a:pt x="39338" y="68009"/>
                    <a:pt x="41053" y="72866"/>
                    <a:pt x="42196" y="77153"/>
                  </a:cubicBezTo>
                  <a:lnTo>
                    <a:pt x="67913" y="92012"/>
                  </a:lnTo>
                  <a:cubicBezTo>
                    <a:pt x="69818" y="89821"/>
                    <a:pt x="71628" y="87440"/>
                    <a:pt x="72866" y="84772"/>
                  </a:cubicBezTo>
                  <a:cubicBezTo>
                    <a:pt x="74581" y="81725"/>
                    <a:pt x="76105" y="78486"/>
                    <a:pt x="77057" y="74962"/>
                  </a:cubicBezTo>
                  <a:cubicBezTo>
                    <a:pt x="78010" y="71723"/>
                    <a:pt x="78772" y="68199"/>
                    <a:pt x="79248" y="64389"/>
                  </a:cubicBezTo>
                  <a:cubicBezTo>
                    <a:pt x="79724" y="61151"/>
                    <a:pt x="80201" y="57341"/>
                    <a:pt x="80201" y="53816"/>
                  </a:cubicBezTo>
                  <a:cubicBezTo>
                    <a:pt x="80201" y="50292"/>
                    <a:pt x="78962" y="46768"/>
                    <a:pt x="78486" y="43244"/>
                  </a:cubicBezTo>
                  <a:cubicBezTo>
                    <a:pt x="78105" y="39719"/>
                    <a:pt x="77153" y="36386"/>
                    <a:pt x="76105" y="33147"/>
                  </a:cubicBezTo>
                  <a:cubicBezTo>
                    <a:pt x="74866" y="29623"/>
                    <a:pt x="74390" y="26098"/>
                    <a:pt x="72866" y="22860"/>
                  </a:cubicBezTo>
                  <a:cubicBezTo>
                    <a:pt x="71152" y="19812"/>
                    <a:pt x="68866" y="17050"/>
                    <a:pt x="66961" y="14287"/>
                  </a:cubicBezTo>
                  <a:cubicBezTo>
                    <a:pt x="64770" y="11525"/>
                    <a:pt x="62484" y="8763"/>
                    <a:pt x="59817" y="6763"/>
                  </a:cubicBezTo>
                  <a:cubicBezTo>
                    <a:pt x="56864" y="4477"/>
                    <a:pt x="53912" y="2477"/>
                    <a:pt x="50673" y="1238"/>
                  </a:cubicBezTo>
                  <a:cubicBezTo>
                    <a:pt x="47434" y="190"/>
                    <a:pt x="44005" y="0"/>
                    <a:pt x="40291" y="0"/>
                  </a:cubicBezTo>
                  <a:cubicBezTo>
                    <a:pt x="36862" y="0"/>
                    <a:pt x="33338" y="286"/>
                    <a:pt x="30099" y="1524"/>
                  </a:cubicBezTo>
                  <a:cubicBezTo>
                    <a:pt x="26860" y="2762"/>
                    <a:pt x="23908" y="4572"/>
                    <a:pt x="20955" y="6763"/>
                  </a:cubicBezTo>
                  <a:cubicBezTo>
                    <a:pt x="18193" y="8763"/>
                    <a:pt x="15716" y="11239"/>
                    <a:pt x="13525" y="14002"/>
                  </a:cubicBezTo>
                  <a:cubicBezTo>
                    <a:pt x="11335" y="16764"/>
                    <a:pt x="9334" y="19812"/>
                    <a:pt x="7810" y="23051"/>
                  </a:cubicBezTo>
                  <a:cubicBezTo>
                    <a:pt x="6096" y="26098"/>
                    <a:pt x="5048" y="29337"/>
                    <a:pt x="4096" y="32861"/>
                  </a:cubicBezTo>
                  <a:cubicBezTo>
                    <a:pt x="3524" y="34766"/>
                    <a:pt x="2857" y="36767"/>
                    <a:pt x="2381" y="38862"/>
                  </a:cubicBezTo>
                  <a:lnTo>
                    <a:pt x="16002" y="41339"/>
                  </a:lnTo>
                  <a:cubicBezTo>
                    <a:pt x="12764" y="42767"/>
                    <a:pt x="9525" y="44005"/>
                    <a:pt x="6286" y="44958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B128E17E-9376-D780-5364-0989C6814122}"/>
                </a:ext>
              </a:extLst>
            </p:cNvPr>
            <p:cNvSpPr/>
            <p:nvPr/>
          </p:nvSpPr>
          <p:spPr>
            <a:xfrm>
              <a:off x="6005109" y="4927587"/>
              <a:ext cx="41574" cy="55202"/>
            </a:xfrm>
            <a:custGeom>
              <a:avLst/>
              <a:gdLst>
                <a:gd name="connsiteX0" fmla="*/ 4572 w 28479"/>
                <a:gd name="connsiteY0" fmla="*/ 9811 h 37814"/>
                <a:gd name="connsiteX1" fmla="*/ 0 w 28479"/>
                <a:gd name="connsiteY1" fmla="*/ 12859 h 37814"/>
                <a:gd name="connsiteX2" fmla="*/ 10573 w 28479"/>
                <a:gd name="connsiteY2" fmla="*/ 37814 h 37814"/>
                <a:gd name="connsiteX3" fmla="*/ 12954 w 28479"/>
                <a:gd name="connsiteY3" fmla="*/ 35624 h 37814"/>
                <a:gd name="connsiteX4" fmla="*/ 20383 w 28479"/>
                <a:gd name="connsiteY4" fmla="*/ 27337 h 37814"/>
                <a:gd name="connsiteX5" fmla="*/ 24384 w 28479"/>
                <a:gd name="connsiteY5" fmla="*/ 16574 h 37814"/>
                <a:gd name="connsiteX6" fmla="*/ 27337 w 28479"/>
                <a:gd name="connsiteY6" fmla="*/ 5810 h 37814"/>
                <a:gd name="connsiteX7" fmla="*/ 28480 w 28479"/>
                <a:gd name="connsiteY7" fmla="*/ 0 h 37814"/>
                <a:gd name="connsiteX8" fmla="*/ 12192 w 28479"/>
                <a:gd name="connsiteY8" fmla="*/ 2477 h 37814"/>
                <a:gd name="connsiteX9" fmla="*/ 4572 w 28479"/>
                <a:gd name="connsiteY9" fmla="*/ 9811 h 3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79" h="37814">
                  <a:moveTo>
                    <a:pt x="4572" y="9811"/>
                  </a:moveTo>
                  <a:cubicBezTo>
                    <a:pt x="3239" y="10858"/>
                    <a:pt x="1619" y="11811"/>
                    <a:pt x="0" y="12859"/>
                  </a:cubicBezTo>
                  <a:lnTo>
                    <a:pt x="10573" y="37814"/>
                  </a:lnTo>
                  <a:cubicBezTo>
                    <a:pt x="11335" y="37052"/>
                    <a:pt x="12192" y="36385"/>
                    <a:pt x="12954" y="35624"/>
                  </a:cubicBezTo>
                  <a:cubicBezTo>
                    <a:pt x="15431" y="33147"/>
                    <a:pt x="18383" y="30385"/>
                    <a:pt x="20383" y="27337"/>
                  </a:cubicBezTo>
                  <a:cubicBezTo>
                    <a:pt x="22384" y="24098"/>
                    <a:pt x="22860" y="20098"/>
                    <a:pt x="24384" y="16574"/>
                  </a:cubicBezTo>
                  <a:cubicBezTo>
                    <a:pt x="25622" y="13049"/>
                    <a:pt x="26575" y="9525"/>
                    <a:pt x="27337" y="5810"/>
                  </a:cubicBezTo>
                  <a:cubicBezTo>
                    <a:pt x="27718" y="3905"/>
                    <a:pt x="28194" y="2000"/>
                    <a:pt x="28480" y="0"/>
                  </a:cubicBezTo>
                  <a:lnTo>
                    <a:pt x="12192" y="2477"/>
                  </a:lnTo>
                  <a:cubicBezTo>
                    <a:pt x="8573" y="6382"/>
                    <a:pt x="9525" y="5810"/>
                    <a:pt x="4572" y="981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208CC0AE-0A6F-48F6-AEB7-4AD1C1DB7F18}"/>
                </a:ext>
              </a:extLst>
            </p:cNvPr>
            <p:cNvSpPr/>
            <p:nvPr/>
          </p:nvSpPr>
          <p:spPr>
            <a:xfrm>
              <a:off x="5911531" y="4840976"/>
              <a:ext cx="135988" cy="121920"/>
            </a:xfrm>
            <a:custGeom>
              <a:avLst/>
              <a:gdLst>
                <a:gd name="connsiteX0" fmla="*/ 11430 w 93154"/>
                <a:gd name="connsiteY0" fmla="*/ 72475 h 83517"/>
                <a:gd name="connsiteX1" fmla="*/ 19812 w 93154"/>
                <a:gd name="connsiteY1" fmla="*/ 79047 h 83517"/>
                <a:gd name="connsiteX2" fmla="*/ 29718 w 93154"/>
                <a:gd name="connsiteY2" fmla="*/ 83047 h 83517"/>
                <a:gd name="connsiteX3" fmla="*/ 40386 w 93154"/>
                <a:gd name="connsiteY3" fmla="*/ 83047 h 83517"/>
                <a:gd name="connsiteX4" fmla="*/ 50292 w 93154"/>
                <a:gd name="connsiteY4" fmla="*/ 79999 h 83517"/>
                <a:gd name="connsiteX5" fmla="*/ 59722 w 93154"/>
                <a:gd name="connsiteY5" fmla="*/ 74951 h 83517"/>
                <a:gd name="connsiteX6" fmla="*/ 64103 w 93154"/>
                <a:gd name="connsiteY6" fmla="*/ 72189 h 83517"/>
                <a:gd name="connsiteX7" fmla="*/ 45910 w 93154"/>
                <a:gd name="connsiteY7" fmla="*/ 29231 h 83517"/>
                <a:gd name="connsiteX8" fmla="*/ 41719 w 93154"/>
                <a:gd name="connsiteY8" fmla="*/ 37994 h 83517"/>
                <a:gd name="connsiteX9" fmla="*/ 24384 w 93154"/>
                <a:gd name="connsiteY9" fmla="*/ 31993 h 83517"/>
                <a:gd name="connsiteX10" fmla="*/ 28575 w 93154"/>
                <a:gd name="connsiteY10" fmla="*/ 22945 h 83517"/>
                <a:gd name="connsiteX11" fmla="*/ 39719 w 93154"/>
                <a:gd name="connsiteY11" fmla="*/ 1609 h 83517"/>
                <a:gd name="connsiteX12" fmla="*/ 45910 w 93154"/>
                <a:gd name="connsiteY12" fmla="*/ 10372 h 83517"/>
                <a:gd name="connsiteX13" fmla="*/ 52388 w 93154"/>
                <a:gd name="connsiteY13" fmla="*/ 18658 h 83517"/>
                <a:gd name="connsiteX14" fmla="*/ 58865 w 93154"/>
                <a:gd name="connsiteY14" fmla="*/ 27421 h 83517"/>
                <a:gd name="connsiteX15" fmla="*/ 64770 w 93154"/>
                <a:gd name="connsiteY15" fmla="*/ 36184 h 83517"/>
                <a:gd name="connsiteX16" fmla="*/ 71914 w 93154"/>
                <a:gd name="connsiteY16" fmla="*/ 44185 h 83517"/>
                <a:gd name="connsiteX17" fmla="*/ 81534 w 93154"/>
                <a:gd name="connsiteY17" fmla="*/ 52948 h 83517"/>
                <a:gd name="connsiteX18" fmla="*/ 92583 w 93154"/>
                <a:gd name="connsiteY18" fmla="*/ 59235 h 83517"/>
                <a:gd name="connsiteX19" fmla="*/ 93154 w 93154"/>
                <a:gd name="connsiteY19" fmla="*/ 53710 h 83517"/>
                <a:gd name="connsiteX20" fmla="*/ 91630 w 93154"/>
                <a:gd name="connsiteY20" fmla="*/ 42661 h 83517"/>
                <a:gd name="connsiteX21" fmla="*/ 88678 w 93154"/>
                <a:gd name="connsiteY21" fmla="*/ 31898 h 83517"/>
                <a:gd name="connsiteX22" fmla="*/ 84201 w 93154"/>
                <a:gd name="connsiteY22" fmla="*/ 21325 h 83517"/>
                <a:gd name="connsiteX23" fmla="*/ 76486 w 93154"/>
                <a:gd name="connsiteY23" fmla="*/ 13039 h 83517"/>
                <a:gd name="connsiteX24" fmla="*/ 67818 w 93154"/>
                <a:gd name="connsiteY24" fmla="*/ 6276 h 83517"/>
                <a:gd name="connsiteX25" fmla="*/ 57626 w 93154"/>
                <a:gd name="connsiteY25" fmla="*/ 1513 h 83517"/>
                <a:gd name="connsiteX26" fmla="*/ 46768 w 93154"/>
                <a:gd name="connsiteY26" fmla="*/ 466 h 83517"/>
                <a:gd name="connsiteX27" fmla="*/ 35338 w 93154"/>
                <a:gd name="connsiteY27" fmla="*/ 466 h 83517"/>
                <a:gd name="connsiteX28" fmla="*/ 25432 w 93154"/>
                <a:gd name="connsiteY28" fmla="*/ 5704 h 83517"/>
                <a:gd name="connsiteX29" fmla="*/ 17050 w 93154"/>
                <a:gd name="connsiteY29" fmla="*/ 13229 h 83517"/>
                <a:gd name="connsiteX30" fmla="*/ 9144 w 93154"/>
                <a:gd name="connsiteY30" fmla="*/ 21040 h 83517"/>
                <a:gd name="connsiteX31" fmla="*/ 4191 w 93154"/>
                <a:gd name="connsiteY31" fmla="*/ 31327 h 83517"/>
                <a:gd name="connsiteX32" fmla="*/ 2000 w 93154"/>
                <a:gd name="connsiteY32" fmla="*/ 42661 h 83517"/>
                <a:gd name="connsiteX33" fmla="*/ 0 w 93154"/>
                <a:gd name="connsiteY33" fmla="*/ 53710 h 83517"/>
                <a:gd name="connsiteX34" fmla="*/ 95 w 93154"/>
                <a:gd name="connsiteY34" fmla="*/ 54472 h 83517"/>
                <a:gd name="connsiteX35" fmla="*/ 5715 w 93154"/>
                <a:gd name="connsiteY35" fmla="*/ 62950 h 83517"/>
                <a:gd name="connsiteX36" fmla="*/ 11430 w 93154"/>
                <a:gd name="connsiteY36" fmla="*/ 72475 h 8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3154" h="83517">
                  <a:moveTo>
                    <a:pt x="11430" y="72475"/>
                  </a:moveTo>
                  <a:cubicBezTo>
                    <a:pt x="14192" y="75237"/>
                    <a:pt x="17145" y="77237"/>
                    <a:pt x="19812" y="79047"/>
                  </a:cubicBezTo>
                  <a:cubicBezTo>
                    <a:pt x="23050" y="81047"/>
                    <a:pt x="26479" y="82285"/>
                    <a:pt x="29718" y="83047"/>
                  </a:cubicBezTo>
                  <a:cubicBezTo>
                    <a:pt x="33147" y="83809"/>
                    <a:pt x="36862" y="83524"/>
                    <a:pt x="40386" y="83047"/>
                  </a:cubicBezTo>
                  <a:cubicBezTo>
                    <a:pt x="43815" y="82762"/>
                    <a:pt x="47054" y="81333"/>
                    <a:pt x="50292" y="79999"/>
                  </a:cubicBezTo>
                  <a:cubicBezTo>
                    <a:pt x="53721" y="78475"/>
                    <a:pt x="56769" y="76761"/>
                    <a:pt x="59722" y="74951"/>
                  </a:cubicBezTo>
                  <a:cubicBezTo>
                    <a:pt x="61246" y="73903"/>
                    <a:pt x="62675" y="73046"/>
                    <a:pt x="64103" y="72189"/>
                  </a:cubicBezTo>
                  <a:lnTo>
                    <a:pt x="45910" y="29231"/>
                  </a:lnTo>
                  <a:cubicBezTo>
                    <a:pt x="44196" y="33708"/>
                    <a:pt x="43148" y="33517"/>
                    <a:pt x="41719" y="37994"/>
                  </a:cubicBezTo>
                  <a:lnTo>
                    <a:pt x="24384" y="31993"/>
                  </a:lnTo>
                  <a:cubicBezTo>
                    <a:pt x="25908" y="27517"/>
                    <a:pt x="26860" y="27707"/>
                    <a:pt x="28575" y="22945"/>
                  </a:cubicBezTo>
                  <a:lnTo>
                    <a:pt x="39719" y="1609"/>
                  </a:lnTo>
                  <a:cubicBezTo>
                    <a:pt x="42958" y="5895"/>
                    <a:pt x="42196" y="5133"/>
                    <a:pt x="45910" y="10372"/>
                  </a:cubicBezTo>
                  <a:cubicBezTo>
                    <a:pt x="47911" y="12848"/>
                    <a:pt x="50102" y="15610"/>
                    <a:pt x="52388" y="18658"/>
                  </a:cubicBezTo>
                  <a:cubicBezTo>
                    <a:pt x="54578" y="21421"/>
                    <a:pt x="56579" y="24659"/>
                    <a:pt x="58865" y="27421"/>
                  </a:cubicBezTo>
                  <a:cubicBezTo>
                    <a:pt x="61055" y="30469"/>
                    <a:pt x="62865" y="33708"/>
                    <a:pt x="64770" y="36184"/>
                  </a:cubicBezTo>
                  <a:cubicBezTo>
                    <a:pt x="67532" y="39709"/>
                    <a:pt x="70199" y="42185"/>
                    <a:pt x="71914" y="44185"/>
                  </a:cubicBezTo>
                  <a:cubicBezTo>
                    <a:pt x="75152" y="47424"/>
                    <a:pt x="78391" y="50472"/>
                    <a:pt x="81534" y="52948"/>
                  </a:cubicBezTo>
                  <a:cubicBezTo>
                    <a:pt x="87440" y="57235"/>
                    <a:pt x="86963" y="56187"/>
                    <a:pt x="92583" y="59235"/>
                  </a:cubicBezTo>
                  <a:cubicBezTo>
                    <a:pt x="92869" y="57425"/>
                    <a:pt x="93154" y="55711"/>
                    <a:pt x="93154" y="53710"/>
                  </a:cubicBezTo>
                  <a:cubicBezTo>
                    <a:pt x="93154" y="49900"/>
                    <a:pt x="92202" y="46186"/>
                    <a:pt x="91630" y="42661"/>
                  </a:cubicBezTo>
                  <a:cubicBezTo>
                    <a:pt x="90869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3" y="10276"/>
                    <a:pt x="70771" y="8276"/>
                    <a:pt x="67818" y="6276"/>
                  </a:cubicBezTo>
                  <a:cubicBezTo>
                    <a:pt x="64579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2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186"/>
                    <a:pt x="0" y="49900"/>
                    <a:pt x="0" y="53710"/>
                  </a:cubicBezTo>
                  <a:cubicBezTo>
                    <a:pt x="0" y="53996"/>
                    <a:pt x="95" y="54187"/>
                    <a:pt x="95" y="54472"/>
                  </a:cubicBezTo>
                  <a:cubicBezTo>
                    <a:pt x="1810" y="57711"/>
                    <a:pt x="4096" y="60378"/>
                    <a:pt x="5715" y="62950"/>
                  </a:cubicBezTo>
                  <a:cubicBezTo>
                    <a:pt x="8001" y="66379"/>
                    <a:pt x="9239" y="69903"/>
                    <a:pt x="11430" y="724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4A0E9CA8-9DE8-1016-0BA2-0AF184F65E56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4088 w 14015"/>
                <a:gd name="connsiteY0" fmla="*/ 18838 h 19119"/>
                <a:gd name="connsiteX1" fmla="*/ 13041 w 14015"/>
                <a:gd name="connsiteY1" fmla="*/ 12075 h 19119"/>
                <a:gd name="connsiteX2" fmla="*/ 11041 w 14015"/>
                <a:gd name="connsiteY2" fmla="*/ 264 h 19119"/>
                <a:gd name="connsiteX3" fmla="*/ 849 w 14015"/>
                <a:gd name="connsiteY3" fmla="*/ 7313 h 19119"/>
                <a:gd name="connsiteX4" fmla="*/ 4088 w 14015"/>
                <a:gd name="connsiteY4" fmla="*/ 18838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5" h="19119">
                  <a:moveTo>
                    <a:pt x="4088" y="18838"/>
                  </a:move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cubicBezTo>
                    <a:pt x="-1151" y="12552"/>
                    <a:pt x="564" y="17600"/>
                    <a:pt x="4088" y="1883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23DDCAD0-F57E-6127-6B2A-C58651113BC6}"/>
                </a:ext>
              </a:extLst>
            </p:cNvPr>
            <p:cNvSpPr/>
            <p:nvPr/>
          </p:nvSpPr>
          <p:spPr>
            <a:xfrm>
              <a:off x="6083950" y="4951549"/>
              <a:ext cx="53164" cy="54462"/>
            </a:xfrm>
            <a:custGeom>
              <a:avLst/>
              <a:gdLst>
                <a:gd name="connsiteX0" fmla="*/ 4096 w 36418"/>
                <a:gd name="connsiteY0" fmla="*/ 32831 h 37307"/>
                <a:gd name="connsiteX1" fmla="*/ 14002 w 36418"/>
                <a:gd name="connsiteY1" fmla="*/ 37308 h 37307"/>
                <a:gd name="connsiteX2" fmla="*/ 23908 w 36418"/>
                <a:gd name="connsiteY2" fmla="*/ 33307 h 37307"/>
                <a:gd name="connsiteX3" fmla="*/ 32290 w 36418"/>
                <a:gd name="connsiteY3" fmla="*/ 26544 h 37307"/>
                <a:gd name="connsiteX4" fmla="*/ 34004 w 36418"/>
                <a:gd name="connsiteY4" fmla="*/ 19020 h 37307"/>
                <a:gd name="connsiteX5" fmla="*/ 23813 w 36418"/>
                <a:gd name="connsiteY5" fmla="*/ 19496 h 37307"/>
                <a:gd name="connsiteX6" fmla="*/ 15145 w 36418"/>
                <a:gd name="connsiteY6" fmla="*/ 13686 h 37307"/>
                <a:gd name="connsiteX7" fmla="*/ 7239 w 36418"/>
                <a:gd name="connsiteY7" fmla="*/ 7399 h 37307"/>
                <a:gd name="connsiteX8" fmla="*/ 286 w 36418"/>
                <a:gd name="connsiteY8" fmla="*/ 160 h 37307"/>
                <a:gd name="connsiteX9" fmla="*/ 0 w 36418"/>
                <a:gd name="connsiteY9" fmla="*/ 10923 h 37307"/>
                <a:gd name="connsiteX10" fmla="*/ 762 w 36418"/>
                <a:gd name="connsiteY10" fmla="*/ 21972 h 37307"/>
                <a:gd name="connsiteX11" fmla="*/ 4096 w 36418"/>
                <a:gd name="connsiteY11" fmla="*/ 32831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18" h="37307">
                  <a:moveTo>
                    <a:pt x="4096" y="32831"/>
                  </a:moveTo>
                  <a:cubicBezTo>
                    <a:pt x="6572" y="36641"/>
                    <a:pt x="10573" y="37308"/>
                    <a:pt x="14002" y="37308"/>
                  </a:cubicBezTo>
                  <a:cubicBezTo>
                    <a:pt x="17431" y="37308"/>
                    <a:pt x="20669" y="35307"/>
                    <a:pt x="23908" y="33307"/>
                  </a:cubicBezTo>
                  <a:cubicBezTo>
                    <a:pt x="27146" y="31307"/>
                    <a:pt x="30099" y="29021"/>
                    <a:pt x="32290" y="26544"/>
                  </a:cubicBezTo>
                  <a:cubicBezTo>
                    <a:pt x="36481" y="21782"/>
                    <a:pt x="38195" y="17496"/>
                    <a:pt x="34004" y="19020"/>
                  </a:cubicBezTo>
                  <a:cubicBezTo>
                    <a:pt x="30766" y="20067"/>
                    <a:pt x="27337" y="20734"/>
                    <a:pt x="23813" y="19496"/>
                  </a:cubicBezTo>
                  <a:cubicBezTo>
                    <a:pt x="20860" y="18448"/>
                    <a:pt x="18097" y="15686"/>
                    <a:pt x="15145" y="13686"/>
                  </a:cubicBezTo>
                  <a:cubicBezTo>
                    <a:pt x="12382" y="11685"/>
                    <a:pt x="9430" y="9685"/>
                    <a:pt x="7239" y="7399"/>
                  </a:cubicBezTo>
                  <a:cubicBezTo>
                    <a:pt x="3048" y="3399"/>
                    <a:pt x="5239" y="-888"/>
                    <a:pt x="286" y="160"/>
                  </a:cubicBezTo>
                  <a:cubicBezTo>
                    <a:pt x="0" y="4446"/>
                    <a:pt x="0" y="7685"/>
                    <a:pt x="0" y="10923"/>
                  </a:cubicBezTo>
                  <a:cubicBezTo>
                    <a:pt x="0" y="15210"/>
                    <a:pt x="0" y="18924"/>
                    <a:pt x="762" y="21972"/>
                  </a:cubicBezTo>
                  <a:cubicBezTo>
                    <a:pt x="1619" y="26830"/>
                    <a:pt x="2381" y="30640"/>
                    <a:pt x="4096" y="328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5D62D008-AF8A-1B8D-61D9-4DC840455573}"/>
                </a:ext>
              </a:extLst>
            </p:cNvPr>
            <p:cNvSpPr/>
            <p:nvPr/>
          </p:nvSpPr>
          <p:spPr>
            <a:xfrm>
              <a:off x="6046824" y="4927587"/>
              <a:ext cx="139" cy="139"/>
            </a:xfrm>
            <a:custGeom>
              <a:avLst/>
              <a:gdLst>
                <a:gd name="connsiteX0" fmla="*/ 95 w 95"/>
                <a:gd name="connsiteY0" fmla="*/ 95 h 95"/>
                <a:gd name="connsiteX1" fmla="*/ 0 w 95"/>
                <a:gd name="connsiteY1" fmla="*/ 0 h 95"/>
                <a:gd name="connsiteX2" fmla="*/ 0 w 95"/>
                <a:gd name="connsiteY2" fmla="*/ 95 h 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" h="95">
                  <a:moveTo>
                    <a:pt x="95" y="95"/>
                  </a:moveTo>
                  <a:lnTo>
                    <a:pt x="0" y="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5793BED7-86BA-7D38-AD77-452CCBBA328F}"/>
                </a:ext>
              </a:extLst>
            </p:cNvPr>
            <p:cNvSpPr/>
            <p:nvPr/>
          </p:nvSpPr>
          <p:spPr>
            <a:xfrm>
              <a:off x="5515104" y="4324462"/>
              <a:ext cx="247475" cy="410960"/>
            </a:xfrm>
            <a:custGeom>
              <a:avLst/>
              <a:gdLst>
                <a:gd name="connsiteX0" fmla="*/ 56102 w 169524"/>
                <a:gd name="connsiteY0" fmla="*/ 173120 h 281514"/>
                <a:gd name="connsiteX1" fmla="*/ 51435 w 169524"/>
                <a:gd name="connsiteY1" fmla="*/ 183693 h 281514"/>
                <a:gd name="connsiteX2" fmla="*/ 47720 w 169524"/>
                <a:gd name="connsiteY2" fmla="*/ 194456 h 281514"/>
                <a:gd name="connsiteX3" fmla="*/ 44291 w 169524"/>
                <a:gd name="connsiteY3" fmla="*/ 205219 h 281514"/>
                <a:gd name="connsiteX4" fmla="*/ 40291 w 169524"/>
                <a:gd name="connsiteY4" fmla="*/ 215982 h 281514"/>
                <a:gd name="connsiteX5" fmla="*/ 35814 w 169524"/>
                <a:gd name="connsiteY5" fmla="*/ 226746 h 281514"/>
                <a:gd name="connsiteX6" fmla="*/ 31814 w 169524"/>
                <a:gd name="connsiteY6" fmla="*/ 237318 h 281514"/>
                <a:gd name="connsiteX7" fmla="*/ 27337 w 169524"/>
                <a:gd name="connsiteY7" fmla="*/ 247891 h 281514"/>
                <a:gd name="connsiteX8" fmla="*/ 18383 w 169524"/>
                <a:gd name="connsiteY8" fmla="*/ 268941 h 281514"/>
                <a:gd name="connsiteX9" fmla="*/ 0 w 169524"/>
                <a:gd name="connsiteY9" fmla="*/ 275228 h 281514"/>
                <a:gd name="connsiteX10" fmla="*/ 29528 w 169524"/>
                <a:gd name="connsiteY10" fmla="*/ 281514 h 281514"/>
                <a:gd name="connsiteX11" fmla="*/ 45910 w 169524"/>
                <a:gd name="connsiteY11" fmla="*/ 251892 h 281514"/>
                <a:gd name="connsiteX12" fmla="*/ 49625 w 169524"/>
                <a:gd name="connsiteY12" fmla="*/ 241128 h 281514"/>
                <a:gd name="connsiteX13" fmla="*/ 53054 w 169524"/>
                <a:gd name="connsiteY13" fmla="*/ 230365 h 281514"/>
                <a:gd name="connsiteX14" fmla="*/ 57531 w 169524"/>
                <a:gd name="connsiteY14" fmla="*/ 220078 h 281514"/>
                <a:gd name="connsiteX15" fmla="*/ 62198 w 169524"/>
                <a:gd name="connsiteY15" fmla="*/ 209791 h 281514"/>
                <a:gd name="connsiteX16" fmla="*/ 66675 w 169524"/>
                <a:gd name="connsiteY16" fmla="*/ 199504 h 281514"/>
                <a:gd name="connsiteX17" fmla="*/ 69914 w 169524"/>
                <a:gd name="connsiteY17" fmla="*/ 188741 h 281514"/>
                <a:gd name="connsiteX18" fmla="*/ 68199 w 169524"/>
                <a:gd name="connsiteY18" fmla="*/ 199504 h 281514"/>
                <a:gd name="connsiteX19" fmla="*/ 64770 w 169524"/>
                <a:gd name="connsiteY19" fmla="*/ 210077 h 281514"/>
                <a:gd name="connsiteX20" fmla="*/ 62770 w 169524"/>
                <a:gd name="connsiteY20" fmla="*/ 221126 h 281514"/>
                <a:gd name="connsiteX21" fmla="*/ 61055 w 169524"/>
                <a:gd name="connsiteY21" fmla="*/ 231889 h 281514"/>
                <a:gd name="connsiteX22" fmla="*/ 58293 w 169524"/>
                <a:gd name="connsiteY22" fmla="*/ 242652 h 281514"/>
                <a:gd name="connsiteX23" fmla="*/ 52006 w 169524"/>
                <a:gd name="connsiteY23" fmla="*/ 247320 h 281514"/>
                <a:gd name="connsiteX24" fmla="*/ 102394 w 169524"/>
                <a:gd name="connsiteY24" fmla="*/ 246939 h 281514"/>
                <a:gd name="connsiteX25" fmla="*/ 128873 w 169524"/>
                <a:gd name="connsiteY25" fmla="*/ 246748 h 281514"/>
                <a:gd name="connsiteX26" fmla="*/ 131540 w 169524"/>
                <a:gd name="connsiteY26" fmla="*/ 216173 h 281514"/>
                <a:gd name="connsiteX27" fmla="*/ 131636 w 169524"/>
                <a:gd name="connsiteY27" fmla="*/ 215316 h 281514"/>
                <a:gd name="connsiteX28" fmla="*/ 134398 w 169524"/>
                <a:gd name="connsiteY28" fmla="*/ 204743 h 281514"/>
                <a:gd name="connsiteX29" fmla="*/ 135160 w 169524"/>
                <a:gd name="connsiteY29" fmla="*/ 193694 h 281514"/>
                <a:gd name="connsiteX30" fmla="*/ 137160 w 169524"/>
                <a:gd name="connsiteY30" fmla="*/ 182931 h 281514"/>
                <a:gd name="connsiteX31" fmla="*/ 138398 w 169524"/>
                <a:gd name="connsiteY31" fmla="*/ 172167 h 281514"/>
                <a:gd name="connsiteX32" fmla="*/ 140113 w 169524"/>
                <a:gd name="connsiteY32" fmla="*/ 161404 h 281514"/>
                <a:gd name="connsiteX33" fmla="*/ 140589 w 169524"/>
                <a:gd name="connsiteY33" fmla="*/ 150355 h 281514"/>
                <a:gd name="connsiteX34" fmla="*/ 142780 w 169524"/>
                <a:gd name="connsiteY34" fmla="*/ 139782 h 281514"/>
                <a:gd name="connsiteX35" fmla="*/ 144304 w 169524"/>
                <a:gd name="connsiteY35" fmla="*/ 128733 h 281514"/>
                <a:gd name="connsiteX36" fmla="*/ 146018 w 169524"/>
                <a:gd name="connsiteY36" fmla="*/ 117970 h 281514"/>
                <a:gd name="connsiteX37" fmla="*/ 146495 w 169524"/>
                <a:gd name="connsiteY37" fmla="*/ 107207 h 281514"/>
                <a:gd name="connsiteX38" fmla="*/ 148685 w 169524"/>
                <a:gd name="connsiteY38" fmla="*/ 96444 h 281514"/>
                <a:gd name="connsiteX39" fmla="*/ 150209 w 169524"/>
                <a:gd name="connsiteY39" fmla="*/ 85680 h 281514"/>
                <a:gd name="connsiteX40" fmla="*/ 152686 w 169524"/>
                <a:gd name="connsiteY40" fmla="*/ 74917 h 281514"/>
                <a:gd name="connsiteX41" fmla="*/ 154210 w 169524"/>
                <a:gd name="connsiteY41" fmla="*/ 64154 h 281514"/>
                <a:gd name="connsiteX42" fmla="*/ 156972 w 169524"/>
                <a:gd name="connsiteY42" fmla="*/ 53391 h 281514"/>
                <a:gd name="connsiteX43" fmla="*/ 158496 w 169524"/>
                <a:gd name="connsiteY43" fmla="*/ 42627 h 281514"/>
                <a:gd name="connsiteX44" fmla="*/ 160211 w 169524"/>
                <a:gd name="connsiteY44" fmla="*/ 31864 h 281514"/>
                <a:gd name="connsiteX45" fmla="*/ 162401 w 169524"/>
                <a:gd name="connsiteY45" fmla="*/ 21101 h 281514"/>
                <a:gd name="connsiteX46" fmla="*/ 167069 w 169524"/>
                <a:gd name="connsiteY46" fmla="*/ 11576 h 281514"/>
                <a:gd name="connsiteX47" fmla="*/ 168593 w 169524"/>
                <a:gd name="connsiteY47" fmla="*/ 813 h 281514"/>
                <a:gd name="connsiteX48" fmla="*/ 160211 w 169524"/>
                <a:gd name="connsiteY48" fmla="*/ 6051 h 281514"/>
                <a:gd name="connsiteX49" fmla="*/ 154496 w 169524"/>
                <a:gd name="connsiteY49" fmla="*/ 15576 h 281514"/>
                <a:gd name="connsiteX50" fmla="*/ 151733 w 169524"/>
                <a:gd name="connsiteY50" fmla="*/ 26340 h 281514"/>
                <a:gd name="connsiteX51" fmla="*/ 147256 w 169524"/>
                <a:gd name="connsiteY51" fmla="*/ 36912 h 281514"/>
                <a:gd name="connsiteX52" fmla="*/ 145066 w 169524"/>
                <a:gd name="connsiteY52" fmla="*/ 47961 h 281514"/>
                <a:gd name="connsiteX53" fmla="*/ 142589 w 169524"/>
                <a:gd name="connsiteY53" fmla="*/ 59010 h 281514"/>
                <a:gd name="connsiteX54" fmla="*/ 140113 w 169524"/>
                <a:gd name="connsiteY54" fmla="*/ 70059 h 281514"/>
                <a:gd name="connsiteX55" fmla="*/ 137636 w 169524"/>
                <a:gd name="connsiteY55" fmla="*/ 81108 h 281514"/>
                <a:gd name="connsiteX56" fmla="*/ 135922 w 169524"/>
                <a:gd name="connsiteY56" fmla="*/ 92157 h 281514"/>
                <a:gd name="connsiteX57" fmla="*/ 133445 w 169524"/>
                <a:gd name="connsiteY57" fmla="*/ 103206 h 281514"/>
                <a:gd name="connsiteX58" fmla="*/ 131445 w 169524"/>
                <a:gd name="connsiteY58" fmla="*/ 114541 h 281514"/>
                <a:gd name="connsiteX59" fmla="*/ 129731 w 169524"/>
                <a:gd name="connsiteY59" fmla="*/ 125590 h 281514"/>
                <a:gd name="connsiteX60" fmla="*/ 126492 w 169524"/>
                <a:gd name="connsiteY60" fmla="*/ 91491 h 281514"/>
                <a:gd name="connsiteX61" fmla="*/ 125825 w 169524"/>
                <a:gd name="connsiteY61" fmla="*/ 92348 h 281514"/>
                <a:gd name="connsiteX62" fmla="*/ 126778 w 169524"/>
                <a:gd name="connsiteY62" fmla="*/ 99587 h 281514"/>
                <a:gd name="connsiteX63" fmla="*/ 126016 w 169524"/>
                <a:gd name="connsiteY63" fmla="*/ 110636 h 281514"/>
                <a:gd name="connsiteX64" fmla="*/ 121825 w 169524"/>
                <a:gd name="connsiteY64" fmla="*/ 120923 h 281514"/>
                <a:gd name="connsiteX65" fmla="*/ 117634 w 169524"/>
                <a:gd name="connsiteY65" fmla="*/ 130734 h 281514"/>
                <a:gd name="connsiteX66" fmla="*/ 111443 w 169524"/>
                <a:gd name="connsiteY66" fmla="*/ 139782 h 281514"/>
                <a:gd name="connsiteX67" fmla="*/ 103537 w 169524"/>
                <a:gd name="connsiteY67" fmla="*/ 147021 h 281514"/>
                <a:gd name="connsiteX68" fmla="*/ 93631 w 169524"/>
                <a:gd name="connsiteY68" fmla="*/ 151308 h 281514"/>
                <a:gd name="connsiteX69" fmla="*/ 83249 w 169524"/>
                <a:gd name="connsiteY69" fmla="*/ 152832 h 281514"/>
                <a:gd name="connsiteX70" fmla="*/ 72581 w 169524"/>
                <a:gd name="connsiteY70" fmla="*/ 151593 h 281514"/>
                <a:gd name="connsiteX71" fmla="*/ 63151 w 169524"/>
                <a:gd name="connsiteY71" fmla="*/ 146831 h 281514"/>
                <a:gd name="connsiteX72" fmla="*/ 59341 w 169524"/>
                <a:gd name="connsiteY72" fmla="*/ 143688 h 281514"/>
                <a:gd name="connsiteX73" fmla="*/ 37243 w 169524"/>
                <a:gd name="connsiteY73" fmla="*/ 187788 h 281514"/>
                <a:gd name="connsiteX74" fmla="*/ 59436 w 169524"/>
                <a:gd name="connsiteY74" fmla="*/ 162357 h 281514"/>
                <a:gd name="connsiteX75" fmla="*/ 56102 w 169524"/>
                <a:gd name="connsiteY75" fmla="*/ 173120 h 281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69524" h="281514">
                  <a:moveTo>
                    <a:pt x="56102" y="173120"/>
                  </a:moveTo>
                  <a:cubicBezTo>
                    <a:pt x="54864" y="176168"/>
                    <a:pt x="52864" y="179692"/>
                    <a:pt x="51435" y="183693"/>
                  </a:cubicBezTo>
                  <a:cubicBezTo>
                    <a:pt x="50197" y="186931"/>
                    <a:pt x="48958" y="190741"/>
                    <a:pt x="47720" y="194456"/>
                  </a:cubicBezTo>
                  <a:cubicBezTo>
                    <a:pt x="46482" y="197980"/>
                    <a:pt x="45530" y="201695"/>
                    <a:pt x="44291" y="205219"/>
                  </a:cubicBezTo>
                  <a:cubicBezTo>
                    <a:pt x="42767" y="208743"/>
                    <a:pt x="41815" y="212458"/>
                    <a:pt x="40291" y="215982"/>
                  </a:cubicBezTo>
                  <a:cubicBezTo>
                    <a:pt x="39053" y="219792"/>
                    <a:pt x="37338" y="223031"/>
                    <a:pt x="35814" y="226746"/>
                  </a:cubicBezTo>
                  <a:cubicBezTo>
                    <a:pt x="34576" y="230270"/>
                    <a:pt x="33052" y="233794"/>
                    <a:pt x="31814" y="237318"/>
                  </a:cubicBezTo>
                  <a:cubicBezTo>
                    <a:pt x="30290" y="241128"/>
                    <a:pt x="28861" y="244557"/>
                    <a:pt x="27337" y="247891"/>
                  </a:cubicBezTo>
                  <a:cubicBezTo>
                    <a:pt x="26003" y="251606"/>
                    <a:pt x="19526" y="266084"/>
                    <a:pt x="18383" y="268941"/>
                  </a:cubicBezTo>
                  <a:lnTo>
                    <a:pt x="0" y="275228"/>
                  </a:lnTo>
                  <a:lnTo>
                    <a:pt x="29528" y="281514"/>
                  </a:lnTo>
                  <a:cubicBezTo>
                    <a:pt x="31052" y="278562"/>
                    <a:pt x="44482" y="255130"/>
                    <a:pt x="45910" y="251892"/>
                  </a:cubicBezTo>
                  <a:cubicBezTo>
                    <a:pt x="47434" y="248653"/>
                    <a:pt x="48101" y="244653"/>
                    <a:pt x="49625" y="241128"/>
                  </a:cubicBezTo>
                  <a:cubicBezTo>
                    <a:pt x="51149" y="237890"/>
                    <a:pt x="51626" y="233889"/>
                    <a:pt x="53054" y="230365"/>
                  </a:cubicBezTo>
                  <a:cubicBezTo>
                    <a:pt x="54293" y="226841"/>
                    <a:pt x="56007" y="223602"/>
                    <a:pt x="57531" y="220078"/>
                  </a:cubicBezTo>
                  <a:cubicBezTo>
                    <a:pt x="59055" y="216268"/>
                    <a:pt x="60960" y="213030"/>
                    <a:pt x="62198" y="209791"/>
                  </a:cubicBezTo>
                  <a:cubicBezTo>
                    <a:pt x="63722" y="205791"/>
                    <a:pt x="65437" y="202552"/>
                    <a:pt x="66675" y="199504"/>
                  </a:cubicBezTo>
                  <a:cubicBezTo>
                    <a:pt x="68866" y="192932"/>
                    <a:pt x="70676" y="182931"/>
                    <a:pt x="69914" y="188741"/>
                  </a:cubicBezTo>
                  <a:cubicBezTo>
                    <a:pt x="69437" y="193980"/>
                    <a:pt x="69437" y="194265"/>
                    <a:pt x="68199" y="199504"/>
                  </a:cubicBezTo>
                  <a:cubicBezTo>
                    <a:pt x="67247" y="205029"/>
                    <a:pt x="66008" y="204743"/>
                    <a:pt x="64770" y="210077"/>
                  </a:cubicBezTo>
                  <a:cubicBezTo>
                    <a:pt x="63818" y="215601"/>
                    <a:pt x="63818" y="215601"/>
                    <a:pt x="62770" y="221126"/>
                  </a:cubicBezTo>
                  <a:cubicBezTo>
                    <a:pt x="61531" y="226365"/>
                    <a:pt x="62294" y="226650"/>
                    <a:pt x="61055" y="231889"/>
                  </a:cubicBezTo>
                  <a:cubicBezTo>
                    <a:pt x="59817" y="237414"/>
                    <a:pt x="59341" y="237128"/>
                    <a:pt x="58293" y="242652"/>
                  </a:cubicBezTo>
                  <a:lnTo>
                    <a:pt x="52006" y="247320"/>
                  </a:lnTo>
                  <a:cubicBezTo>
                    <a:pt x="68771" y="247224"/>
                    <a:pt x="85630" y="247034"/>
                    <a:pt x="102394" y="246939"/>
                  </a:cubicBezTo>
                  <a:lnTo>
                    <a:pt x="128873" y="246748"/>
                  </a:lnTo>
                  <a:lnTo>
                    <a:pt x="131540" y="216173"/>
                  </a:lnTo>
                  <a:cubicBezTo>
                    <a:pt x="131540" y="215887"/>
                    <a:pt x="131540" y="215601"/>
                    <a:pt x="131636" y="215316"/>
                  </a:cubicBezTo>
                  <a:cubicBezTo>
                    <a:pt x="132112" y="212077"/>
                    <a:pt x="133826" y="208553"/>
                    <a:pt x="134398" y="204743"/>
                  </a:cubicBezTo>
                  <a:cubicBezTo>
                    <a:pt x="134874" y="201219"/>
                    <a:pt x="134684" y="197504"/>
                    <a:pt x="135160" y="193694"/>
                  </a:cubicBezTo>
                  <a:cubicBezTo>
                    <a:pt x="135636" y="190170"/>
                    <a:pt x="136684" y="186645"/>
                    <a:pt x="137160" y="182931"/>
                  </a:cubicBezTo>
                  <a:cubicBezTo>
                    <a:pt x="137636" y="179406"/>
                    <a:pt x="137922" y="175882"/>
                    <a:pt x="138398" y="172167"/>
                  </a:cubicBezTo>
                  <a:cubicBezTo>
                    <a:pt x="138875" y="168643"/>
                    <a:pt x="139637" y="165119"/>
                    <a:pt x="140113" y="161404"/>
                  </a:cubicBezTo>
                  <a:cubicBezTo>
                    <a:pt x="140589" y="157880"/>
                    <a:pt x="140113" y="154165"/>
                    <a:pt x="140589" y="150355"/>
                  </a:cubicBezTo>
                  <a:cubicBezTo>
                    <a:pt x="141065" y="146831"/>
                    <a:pt x="142304" y="143307"/>
                    <a:pt x="142780" y="139782"/>
                  </a:cubicBezTo>
                  <a:cubicBezTo>
                    <a:pt x="143256" y="135972"/>
                    <a:pt x="143732" y="132543"/>
                    <a:pt x="144304" y="128733"/>
                  </a:cubicBezTo>
                  <a:cubicBezTo>
                    <a:pt x="144780" y="125209"/>
                    <a:pt x="145542" y="121685"/>
                    <a:pt x="146018" y="117970"/>
                  </a:cubicBezTo>
                  <a:cubicBezTo>
                    <a:pt x="146780" y="114446"/>
                    <a:pt x="146018" y="110731"/>
                    <a:pt x="146495" y="107207"/>
                  </a:cubicBezTo>
                  <a:cubicBezTo>
                    <a:pt x="146971" y="103397"/>
                    <a:pt x="148019" y="99968"/>
                    <a:pt x="148685" y="96444"/>
                  </a:cubicBezTo>
                  <a:cubicBezTo>
                    <a:pt x="149162" y="92634"/>
                    <a:pt x="149638" y="89205"/>
                    <a:pt x="150209" y="85680"/>
                  </a:cubicBezTo>
                  <a:cubicBezTo>
                    <a:pt x="150971" y="81870"/>
                    <a:pt x="152210" y="78441"/>
                    <a:pt x="152686" y="74917"/>
                  </a:cubicBezTo>
                  <a:cubicBezTo>
                    <a:pt x="153448" y="71107"/>
                    <a:pt x="153448" y="67678"/>
                    <a:pt x="154210" y="64154"/>
                  </a:cubicBezTo>
                  <a:cubicBezTo>
                    <a:pt x="154686" y="60344"/>
                    <a:pt x="156210" y="56915"/>
                    <a:pt x="156972" y="53391"/>
                  </a:cubicBezTo>
                  <a:cubicBezTo>
                    <a:pt x="157448" y="49581"/>
                    <a:pt x="157734" y="46152"/>
                    <a:pt x="158496" y="42627"/>
                  </a:cubicBezTo>
                  <a:cubicBezTo>
                    <a:pt x="159258" y="38817"/>
                    <a:pt x="159449" y="35103"/>
                    <a:pt x="160211" y="31864"/>
                  </a:cubicBezTo>
                  <a:cubicBezTo>
                    <a:pt x="160973" y="27864"/>
                    <a:pt x="161735" y="24054"/>
                    <a:pt x="162401" y="21101"/>
                  </a:cubicBezTo>
                  <a:cubicBezTo>
                    <a:pt x="163640" y="16053"/>
                    <a:pt x="165830" y="13100"/>
                    <a:pt x="167069" y="11576"/>
                  </a:cubicBezTo>
                  <a:cubicBezTo>
                    <a:pt x="170021" y="7575"/>
                    <a:pt x="170021" y="2527"/>
                    <a:pt x="168593" y="813"/>
                  </a:cubicBezTo>
                  <a:cubicBezTo>
                    <a:pt x="167069" y="-902"/>
                    <a:pt x="164402" y="-235"/>
                    <a:pt x="160211" y="6051"/>
                  </a:cubicBezTo>
                  <a:cubicBezTo>
                    <a:pt x="158687" y="8337"/>
                    <a:pt x="156496" y="11290"/>
                    <a:pt x="154496" y="15576"/>
                  </a:cubicBezTo>
                  <a:cubicBezTo>
                    <a:pt x="153257" y="18243"/>
                    <a:pt x="153257" y="22339"/>
                    <a:pt x="151733" y="26340"/>
                  </a:cubicBezTo>
                  <a:cubicBezTo>
                    <a:pt x="150781" y="29578"/>
                    <a:pt x="148495" y="32912"/>
                    <a:pt x="147256" y="36912"/>
                  </a:cubicBezTo>
                  <a:cubicBezTo>
                    <a:pt x="146304" y="40151"/>
                    <a:pt x="146018" y="44151"/>
                    <a:pt x="145066" y="47961"/>
                  </a:cubicBezTo>
                  <a:cubicBezTo>
                    <a:pt x="144304" y="51486"/>
                    <a:pt x="143351" y="55010"/>
                    <a:pt x="142589" y="59010"/>
                  </a:cubicBezTo>
                  <a:cubicBezTo>
                    <a:pt x="141827" y="62535"/>
                    <a:pt x="141065" y="66059"/>
                    <a:pt x="140113" y="70059"/>
                  </a:cubicBezTo>
                  <a:cubicBezTo>
                    <a:pt x="139351" y="73584"/>
                    <a:pt x="138398" y="77108"/>
                    <a:pt x="137636" y="81108"/>
                  </a:cubicBezTo>
                  <a:cubicBezTo>
                    <a:pt x="136874" y="84633"/>
                    <a:pt x="136398" y="88347"/>
                    <a:pt x="135922" y="92157"/>
                  </a:cubicBezTo>
                  <a:cubicBezTo>
                    <a:pt x="135160" y="95682"/>
                    <a:pt x="134207" y="99396"/>
                    <a:pt x="133445" y="103206"/>
                  </a:cubicBezTo>
                  <a:cubicBezTo>
                    <a:pt x="132969" y="107016"/>
                    <a:pt x="131921" y="110445"/>
                    <a:pt x="131445" y="114541"/>
                  </a:cubicBezTo>
                  <a:cubicBezTo>
                    <a:pt x="130969" y="118065"/>
                    <a:pt x="130207" y="121780"/>
                    <a:pt x="129731" y="125590"/>
                  </a:cubicBezTo>
                  <a:lnTo>
                    <a:pt x="126492" y="91491"/>
                  </a:lnTo>
                  <a:cubicBezTo>
                    <a:pt x="126302" y="91776"/>
                    <a:pt x="126016" y="92062"/>
                    <a:pt x="125825" y="92348"/>
                  </a:cubicBezTo>
                  <a:cubicBezTo>
                    <a:pt x="126302" y="94729"/>
                    <a:pt x="126778" y="97015"/>
                    <a:pt x="126778" y="99587"/>
                  </a:cubicBezTo>
                  <a:cubicBezTo>
                    <a:pt x="126778" y="103397"/>
                    <a:pt x="126492" y="107112"/>
                    <a:pt x="126016" y="110636"/>
                  </a:cubicBezTo>
                  <a:cubicBezTo>
                    <a:pt x="125540" y="114446"/>
                    <a:pt x="123063" y="117684"/>
                    <a:pt x="121825" y="120923"/>
                  </a:cubicBezTo>
                  <a:cubicBezTo>
                    <a:pt x="120587" y="124447"/>
                    <a:pt x="119348" y="127686"/>
                    <a:pt x="117634" y="130734"/>
                  </a:cubicBezTo>
                  <a:cubicBezTo>
                    <a:pt x="115633" y="133972"/>
                    <a:pt x="113919" y="137020"/>
                    <a:pt x="111443" y="139782"/>
                  </a:cubicBezTo>
                  <a:cubicBezTo>
                    <a:pt x="108966" y="142545"/>
                    <a:pt x="106490" y="145307"/>
                    <a:pt x="103537" y="147021"/>
                  </a:cubicBezTo>
                  <a:cubicBezTo>
                    <a:pt x="100584" y="149307"/>
                    <a:pt x="97060" y="150260"/>
                    <a:pt x="93631" y="151308"/>
                  </a:cubicBezTo>
                  <a:cubicBezTo>
                    <a:pt x="90202" y="152355"/>
                    <a:pt x="86963" y="152832"/>
                    <a:pt x="83249" y="152832"/>
                  </a:cubicBezTo>
                  <a:cubicBezTo>
                    <a:pt x="79534" y="152832"/>
                    <a:pt x="76105" y="152546"/>
                    <a:pt x="72581" y="151593"/>
                  </a:cubicBezTo>
                  <a:cubicBezTo>
                    <a:pt x="69152" y="150546"/>
                    <a:pt x="66104" y="148831"/>
                    <a:pt x="63151" y="146831"/>
                  </a:cubicBezTo>
                  <a:cubicBezTo>
                    <a:pt x="61817" y="145878"/>
                    <a:pt x="60484" y="144831"/>
                    <a:pt x="59341" y="143688"/>
                  </a:cubicBezTo>
                  <a:lnTo>
                    <a:pt x="37243" y="187788"/>
                  </a:lnTo>
                  <a:lnTo>
                    <a:pt x="59436" y="162357"/>
                  </a:lnTo>
                  <a:cubicBezTo>
                    <a:pt x="57341" y="167595"/>
                    <a:pt x="58579" y="166643"/>
                    <a:pt x="56102" y="173120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226DCAF-598A-ADEF-0971-145A04C5E06D}"/>
                </a:ext>
              </a:extLst>
            </p:cNvPr>
            <p:cNvSpPr/>
            <p:nvPr/>
          </p:nvSpPr>
          <p:spPr>
            <a:xfrm>
              <a:off x="5837592" y="4385578"/>
              <a:ext cx="173078" cy="421315"/>
            </a:xfrm>
            <a:custGeom>
              <a:avLst/>
              <a:gdLst>
                <a:gd name="connsiteX0" fmla="*/ 95416 w 118561"/>
                <a:gd name="connsiteY0" fmla="*/ 148781 h 288607"/>
                <a:gd name="connsiteX1" fmla="*/ 95702 w 118561"/>
                <a:gd name="connsiteY1" fmla="*/ 151067 h 288607"/>
                <a:gd name="connsiteX2" fmla="*/ 95321 w 118561"/>
                <a:gd name="connsiteY2" fmla="*/ 148781 h 288607"/>
                <a:gd name="connsiteX3" fmla="*/ 95416 w 118561"/>
                <a:gd name="connsiteY3" fmla="*/ 148781 h 288607"/>
                <a:gd name="connsiteX4" fmla="*/ 91415 w 118561"/>
                <a:gd name="connsiteY4" fmla="*/ 116014 h 288607"/>
                <a:gd name="connsiteX5" fmla="*/ 74461 w 118561"/>
                <a:gd name="connsiteY5" fmla="*/ 50768 h 288607"/>
                <a:gd name="connsiteX6" fmla="*/ 75223 w 118561"/>
                <a:gd name="connsiteY6" fmla="*/ 50483 h 288607"/>
                <a:gd name="connsiteX7" fmla="*/ 118562 w 118561"/>
                <a:gd name="connsiteY7" fmla="*/ 42577 h 288607"/>
                <a:gd name="connsiteX8" fmla="*/ 117038 w 118561"/>
                <a:gd name="connsiteY8" fmla="*/ 40767 h 288607"/>
                <a:gd name="connsiteX9" fmla="*/ 95035 w 118561"/>
                <a:gd name="connsiteY9" fmla="*/ 16288 h 288607"/>
                <a:gd name="connsiteX10" fmla="*/ 94559 w 118561"/>
                <a:gd name="connsiteY10" fmla="*/ 16002 h 288607"/>
                <a:gd name="connsiteX11" fmla="*/ 93511 w 118561"/>
                <a:gd name="connsiteY11" fmla="*/ 17240 h 288607"/>
                <a:gd name="connsiteX12" fmla="*/ 86081 w 118561"/>
                <a:gd name="connsiteY12" fmla="*/ 24765 h 288607"/>
                <a:gd name="connsiteX13" fmla="*/ 77128 w 118561"/>
                <a:gd name="connsiteY13" fmla="*/ 30289 h 288607"/>
                <a:gd name="connsiteX14" fmla="*/ 66746 w 118561"/>
                <a:gd name="connsiteY14" fmla="*/ 31052 h 288607"/>
                <a:gd name="connsiteX15" fmla="*/ 56840 w 118561"/>
                <a:gd name="connsiteY15" fmla="*/ 29051 h 288607"/>
                <a:gd name="connsiteX16" fmla="*/ 47410 w 118561"/>
                <a:gd name="connsiteY16" fmla="*/ 24765 h 288607"/>
                <a:gd name="connsiteX17" fmla="*/ 40457 w 118561"/>
                <a:gd name="connsiteY17" fmla="*/ 16954 h 288607"/>
                <a:gd name="connsiteX18" fmla="*/ 34742 w 118561"/>
                <a:gd name="connsiteY18" fmla="*/ 8191 h 288607"/>
                <a:gd name="connsiteX19" fmla="*/ 30551 w 118561"/>
                <a:gd name="connsiteY19" fmla="*/ 0 h 288607"/>
                <a:gd name="connsiteX20" fmla="*/ 31884 w 118561"/>
                <a:gd name="connsiteY20" fmla="*/ 4096 h 288607"/>
                <a:gd name="connsiteX21" fmla="*/ 33694 w 118561"/>
                <a:gd name="connsiteY21" fmla="*/ 10287 h 288607"/>
                <a:gd name="connsiteX22" fmla="*/ 35694 w 118561"/>
                <a:gd name="connsiteY22" fmla="*/ 12764 h 288607"/>
                <a:gd name="connsiteX23" fmla="*/ 39599 w 118561"/>
                <a:gd name="connsiteY23" fmla="*/ 18478 h 288607"/>
                <a:gd name="connsiteX24" fmla="*/ 40933 w 118561"/>
                <a:gd name="connsiteY24" fmla="*/ 19812 h 288607"/>
                <a:gd name="connsiteX25" fmla="*/ 45981 w 118561"/>
                <a:gd name="connsiteY25" fmla="*/ 27527 h 288607"/>
                <a:gd name="connsiteX26" fmla="*/ 46362 w 118561"/>
                <a:gd name="connsiteY26" fmla="*/ 30861 h 288607"/>
                <a:gd name="connsiteX27" fmla="*/ 49124 w 118561"/>
                <a:gd name="connsiteY27" fmla="*/ 27908 h 288607"/>
                <a:gd name="connsiteX28" fmla="*/ 46267 w 118561"/>
                <a:gd name="connsiteY28" fmla="*/ 33623 h 288607"/>
                <a:gd name="connsiteX29" fmla="*/ 45981 w 118561"/>
                <a:gd name="connsiteY29" fmla="*/ 35909 h 288607"/>
                <a:gd name="connsiteX30" fmla="*/ 45981 w 118561"/>
                <a:gd name="connsiteY30" fmla="*/ 36004 h 288607"/>
                <a:gd name="connsiteX31" fmla="*/ 42076 w 118561"/>
                <a:gd name="connsiteY31" fmla="*/ 48673 h 288607"/>
                <a:gd name="connsiteX32" fmla="*/ 39028 w 118561"/>
                <a:gd name="connsiteY32" fmla="*/ 52197 h 288607"/>
                <a:gd name="connsiteX33" fmla="*/ 37313 w 118561"/>
                <a:gd name="connsiteY33" fmla="*/ 58102 h 288607"/>
                <a:gd name="connsiteX34" fmla="*/ 33122 w 118561"/>
                <a:gd name="connsiteY34" fmla="*/ 68389 h 288607"/>
                <a:gd name="connsiteX35" fmla="*/ 30360 w 118561"/>
                <a:gd name="connsiteY35" fmla="*/ 78962 h 288607"/>
                <a:gd name="connsiteX36" fmla="*/ 26645 w 118561"/>
                <a:gd name="connsiteY36" fmla="*/ 89249 h 288607"/>
                <a:gd name="connsiteX37" fmla="*/ 23407 w 118561"/>
                <a:gd name="connsiteY37" fmla="*/ 99536 h 288607"/>
                <a:gd name="connsiteX38" fmla="*/ 19978 w 118561"/>
                <a:gd name="connsiteY38" fmla="*/ 110109 h 288607"/>
                <a:gd name="connsiteX39" fmla="*/ 17787 w 118561"/>
                <a:gd name="connsiteY39" fmla="*/ 120872 h 288607"/>
                <a:gd name="connsiteX40" fmla="*/ 14358 w 118561"/>
                <a:gd name="connsiteY40" fmla="*/ 131159 h 288607"/>
                <a:gd name="connsiteX41" fmla="*/ 11882 w 118561"/>
                <a:gd name="connsiteY41" fmla="*/ 141732 h 288607"/>
                <a:gd name="connsiteX42" fmla="*/ 8929 w 118561"/>
                <a:gd name="connsiteY42" fmla="*/ 152305 h 288607"/>
                <a:gd name="connsiteX43" fmla="*/ 5214 w 118561"/>
                <a:gd name="connsiteY43" fmla="*/ 162592 h 288607"/>
                <a:gd name="connsiteX44" fmla="*/ 1785 w 118561"/>
                <a:gd name="connsiteY44" fmla="*/ 172879 h 288607"/>
                <a:gd name="connsiteX45" fmla="*/ 261 w 118561"/>
                <a:gd name="connsiteY45" fmla="*/ 183642 h 288607"/>
                <a:gd name="connsiteX46" fmla="*/ 5214 w 118561"/>
                <a:gd name="connsiteY46" fmla="*/ 173831 h 288607"/>
                <a:gd name="connsiteX47" fmla="*/ 10929 w 118561"/>
                <a:gd name="connsiteY47" fmla="*/ 164497 h 288607"/>
                <a:gd name="connsiteX48" fmla="*/ 15406 w 118561"/>
                <a:gd name="connsiteY48" fmla="*/ 154496 h 288607"/>
                <a:gd name="connsiteX49" fmla="*/ 19597 w 118561"/>
                <a:gd name="connsiteY49" fmla="*/ 144209 h 288607"/>
                <a:gd name="connsiteX50" fmla="*/ 25502 w 118561"/>
                <a:gd name="connsiteY50" fmla="*/ 135160 h 288607"/>
                <a:gd name="connsiteX51" fmla="*/ 28931 w 118561"/>
                <a:gd name="connsiteY51" fmla="*/ 124587 h 288607"/>
                <a:gd name="connsiteX52" fmla="*/ 34837 w 118561"/>
                <a:gd name="connsiteY52" fmla="*/ 115252 h 288607"/>
                <a:gd name="connsiteX53" fmla="*/ 38552 w 118561"/>
                <a:gd name="connsiteY53" fmla="*/ 104680 h 288607"/>
                <a:gd name="connsiteX54" fmla="*/ 44267 w 118561"/>
                <a:gd name="connsiteY54" fmla="*/ 95345 h 288607"/>
                <a:gd name="connsiteX55" fmla="*/ 49220 w 118561"/>
                <a:gd name="connsiteY55" fmla="*/ 85820 h 288607"/>
                <a:gd name="connsiteX56" fmla="*/ 53887 w 118561"/>
                <a:gd name="connsiteY56" fmla="*/ 75533 h 288607"/>
                <a:gd name="connsiteX57" fmla="*/ 52934 w 118561"/>
                <a:gd name="connsiteY57" fmla="*/ 86297 h 288607"/>
                <a:gd name="connsiteX58" fmla="*/ 50744 w 118561"/>
                <a:gd name="connsiteY58" fmla="*/ 96869 h 288607"/>
                <a:gd name="connsiteX59" fmla="*/ 50458 w 118561"/>
                <a:gd name="connsiteY59" fmla="*/ 107442 h 288607"/>
                <a:gd name="connsiteX60" fmla="*/ 48267 w 118561"/>
                <a:gd name="connsiteY60" fmla="*/ 118015 h 288607"/>
                <a:gd name="connsiteX61" fmla="*/ 47791 w 118561"/>
                <a:gd name="connsiteY61" fmla="*/ 128587 h 288607"/>
                <a:gd name="connsiteX62" fmla="*/ 46838 w 118561"/>
                <a:gd name="connsiteY62" fmla="*/ 139351 h 288607"/>
                <a:gd name="connsiteX63" fmla="*/ 46076 w 118561"/>
                <a:gd name="connsiteY63" fmla="*/ 149924 h 288607"/>
                <a:gd name="connsiteX64" fmla="*/ 43886 w 118561"/>
                <a:gd name="connsiteY64" fmla="*/ 160496 h 288607"/>
                <a:gd name="connsiteX65" fmla="*/ 42933 w 118561"/>
                <a:gd name="connsiteY65" fmla="*/ 171069 h 288607"/>
                <a:gd name="connsiteX66" fmla="*/ 41981 w 118561"/>
                <a:gd name="connsiteY66" fmla="*/ 181642 h 288607"/>
                <a:gd name="connsiteX67" fmla="*/ 41028 w 118561"/>
                <a:gd name="connsiteY67" fmla="*/ 192215 h 288607"/>
                <a:gd name="connsiteX68" fmla="*/ 39314 w 118561"/>
                <a:gd name="connsiteY68" fmla="*/ 202502 h 288607"/>
                <a:gd name="connsiteX69" fmla="*/ 39028 w 118561"/>
                <a:gd name="connsiteY69" fmla="*/ 213074 h 288607"/>
                <a:gd name="connsiteX70" fmla="*/ 37790 w 118561"/>
                <a:gd name="connsiteY70" fmla="*/ 223361 h 288607"/>
                <a:gd name="connsiteX71" fmla="*/ 37504 w 118561"/>
                <a:gd name="connsiteY71" fmla="*/ 233934 h 288607"/>
                <a:gd name="connsiteX72" fmla="*/ 35980 w 118561"/>
                <a:gd name="connsiteY72" fmla="*/ 244507 h 288607"/>
                <a:gd name="connsiteX73" fmla="*/ 34456 w 118561"/>
                <a:gd name="connsiteY73" fmla="*/ 254794 h 288607"/>
                <a:gd name="connsiteX74" fmla="*/ 34170 w 118561"/>
                <a:gd name="connsiteY74" fmla="*/ 265367 h 288607"/>
                <a:gd name="connsiteX75" fmla="*/ 32932 w 118561"/>
                <a:gd name="connsiteY75" fmla="*/ 275654 h 288607"/>
                <a:gd name="connsiteX76" fmla="*/ 32932 w 118561"/>
                <a:gd name="connsiteY76" fmla="*/ 286226 h 288607"/>
                <a:gd name="connsiteX77" fmla="*/ 49791 w 118561"/>
                <a:gd name="connsiteY77" fmla="*/ 286512 h 288607"/>
                <a:gd name="connsiteX78" fmla="*/ 52268 w 118561"/>
                <a:gd name="connsiteY78" fmla="*/ 275463 h 288607"/>
                <a:gd name="connsiteX79" fmla="*/ 55506 w 118561"/>
                <a:gd name="connsiteY79" fmla="*/ 264700 h 288607"/>
                <a:gd name="connsiteX80" fmla="*/ 57221 w 118561"/>
                <a:gd name="connsiteY80" fmla="*/ 253651 h 288607"/>
                <a:gd name="connsiteX81" fmla="*/ 60935 w 118561"/>
                <a:gd name="connsiteY81" fmla="*/ 243078 h 288607"/>
                <a:gd name="connsiteX82" fmla="*/ 62936 w 118561"/>
                <a:gd name="connsiteY82" fmla="*/ 232029 h 288607"/>
                <a:gd name="connsiteX83" fmla="*/ 66365 w 118561"/>
                <a:gd name="connsiteY83" fmla="*/ 221456 h 288607"/>
                <a:gd name="connsiteX84" fmla="*/ 68555 w 118561"/>
                <a:gd name="connsiteY84" fmla="*/ 210407 h 288607"/>
                <a:gd name="connsiteX85" fmla="*/ 70746 w 118561"/>
                <a:gd name="connsiteY85" fmla="*/ 199358 h 288607"/>
                <a:gd name="connsiteX86" fmla="*/ 73985 w 118561"/>
                <a:gd name="connsiteY86" fmla="*/ 189071 h 288607"/>
                <a:gd name="connsiteX87" fmla="*/ 74747 w 118561"/>
                <a:gd name="connsiteY87" fmla="*/ 199644 h 288607"/>
                <a:gd name="connsiteX88" fmla="*/ 75509 w 118561"/>
                <a:gd name="connsiteY88" fmla="*/ 210407 h 288607"/>
                <a:gd name="connsiteX89" fmla="*/ 76747 w 118561"/>
                <a:gd name="connsiteY89" fmla="*/ 221171 h 288607"/>
                <a:gd name="connsiteX90" fmla="*/ 78461 w 118561"/>
                <a:gd name="connsiteY90" fmla="*/ 231934 h 288607"/>
                <a:gd name="connsiteX91" fmla="*/ 79700 w 118561"/>
                <a:gd name="connsiteY91" fmla="*/ 242697 h 288607"/>
                <a:gd name="connsiteX92" fmla="*/ 81224 w 118561"/>
                <a:gd name="connsiteY92" fmla="*/ 253460 h 288607"/>
                <a:gd name="connsiteX93" fmla="*/ 81509 w 118561"/>
                <a:gd name="connsiteY93" fmla="*/ 264509 h 288607"/>
                <a:gd name="connsiteX94" fmla="*/ 83033 w 118561"/>
                <a:gd name="connsiteY94" fmla="*/ 275273 h 288607"/>
                <a:gd name="connsiteX95" fmla="*/ 83986 w 118561"/>
                <a:gd name="connsiteY95" fmla="*/ 286036 h 288607"/>
                <a:gd name="connsiteX96" fmla="*/ 108560 w 118561"/>
                <a:gd name="connsiteY96" fmla="*/ 288607 h 288607"/>
                <a:gd name="connsiteX97" fmla="*/ 116657 w 118561"/>
                <a:gd name="connsiteY97" fmla="*/ 143542 h 288607"/>
                <a:gd name="connsiteX98" fmla="*/ 113799 w 118561"/>
                <a:gd name="connsiteY98" fmla="*/ 141351 h 288607"/>
                <a:gd name="connsiteX99" fmla="*/ 95416 w 118561"/>
                <a:gd name="connsiteY99" fmla="*/ 148781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18561" h="288607">
                  <a:moveTo>
                    <a:pt x="95416" y="148781"/>
                  </a:moveTo>
                  <a:cubicBezTo>
                    <a:pt x="95511" y="149543"/>
                    <a:pt x="95606" y="150305"/>
                    <a:pt x="95702" y="151067"/>
                  </a:cubicBezTo>
                  <a:lnTo>
                    <a:pt x="95321" y="148781"/>
                  </a:lnTo>
                  <a:cubicBezTo>
                    <a:pt x="95321" y="148781"/>
                    <a:pt x="95321" y="148781"/>
                    <a:pt x="95416" y="148781"/>
                  </a:cubicBezTo>
                  <a:cubicBezTo>
                    <a:pt x="94273" y="137827"/>
                    <a:pt x="93130" y="126873"/>
                    <a:pt x="91415" y="116014"/>
                  </a:cubicBezTo>
                  <a:cubicBezTo>
                    <a:pt x="87986" y="93821"/>
                    <a:pt x="82271" y="71914"/>
                    <a:pt x="74461" y="50768"/>
                  </a:cubicBezTo>
                  <a:lnTo>
                    <a:pt x="75223" y="50483"/>
                  </a:lnTo>
                  <a:cubicBezTo>
                    <a:pt x="89796" y="48482"/>
                    <a:pt x="104274" y="45720"/>
                    <a:pt x="118562" y="42577"/>
                  </a:cubicBezTo>
                  <a:lnTo>
                    <a:pt x="117038" y="40767"/>
                  </a:lnTo>
                  <a:cubicBezTo>
                    <a:pt x="108179" y="34290"/>
                    <a:pt x="103036" y="23717"/>
                    <a:pt x="95035" y="16288"/>
                  </a:cubicBezTo>
                  <a:lnTo>
                    <a:pt x="94559" y="16002"/>
                  </a:lnTo>
                  <a:cubicBezTo>
                    <a:pt x="94178" y="16383"/>
                    <a:pt x="93892" y="16859"/>
                    <a:pt x="93511" y="17240"/>
                  </a:cubicBezTo>
                  <a:cubicBezTo>
                    <a:pt x="91320" y="20288"/>
                    <a:pt x="88844" y="22479"/>
                    <a:pt x="86081" y="24765"/>
                  </a:cubicBezTo>
                  <a:cubicBezTo>
                    <a:pt x="83319" y="26765"/>
                    <a:pt x="80366" y="29051"/>
                    <a:pt x="77128" y="30289"/>
                  </a:cubicBezTo>
                  <a:cubicBezTo>
                    <a:pt x="73889" y="31528"/>
                    <a:pt x="70460" y="31052"/>
                    <a:pt x="66746" y="31052"/>
                  </a:cubicBezTo>
                  <a:cubicBezTo>
                    <a:pt x="63317" y="31052"/>
                    <a:pt x="60078" y="30289"/>
                    <a:pt x="56840" y="29051"/>
                  </a:cubicBezTo>
                  <a:cubicBezTo>
                    <a:pt x="53601" y="28003"/>
                    <a:pt x="50363" y="26765"/>
                    <a:pt x="47410" y="24765"/>
                  </a:cubicBezTo>
                  <a:cubicBezTo>
                    <a:pt x="44933" y="22479"/>
                    <a:pt x="42743" y="20002"/>
                    <a:pt x="40457" y="16954"/>
                  </a:cubicBezTo>
                  <a:cubicBezTo>
                    <a:pt x="38266" y="14478"/>
                    <a:pt x="36266" y="11430"/>
                    <a:pt x="34742" y="8191"/>
                  </a:cubicBezTo>
                  <a:cubicBezTo>
                    <a:pt x="33408" y="5524"/>
                    <a:pt x="31598" y="2953"/>
                    <a:pt x="30551" y="0"/>
                  </a:cubicBezTo>
                  <a:cubicBezTo>
                    <a:pt x="31027" y="1333"/>
                    <a:pt x="31408" y="2762"/>
                    <a:pt x="31884" y="4096"/>
                  </a:cubicBezTo>
                  <a:cubicBezTo>
                    <a:pt x="32456" y="6096"/>
                    <a:pt x="33122" y="8191"/>
                    <a:pt x="33694" y="10287"/>
                  </a:cubicBezTo>
                  <a:cubicBezTo>
                    <a:pt x="34361" y="11049"/>
                    <a:pt x="35027" y="11906"/>
                    <a:pt x="35694" y="12764"/>
                  </a:cubicBezTo>
                  <a:cubicBezTo>
                    <a:pt x="36837" y="14764"/>
                    <a:pt x="38266" y="16573"/>
                    <a:pt x="39599" y="18478"/>
                  </a:cubicBezTo>
                  <a:cubicBezTo>
                    <a:pt x="40076" y="18955"/>
                    <a:pt x="40457" y="19431"/>
                    <a:pt x="40933" y="19812"/>
                  </a:cubicBezTo>
                  <a:cubicBezTo>
                    <a:pt x="43314" y="21908"/>
                    <a:pt x="45314" y="24479"/>
                    <a:pt x="45981" y="27527"/>
                  </a:cubicBezTo>
                  <a:cubicBezTo>
                    <a:pt x="46267" y="28670"/>
                    <a:pt x="46267" y="29718"/>
                    <a:pt x="46362" y="30861"/>
                  </a:cubicBezTo>
                  <a:lnTo>
                    <a:pt x="49124" y="27908"/>
                  </a:lnTo>
                  <a:cubicBezTo>
                    <a:pt x="48362" y="28289"/>
                    <a:pt x="47505" y="30289"/>
                    <a:pt x="46267" y="33623"/>
                  </a:cubicBezTo>
                  <a:cubicBezTo>
                    <a:pt x="46172" y="34385"/>
                    <a:pt x="46172" y="35147"/>
                    <a:pt x="45981" y="35909"/>
                  </a:cubicBezTo>
                  <a:cubicBezTo>
                    <a:pt x="45981" y="35909"/>
                    <a:pt x="45981" y="35909"/>
                    <a:pt x="45981" y="36004"/>
                  </a:cubicBezTo>
                  <a:cubicBezTo>
                    <a:pt x="45886" y="40386"/>
                    <a:pt x="44648" y="44863"/>
                    <a:pt x="42076" y="48673"/>
                  </a:cubicBezTo>
                  <a:cubicBezTo>
                    <a:pt x="41219" y="50006"/>
                    <a:pt x="40076" y="51054"/>
                    <a:pt x="39028" y="52197"/>
                  </a:cubicBezTo>
                  <a:cubicBezTo>
                    <a:pt x="38552" y="54102"/>
                    <a:pt x="37980" y="56102"/>
                    <a:pt x="37313" y="58102"/>
                  </a:cubicBezTo>
                  <a:cubicBezTo>
                    <a:pt x="36075" y="61341"/>
                    <a:pt x="34361" y="64675"/>
                    <a:pt x="33122" y="68389"/>
                  </a:cubicBezTo>
                  <a:cubicBezTo>
                    <a:pt x="32170" y="71628"/>
                    <a:pt x="31598" y="75438"/>
                    <a:pt x="30360" y="78962"/>
                  </a:cubicBezTo>
                  <a:cubicBezTo>
                    <a:pt x="29408" y="82486"/>
                    <a:pt x="27884" y="85725"/>
                    <a:pt x="26645" y="89249"/>
                  </a:cubicBezTo>
                  <a:cubicBezTo>
                    <a:pt x="25693" y="92774"/>
                    <a:pt x="24455" y="96012"/>
                    <a:pt x="23407" y="99536"/>
                  </a:cubicBezTo>
                  <a:cubicBezTo>
                    <a:pt x="22169" y="103061"/>
                    <a:pt x="20930" y="106585"/>
                    <a:pt x="19978" y="110109"/>
                  </a:cubicBezTo>
                  <a:cubicBezTo>
                    <a:pt x="18740" y="113633"/>
                    <a:pt x="18740" y="117348"/>
                    <a:pt x="17787" y="120872"/>
                  </a:cubicBezTo>
                  <a:cubicBezTo>
                    <a:pt x="16835" y="124397"/>
                    <a:pt x="15311" y="127635"/>
                    <a:pt x="14358" y="131159"/>
                  </a:cubicBezTo>
                  <a:cubicBezTo>
                    <a:pt x="13406" y="134684"/>
                    <a:pt x="12834" y="138398"/>
                    <a:pt x="11882" y="141732"/>
                  </a:cubicBezTo>
                  <a:cubicBezTo>
                    <a:pt x="10929" y="145542"/>
                    <a:pt x="9881" y="148971"/>
                    <a:pt x="8929" y="152305"/>
                  </a:cubicBezTo>
                  <a:cubicBezTo>
                    <a:pt x="7691" y="156115"/>
                    <a:pt x="6167" y="159353"/>
                    <a:pt x="5214" y="162592"/>
                  </a:cubicBezTo>
                  <a:cubicBezTo>
                    <a:pt x="4262" y="166592"/>
                    <a:pt x="2452" y="169831"/>
                    <a:pt x="1785" y="172879"/>
                  </a:cubicBezTo>
                  <a:cubicBezTo>
                    <a:pt x="-215" y="179927"/>
                    <a:pt x="-215" y="184214"/>
                    <a:pt x="261" y="183642"/>
                  </a:cubicBezTo>
                  <a:cubicBezTo>
                    <a:pt x="737" y="183166"/>
                    <a:pt x="2452" y="179356"/>
                    <a:pt x="5214" y="173831"/>
                  </a:cubicBezTo>
                  <a:cubicBezTo>
                    <a:pt x="6738" y="171069"/>
                    <a:pt x="8929" y="168021"/>
                    <a:pt x="10929" y="164497"/>
                  </a:cubicBezTo>
                  <a:cubicBezTo>
                    <a:pt x="12453" y="161449"/>
                    <a:pt x="13691" y="157924"/>
                    <a:pt x="15406" y="154496"/>
                  </a:cubicBezTo>
                  <a:cubicBezTo>
                    <a:pt x="16930" y="151257"/>
                    <a:pt x="17882" y="147733"/>
                    <a:pt x="19597" y="144209"/>
                  </a:cubicBezTo>
                  <a:cubicBezTo>
                    <a:pt x="21121" y="141161"/>
                    <a:pt x="24074" y="138398"/>
                    <a:pt x="25502" y="135160"/>
                  </a:cubicBezTo>
                  <a:cubicBezTo>
                    <a:pt x="27217" y="131921"/>
                    <a:pt x="27503" y="127921"/>
                    <a:pt x="28931" y="124587"/>
                  </a:cubicBezTo>
                  <a:cubicBezTo>
                    <a:pt x="30646" y="121349"/>
                    <a:pt x="33122" y="118586"/>
                    <a:pt x="34837" y="115252"/>
                  </a:cubicBezTo>
                  <a:cubicBezTo>
                    <a:pt x="36361" y="111728"/>
                    <a:pt x="37028" y="108013"/>
                    <a:pt x="38552" y="104680"/>
                  </a:cubicBezTo>
                  <a:cubicBezTo>
                    <a:pt x="40266" y="101441"/>
                    <a:pt x="42743" y="98393"/>
                    <a:pt x="44267" y="95345"/>
                  </a:cubicBezTo>
                  <a:cubicBezTo>
                    <a:pt x="45981" y="91535"/>
                    <a:pt x="47981" y="88583"/>
                    <a:pt x="49220" y="85820"/>
                  </a:cubicBezTo>
                  <a:cubicBezTo>
                    <a:pt x="52172" y="79534"/>
                    <a:pt x="53411" y="70009"/>
                    <a:pt x="53887" y="75533"/>
                  </a:cubicBezTo>
                  <a:cubicBezTo>
                    <a:pt x="54363" y="80772"/>
                    <a:pt x="53601" y="81058"/>
                    <a:pt x="52934" y="86297"/>
                  </a:cubicBezTo>
                  <a:cubicBezTo>
                    <a:pt x="52458" y="91535"/>
                    <a:pt x="51220" y="91345"/>
                    <a:pt x="50744" y="96869"/>
                  </a:cubicBezTo>
                  <a:cubicBezTo>
                    <a:pt x="49982" y="102108"/>
                    <a:pt x="51220" y="102108"/>
                    <a:pt x="50458" y="107442"/>
                  </a:cubicBezTo>
                  <a:cubicBezTo>
                    <a:pt x="49982" y="112681"/>
                    <a:pt x="48934" y="112681"/>
                    <a:pt x="48267" y="118015"/>
                  </a:cubicBezTo>
                  <a:cubicBezTo>
                    <a:pt x="47791" y="123253"/>
                    <a:pt x="48553" y="123253"/>
                    <a:pt x="47791" y="128587"/>
                  </a:cubicBezTo>
                  <a:cubicBezTo>
                    <a:pt x="47315" y="133826"/>
                    <a:pt x="47315" y="133826"/>
                    <a:pt x="46838" y="139351"/>
                  </a:cubicBezTo>
                  <a:cubicBezTo>
                    <a:pt x="46362" y="144590"/>
                    <a:pt x="46553" y="144590"/>
                    <a:pt x="46076" y="149924"/>
                  </a:cubicBezTo>
                  <a:cubicBezTo>
                    <a:pt x="45314" y="155162"/>
                    <a:pt x="44552" y="155162"/>
                    <a:pt x="43886" y="160496"/>
                  </a:cubicBezTo>
                  <a:cubicBezTo>
                    <a:pt x="43409" y="165735"/>
                    <a:pt x="43409" y="165735"/>
                    <a:pt x="42933" y="171069"/>
                  </a:cubicBezTo>
                  <a:cubicBezTo>
                    <a:pt x="42457" y="176308"/>
                    <a:pt x="42457" y="176308"/>
                    <a:pt x="41981" y="181642"/>
                  </a:cubicBezTo>
                  <a:cubicBezTo>
                    <a:pt x="41504" y="186881"/>
                    <a:pt x="41504" y="186881"/>
                    <a:pt x="41028" y="192215"/>
                  </a:cubicBezTo>
                  <a:cubicBezTo>
                    <a:pt x="40552" y="197453"/>
                    <a:pt x="39790" y="197263"/>
                    <a:pt x="39314" y="202502"/>
                  </a:cubicBezTo>
                  <a:cubicBezTo>
                    <a:pt x="39028" y="207740"/>
                    <a:pt x="39599" y="207740"/>
                    <a:pt x="39028" y="213074"/>
                  </a:cubicBezTo>
                  <a:cubicBezTo>
                    <a:pt x="38552" y="218313"/>
                    <a:pt x="38266" y="218313"/>
                    <a:pt x="37790" y="223361"/>
                  </a:cubicBezTo>
                  <a:cubicBezTo>
                    <a:pt x="37313" y="228600"/>
                    <a:pt x="38075" y="228600"/>
                    <a:pt x="37504" y="233934"/>
                  </a:cubicBezTo>
                  <a:cubicBezTo>
                    <a:pt x="37218" y="239173"/>
                    <a:pt x="36266" y="239173"/>
                    <a:pt x="35980" y="244507"/>
                  </a:cubicBezTo>
                  <a:cubicBezTo>
                    <a:pt x="35504" y="249555"/>
                    <a:pt x="35027" y="249555"/>
                    <a:pt x="34456" y="254794"/>
                  </a:cubicBezTo>
                  <a:cubicBezTo>
                    <a:pt x="33980" y="260032"/>
                    <a:pt x="34742" y="260032"/>
                    <a:pt x="34170" y="265367"/>
                  </a:cubicBezTo>
                  <a:cubicBezTo>
                    <a:pt x="33694" y="270605"/>
                    <a:pt x="33408" y="270415"/>
                    <a:pt x="32932" y="275654"/>
                  </a:cubicBezTo>
                  <a:cubicBezTo>
                    <a:pt x="32456" y="280892"/>
                    <a:pt x="33408" y="280892"/>
                    <a:pt x="32932" y="286226"/>
                  </a:cubicBezTo>
                  <a:lnTo>
                    <a:pt x="49791" y="286512"/>
                  </a:lnTo>
                  <a:cubicBezTo>
                    <a:pt x="51315" y="280988"/>
                    <a:pt x="50744" y="280988"/>
                    <a:pt x="52268" y="275463"/>
                  </a:cubicBezTo>
                  <a:cubicBezTo>
                    <a:pt x="53506" y="269939"/>
                    <a:pt x="54268" y="270224"/>
                    <a:pt x="55506" y="264700"/>
                  </a:cubicBezTo>
                  <a:cubicBezTo>
                    <a:pt x="57030" y="259461"/>
                    <a:pt x="55792" y="259175"/>
                    <a:pt x="57221" y="253651"/>
                  </a:cubicBezTo>
                  <a:cubicBezTo>
                    <a:pt x="58745" y="248126"/>
                    <a:pt x="59411" y="248412"/>
                    <a:pt x="60935" y="243078"/>
                  </a:cubicBezTo>
                  <a:cubicBezTo>
                    <a:pt x="62174" y="237554"/>
                    <a:pt x="61697" y="237554"/>
                    <a:pt x="62936" y="232029"/>
                  </a:cubicBezTo>
                  <a:cubicBezTo>
                    <a:pt x="64460" y="226505"/>
                    <a:pt x="64936" y="226790"/>
                    <a:pt x="66365" y="221456"/>
                  </a:cubicBezTo>
                  <a:cubicBezTo>
                    <a:pt x="67603" y="215932"/>
                    <a:pt x="67127" y="215646"/>
                    <a:pt x="68555" y="210407"/>
                  </a:cubicBezTo>
                  <a:cubicBezTo>
                    <a:pt x="69794" y="204883"/>
                    <a:pt x="69317" y="204883"/>
                    <a:pt x="70746" y="199358"/>
                  </a:cubicBezTo>
                  <a:cubicBezTo>
                    <a:pt x="71984" y="194120"/>
                    <a:pt x="68555" y="189071"/>
                    <a:pt x="73985" y="189071"/>
                  </a:cubicBezTo>
                  <a:cubicBezTo>
                    <a:pt x="79414" y="189071"/>
                    <a:pt x="74270" y="194120"/>
                    <a:pt x="74747" y="199644"/>
                  </a:cubicBezTo>
                  <a:cubicBezTo>
                    <a:pt x="75223" y="205169"/>
                    <a:pt x="75032" y="205169"/>
                    <a:pt x="75509" y="210407"/>
                  </a:cubicBezTo>
                  <a:cubicBezTo>
                    <a:pt x="75985" y="215932"/>
                    <a:pt x="76271" y="215932"/>
                    <a:pt x="76747" y="221171"/>
                  </a:cubicBezTo>
                  <a:cubicBezTo>
                    <a:pt x="77223" y="226695"/>
                    <a:pt x="77985" y="226695"/>
                    <a:pt x="78461" y="231934"/>
                  </a:cubicBezTo>
                  <a:cubicBezTo>
                    <a:pt x="78938" y="237458"/>
                    <a:pt x="79223" y="237458"/>
                    <a:pt x="79700" y="242697"/>
                  </a:cubicBezTo>
                  <a:cubicBezTo>
                    <a:pt x="80176" y="248222"/>
                    <a:pt x="80462" y="248222"/>
                    <a:pt x="81224" y="253460"/>
                  </a:cubicBezTo>
                  <a:cubicBezTo>
                    <a:pt x="81700" y="258985"/>
                    <a:pt x="80938" y="258985"/>
                    <a:pt x="81509" y="264509"/>
                  </a:cubicBezTo>
                  <a:cubicBezTo>
                    <a:pt x="81986" y="269748"/>
                    <a:pt x="82462" y="269748"/>
                    <a:pt x="83033" y="275273"/>
                  </a:cubicBezTo>
                  <a:cubicBezTo>
                    <a:pt x="83510" y="280511"/>
                    <a:pt x="83319" y="280511"/>
                    <a:pt x="83986" y="286036"/>
                  </a:cubicBezTo>
                  <a:lnTo>
                    <a:pt x="108560" y="288607"/>
                  </a:lnTo>
                  <a:cubicBezTo>
                    <a:pt x="111799" y="240316"/>
                    <a:pt x="114466" y="191929"/>
                    <a:pt x="116657" y="143542"/>
                  </a:cubicBezTo>
                  <a:lnTo>
                    <a:pt x="113799" y="141351"/>
                  </a:lnTo>
                  <a:cubicBezTo>
                    <a:pt x="107036" y="142208"/>
                    <a:pt x="100464" y="144304"/>
                    <a:pt x="95416" y="14878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3F9DB13A-9768-4D3F-6F27-76F7A39161CF}"/>
                </a:ext>
              </a:extLst>
            </p:cNvPr>
            <p:cNvSpPr/>
            <p:nvPr/>
          </p:nvSpPr>
          <p:spPr>
            <a:xfrm>
              <a:off x="5148156" y="4261551"/>
              <a:ext cx="611532" cy="359338"/>
            </a:xfrm>
            <a:custGeom>
              <a:avLst/>
              <a:gdLst>
                <a:gd name="connsiteX0" fmla="*/ 387287 w 418909"/>
                <a:gd name="connsiteY0" fmla="*/ 135157 h 246152"/>
                <a:gd name="connsiteX1" fmla="*/ 389001 w 418909"/>
                <a:gd name="connsiteY1" fmla="*/ 124108 h 246152"/>
                <a:gd name="connsiteX2" fmla="*/ 391477 w 418909"/>
                <a:gd name="connsiteY2" fmla="*/ 113059 h 246152"/>
                <a:gd name="connsiteX3" fmla="*/ 393954 w 418909"/>
                <a:gd name="connsiteY3" fmla="*/ 102010 h 246152"/>
                <a:gd name="connsiteX4" fmla="*/ 396431 w 418909"/>
                <a:gd name="connsiteY4" fmla="*/ 90961 h 246152"/>
                <a:gd name="connsiteX5" fmla="*/ 398621 w 418909"/>
                <a:gd name="connsiteY5" fmla="*/ 79912 h 246152"/>
                <a:gd name="connsiteX6" fmla="*/ 403098 w 418909"/>
                <a:gd name="connsiteY6" fmla="*/ 69339 h 246152"/>
                <a:gd name="connsiteX7" fmla="*/ 405860 w 418909"/>
                <a:gd name="connsiteY7" fmla="*/ 58386 h 246152"/>
                <a:gd name="connsiteX8" fmla="*/ 411575 w 418909"/>
                <a:gd name="connsiteY8" fmla="*/ 48861 h 246152"/>
                <a:gd name="connsiteX9" fmla="*/ 417767 w 418909"/>
                <a:gd name="connsiteY9" fmla="*/ 42955 h 246152"/>
                <a:gd name="connsiteX10" fmla="*/ 418910 w 418909"/>
                <a:gd name="connsiteY10" fmla="*/ 32954 h 246152"/>
                <a:gd name="connsiteX11" fmla="*/ 417671 w 418909"/>
                <a:gd name="connsiteY11" fmla="*/ 32763 h 246152"/>
                <a:gd name="connsiteX12" fmla="*/ 416909 w 418909"/>
                <a:gd name="connsiteY12" fmla="*/ 3998 h 246152"/>
                <a:gd name="connsiteX13" fmla="*/ 415290 w 418909"/>
                <a:gd name="connsiteY13" fmla="*/ 188 h 246152"/>
                <a:gd name="connsiteX14" fmla="*/ 412433 w 418909"/>
                <a:gd name="connsiteY14" fmla="*/ 283 h 246152"/>
                <a:gd name="connsiteX15" fmla="*/ 358521 w 418909"/>
                <a:gd name="connsiteY15" fmla="*/ 5998 h 246152"/>
                <a:gd name="connsiteX16" fmla="*/ 0 w 418909"/>
                <a:gd name="connsiteY16" fmla="*/ 13618 h 246152"/>
                <a:gd name="connsiteX17" fmla="*/ 3715 w 418909"/>
                <a:gd name="connsiteY17" fmla="*/ 19619 h 246152"/>
                <a:gd name="connsiteX18" fmla="*/ 17240 w 418909"/>
                <a:gd name="connsiteY18" fmla="*/ 241266 h 246152"/>
                <a:gd name="connsiteX19" fmla="*/ 18193 w 418909"/>
                <a:gd name="connsiteY19" fmla="*/ 245361 h 246152"/>
                <a:gd name="connsiteX20" fmla="*/ 22098 w 418909"/>
                <a:gd name="connsiteY20" fmla="*/ 246028 h 246152"/>
                <a:gd name="connsiteX21" fmla="*/ 286131 w 418909"/>
                <a:gd name="connsiteY21" fmla="*/ 233265 h 246152"/>
                <a:gd name="connsiteX22" fmla="*/ 288417 w 418909"/>
                <a:gd name="connsiteY22" fmla="*/ 230693 h 246152"/>
                <a:gd name="connsiteX23" fmla="*/ 310515 w 418909"/>
                <a:gd name="connsiteY23" fmla="*/ 186592 h 246152"/>
                <a:gd name="connsiteX24" fmla="*/ 306419 w 418909"/>
                <a:gd name="connsiteY24" fmla="*/ 182401 h 246152"/>
                <a:gd name="connsiteX25" fmla="*/ 299276 w 418909"/>
                <a:gd name="connsiteY25" fmla="*/ 174114 h 246152"/>
                <a:gd name="connsiteX26" fmla="*/ 294608 w 418909"/>
                <a:gd name="connsiteY26" fmla="*/ 164304 h 246152"/>
                <a:gd name="connsiteX27" fmla="*/ 292418 w 418909"/>
                <a:gd name="connsiteY27" fmla="*/ 153540 h 246152"/>
                <a:gd name="connsiteX28" fmla="*/ 291179 w 418909"/>
                <a:gd name="connsiteY28" fmla="*/ 142491 h 246152"/>
                <a:gd name="connsiteX29" fmla="*/ 292418 w 418909"/>
                <a:gd name="connsiteY29" fmla="*/ 131728 h 246152"/>
                <a:gd name="connsiteX30" fmla="*/ 295180 w 418909"/>
                <a:gd name="connsiteY30" fmla="*/ 121155 h 246152"/>
                <a:gd name="connsiteX31" fmla="*/ 299847 w 418909"/>
                <a:gd name="connsiteY31" fmla="*/ 111345 h 246152"/>
                <a:gd name="connsiteX32" fmla="*/ 305752 w 418909"/>
                <a:gd name="connsiteY32" fmla="*/ 102296 h 246152"/>
                <a:gd name="connsiteX33" fmla="*/ 313944 w 418909"/>
                <a:gd name="connsiteY33" fmla="*/ 95057 h 246152"/>
                <a:gd name="connsiteX34" fmla="*/ 323850 w 418909"/>
                <a:gd name="connsiteY34" fmla="*/ 90294 h 246152"/>
                <a:gd name="connsiteX35" fmla="*/ 334518 w 418909"/>
                <a:gd name="connsiteY35" fmla="*/ 89532 h 246152"/>
                <a:gd name="connsiteX36" fmla="*/ 344900 w 418909"/>
                <a:gd name="connsiteY36" fmla="*/ 91056 h 246152"/>
                <a:gd name="connsiteX37" fmla="*/ 354521 w 418909"/>
                <a:gd name="connsiteY37" fmla="*/ 95533 h 246152"/>
                <a:gd name="connsiteX38" fmla="*/ 362902 w 418909"/>
                <a:gd name="connsiteY38" fmla="*/ 102296 h 246152"/>
                <a:gd name="connsiteX39" fmla="*/ 370046 w 418909"/>
                <a:gd name="connsiteY39" fmla="*/ 110583 h 246152"/>
                <a:gd name="connsiteX40" fmla="*/ 373475 w 418909"/>
                <a:gd name="connsiteY40" fmla="*/ 121155 h 246152"/>
                <a:gd name="connsiteX41" fmla="*/ 376238 w 418909"/>
                <a:gd name="connsiteY41" fmla="*/ 131728 h 246152"/>
                <a:gd name="connsiteX42" fmla="*/ 377000 w 418909"/>
                <a:gd name="connsiteY42" fmla="*/ 135348 h 246152"/>
                <a:gd name="connsiteX43" fmla="*/ 377666 w 418909"/>
                <a:gd name="connsiteY43" fmla="*/ 134490 h 246152"/>
                <a:gd name="connsiteX44" fmla="*/ 380905 w 418909"/>
                <a:gd name="connsiteY44" fmla="*/ 168590 h 246152"/>
                <a:gd name="connsiteX45" fmla="*/ 382619 w 418909"/>
                <a:gd name="connsiteY45" fmla="*/ 157541 h 246152"/>
                <a:gd name="connsiteX46" fmla="*/ 384620 w 418909"/>
                <a:gd name="connsiteY46" fmla="*/ 146206 h 246152"/>
                <a:gd name="connsiteX47" fmla="*/ 387287 w 418909"/>
                <a:gd name="connsiteY47" fmla="*/ 135157 h 246152"/>
                <a:gd name="connsiteX48" fmla="*/ 49625 w 418909"/>
                <a:gd name="connsiteY48" fmla="*/ 229359 h 246152"/>
                <a:gd name="connsiteX49" fmla="*/ 46863 w 418909"/>
                <a:gd name="connsiteY49" fmla="*/ 214119 h 246152"/>
                <a:gd name="connsiteX50" fmla="*/ 44386 w 418909"/>
                <a:gd name="connsiteY50" fmla="*/ 200118 h 246152"/>
                <a:gd name="connsiteX51" fmla="*/ 42577 w 418909"/>
                <a:gd name="connsiteY51" fmla="*/ 168114 h 246152"/>
                <a:gd name="connsiteX52" fmla="*/ 41719 w 418909"/>
                <a:gd name="connsiteY52" fmla="*/ 167923 h 246152"/>
                <a:gd name="connsiteX53" fmla="*/ 69818 w 418909"/>
                <a:gd name="connsiteY53" fmla="*/ 166685 h 246152"/>
                <a:gd name="connsiteX54" fmla="*/ 72009 w 418909"/>
                <a:gd name="connsiteY54" fmla="*/ 166875 h 246152"/>
                <a:gd name="connsiteX55" fmla="*/ 72485 w 418909"/>
                <a:gd name="connsiteY55" fmla="*/ 167637 h 246152"/>
                <a:gd name="connsiteX56" fmla="*/ 74105 w 418909"/>
                <a:gd name="connsiteY56" fmla="*/ 181163 h 246152"/>
                <a:gd name="connsiteX57" fmla="*/ 81058 w 418909"/>
                <a:gd name="connsiteY57" fmla="*/ 228312 h 246152"/>
                <a:gd name="connsiteX58" fmla="*/ 49625 w 418909"/>
                <a:gd name="connsiteY58" fmla="*/ 229359 h 246152"/>
                <a:gd name="connsiteX59" fmla="*/ 97155 w 418909"/>
                <a:gd name="connsiteY59" fmla="*/ 229359 h 246152"/>
                <a:gd name="connsiteX60" fmla="*/ 94297 w 418909"/>
                <a:gd name="connsiteY60" fmla="*/ 205833 h 246152"/>
                <a:gd name="connsiteX61" fmla="*/ 91916 w 418909"/>
                <a:gd name="connsiteY61" fmla="*/ 184306 h 246152"/>
                <a:gd name="connsiteX62" fmla="*/ 90107 w 418909"/>
                <a:gd name="connsiteY62" fmla="*/ 135062 h 246152"/>
                <a:gd name="connsiteX63" fmla="*/ 89249 w 418909"/>
                <a:gd name="connsiteY63" fmla="*/ 134681 h 246152"/>
                <a:gd name="connsiteX64" fmla="*/ 117348 w 418909"/>
                <a:gd name="connsiteY64" fmla="*/ 132871 h 246152"/>
                <a:gd name="connsiteX65" fmla="*/ 119444 w 418909"/>
                <a:gd name="connsiteY65" fmla="*/ 133062 h 246152"/>
                <a:gd name="connsiteX66" fmla="*/ 120015 w 418909"/>
                <a:gd name="connsiteY66" fmla="*/ 134205 h 246152"/>
                <a:gd name="connsiteX67" fmla="*/ 121634 w 418909"/>
                <a:gd name="connsiteY67" fmla="*/ 155064 h 246152"/>
                <a:gd name="connsiteX68" fmla="*/ 128587 w 418909"/>
                <a:gd name="connsiteY68" fmla="*/ 227740 h 246152"/>
                <a:gd name="connsiteX69" fmla="*/ 97155 w 418909"/>
                <a:gd name="connsiteY69" fmla="*/ 229359 h 246152"/>
                <a:gd name="connsiteX70" fmla="*/ 143161 w 418909"/>
                <a:gd name="connsiteY70" fmla="*/ 229359 h 246152"/>
                <a:gd name="connsiteX71" fmla="*/ 140303 w 418909"/>
                <a:gd name="connsiteY71" fmla="*/ 193831 h 246152"/>
                <a:gd name="connsiteX72" fmla="*/ 137827 w 418909"/>
                <a:gd name="connsiteY72" fmla="*/ 161351 h 246152"/>
                <a:gd name="connsiteX73" fmla="*/ 136112 w 418909"/>
                <a:gd name="connsiteY73" fmla="*/ 87056 h 246152"/>
                <a:gd name="connsiteX74" fmla="*/ 135160 w 418909"/>
                <a:gd name="connsiteY74" fmla="*/ 86484 h 246152"/>
                <a:gd name="connsiteX75" fmla="*/ 163354 w 418909"/>
                <a:gd name="connsiteY75" fmla="*/ 83817 h 246152"/>
                <a:gd name="connsiteX76" fmla="*/ 165449 w 418909"/>
                <a:gd name="connsiteY76" fmla="*/ 84008 h 246152"/>
                <a:gd name="connsiteX77" fmla="*/ 165926 w 418909"/>
                <a:gd name="connsiteY77" fmla="*/ 85818 h 246152"/>
                <a:gd name="connsiteX78" fmla="*/ 167640 w 418909"/>
                <a:gd name="connsiteY78" fmla="*/ 117345 h 246152"/>
                <a:gd name="connsiteX79" fmla="*/ 174498 w 418909"/>
                <a:gd name="connsiteY79" fmla="*/ 226883 h 246152"/>
                <a:gd name="connsiteX80" fmla="*/ 143161 w 418909"/>
                <a:gd name="connsiteY80" fmla="*/ 229359 h 246152"/>
                <a:gd name="connsiteX81" fmla="*/ 197168 w 418909"/>
                <a:gd name="connsiteY81" fmla="*/ 229359 h 246152"/>
                <a:gd name="connsiteX82" fmla="*/ 194310 w 418909"/>
                <a:gd name="connsiteY82" fmla="*/ 182496 h 246152"/>
                <a:gd name="connsiteX83" fmla="*/ 191929 w 418909"/>
                <a:gd name="connsiteY83" fmla="*/ 139539 h 246152"/>
                <a:gd name="connsiteX84" fmla="*/ 190119 w 418909"/>
                <a:gd name="connsiteY84" fmla="*/ 41526 h 246152"/>
                <a:gd name="connsiteX85" fmla="*/ 189167 w 418909"/>
                <a:gd name="connsiteY85" fmla="*/ 40669 h 246152"/>
                <a:gd name="connsiteX86" fmla="*/ 217361 w 418909"/>
                <a:gd name="connsiteY86" fmla="*/ 37145 h 246152"/>
                <a:gd name="connsiteX87" fmla="*/ 219456 w 418909"/>
                <a:gd name="connsiteY87" fmla="*/ 37431 h 246152"/>
                <a:gd name="connsiteX88" fmla="*/ 220028 w 418909"/>
                <a:gd name="connsiteY88" fmla="*/ 39907 h 246152"/>
                <a:gd name="connsiteX89" fmla="*/ 221647 w 418909"/>
                <a:gd name="connsiteY89" fmla="*/ 81436 h 246152"/>
                <a:gd name="connsiteX90" fmla="*/ 228505 w 418909"/>
                <a:gd name="connsiteY90" fmla="*/ 226121 h 246152"/>
                <a:gd name="connsiteX91" fmla="*/ 197168 w 418909"/>
                <a:gd name="connsiteY91" fmla="*/ 229359 h 2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18909" h="246152">
                  <a:moveTo>
                    <a:pt x="387287" y="135157"/>
                  </a:moveTo>
                  <a:cubicBezTo>
                    <a:pt x="387763" y="131347"/>
                    <a:pt x="388239" y="127632"/>
                    <a:pt x="389001" y="124108"/>
                  </a:cubicBezTo>
                  <a:cubicBezTo>
                    <a:pt x="389763" y="120108"/>
                    <a:pt x="390716" y="116583"/>
                    <a:pt x="391477" y="113059"/>
                  </a:cubicBezTo>
                  <a:cubicBezTo>
                    <a:pt x="392430" y="109059"/>
                    <a:pt x="393192" y="105534"/>
                    <a:pt x="393954" y="102010"/>
                  </a:cubicBezTo>
                  <a:cubicBezTo>
                    <a:pt x="394716" y="98010"/>
                    <a:pt x="395669" y="94485"/>
                    <a:pt x="396431" y="90961"/>
                  </a:cubicBezTo>
                  <a:cubicBezTo>
                    <a:pt x="397383" y="87151"/>
                    <a:pt x="397669" y="83151"/>
                    <a:pt x="398621" y="79912"/>
                  </a:cubicBezTo>
                  <a:cubicBezTo>
                    <a:pt x="399860" y="75912"/>
                    <a:pt x="402050" y="72673"/>
                    <a:pt x="403098" y="69339"/>
                  </a:cubicBezTo>
                  <a:cubicBezTo>
                    <a:pt x="404622" y="65434"/>
                    <a:pt x="404622" y="61338"/>
                    <a:pt x="405860" y="58386"/>
                  </a:cubicBezTo>
                  <a:cubicBezTo>
                    <a:pt x="407861" y="54099"/>
                    <a:pt x="410051" y="51147"/>
                    <a:pt x="411575" y="48861"/>
                  </a:cubicBezTo>
                  <a:cubicBezTo>
                    <a:pt x="414242" y="44860"/>
                    <a:pt x="416243" y="43336"/>
                    <a:pt x="417767" y="42955"/>
                  </a:cubicBezTo>
                  <a:cubicBezTo>
                    <a:pt x="418052" y="39621"/>
                    <a:pt x="418433" y="36288"/>
                    <a:pt x="418910" y="32954"/>
                  </a:cubicBezTo>
                  <a:lnTo>
                    <a:pt x="417671" y="32763"/>
                  </a:lnTo>
                  <a:cubicBezTo>
                    <a:pt x="417386" y="23143"/>
                    <a:pt x="417100" y="13523"/>
                    <a:pt x="416909" y="3998"/>
                  </a:cubicBezTo>
                  <a:cubicBezTo>
                    <a:pt x="416909" y="2569"/>
                    <a:pt x="416624" y="855"/>
                    <a:pt x="415290" y="188"/>
                  </a:cubicBezTo>
                  <a:cubicBezTo>
                    <a:pt x="414433" y="-193"/>
                    <a:pt x="413385" y="93"/>
                    <a:pt x="412433" y="283"/>
                  </a:cubicBezTo>
                  <a:cubicBezTo>
                    <a:pt x="395002" y="5331"/>
                    <a:pt x="376619" y="5617"/>
                    <a:pt x="358521" y="5998"/>
                  </a:cubicBezTo>
                  <a:cubicBezTo>
                    <a:pt x="238982" y="8475"/>
                    <a:pt x="119444" y="18476"/>
                    <a:pt x="0" y="13618"/>
                  </a:cubicBezTo>
                  <a:lnTo>
                    <a:pt x="3715" y="19619"/>
                  </a:lnTo>
                  <a:cubicBezTo>
                    <a:pt x="-2858" y="93438"/>
                    <a:pt x="21907" y="167256"/>
                    <a:pt x="17240" y="241266"/>
                  </a:cubicBezTo>
                  <a:cubicBezTo>
                    <a:pt x="17145" y="242694"/>
                    <a:pt x="17145" y="244409"/>
                    <a:pt x="18193" y="245361"/>
                  </a:cubicBezTo>
                  <a:cubicBezTo>
                    <a:pt x="19241" y="246314"/>
                    <a:pt x="20764" y="246219"/>
                    <a:pt x="22098" y="246028"/>
                  </a:cubicBezTo>
                  <a:cubicBezTo>
                    <a:pt x="109728" y="236408"/>
                    <a:pt x="197930" y="232122"/>
                    <a:pt x="286131" y="233265"/>
                  </a:cubicBezTo>
                  <a:lnTo>
                    <a:pt x="288417" y="230693"/>
                  </a:lnTo>
                  <a:lnTo>
                    <a:pt x="310515" y="186592"/>
                  </a:lnTo>
                  <a:cubicBezTo>
                    <a:pt x="309086" y="185259"/>
                    <a:pt x="307753" y="183925"/>
                    <a:pt x="306419" y="182401"/>
                  </a:cubicBezTo>
                  <a:cubicBezTo>
                    <a:pt x="303943" y="179639"/>
                    <a:pt x="301181" y="177353"/>
                    <a:pt x="299276" y="174114"/>
                  </a:cubicBezTo>
                  <a:cubicBezTo>
                    <a:pt x="297561" y="171066"/>
                    <a:pt x="295847" y="167828"/>
                    <a:pt x="294608" y="164304"/>
                  </a:cubicBezTo>
                  <a:cubicBezTo>
                    <a:pt x="293370" y="160779"/>
                    <a:pt x="292894" y="157255"/>
                    <a:pt x="292418" y="153540"/>
                  </a:cubicBezTo>
                  <a:cubicBezTo>
                    <a:pt x="291656" y="150016"/>
                    <a:pt x="291179" y="146301"/>
                    <a:pt x="291179" y="142491"/>
                  </a:cubicBezTo>
                  <a:cubicBezTo>
                    <a:pt x="291179" y="138681"/>
                    <a:pt x="291941" y="135252"/>
                    <a:pt x="292418" y="131728"/>
                  </a:cubicBezTo>
                  <a:cubicBezTo>
                    <a:pt x="293179" y="127918"/>
                    <a:pt x="293942" y="124489"/>
                    <a:pt x="295180" y="121155"/>
                  </a:cubicBezTo>
                  <a:cubicBezTo>
                    <a:pt x="296418" y="117631"/>
                    <a:pt x="298133" y="114393"/>
                    <a:pt x="299847" y="111345"/>
                  </a:cubicBezTo>
                  <a:cubicBezTo>
                    <a:pt x="301562" y="108106"/>
                    <a:pt x="303562" y="104772"/>
                    <a:pt x="305752" y="102296"/>
                  </a:cubicBezTo>
                  <a:cubicBezTo>
                    <a:pt x="308229" y="99534"/>
                    <a:pt x="310991" y="97057"/>
                    <a:pt x="313944" y="95057"/>
                  </a:cubicBezTo>
                  <a:cubicBezTo>
                    <a:pt x="316897" y="93057"/>
                    <a:pt x="320421" y="91247"/>
                    <a:pt x="323850" y="90294"/>
                  </a:cubicBezTo>
                  <a:cubicBezTo>
                    <a:pt x="327089" y="89247"/>
                    <a:pt x="330803" y="89532"/>
                    <a:pt x="334518" y="89532"/>
                  </a:cubicBezTo>
                  <a:cubicBezTo>
                    <a:pt x="338233" y="89532"/>
                    <a:pt x="341471" y="90009"/>
                    <a:pt x="344900" y="91056"/>
                  </a:cubicBezTo>
                  <a:cubicBezTo>
                    <a:pt x="348329" y="92104"/>
                    <a:pt x="351568" y="93533"/>
                    <a:pt x="354521" y="95533"/>
                  </a:cubicBezTo>
                  <a:cubicBezTo>
                    <a:pt x="357473" y="97533"/>
                    <a:pt x="360426" y="99534"/>
                    <a:pt x="362902" y="102296"/>
                  </a:cubicBezTo>
                  <a:cubicBezTo>
                    <a:pt x="365379" y="104772"/>
                    <a:pt x="368141" y="107344"/>
                    <a:pt x="370046" y="110583"/>
                  </a:cubicBezTo>
                  <a:cubicBezTo>
                    <a:pt x="371761" y="113821"/>
                    <a:pt x="372523" y="117631"/>
                    <a:pt x="373475" y="121155"/>
                  </a:cubicBezTo>
                  <a:cubicBezTo>
                    <a:pt x="374714" y="124394"/>
                    <a:pt x="375666" y="127918"/>
                    <a:pt x="376238" y="131728"/>
                  </a:cubicBezTo>
                  <a:cubicBezTo>
                    <a:pt x="376523" y="132871"/>
                    <a:pt x="376714" y="134109"/>
                    <a:pt x="377000" y="135348"/>
                  </a:cubicBezTo>
                  <a:cubicBezTo>
                    <a:pt x="377190" y="135062"/>
                    <a:pt x="377476" y="134871"/>
                    <a:pt x="377666" y="134490"/>
                  </a:cubicBezTo>
                  <a:lnTo>
                    <a:pt x="380905" y="168590"/>
                  </a:lnTo>
                  <a:cubicBezTo>
                    <a:pt x="381381" y="164780"/>
                    <a:pt x="382143" y="161065"/>
                    <a:pt x="382619" y="157541"/>
                  </a:cubicBezTo>
                  <a:cubicBezTo>
                    <a:pt x="383096" y="153540"/>
                    <a:pt x="384143" y="150016"/>
                    <a:pt x="384620" y="146206"/>
                  </a:cubicBezTo>
                  <a:cubicBezTo>
                    <a:pt x="385572" y="142491"/>
                    <a:pt x="386525" y="138681"/>
                    <a:pt x="387287" y="135157"/>
                  </a:cubicBezTo>
                  <a:close/>
                  <a:moveTo>
                    <a:pt x="49625" y="229359"/>
                  </a:moveTo>
                  <a:cubicBezTo>
                    <a:pt x="50482" y="224311"/>
                    <a:pt x="48292" y="219168"/>
                    <a:pt x="46863" y="214119"/>
                  </a:cubicBezTo>
                  <a:cubicBezTo>
                    <a:pt x="45530" y="209452"/>
                    <a:pt x="44863" y="204785"/>
                    <a:pt x="44386" y="200118"/>
                  </a:cubicBezTo>
                  <a:cubicBezTo>
                    <a:pt x="43243" y="189450"/>
                    <a:pt x="42672" y="178782"/>
                    <a:pt x="42577" y="168114"/>
                  </a:cubicBezTo>
                  <a:lnTo>
                    <a:pt x="41719" y="167923"/>
                  </a:lnTo>
                  <a:cubicBezTo>
                    <a:pt x="51149" y="167542"/>
                    <a:pt x="60484" y="167161"/>
                    <a:pt x="69818" y="166685"/>
                  </a:cubicBezTo>
                  <a:cubicBezTo>
                    <a:pt x="70580" y="166685"/>
                    <a:pt x="71437" y="166685"/>
                    <a:pt x="72009" y="166875"/>
                  </a:cubicBezTo>
                  <a:cubicBezTo>
                    <a:pt x="72580" y="166971"/>
                    <a:pt x="72580" y="167352"/>
                    <a:pt x="72485" y="167637"/>
                  </a:cubicBezTo>
                  <a:cubicBezTo>
                    <a:pt x="71152" y="172114"/>
                    <a:pt x="73152" y="176686"/>
                    <a:pt x="74105" y="181163"/>
                  </a:cubicBezTo>
                  <a:cubicBezTo>
                    <a:pt x="77724" y="196879"/>
                    <a:pt x="70199" y="212976"/>
                    <a:pt x="81058" y="228312"/>
                  </a:cubicBezTo>
                  <a:cubicBezTo>
                    <a:pt x="70580" y="228788"/>
                    <a:pt x="60198" y="229074"/>
                    <a:pt x="49625" y="229359"/>
                  </a:cubicBezTo>
                  <a:close/>
                  <a:moveTo>
                    <a:pt x="97155" y="229359"/>
                  </a:moveTo>
                  <a:cubicBezTo>
                    <a:pt x="98012" y="221549"/>
                    <a:pt x="95726" y="213643"/>
                    <a:pt x="94297" y="205833"/>
                  </a:cubicBezTo>
                  <a:cubicBezTo>
                    <a:pt x="93059" y="198689"/>
                    <a:pt x="92393" y="191450"/>
                    <a:pt x="91916" y="184306"/>
                  </a:cubicBezTo>
                  <a:cubicBezTo>
                    <a:pt x="90773" y="167923"/>
                    <a:pt x="90202" y="151445"/>
                    <a:pt x="90107" y="135062"/>
                  </a:cubicBezTo>
                  <a:lnTo>
                    <a:pt x="89249" y="134681"/>
                  </a:lnTo>
                  <a:cubicBezTo>
                    <a:pt x="98584" y="134014"/>
                    <a:pt x="108014" y="133443"/>
                    <a:pt x="117348" y="132871"/>
                  </a:cubicBezTo>
                  <a:cubicBezTo>
                    <a:pt x="118110" y="132871"/>
                    <a:pt x="118967" y="132776"/>
                    <a:pt x="119444" y="133062"/>
                  </a:cubicBezTo>
                  <a:cubicBezTo>
                    <a:pt x="120110" y="133347"/>
                    <a:pt x="120110" y="133824"/>
                    <a:pt x="120015" y="134205"/>
                  </a:cubicBezTo>
                  <a:cubicBezTo>
                    <a:pt x="118682" y="141158"/>
                    <a:pt x="120586" y="148111"/>
                    <a:pt x="121634" y="155064"/>
                  </a:cubicBezTo>
                  <a:cubicBezTo>
                    <a:pt x="125254" y="179353"/>
                    <a:pt x="117729" y="204023"/>
                    <a:pt x="128587" y="227740"/>
                  </a:cubicBezTo>
                  <a:cubicBezTo>
                    <a:pt x="118110" y="228407"/>
                    <a:pt x="107633" y="228978"/>
                    <a:pt x="97155" y="229359"/>
                  </a:cubicBezTo>
                  <a:close/>
                  <a:moveTo>
                    <a:pt x="143161" y="229359"/>
                  </a:moveTo>
                  <a:cubicBezTo>
                    <a:pt x="144018" y="217548"/>
                    <a:pt x="141732" y="205642"/>
                    <a:pt x="140303" y="193831"/>
                  </a:cubicBezTo>
                  <a:cubicBezTo>
                    <a:pt x="138970" y="183068"/>
                    <a:pt x="138398" y="172209"/>
                    <a:pt x="137827" y="161351"/>
                  </a:cubicBezTo>
                  <a:cubicBezTo>
                    <a:pt x="136684" y="136586"/>
                    <a:pt x="136112" y="111821"/>
                    <a:pt x="136112" y="87056"/>
                  </a:cubicBezTo>
                  <a:lnTo>
                    <a:pt x="135160" y="86484"/>
                  </a:lnTo>
                  <a:cubicBezTo>
                    <a:pt x="144590" y="85532"/>
                    <a:pt x="153924" y="84675"/>
                    <a:pt x="163354" y="83817"/>
                  </a:cubicBezTo>
                  <a:cubicBezTo>
                    <a:pt x="164021" y="83722"/>
                    <a:pt x="164878" y="83627"/>
                    <a:pt x="165449" y="84008"/>
                  </a:cubicBezTo>
                  <a:cubicBezTo>
                    <a:pt x="166116" y="84389"/>
                    <a:pt x="166021" y="85151"/>
                    <a:pt x="165926" y="85818"/>
                  </a:cubicBezTo>
                  <a:cubicBezTo>
                    <a:pt x="164592" y="96295"/>
                    <a:pt x="166592" y="106868"/>
                    <a:pt x="167640" y="117345"/>
                  </a:cubicBezTo>
                  <a:cubicBezTo>
                    <a:pt x="171164" y="153826"/>
                    <a:pt x="163735" y="191164"/>
                    <a:pt x="174498" y="226883"/>
                  </a:cubicBezTo>
                  <a:cubicBezTo>
                    <a:pt x="164116" y="227931"/>
                    <a:pt x="153638" y="228788"/>
                    <a:pt x="143161" y="229359"/>
                  </a:cubicBezTo>
                  <a:close/>
                  <a:moveTo>
                    <a:pt x="197168" y="229359"/>
                  </a:moveTo>
                  <a:cubicBezTo>
                    <a:pt x="198025" y="213738"/>
                    <a:pt x="195739" y="198117"/>
                    <a:pt x="194310" y="182496"/>
                  </a:cubicBezTo>
                  <a:cubicBezTo>
                    <a:pt x="192977" y="168209"/>
                    <a:pt x="192405" y="153921"/>
                    <a:pt x="191929" y="139539"/>
                  </a:cubicBezTo>
                  <a:cubicBezTo>
                    <a:pt x="190691" y="106868"/>
                    <a:pt x="190119" y="74197"/>
                    <a:pt x="190119" y="41526"/>
                  </a:cubicBezTo>
                  <a:lnTo>
                    <a:pt x="189167" y="40669"/>
                  </a:lnTo>
                  <a:cubicBezTo>
                    <a:pt x="198596" y="39526"/>
                    <a:pt x="207931" y="38288"/>
                    <a:pt x="217361" y="37145"/>
                  </a:cubicBezTo>
                  <a:cubicBezTo>
                    <a:pt x="218122" y="37050"/>
                    <a:pt x="218884" y="36954"/>
                    <a:pt x="219456" y="37431"/>
                  </a:cubicBezTo>
                  <a:cubicBezTo>
                    <a:pt x="220123" y="38002"/>
                    <a:pt x="220028" y="39050"/>
                    <a:pt x="220028" y="39907"/>
                  </a:cubicBezTo>
                  <a:cubicBezTo>
                    <a:pt x="218694" y="53718"/>
                    <a:pt x="220599" y="67625"/>
                    <a:pt x="221647" y="81436"/>
                  </a:cubicBezTo>
                  <a:cubicBezTo>
                    <a:pt x="225171" y="129633"/>
                    <a:pt x="217742" y="178972"/>
                    <a:pt x="228505" y="226121"/>
                  </a:cubicBezTo>
                  <a:cubicBezTo>
                    <a:pt x="218122" y="227550"/>
                    <a:pt x="207645" y="228597"/>
                    <a:pt x="197168" y="22935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8B30432C-5671-879C-4041-F4A6BC20395A}"/>
                </a:ext>
              </a:extLst>
            </p:cNvPr>
            <p:cNvSpPr/>
            <p:nvPr/>
          </p:nvSpPr>
          <p:spPr>
            <a:xfrm>
              <a:off x="6027894" y="4472761"/>
              <a:ext cx="19169" cy="34761"/>
            </a:xfrm>
            <a:custGeom>
              <a:avLst/>
              <a:gdLst>
                <a:gd name="connsiteX0" fmla="*/ 204 w 13131"/>
                <a:gd name="connsiteY0" fmla="*/ 10096 h 23812"/>
                <a:gd name="connsiteX1" fmla="*/ 299 w 13131"/>
                <a:gd name="connsiteY1" fmla="*/ 17145 h 23812"/>
                <a:gd name="connsiteX2" fmla="*/ 2775 w 13131"/>
                <a:gd name="connsiteY2" fmla="*/ 21812 h 23812"/>
                <a:gd name="connsiteX3" fmla="*/ 8586 w 13131"/>
                <a:gd name="connsiteY3" fmla="*/ 23622 h 23812"/>
                <a:gd name="connsiteX4" fmla="*/ 8586 w 13131"/>
                <a:gd name="connsiteY4" fmla="*/ 23813 h 23812"/>
                <a:gd name="connsiteX5" fmla="*/ 10395 w 13131"/>
                <a:gd name="connsiteY5" fmla="*/ 22860 h 23812"/>
                <a:gd name="connsiteX6" fmla="*/ 12396 w 13131"/>
                <a:gd name="connsiteY6" fmla="*/ 18669 h 23812"/>
                <a:gd name="connsiteX7" fmla="*/ 12872 w 13131"/>
                <a:gd name="connsiteY7" fmla="*/ 7715 h 23812"/>
                <a:gd name="connsiteX8" fmla="*/ 12015 w 13131"/>
                <a:gd name="connsiteY8" fmla="*/ 4667 h 23812"/>
                <a:gd name="connsiteX9" fmla="*/ 9633 w 13131"/>
                <a:gd name="connsiteY9" fmla="*/ 2191 h 23812"/>
                <a:gd name="connsiteX10" fmla="*/ 5728 w 13131"/>
                <a:gd name="connsiteY10" fmla="*/ 0 h 23812"/>
                <a:gd name="connsiteX11" fmla="*/ 3252 w 13131"/>
                <a:gd name="connsiteY11" fmla="*/ 476 h 23812"/>
                <a:gd name="connsiteX12" fmla="*/ 204 w 13131"/>
                <a:gd name="connsiteY12" fmla="*/ 10096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31" h="23812">
                  <a:moveTo>
                    <a:pt x="204" y="10096"/>
                  </a:moveTo>
                  <a:cubicBezTo>
                    <a:pt x="13" y="12478"/>
                    <a:pt x="-177" y="14859"/>
                    <a:pt x="299" y="17145"/>
                  </a:cubicBezTo>
                  <a:cubicBezTo>
                    <a:pt x="680" y="18955"/>
                    <a:pt x="1537" y="20479"/>
                    <a:pt x="2775" y="21812"/>
                  </a:cubicBezTo>
                  <a:lnTo>
                    <a:pt x="8586" y="23622"/>
                  </a:lnTo>
                  <a:cubicBezTo>
                    <a:pt x="8586" y="23717"/>
                    <a:pt x="8586" y="23717"/>
                    <a:pt x="8586" y="23813"/>
                  </a:cubicBezTo>
                  <a:cubicBezTo>
                    <a:pt x="9252" y="23622"/>
                    <a:pt x="9919" y="23336"/>
                    <a:pt x="10395" y="22860"/>
                  </a:cubicBezTo>
                  <a:cubicBezTo>
                    <a:pt x="11538" y="21812"/>
                    <a:pt x="12015" y="20193"/>
                    <a:pt x="12396" y="18669"/>
                  </a:cubicBezTo>
                  <a:cubicBezTo>
                    <a:pt x="13158" y="15049"/>
                    <a:pt x="13348" y="11335"/>
                    <a:pt x="12872" y="7715"/>
                  </a:cubicBezTo>
                  <a:cubicBezTo>
                    <a:pt x="12777" y="6668"/>
                    <a:pt x="12586" y="5620"/>
                    <a:pt x="12015" y="4667"/>
                  </a:cubicBezTo>
                  <a:cubicBezTo>
                    <a:pt x="11443" y="3620"/>
                    <a:pt x="10586" y="2858"/>
                    <a:pt x="9633" y="2191"/>
                  </a:cubicBezTo>
                  <a:cubicBezTo>
                    <a:pt x="8395" y="1334"/>
                    <a:pt x="7062" y="572"/>
                    <a:pt x="5728" y="0"/>
                  </a:cubicBezTo>
                  <a:lnTo>
                    <a:pt x="3252" y="476"/>
                  </a:lnTo>
                  <a:cubicBezTo>
                    <a:pt x="870" y="2858"/>
                    <a:pt x="394" y="6668"/>
                    <a:pt x="204" y="10096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48496199-6301-B7F4-F3F7-FED52D4C03D9}"/>
                </a:ext>
              </a:extLst>
            </p:cNvPr>
            <p:cNvSpPr/>
            <p:nvPr/>
          </p:nvSpPr>
          <p:spPr>
            <a:xfrm>
              <a:off x="5976882" y="4493897"/>
              <a:ext cx="41574" cy="53694"/>
            </a:xfrm>
            <a:custGeom>
              <a:avLst/>
              <a:gdLst>
                <a:gd name="connsiteX0" fmla="*/ 12573 w 28479"/>
                <a:gd name="connsiteY0" fmla="*/ 22955 h 36781"/>
                <a:gd name="connsiteX1" fmla="*/ 11716 w 28479"/>
                <a:gd name="connsiteY1" fmla="*/ 22765 h 36781"/>
                <a:gd name="connsiteX2" fmla="*/ 11430 w 28479"/>
                <a:gd name="connsiteY2" fmla="*/ 21907 h 36781"/>
                <a:gd name="connsiteX3" fmla="*/ 13621 w 28479"/>
                <a:gd name="connsiteY3" fmla="*/ 4667 h 36781"/>
                <a:gd name="connsiteX4" fmla="*/ 13811 w 28479"/>
                <a:gd name="connsiteY4" fmla="*/ 3239 h 36781"/>
                <a:gd name="connsiteX5" fmla="*/ 12192 w 28479"/>
                <a:gd name="connsiteY5" fmla="*/ 571 h 36781"/>
                <a:gd name="connsiteX6" fmla="*/ 7810 w 28479"/>
                <a:gd name="connsiteY6" fmla="*/ 0 h 36781"/>
                <a:gd name="connsiteX7" fmla="*/ 4763 w 28479"/>
                <a:gd name="connsiteY7" fmla="*/ 571 h 36781"/>
                <a:gd name="connsiteX8" fmla="*/ 2477 w 28479"/>
                <a:gd name="connsiteY8" fmla="*/ 4191 h 36781"/>
                <a:gd name="connsiteX9" fmla="*/ 0 w 28479"/>
                <a:gd name="connsiteY9" fmla="*/ 17431 h 36781"/>
                <a:gd name="connsiteX10" fmla="*/ 3620 w 28479"/>
                <a:gd name="connsiteY10" fmla="*/ 30194 h 36781"/>
                <a:gd name="connsiteX11" fmla="*/ 14859 w 28479"/>
                <a:gd name="connsiteY11" fmla="*/ 36767 h 36781"/>
                <a:gd name="connsiteX12" fmla="*/ 25241 w 28479"/>
                <a:gd name="connsiteY12" fmla="*/ 32576 h 36781"/>
                <a:gd name="connsiteX13" fmla="*/ 28480 w 28479"/>
                <a:gd name="connsiteY13" fmla="*/ 27051 h 36781"/>
                <a:gd name="connsiteX14" fmla="*/ 25527 w 28479"/>
                <a:gd name="connsiteY14" fmla="*/ 22289 h 36781"/>
                <a:gd name="connsiteX15" fmla="*/ 12573 w 28479"/>
                <a:gd name="connsiteY15" fmla="*/ 22955 h 3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479" h="36781">
                  <a:moveTo>
                    <a:pt x="12573" y="22955"/>
                  </a:moveTo>
                  <a:cubicBezTo>
                    <a:pt x="12287" y="22955"/>
                    <a:pt x="11906" y="22955"/>
                    <a:pt x="11716" y="22765"/>
                  </a:cubicBezTo>
                  <a:cubicBezTo>
                    <a:pt x="11430" y="22574"/>
                    <a:pt x="11430" y="22193"/>
                    <a:pt x="11430" y="21907"/>
                  </a:cubicBezTo>
                  <a:cubicBezTo>
                    <a:pt x="11049" y="16097"/>
                    <a:pt x="12192" y="10287"/>
                    <a:pt x="13621" y="4667"/>
                  </a:cubicBezTo>
                  <a:cubicBezTo>
                    <a:pt x="13716" y="4191"/>
                    <a:pt x="13811" y="3715"/>
                    <a:pt x="13811" y="3239"/>
                  </a:cubicBezTo>
                  <a:lnTo>
                    <a:pt x="12192" y="571"/>
                  </a:lnTo>
                  <a:cubicBezTo>
                    <a:pt x="10763" y="286"/>
                    <a:pt x="9335" y="95"/>
                    <a:pt x="7810" y="0"/>
                  </a:cubicBezTo>
                  <a:cubicBezTo>
                    <a:pt x="6763" y="0"/>
                    <a:pt x="5620" y="0"/>
                    <a:pt x="4763" y="571"/>
                  </a:cubicBezTo>
                  <a:cubicBezTo>
                    <a:pt x="3524" y="1333"/>
                    <a:pt x="2953" y="2762"/>
                    <a:pt x="2477" y="4191"/>
                  </a:cubicBezTo>
                  <a:cubicBezTo>
                    <a:pt x="1048" y="8477"/>
                    <a:pt x="0" y="12859"/>
                    <a:pt x="0" y="17431"/>
                  </a:cubicBezTo>
                  <a:cubicBezTo>
                    <a:pt x="0" y="21907"/>
                    <a:pt x="1048" y="26480"/>
                    <a:pt x="3620" y="30194"/>
                  </a:cubicBezTo>
                  <a:cubicBezTo>
                    <a:pt x="6191" y="33909"/>
                    <a:pt x="10382" y="36576"/>
                    <a:pt x="14859" y="36767"/>
                  </a:cubicBezTo>
                  <a:cubicBezTo>
                    <a:pt x="18669" y="36957"/>
                    <a:pt x="22574" y="35338"/>
                    <a:pt x="25241" y="32576"/>
                  </a:cubicBezTo>
                  <a:cubicBezTo>
                    <a:pt x="26765" y="31052"/>
                    <a:pt x="27813" y="29051"/>
                    <a:pt x="28480" y="27051"/>
                  </a:cubicBezTo>
                  <a:lnTo>
                    <a:pt x="25527" y="22289"/>
                  </a:lnTo>
                  <a:cubicBezTo>
                    <a:pt x="21241" y="22479"/>
                    <a:pt x="16859" y="22765"/>
                    <a:pt x="12573" y="22955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A266D2FD-2BC0-7E49-0C77-A070E714FF88}"/>
                </a:ext>
              </a:extLst>
            </p:cNvPr>
            <p:cNvSpPr/>
            <p:nvPr/>
          </p:nvSpPr>
          <p:spPr>
            <a:xfrm>
              <a:off x="5976605" y="4602771"/>
              <a:ext cx="556" cy="3336"/>
            </a:xfrm>
            <a:custGeom>
              <a:avLst/>
              <a:gdLst>
                <a:gd name="connsiteX0" fmla="*/ 381 w 381"/>
                <a:gd name="connsiteY0" fmla="*/ 2286 h 2285"/>
                <a:gd name="connsiteX1" fmla="*/ 95 w 381"/>
                <a:gd name="connsiteY1" fmla="*/ 0 h 2285"/>
                <a:gd name="connsiteX2" fmla="*/ 0 w 381"/>
                <a:gd name="connsiteY2" fmla="*/ 95 h 2285"/>
                <a:gd name="connsiteX3" fmla="*/ 381 w 381"/>
                <a:gd name="connsiteY3" fmla="*/ 2286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" h="2285">
                  <a:moveTo>
                    <a:pt x="381" y="2286"/>
                  </a:moveTo>
                  <a:cubicBezTo>
                    <a:pt x="286" y="1524"/>
                    <a:pt x="190" y="762"/>
                    <a:pt x="95" y="0"/>
                  </a:cubicBezTo>
                  <a:cubicBezTo>
                    <a:pt x="95" y="0"/>
                    <a:pt x="0" y="95"/>
                    <a:pt x="0" y="95"/>
                  </a:cubicBezTo>
                  <a:lnTo>
                    <a:pt x="381" y="2286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75A78238-78FB-EBCF-6F40-1623C5CB0757}"/>
                </a:ext>
              </a:extLst>
            </p:cNvPr>
            <p:cNvSpPr/>
            <p:nvPr/>
          </p:nvSpPr>
          <p:spPr>
            <a:xfrm>
              <a:off x="5813779" y="4816210"/>
              <a:ext cx="352540" cy="354807"/>
            </a:xfrm>
            <a:custGeom>
              <a:avLst/>
              <a:gdLst>
                <a:gd name="connsiteX0" fmla="*/ 241268 w 241495"/>
                <a:gd name="connsiteY0" fmla="*/ 230981 h 243048"/>
                <a:gd name="connsiteX1" fmla="*/ 225647 w 241495"/>
                <a:gd name="connsiteY1" fmla="*/ 232505 h 243048"/>
                <a:gd name="connsiteX2" fmla="*/ 218503 w 241495"/>
                <a:gd name="connsiteY2" fmla="*/ 222980 h 243048"/>
                <a:gd name="connsiteX3" fmla="*/ 212312 w 241495"/>
                <a:gd name="connsiteY3" fmla="*/ 213170 h 243048"/>
                <a:gd name="connsiteX4" fmla="*/ 205169 w 241495"/>
                <a:gd name="connsiteY4" fmla="*/ 203835 h 243048"/>
                <a:gd name="connsiteX5" fmla="*/ 198692 w 241495"/>
                <a:gd name="connsiteY5" fmla="*/ 194310 h 243048"/>
                <a:gd name="connsiteX6" fmla="*/ 192976 w 241495"/>
                <a:gd name="connsiteY6" fmla="*/ 184023 h 243048"/>
                <a:gd name="connsiteX7" fmla="*/ 186499 w 241495"/>
                <a:gd name="connsiteY7" fmla="*/ 175450 h 243048"/>
                <a:gd name="connsiteX8" fmla="*/ 181261 w 241495"/>
                <a:gd name="connsiteY8" fmla="*/ 165925 h 243048"/>
                <a:gd name="connsiteX9" fmla="*/ 174784 w 241495"/>
                <a:gd name="connsiteY9" fmla="*/ 157163 h 243048"/>
                <a:gd name="connsiteX10" fmla="*/ 168593 w 241495"/>
                <a:gd name="connsiteY10" fmla="*/ 148399 h 243048"/>
                <a:gd name="connsiteX11" fmla="*/ 161925 w 241495"/>
                <a:gd name="connsiteY11" fmla="*/ 139827 h 243048"/>
                <a:gd name="connsiteX12" fmla="*/ 155734 w 241495"/>
                <a:gd name="connsiteY12" fmla="*/ 131254 h 243048"/>
                <a:gd name="connsiteX13" fmla="*/ 148304 w 241495"/>
                <a:gd name="connsiteY13" fmla="*/ 123253 h 243048"/>
                <a:gd name="connsiteX14" fmla="*/ 141827 w 241495"/>
                <a:gd name="connsiteY14" fmla="*/ 114491 h 243048"/>
                <a:gd name="connsiteX15" fmla="*/ 141637 w 241495"/>
                <a:gd name="connsiteY15" fmla="*/ 114109 h 243048"/>
                <a:gd name="connsiteX16" fmla="*/ 135065 w 241495"/>
                <a:gd name="connsiteY16" fmla="*/ 118967 h 243048"/>
                <a:gd name="connsiteX17" fmla="*/ 124873 w 241495"/>
                <a:gd name="connsiteY17" fmla="*/ 123444 h 243048"/>
                <a:gd name="connsiteX18" fmla="*/ 113728 w 241495"/>
                <a:gd name="connsiteY18" fmla="*/ 124492 h 243048"/>
                <a:gd name="connsiteX19" fmla="*/ 102299 w 241495"/>
                <a:gd name="connsiteY19" fmla="*/ 124206 h 243048"/>
                <a:gd name="connsiteX20" fmla="*/ 91916 w 241495"/>
                <a:gd name="connsiteY20" fmla="*/ 119444 h 243048"/>
                <a:gd name="connsiteX21" fmla="*/ 84011 w 241495"/>
                <a:gd name="connsiteY21" fmla="*/ 111443 h 243048"/>
                <a:gd name="connsiteX22" fmla="*/ 76867 w 241495"/>
                <a:gd name="connsiteY22" fmla="*/ 102870 h 243048"/>
                <a:gd name="connsiteX23" fmla="*/ 71152 w 241495"/>
                <a:gd name="connsiteY23" fmla="*/ 93059 h 243048"/>
                <a:gd name="connsiteX24" fmla="*/ 68675 w 241495"/>
                <a:gd name="connsiteY24" fmla="*/ 82010 h 243048"/>
                <a:gd name="connsiteX25" fmla="*/ 67056 w 241495"/>
                <a:gd name="connsiteY25" fmla="*/ 71533 h 243048"/>
                <a:gd name="connsiteX26" fmla="*/ 66770 w 241495"/>
                <a:gd name="connsiteY26" fmla="*/ 70961 h 243048"/>
                <a:gd name="connsiteX27" fmla="*/ 60579 w 241495"/>
                <a:gd name="connsiteY27" fmla="*/ 57436 h 243048"/>
                <a:gd name="connsiteX28" fmla="*/ 53150 w 241495"/>
                <a:gd name="connsiteY28" fmla="*/ 49435 h 243048"/>
                <a:gd name="connsiteX29" fmla="*/ 45434 w 241495"/>
                <a:gd name="connsiteY29" fmla="*/ 41624 h 243048"/>
                <a:gd name="connsiteX30" fmla="*/ 38291 w 241495"/>
                <a:gd name="connsiteY30" fmla="*/ 33338 h 243048"/>
                <a:gd name="connsiteX31" fmla="*/ 30385 w 241495"/>
                <a:gd name="connsiteY31" fmla="*/ 26098 h 243048"/>
                <a:gd name="connsiteX32" fmla="*/ 23241 w 241495"/>
                <a:gd name="connsiteY32" fmla="*/ 17812 h 243048"/>
                <a:gd name="connsiteX33" fmla="*/ 14859 w 241495"/>
                <a:gd name="connsiteY33" fmla="*/ 11049 h 243048"/>
                <a:gd name="connsiteX34" fmla="*/ 1238 w 241495"/>
                <a:gd name="connsiteY34" fmla="*/ 0 h 243048"/>
                <a:gd name="connsiteX35" fmla="*/ 0 w 241495"/>
                <a:gd name="connsiteY35" fmla="*/ 3334 h 243048"/>
                <a:gd name="connsiteX36" fmla="*/ 13907 w 241495"/>
                <a:gd name="connsiteY36" fmla="*/ 21812 h 243048"/>
                <a:gd name="connsiteX37" fmla="*/ 19336 w 241495"/>
                <a:gd name="connsiteY37" fmla="*/ 31337 h 243048"/>
                <a:gd name="connsiteX38" fmla="*/ 24575 w 241495"/>
                <a:gd name="connsiteY38" fmla="*/ 41148 h 243048"/>
                <a:gd name="connsiteX39" fmla="*/ 29528 w 241495"/>
                <a:gd name="connsiteY39" fmla="*/ 50959 h 243048"/>
                <a:gd name="connsiteX40" fmla="*/ 35433 w 241495"/>
                <a:gd name="connsiteY40" fmla="*/ 60484 h 243048"/>
                <a:gd name="connsiteX41" fmla="*/ 38862 w 241495"/>
                <a:gd name="connsiteY41" fmla="*/ 71056 h 243048"/>
                <a:gd name="connsiteX42" fmla="*/ 43529 w 241495"/>
                <a:gd name="connsiteY42" fmla="*/ 81058 h 243048"/>
                <a:gd name="connsiteX43" fmla="*/ 47530 w 241495"/>
                <a:gd name="connsiteY43" fmla="*/ 91345 h 243048"/>
                <a:gd name="connsiteX44" fmla="*/ 52197 w 241495"/>
                <a:gd name="connsiteY44" fmla="*/ 101346 h 243048"/>
                <a:gd name="connsiteX45" fmla="*/ 57150 w 241495"/>
                <a:gd name="connsiteY45" fmla="*/ 111347 h 243048"/>
                <a:gd name="connsiteX46" fmla="*/ 60103 w 241495"/>
                <a:gd name="connsiteY46" fmla="*/ 122111 h 243048"/>
                <a:gd name="connsiteX47" fmla="*/ 64294 w 241495"/>
                <a:gd name="connsiteY47" fmla="*/ 132397 h 243048"/>
                <a:gd name="connsiteX48" fmla="*/ 69247 w 241495"/>
                <a:gd name="connsiteY48" fmla="*/ 142208 h 243048"/>
                <a:gd name="connsiteX49" fmla="*/ 72009 w 241495"/>
                <a:gd name="connsiteY49" fmla="*/ 152972 h 243048"/>
                <a:gd name="connsiteX50" fmla="*/ 76676 w 241495"/>
                <a:gd name="connsiteY50" fmla="*/ 162973 h 243048"/>
                <a:gd name="connsiteX51" fmla="*/ 80677 w 241495"/>
                <a:gd name="connsiteY51" fmla="*/ 173260 h 243048"/>
                <a:gd name="connsiteX52" fmla="*/ 83153 w 241495"/>
                <a:gd name="connsiteY52" fmla="*/ 184309 h 243048"/>
                <a:gd name="connsiteX53" fmla="*/ 87821 w 241495"/>
                <a:gd name="connsiteY53" fmla="*/ 194310 h 243048"/>
                <a:gd name="connsiteX54" fmla="*/ 91535 w 241495"/>
                <a:gd name="connsiteY54" fmla="*/ 204883 h 243048"/>
                <a:gd name="connsiteX55" fmla="*/ 94488 w 241495"/>
                <a:gd name="connsiteY55" fmla="*/ 215455 h 243048"/>
                <a:gd name="connsiteX56" fmla="*/ 93345 w 241495"/>
                <a:gd name="connsiteY56" fmla="*/ 215360 h 243048"/>
                <a:gd name="connsiteX57" fmla="*/ 95059 w 241495"/>
                <a:gd name="connsiteY57" fmla="*/ 219551 h 243048"/>
                <a:gd name="connsiteX58" fmla="*/ 96869 w 241495"/>
                <a:gd name="connsiteY58" fmla="*/ 224885 h 243048"/>
                <a:gd name="connsiteX59" fmla="*/ 182785 w 241495"/>
                <a:gd name="connsiteY59" fmla="*/ 224885 h 243048"/>
                <a:gd name="connsiteX60" fmla="*/ 174308 w 241495"/>
                <a:gd name="connsiteY60" fmla="*/ 216884 h 243048"/>
                <a:gd name="connsiteX61" fmla="*/ 170117 w 241495"/>
                <a:gd name="connsiteY61" fmla="*/ 206883 h 243048"/>
                <a:gd name="connsiteX62" fmla="*/ 165926 w 241495"/>
                <a:gd name="connsiteY62" fmla="*/ 196596 h 243048"/>
                <a:gd name="connsiteX63" fmla="*/ 162211 w 241495"/>
                <a:gd name="connsiteY63" fmla="*/ 186023 h 243048"/>
                <a:gd name="connsiteX64" fmla="*/ 158782 w 241495"/>
                <a:gd name="connsiteY64" fmla="*/ 175736 h 243048"/>
                <a:gd name="connsiteX65" fmla="*/ 165449 w 241495"/>
                <a:gd name="connsiteY65" fmla="*/ 183261 h 243048"/>
                <a:gd name="connsiteX66" fmla="*/ 171164 w 241495"/>
                <a:gd name="connsiteY66" fmla="*/ 192024 h 243048"/>
                <a:gd name="connsiteX67" fmla="*/ 178880 w 241495"/>
                <a:gd name="connsiteY67" fmla="*/ 199072 h 243048"/>
                <a:gd name="connsiteX68" fmla="*/ 185357 w 241495"/>
                <a:gd name="connsiteY68" fmla="*/ 207073 h 243048"/>
                <a:gd name="connsiteX69" fmla="*/ 192310 w 241495"/>
                <a:gd name="connsiteY69" fmla="*/ 214884 h 243048"/>
                <a:gd name="connsiteX70" fmla="*/ 199263 w 241495"/>
                <a:gd name="connsiteY70" fmla="*/ 222409 h 243048"/>
                <a:gd name="connsiteX71" fmla="*/ 206693 w 241495"/>
                <a:gd name="connsiteY71" fmla="*/ 229457 h 243048"/>
                <a:gd name="connsiteX72" fmla="*/ 213646 w 241495"/>
                <a:gd name="connsiteY72" fmla="*/ 236982 h 243048"/>
                <a:gd name="connsiteX73" fmla="*/ 222314 w 241495"/>
                <a:gd name="connsiteY73" fmla="*/ 242983 h 243048"/>
                <a:gd name="connsiteX74" fmla="*/ 233458 w 241495"/>
                <a:gd name="connsiteY74" fmla="*/ 239173 h 243048"/>
                <a:gd name="connsiteX75" fmla="*/ 241268 w 241495"/>
                <a:gd name="connsiteY75" fmla="*/ 230981 h 24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41495" h="243048">
                  <a:moveTo>
                    <a:pt x="241268" y="230981"/>
                  </a:moveTo>
                  <a:cubicBezTo>
                    <a:pt x="239554" y="230219"/>
                    <a:pt x="227647" y="233458"/>
                    <a:pt x="225647" y="232505"/>
                  </a:cubicBezTo>
                  <a:cubicBezTo>
                    <a:pt x="225171" y="232220"/>
                    <a:pt x="222218" y="228219"/>
                    <a:pt x="218503" y="222980"/>
                  </a:cubicBezTo>
                  <a:cubicBezTo>
                    <a:pt x="216313" y="220218"/>
                    <a:pt x="214503" y="216408"/>
                    <a:pt x="212312" y="213170"/>
                  </a:cubicBezTo>
                  <a:cubicBezTo>
                    <a:pt x="210122" y="209931"/>
                    <a:pt x="207359" y="207169"/>
                    <a:pt x="205169" y="203835"/>
                  </a:cubicBezTo>
                  <a:cubicBezTo>
                    <a:pt x="202692" y="200597"/>
                    <a:pt x="200692" y="197072"/>
                    <a:pt x="198692" y="194310"/>
                  </a:cubicBezTo>
                  <a:cubicBezTo>
                    <a:pt x="195263" y="189071"/>
                    <a:pt x="193262" y="184975"/>
                    <a:pt x="192976" y="184023"/>
                  </a:cubicBezTo>
                  <a:cubicBezTo>
                    <a:pt x="192691" y="183261"/>
                    <a:pt x="190024" y="180213"/>
                    <a:pt x="186499" y="175450"/>
                  </a:cubicBezTo>
                  <a:cubicBezTo>
                    <a:pt x="184785" y="172688"/>
                    <a:pt x="183547" y="169164"/>
                    <a:pt x="181261" y="165925"/>
                  </a:cubicBezTo>
                  <a:cubicBezTo>
                    <a:pt x="179261" y="163163"/>
                    <a:pt x="177070" y="160401"/>
                    <a:pt x="174784" y="157163"/>
                  </a:cubicBezTo>
                  <a:cubicBezTo>
                    <a:pt x="172593" y="154400"/>
                    <a:pt x="170593" y="151352"/>
                    <a:pt x="168593" y="148399"/>
                  </a:cubicBezTo>
                  <a:cubicBezTo>
                    <a:pt x="166402" y="145637"/>
                    <a:pt x="163925" y="142875"/>
                    <a:pt x="161925" y="139827"/>
                  </a:cubicBezTo>
                  <a:cubicBezTo>
                    <a:pt x="159734" y="136779"/>
                    <a:pt x="157734" y="133826"/>
                    <a:pt x="155734" y="131254"/>
                  </a:cubicBezTo>
                  <a:cubicBezTo>
                    <a:pt x="153257" y="128016"/>
                    <a:pt x="150305" y="125730"/>
                    <a:pt x="148304" y="123253"/>
                  </a:cubicBezTo>
                  <a:cubicBezTo>
                    <a:pt x="144304" y="118015"/>
                    <a:pt x="145066" y="118967"/>
                    <a:pt x="141827" y="114491"/>
                  </a:cubicBezTo>
                  <a:lnTo>
                    <a:pt x="141637" y="114109"/>
                  </a:lnTo>
                  <a:cubicBezTo>
                    <a:pt x="139541" y="116015"/>
                    <a:pt x="137446" y="117729"/>
                    <a:pt x="135065" y="118967"/>
                  </a:cubicBezTo>
                  <a:cubicBezTo>
                    <a:pt x="131826" y="120968"/>
                    <a:pt x="128397" y="122492"/>
                    <a:pt x="124873" y="123444"/>
                  </a:cubicBezTo>
                  <a:cubicBezTo>
                    <a:pt x="121158" y="124492"/>
                    <a:pt x="117443" y="124492"/>
                    <a:pt x="113728" y="124492"/>
                  </a:cubicBezTo>
                  <a:cubicBezTo>
                    <a:pt x="109728" y="124492"/>
                    <a:pt x="106013" y="125254"/>
                    <a:pt x="102299" y="124206"/>
                  </a:cubicBezTo>
                  <a:cubicBezTo>
                    <a:pt x="98870" y="123158"/>
                    <a:pt x="95155" y="121444"/>
                    <a:pt x="91916" y="119444"/>
                  </a:cubicBezTo>
                  <a:cubicBezTo>
                    <a:pt x="88964" y="117443"/>
                    <a:pt x="86678" y="114205"/>
                    <a:pt x="84011" y="111443"/>
                  </a:cubicBezTo>
                  <a:cubicBezTo>
                    <a:pt x="81248" y="108966"/>
                    <a:pt x="78772" y="106204"/>
                    <a:pt x="76867" y="102870"/>
                  </a:cubicBezTo>
                  <a:cubicBezTo>
                    <a:pt x="74867" y="99822"/>
                    <a:pt x="72390" y="96869"/>
                    <a:pt x="71152" y="93059"/>
                  </a:cubicBezTo>
                  <a:cubicBezTo>
                    <a:pt x="69628" y="89535"/>
                    <a:pt x="69437" y="85820"/>
                    <a:pt x="68675" y="82010"/>
                  </a:cubicBezTo>
                  <a:cubicBezTo>
                    <a:pt x="68009" y="78772"/>
                    <a:pt x="67151" y="75247"/>
                    <a:pt x="67056" y="71533"/>
                  </a:cubicBezTo>
                  <a:cubicBezTo>
                    <a:pt x="66961" y="71342"/>
                    <a:pt x="66866" y="71247"/>
                    <a:pt x="66770" y="70961"/>
                  </a:cubicBezTo>
                  <a:lnTo>
                    <a:pt x="60579" y="57436"/>
                  </a:lnTo>
                  <a:cubicBezTo>
                    <a:pt x="56864" y="53149"/>
                    <a:pt x="57626" y="54197"/>
                    <a:pt x="53150" y="49435"/>
                  </a:cubicBezTo>
                  <a:cubicBezTo>
                    <a:pt x="50959" y="47149"/>
                    <a:pt x="48197" y="44672"/>
                    <a:pt x="45434" y="41624"/>
                  </a:cubicBezTo>
                  <a:cubicBezTo>
                    <a:pt x="42958" y="39148"/>
                    <a:pt x="40958" y="36100"/>
                    <a:pt x="38291" y="33338"/>
                  </a:cubicBezTo>
                  <a:cubicBezTo>
                    <a:pt x="35814" y="30861"/>
                    <a:pt x="32861" y="28575"/>
                    <a:pt x="30385" y="26098"/>
                  </a:cubicBezTo>
                  <a:cubicBezTo>
                    <a:pt x="27908" y="23622"/>
                    <a:pt x="25718" y="20288"/>
                    <a:pt x="23241" y="17812"/>
                  </a:cubicBezTo>
                  <a:cubicBezTo>
                    <a:pt x="20479" y="15335"/>
                    <a:pt x="17335" y="13335"/>
                    <a:pt x="14859" y="11049"/>
                  </a:cubicBezTo>
                  <a:cubicBezTo>
                    <a:pt x="12668" y="8953"/>
                    <a:pt x="3143" y="1619"/>
                    <a:pt x="1238" y="0"/>
                  </a:cubicBezTo>
                  <a:lnTo>
                    <a:pt x="0" y="3334"/>
                  </a:lnTo>
                  <a:cubicBezTo>
                    <a:pt x="1334" y="5334"/>
                    <a:pt x="12478" y="19717"/>
                    <a:pt x="13907" y="21812"/>
                  </a:cubicBezTo>
                  <a:cubicBezTo>
                    <a:pt x="15621" y="24860"/>
                    <a:pt x="17621" y="28099"/>
                    <a:pt x="19336" y="31337"/>
                  </a:cubicBezTo>
                  <a:cubicBezTo>
                    <a:pt x="21336" y="34385"/>
                    <a:pt x="22574" y="37909"/>
                    <a:pt x="24575" y="41148"/>
                  </a:cubicBezTo>
                  <a:cubicBezTo>
                    <a:pt x="26099" y="44387"/>
                    <a:pt x="27813" y="47720"/>
                    <a:pt x="29528" y="50959"/>
                  </a:cubicBezTo>
                  <a:cubicBezTo>
                    <a:pt x="31052" y="54197"/>
                    <a:pt x="33719" y="56959"/>
                    <a:pt x="35433" y="60484"/>
                  </a:cubicBezTo>
                  <a:cubicBezTo>
                    <a:pt x="36957" y="63722"/>
                    <a:pt x="37433" y="67723"/>
                    <a:pt x="38862" y="71056"/>
                  </a:cubicBezTo>
                  <a:cubicBezTo>
                    <a:pt x="40386" y="74295"/>
                    <a:pt x="42101" y="77819"/>
                    <a:pt x="43529" y="81058"/>
                  </a:cubicBezTo>
                  <a:cubicBezTo>
                    <a:pt x="45053" y="84582"/>
                    <a:pt x="46006" y="88106"/>
                    <a:pt x="47530" y="91345"/>
                  </a:cubicBezTo>
                  <a:cubicBezTo>
                    <a:pt x="49054" y="94869"/>
                    <a:pt x="50768" y="98107"/>
                    <a:pt x="52197" y="101346"/>
                  </a:cubicBezTo>
                  <a:cubicBezTo>
                    <a:pt x="53435" y="104870"/>
                    <a:pt x="55626" y="107918"/>
                    <a:pt x="57150" y="111347"/>
                  </a:cubicBezTo>
                  <a:cubicBezTo>
                    <a:pt x="58388" y="114872"/>
                    <a:pt x="58865" y="118586"/>
                    <a:pt x="60103" y="122111"/>
                  </a:cubicBezTo>
                  <a:cubicBezTo>
                    <a:pt x="61627" y="125349"/>
                    <a:pt x="63056" y="128873"/>
                    <a:pt x="64294" y="132397"/>
                  </a:cubicBezTo>
                  <a:cubicBezTo>
                    <a:pt x="65532" y="135636"/>
                    <a:pt x="68009" y="138684"/>
                    <a:pt x="69247" y="142208"/>
                  </a:cubicBezTo>
                  <a:cubicBezTo>
                    <a:pt x="70771" y="145733"/>
                    <a:pt x="70771" y="149733"/>
                    <a:pt x="72009" y="152972"/>
                  </a:cubicBezTo>
                  <a:cubicBezTo>
                    <a:pt x="73247" y="156496"/>
                    <a:pt x="75438" y="159734"/>
                    <a:pt x="76676" y="162973"/>
                  </a:cubicBezTo>
                  <a:cubicBezTo>
                    <a:pt x="77915" y="166783"/>
                    <a:pt x="79439" y="170021"/>
                    <a:pt x="80677" y="173260"/>
                  </a:cubicBezTo>
                  <a:cubicBezTo>
                    <a:pt x="81915" y="177070"/>
                    <a:pt x="81915" y="181070"/>
                    <a:pt x="83153" y="184309"/>
                  </a:cubicBezTo>
                  <a:cubicBezTo>
                    <a:pt x="84392" y="187833"/>
                    <a:pt x="86582" y="191072"/>
                    <a:pt x="87821" y="194310"/>
                  </a:cubicBezTo>
                  <a:cubicBezTo>
                    <a:pt x="89059" y="198120"/>
                    <a:pt x="90583" y="201549"/>
                    <a:pt x="91535" y="204883"/>
                  </a:cubicBezTo>
                  <a:cubicBezTo>
                    <a:pt x="93059" y="208693"/>
                    <a:pt x="93536" y="212408"/>
                    <a:pt x="94488" y="215455"/>
                  </a:cubicBezTo>
                  <a:lnTo>
                    <a:pt x="93345" y="215360"/>
                  </a:lnTo>
                  <a:cubicBezTo>
                    <a:pt x="93917" y="216789"/>
                    <a:pt x="94488" y="218218"/>
                    <a:pt x="95059" y="219551"/>
                  </a:cubicBezTo>
                  <a:cubicBezTo>
                    <a:pt x="95726" y="221266"/>
                    <a:pt x="96298" y="223075"/>
                    <a:pt x="96869" y="224885"/>
                  </a:cubicBezTo>
                  <a:lnTo>
                    <a:pt x="182785" y="224885"/>
                  </a:lnTo>
                  <a:lnTo>
                    <a:pt x="174308" y="216884"/>
                  </a:lnTo>
                  <a:cubicBezTo>
                    <a:pt x="172307" y="211836"/>
                    <a:pt x="172117" y="211836"/>
                    <a:pt x="170117" y="206883"/>
                  </a:cubicBezTo>
                  <a:cubicBezTo>
                    <a:pt x="168116" y="201644"/>
                    <a:pt x="167926" y="201644"/>
                    <a:pt x="165926" y="196596"/>
                  </a:cubicBezTo>
                  <a:cubicBezTo>
                    <a:pt x="163925" y="191357"/>
                    <a:pt x="164211" y="191357"/>
                    <a:pt x="162211" y="186023"/>
                  </a:cubicBezTo>
                  <a:cubicBezTo>
                    <a:pt x="160496" y="180975"/>
                    <a:pt x="159734" y="180975"/>
                    <a:pt x="158782" y="175736"/>
                  </a:cubicBezTo>
                  <a:cubicBezTo>
                    <a:pt x="158020" y="170497"/>
                    <a:pt x="161544" y="178498"/>
                    <a:pt x="165449" y="183261"/>
                  </a:cubicBezTo>
                  <a:cubicBezTo>
                    <a:pt x="167449" y="185547"/>
                    <a:pt x="168688" y="189071"/>
                    <a:pt x="171164" y="192024"/>
                  </a:cubicBezTo>
                  <a:cubicBezTo>
                    <a:pt x="173165" y="194500"/>
                    <a:pt x="176403" y="196310"/>
                    <a:pt x="178880" y="199072"/>
                  </a:cubicBezTo>
                  <a:cubicBezTo>
                    <a:pt x="181070" y="201549"/>
                    <a:pt x="182880" y="204597"/>
                    <a:pt x="185357" y="207073"/>
                  </a:cubicBezTo>
                  <a:cubicBezTo>
                    <a:pt x="187547" y="209550"/>
                    <a:pt x="189833" y="212122"/>
                    <a:pt x="192310" y="214884"/>
                  </a:cubicBezTo>
                  <a:cubicBezTo>
                    <a:pt x="194501" y="217361"/>
                    <a:pt x="196977" y="219932"/>
                    <a:pt x="199263" y="222409"/>
                  </a:cubicBezTo>
                  <a:cubicBezTo>
                    <a:pt x="201740" y="224885"/>
                    <a:pt x="204216" y="227171"/>
                    <a:pt x="206693" y="229457"/>
                  </a:cubicBezTo>
                  <a:cubicBezTo>
                    <a:pt x="209455" y="232220"/>
                    <a:pt x="211360" y="234982"/>
                    <a:pt x="213646" y="236982"/>
                  </a:cubicBezTo>
                  <a:cubicBezTo>
                    <a:pt x="217646" y="240220"/>
                    <a:pt x="220599" y="242792"/>
                    <a:pt x="222314" y="242983"/>
                  </a:cubicBezTo>
                  <a:cubicBezTo>
                    <a:pt x="226314" y="243459"/>
                    <a:pt x="230219" y="241268"/>
                    <a:pt x="233458" y="239173"/>
                  </a:cubicBezTo>
                  <a:cubicBezTo>
                    <a:pt x="238506" y="236506"/>
                    <a:pt x="242507" y="231743"/>
                    <a:pt x="241268" y="230981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52A978F-1F17-6BF3-55E5-590D4E1D97F9}"/>
                </a:ext>
              </a:extLst>
            </p:cNvPr>
            <p:cNvSpPr/>
            <p:nvPr/>
          </p:nvSpPr>
          <p:spPr>
            <a:xfrm>
              <a:off x="5422915" y="4699548"/>
              <a:ext cx="413528" cy="445370"/>
            </a:xfrm>
            <a:custGeom>
              <a:avLst/>
              <a:gdLst>
                <a:gd name="connsiteX0" fmla="*/ 0 w 283273"/>
                <a:gd name="connsiteY0" fmla="*/ 305086 h 305085"/>
                <a:gd name="connsiteX1" fmla="*/ 282512 w 283273"/>
                <a:gd name="connsiteY1" fmla="*/ 305086 h 305085"/>
                <a:gd name="connsiteX2" fmla="*/ 283274 w 283273"/>
                <a:gd name="connsiteY2" fmla="*/ 281464 h 305085"/>
                <a:gd name="connsiteX3" fmla="*/ 280797 w 283273"/>
                <a:gd name="connsiteY3" fmla="*/ 123444 h 305085"/>
                <a:gd name="connsiteX4" fmla="*/ 277368 w 283273"/>
                <a:gd name="connsiteY4" fmla="*/ 95726 h 305085"/>
                <a:gd name="connsiteX5" fmla="*/ 275177 w 283273"/>
                <a:gd name="connsiteY5" fmla="*/ 92488 h 305085"/>
                <a:gd name="connsiteX6" fmla="*/ 268034 w 283273"/>
                <a:gd name="connsiteY6" fmla="*/ 83915 h 305085"/>
                <a:gd name="connsiteX7" fmla="*/ 274225 w 283273"/>
                <a:gd name="connsiteY7" fmla="*/ 83915 h 305085"/>
                <a:gd name="connsiteX8" fmla="*/ 276130 w 283273"/>
                <a:gd name="connsiteY8" fmla="*/ 85535 h 305085"/>
                <a:gd name="connsiteX9" fmla="*/ 273463 w 283273"/>
                <a:gd name="connsiteY9" fmla="*/ 64103 h 305085"/>
                <a:gd name="connsiteX10" fmla="*/ 272034 w 283273"/>
                <a:gd name="connsiteY10" fmla="*/ 57341 h 305085"/>
                <a:gd name="connsiteX11" fmla="*/ 270129 w 283273"/>
                <a:gd name="connsiteY11" fmla="*/ 13526 h 305085"/>
                <a:gd name="connsiteX12" fmla="*/ 250698 w 283273"/>
                <a:gd name="connsiteY12" fmla="*/ 5143 h 305085"/>
                <a:gd name="connsiteX13" fmla="*/ 151257 w 283273"/>
                <a:gd name="connsiteY13" fmla="*/ 4953 h 305085"/>
                <a:gd name="connsiteX14" fmla="*/ 109442 w 283273"/>
                <a:gd name="connsiteY14" fmla="*/ 4858 h 305085"/>
                <a:gd name="connsiteX15" fmla="*/ 103727 w 283273"/>
                <a:gd name="connsiteY15" fmla="*/ 3905 h 305085"/>
                <a:gd name="connsiteX16" fmla="*/ 103251 w 283273"/>
                <a:gd name="connsiteY16" fmla="*/ 4667 h 305085"/>
                <a:gd name="connsiteX17" fmla="*/ 98774 w 283273"/>
                <a:gd name="connsiteY17" fmla="*/ 14954 h 305085"/>
                <a:gd name="connsiteX18" fmla="*/ 92583 w 283273"/>
                <a:gd name="connsiteY18" fmla="*/ 24479 h 305085"/>
                <a:gd name="connsiteX19" fmla="*/ 82201 w 283273"/>
                <a:gd name="connsiteY19" fmla="*/ 24765 h 305085"/>
                <a:gd name="connsiteX20" fmla="*/ 72295 w 283273"/>
                <a:gd name="connsiteY20" fmla="*/ 21241 h 305085"/>
                <a:gd name="connsiteX21" fmla="*/ 63151 w 283273"/>
                <a:gd name="connsiteY21" fmla="*/ 18193 h 305085"/>
                <a:gd name="connsiteX22" fmla="*/ 73057 w 283273"/>
                <a:gd name="connsiteY22" fmla="*/ 17431 h 305085"/>
                <a:gd name="connsiteX23" fmla="*/ 81439 w 283273"/>
                <a:gd name="connsiteY23" fmla="*/ 11906 h 305085"/>
                <a:gd name="connsiteX24" fmla="*/ 86868 w 283273"/>
                <a:gd name="connsiteY24" fmla="*/ 1905 h 305085"/>
                <a:gd name="connsiteX25" fmla="*/ 87154 w 283273"/>
                <a:gd name="connsiteY25" fmla="*/ 1143 h 305085"/>
                <a:gd name="connsiteX26" fmla="*/ 80296 w 283273"/>
                <a:gd name="connsiteY26" fmla="*/ 0 h 305085"/>
                <a:gd name="connsiteX27" fmla="*/ 64865 w 283273"/>
                <a:gd name="connsiteY27" fmla="*/ 762 h 305085"/>
                <a:gd name="connsiteX28" fmla="*/ 56674 w 283273"/>
                <a:gd name="connsiteY28" fmla="*/ 1048 h 305085"/>
                <a:gd name="connsiteX29" fmla="*/ 42767 w 283273"/>
                <a:gd name="connsiteY29" fmla="*/ 7811 h 305085"/>
                <a:gd name="connsiteX30" fmla="*/ 44958 w 283273"/>
                <a:gd name="connsiteY30" fmla="*/ 40577 h 305085"/>
                <a:gd name="connsiteX31" fmla="*/ 45244 w 283273"/>
                <a:gd name="connsiteY31" fmla="*/ 43339 h 305085"/>
                <a:gd name="connsiteX32" fmla="*/ 45148 w 283273"/>
                <a:gd name="connsiteY32" fmla="*/ 57626 h 305085"/>
                <a:gd name="connsiteX33" fmla="*/ 48292 w 283273"/>
                <a:gd name="connsiteY33" fmla="*/ 53721 h 305085"/>
                <a:gd name="connsiteX34" fmla="*/ 54197 w 283273"/>
                <a:gd name="connsiteY34" fmla="*/ 45148 h 305085"/>
                <a:gd name="connsiteX35" fmla="*/ 52007 w 283273"/>
                <a:gd name="connsiteY35" fmla="*/ 55150 h 305085"/>
                <a:gd name="connsiteX36" fmla="*/ 48768 w 283273"/>
                <a:gd name="connsiteY36" fmla="*/ 65437 h 305085"/>
                <a:gd name="connsiteX37" fmla="*/ 45530 w 283273"/>
                <a:gd name="connsiteY37" fmla="*/ 75724 h 305085"/>
                <a:gd name="connsiteX38" fmla="*/ 44958 w 283273"/>
                <a:gd name="connsiteY38" fmla="*/ 77629 h 305085"/>
                <a:gd name="connsiteX39" fmla="*/ 44958 w 283273"/>
                <a:gd name="connsiteY39" fmla="*/ 97822 h 305085"/>
                <a:gd name="connsiteX40" fmla="*/ 46291 w 283273"/>
                <a:gd name="connsiteY40" fmla="*/ 116110 h 305085"/>
                <a:gd name="connsiteX41" fmla="*/ 45339 w 283273"/>
                <a:gd name="connsiteY41" fmla="*/ 282416 h 305085"/>
                <a:gd name="connsiteX42" fmla="*/ 0 w 283273"/>
                <a:gd name="connsiteY42" fmla="*/ 305086 h 3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3273" h="305085">
                  <a:moveTo>
                    <a:pt x="0" y="305086"/>
                  </a:moveTo>
                  <a:lnTo>
                    <a:pt x="282512" y="305086"/>
                  </a:lnTo>
                  <a:cubicBezTo>
                    <a:pt x="282797" y="297180"/>
                    <a:pt x="283178" y="289370"/>
                    <a:pt x="283274" y="281464"/>
                  </a:cubicBezTo>
                  <a:cubicBezTo>
                    <a:pt x="279845" y="213932"/>
                    <a:pt x="279083" y="195072"/>
                    <a:pt x="280797" y="123444"/>
                  </a:cubicBezTo>
                  <a:lnTo>
                    <a:pt x="277368" y="95726"/>
                  </a:lnTo>
                  <a:cubicBezTo>
                    <a:pt x="276606" y="94583"/>
                    <a:pt x="275939" y="93536"/>
                    <a:pt x="275177" y="92488"/>
                  </a:cubicBezTo>
                  <a:cubicBezTo>
                    <a:pt x="272987" y="89249"/>
                    <a:pt x="270224" y="86487"/>
                    <a:pt x="268034" y="83915"/>
                  </a:cubicBezTo>
                  <a:cubicBezTo>
                    <a:pt x="266319" y="78867"/>
                    <a:pt x="268986" y="79915"/>
                    <a:pt x="274225" y="83915"/>
                  </a:cubicBezTo>
                  <a:cubicBezTo>
                    <a:pt x="274796" y="84392"/>
                    <a:pt x="275463" y="84963"/>
                    <a:pt x="276130" y="85535"/>
                  </a:cubicBezTo>
                  <a:lnTo>
                    <a:pt x="273463" y="64103"/>
                  </a:lnTo>
                  <a:cubicBezTo>
                    <a:pt x="272987" y="61817"/>
                    <a:pt x="272415" y="59627"/>
                    <a:pt x="272034" y="57341"/>
                  </a:cubicBezTo>
                  <a:cubicBezTo>
                    <a:pt x="269177" y="42958"/>
                    <a:pt x="268510" y="28099"/>
                    <a:pt x="270129" y="13526"/>
                  </a:cubicBezTo>
                  <a:lnTo>
                    <a:pt x="250698" y="5143"/>
                  </a:lnTo>
                  <a:lnTo>
                    <a:pt x="151257" y="4953"/>
                  </a:lnTo>
                  <a:cubicBezTo>
                    <a:pt x="137351" y="4953"/>
                    <a:pt x="123349" y="4953"/>
                    <a:pt x="109442" y="4858"/>
                  </a:cubicBezTo>
                  <a:lnTo>
                    <a:pt x="103727" y="3905"/>
                  </a:lnTo>
                  <a:cubicBezTo>
                    <a:pt x="103632" y="4191"/>
                    <a:pt x="103346" y="4382"/>
                    <a:pt x="103251" y="4667"/>
                  </a:cubicBezTo>
                  <a:cubicBezTo>
                    <a:pt x="101537" y="8477"/>
                    <a:pt x="100298" y="11906"/>
                    <a:pt x="98774" y="14954"/>
                  </a:cubicBezTo>
                  <a:cubicBezTo>
                    <a:pt x="96012" y="20003"/>
                    <a:pt x="94107" y="23717"/>
                    <a:pt x="92583" y="24479"/>
                  </a:cubicBezTo>
                  <a:cubicBezTo>
                    <a:pt x="90107" y="26003"/>
                    <a:pt x="86106" y="25527"/>
                    <a:pt x="82201" y="24765"/>
                  </a:cubicBezTo>
                  <a:cubicBezTo>
                    <a:pt x="78772" y="24289"/>
                    <a:pt x="75533" y="22479"/>
                    <a:pt x="72295" y="21241"/>
                  </a:cubicBezTo>
                  <a:cubicBezTo>
                    <a:pt x="66865" y="19241"/>
                    <a:pt x="59627" y="22289"/>
                    <a:pt x="63151" y="18193"/>
                  </a:cubicBezTo>
                  <a:cubicBezTo>
                    <a:pt x="66580" y="14383"/>
                    <a:pt x="67818" y="18669"/>
                    <a:pt x="73057" y="17431"/>
                  </a:cubicBezTo>
                  <a:cubicBezTo>
                    <a:pt x="76486" y="16669"/>
                    <a:pt x="79534" y="15145"/>
                    <a:pt x="81439" y="11906"/>
                  </a:cubicBezTo>
                  <a:cubicBezTo>
                    <a:pt x="82391" y="10668"/>
                    <a:pt x="84677" y="7144"/>
                    <a:pt x="86868" y="1905"/>
                  </a:cubicBezTo>
                  <a:cubicBezTo>
                    <a:pt x="86963" y="1715"/>
                    <a:pt x="87059" y="1334"/>
                    <a:pt x="87154" y="1143"/>
                  </a:cubicBezTo>
                  <a:lnTo>
                    <a:pt x="80296" y="0"/>
                  </a:lnTo>
                  <a:cubicBezTo>
                    <a:pt x="75152" y="381"/>
                    <a:pt x="70009" y="572"/>
                    <a:pt x="64865" y="762"/>
                  </a:cubicBezTo>
                  <a:cubicBezTo>
                    <a:pt x="62103" y="857"/>
                    <a:pt x="59436" y="953"/>
                    <a:pt x="56674" y="1048"/>
                  </a:cubicBezTo>
                  <a:lnTo>
                    <a:pt x="42767" y="7811"/>
                  </a:lnTo>
                  <a:cubicBezTo>
                    <a:pt x="42577" y="18764"/>
                    <a:pt x="43339" y="29718"/>
                    <a:pt x="44958" y="40577"/>
                  </a:cubicBezTo>
                  <a:cubicBezTo>
                    <a:pt x="45053" y="41529"/>
                    <a:pt x="45148" y="42482"/>
                    <a:pt x="45244" y="43339"/>
                  </a:cubicBezTo>
                  <a:lnTo>
                    <a:pt x="45148" y="57626"/>
                  </a:lnTo>
                  <a:cubicBezTo>
                    <a:pt x="46291" y="56293"/>
                    <a:pt x="47435" y="54959"/>
                    <a:pt x="48292" y="53721"/>
                  </a:cubicBezTo>
                  <a:cubicBezTo>
                    <a:pt x="51530" y="48959"/>
                    <a:pt x="53245" y="45434"/>
                    <a:pt x="54197" y="45148"/>
                  </a:cubicBezTo>
                  <a:cubicBezTo>
                    <a:pt x="55436" y="44672"/>
                    <a:pt x="54197" y="48387"/>
                    <a:pt x="52007" y="55150"/>
                  </a:cubicBezTo>
                  <a:cubicBezTo>
                    <a:pt x="51244" y="58198"/>
                    <a:pt x="50292" y="61722"/>
                    <a:pt x="48768" y="65437"/>
                  </a:cubicBezTo>
                  <a:cubicBezTo>
                    <a:pt x="47815" y="68485"/>
                    <a:pt x="46768" y="72009"/>
                    <a:pt x="45530" y="75724"/>
                  </a:cubicBezTo>
                  <a:cubicBezTo>
                    <a:pt x="45339" y="76295"/>
                    <a:pt x="45148" y="76962"/>
                    <a:pt x="44958" y="77629"/>
                  </a:cubicBezTo>
                  <a:lnTo>
                    <a:pt x="44958" y="97822"/>
                  </a:lnTo>
                  <a:cubicBezTo>
                    <a:pt x="45434" y="104299"/>
                    <a:pt x="45911" y="110300"/>
                    <a:pt x="46291" y="116110"/>
                  </a:cubicBezTo>
                  <a:cubicBezTo>
                    <a:pt x="51149" y="182690"/>
                    <a:pt x="50863" y="207740"/>
                    <a:pt x="45339" y="282416"/>
                  </a:cubicBezTo>
                  <a:lnTo>
                    <a:pt x="0" y="30508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199654C4-F38B-C542-BCDD-A58BCA0135AD}"/>
                </a:ext>
              </a:extLst>
            </p:cNvPr>
            <p:cNvSpPr/>
            <p:nvPr/>
          </p:nvSpPr>
          <p:spPr>
            <a:xfrm>
              <a:off x="5876629" y="4331488"/>
              <a:ext cx="23081" cy="20023"/>
            </a:xfrm>
            <a:custGeom>
              <a:avLst/>
              <a:gdLst>
                <a:gd name="connsiteX0" fmla="*/ 0 w 15811"/>
                <a:gd name="connsiteY0" fmla="*/ 13716 h 13716"/>
                <a:gd name="connsiteX1" fmla="*/ 6191 w 15811"/>
                <a:gd name="connsiteY1" fmla="*/ 6096 h 13716"/>
                <a:gd name="connsiteX2" fmla="*/ 15811 w 15811"/>
                <a:gd name="connsiteY2" fmla="*/ 2477 h 13716"/>
                <a:gd name="connsiteX3" fmla="*/ 2191 w 15811"/>
                <a:gd name="connsiteY3" fmla="*/ 0 h 13716"/>
                <a:gd name="connsiteX4" fmla="*/ 1238 w 15811"/>
                <a:gd name="connsiteY4" fmla="*/ 4286 h 13716"/>
                <a:gd name="connsiteX5" fmla="*/ 0 w 15811"/>
                <a:gd name="connsiteY5" fmla="*/ 13716 h 13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13716">
                  <a:moveTo>
                    <a:pt x="0" y="13716"/>
                  </a:moveTo>
                  <a:lnTo>
                    <a:pt x="6191" y="6096"/>
                  </a:lnTo>
                  <a:cubicBezTo>
                    <a:pt x="9430" y="5143"/>
                    <a:pt x="12573" y="3905"/>
                    <a:pt x="15811" y="2477"/>
                  </a:cubicBezTo>
                  <a:lnTo>
                    <a:pt x="2191" y="0"/>
                  </a:lnTo>
                  <a:cubicBezTo>
                    <a:pt x="1810" y="1429"/>
                    <a:pt x="1429" y="2858"/>
                    <a:pt x="1238" y="4286"/>
                  </a:cubicBezTo>
                  <a:cubicBezTo>
                    <a:pt x="762" y="7239"/>
                    <a:pt x="191" y="10573"/>
                    <a:pt x="0" y="13716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C3BD717E-D158-DE2F-93D2-25B1057F463E}"/>
                </a:ext>
              </a:extLst>
            </p:cNvPr>
            <p:cNvSpPr/>
            <p:nvPr/>
          </p:nvSpPr>
          <p:spPr>
            <a:xfrm>
              <a:off x="5879966" y="4370839"/>
              <a:ext cx="95942" cy="60339"/>
            </a:xfrm>
            <a:custGeom>
              <a:avLst/>
              <a:gdLst>
                <a:gd name="connsiteX0" fmla="*/ 32956 w 65722"/>
                <a:gd name="connsiteY0" fmla="*/ 572 h 41333"/>
                <a:gd name="connsiteX1" fmla="*/ 28194 w 65722"/>
                <a:gd name="connsiteY1" fmla="*/ 0 h 41333"/>
                <a:gd name="connsiteX2" fmla="*/ 15621 w 65722"/>
                <a:gd name="connsiteY2" fmla="*/ 2000 h 41333"/>
                <a:gd name="connsiteX3" fmla="*/ 7620 w 65722"/>
                <a:gd name="connsiteY3" fmla="*/ 5715 h 41333"/>
                <a:gd name="connsiteX4" fmla="*/ 3048 w 65722"/>
                <a:gd name="connsiteY4" fmla="*/ 13049 h 41333"/>
                <a:gd name="connsiteX5" fmla="*/ 0 w 65722"/>
                <a:gd name="connsiteY5" fmla="*/ 2477 h 41333"/>
                <a:gd name="connsiteX6" fmla="*/ 1238 w 65722"/>
                <a:gd name="connsiteY6" fmla="*/ 9049 h 41333"/>
                <a:gd name="connsiteX7" fmla="*/ 5905 w 65722"/>
                <a:gd name="connsiteY7" fmla="*/ 18383 h 41333"/>
                <a:gd name="connsiteX8" fmla="*/ 11620 w 65722"/>
                <a:gd name="connsiteY8" fmla="*/ 27146 h 41333"/>
                <a:gd name="connsiteX9" fmla="*/ 18574 w 65722"/>
                <a:gd name="connsiteY9" fmla="*/ 34957 h 41333"/>
                <a:gd name="connsiteX10" fmla="*/ 28003 w 65722"/>
                <a:gd name="connsiteY10" fmla="*/ 39243 h 41333"/>
                <a:gd name="connsiteX11" fmla="*/ 37909 w 65722"/>
                <a:gd name="connsiteY11" fmla="*/ 41243 h 41333"/>
                <a:gd name="connsiteX12" fmla="*/ 48292 w 65722"/>
                <a:gd name="connsiteY12" fmla="*/ 40481 h 41333"/>
                <a:gd name="connsiteX13" fmla="*/ 57245 w 65722"/>
                <a:gd name="connsiteY13" fmla="*/ 34957 h 41333"/>
                <a:gd name="connsiteX14" fmla="*/ 64675 w 65722"/>
                <a:gd name="connsiteY14" fmla="*/ 27432 h 41333"/>
                <a:gd name="connsiteX15" fmla="*/ 65722 w 65722"/>
                <a:gd name="connsiteY15" fmla="*/ 26194 h 41333"/>
                <a:gd name="connsiteX16" fmla="*/ 40005 w 65722"/>
                <a:gd name="connsiteY16" fmla="*/ 11335 h 41333"/>
                <a:gd name="connsiteX17" fmla="*/ 32956 w 65722"/>
                <a:gd name="connsiteY17" fmla="*/ 572 h 4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5722" h="41333">
                  <a:moveTo>
                    <a:pt x="32956" y="572"/>
                  </a:moveTo>
                  <a:cubicBezTo>
                    <a:pt x="31432" y="0"/>
                    <a:pt x="29813" y="0"/>
                    <a:pt x="28194" y="0"/>
                  </a:cubicBezTo>
                  <a:cubicBezTo>
                    <a:pt x="23908" y="95"/>
                    <a:pt x="19717" y="762"/>
                    <a:pt x="15621" y="2000"/>
                  </a:cubicBezTo>
                  <a:cubicBezTo>
                    <a:pt x="12764" y="2858"/>
                    <a:pt x="10001" y="3905"/>
                    <a:pt x="7620" y="5715"/>
                  </a:cubicBezTo>
                  <a:cubicBezTo>
                    <a:pt x="5239" y="7525"/>
                    <a:pt x="3429" y="10097"/>
                    <a:pt x="3048" y="13049"/>
                  </a:cubicBezTo>
                  <a:lnTo>
                    <a:pt x="0" y="2477"/>
                  </a:lnTo>
                  <a:cubicBezTo>
                    <a:pt x="191" y="4763"/>
                    <a:pt x="381" y="6953"/>
                    <a:pt x="1238" y="9049"/>
                  </a:cubicBezTo>
                  <a:cubicBezTo>
                    <a:pt x="2191" y="12573"/>
                    <a:pt x="4477" y="15335"/>
                    <a:pt x="5905" y="18383"/>
                  </a:cubicBezTo>
                  <a:cubicBezTo>
                    <a:pt x="7429" y="21622"/>
                    <a:pt x="9334" y="24670"/>
                    <a:pt x="11620" y="27146"/>
                  </a:cubicBezTo>
                  <a:cubicBezTo>
                    <a:pt x="13811" y="30194"/>
                    <a:pt x="16097" y="32671"/>
                    <a:pt x="18574" y="34957"/>
                  </a:cubicBezTo>
                  <a:cubicBezTo>
                    <a:pt x="21526" y="36957"/>
                    <a:pt x="24765" y="38195"/>
                    <a:pt x="28003" y="39243"/>
                  </a:cubicBezTo>
                  <a:cubicBezTo>
                    <a:pt x="31242" y="40481"/>
                    <a:pt x="34480" y="41243"/>
                    <a:pt x="37909" y="41243"/>
                  </a:cubicBezTo>
                  <a:cubicBezTo>
                    <a:pt x="41624" y="41243"/>
                    <a:pt x="45053" y="41720"/>
                    <a:pt x="48292" y="40481"/>
                  </a:cubicBezTo>
                  <a:cubicBezTo>
                    <a:pt x="51530" y="39243"/>
                    <a:pt x="54483" y="36957"/>
                    <a:pt x="57245" y="34957"/>
                  </a:cubicBezTo>
                  <a:cubicBezTo>
                    <a:pt x="60007" y="32671"/>
                    <a:pt x="62484" y="30480"/>
                    <a:pt x="64675" y="27432"/>
                  </a:cubicBezTo>
                  <a:cubicBezTo>
                    <a:pt x="65056" y="27051"/>
                    <a:pt x="65341" y="26575"/>
                    <a:pt x="65722" y="26194"/>
                  </a:cubicBezTo>
                  <a:lnTo>
                    <a:pt x="40005" y="11335"/>
                  </a:lnTo>
                  <a:cubicBezTo>
                    <a:pt x="38672" y="6953"/>
                    <a:pt x="37052" y="2096"/>
                    <a:pt x="32956" y="57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F00B735F-C662-09CD-225B-A5B89E19F089}"/>
                </a:ext>
              </a:extLst>
            </p:cNvPr>
            <p:cNvSpPr/>
            <p:nvPr/>
          </p:nvSpPr>
          <p:spPr>
            <a:xfrm>
              <a:off x="5911808" y="4920913"/>
              <a:ext cx="108873" cy="77562"/>
            </a:xfrm>
            <a:custGeom>
              <a:avLst/>
              <a:gdLst>
                <a:gd name="connsiteX0" fmla="*/ 4096 w 74580"/>
                <a:gd name="connsiteY0" fmla="*/ 21431 h 53131"/>
                <a:gd name="connsiteX1" fmla="*/ 9811 w 74580"/>
                <a:gd name="connsiteY1" fmla="*/ 31242 h 53131"/>
                <a:gd name="connsiteX2" fmla="*/ 16954 w 74580"/>
                <a:gd name="connsiteY2" fmla="*/ 39815 h 53131"/>
                <a:gd name="connsiteX3" fmla="*/ 24860 w 74580"/>
                <a:gd name="connsiteY3" fmla="*/ 47816 h 53131"/>
                <a:gd name="connsiteX4" fmla="*/ 35243 w 74580"/>
                <a:gd name="connsiteY4" fmla="*/ 52578 h 53131"/>
                <a:gd name="connsiteX5" fmla="*/ 46672 w 74580"/>
                <a:gd name="connsiteY5" fmla="*/ 52864 h 53131"/>
                <a:gd name="connsiteX6" fmla="*/ 57817 w 74580"/>
                <a:gd name="connsiteY6" fmla="*/ 51816 h 53131"/>
                <a:gd name="connsiteX7" fmla="*/ 68008 w 74580"/>
                <a:gd name="connsiteY7" fmla="*/ 47339 h 53131"/>
                <a:gd name="connsiteX8" fmla="*/ 74581 w 74580"/>
                <a:gd name="connsiteY8" fmla="*/ 42481 h 53131"/>
                <a:gd name="connsiteX9" fmla="*/ 64008 w 74580"/>
                <a:gd name="connsiteY9" fmla="*/ 17526 h 53131"/>
                <a:gd name="connsiteX10" fmla="*/ 59626 w 74580"/>
                <a:gd name="connsiteY10" fmla="*/ 20288 h 53131"/>
                <a:gd name="connsiteX11" fmla="*/ 50197 w 74580"/>
                <a:gd name="connsiteY11" fmla="*/ 25336 h 53131"/>
                <a:gd name="connsiteX12" fmla="*/ 40291 w 74580"/>
                <a:gd name="connsiteY12" fmla="*/ 28384 h 53131"/>
                <a:gd name="connsiteX13" fmla="*/ 29623 w 74580"/>
                <a:gd name="connsiteY13" fmla="*/ 28384 h 53131"/>
                <a:gd name="connsiteX14" fmla="*/ 19717 w 74580"/>
                <a:gd name="connsiteY14" fmla="*/ 24384 h 53131"/>
                <a:gd name="connsiteX15" fmla="*/ 11335 w 74580"/>
                <a:gd name="connsiteY15" fmla="*/ 17812 h 53131"/>
                <a:gd name="connsiteX16" fmla="*/ 5620 w 74580"/>
                <a:gd name="connsiteY16" fmla="*/ 8477 h 53131"/>
                <a:gd name="connsiteX17" fmla="*/ 0 w 74580"/>
                <a:gd name="connsiteY17" fmla="*/ 0 h 53131"/>
                <a:gd name="connsiteX18" fmla="*/ 1619 w 74580"/>
                <a:gd name="connsiteY18" fmla="*/ 10478 h 53131"/>
                <a:gd name="connsiteX19" fmla="*/ 4096 w 74580"/>
                <a:gd name="connsiteY19" fmla="*/ 21431 h 5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580" h="53131">
                  <a:moveTo>
                    <a:pt x="4096" y="21431"/>
                  </a:moveTo>
                  <a:cubicBezTo>
                    <a:pt x="5334" y="25241"/>
                    <a:pt x="7810" y="28194"/>
                    <a:pt x="9811" y="31242"/>
                  </a:cubicBezTo>
                  <a:cubicBezTo>
                    <a:pt x="11811" y="34480"/>
                    <a:pt x="14287" y="37243"/>
                    <a:pt x="16954" y="39815"/>
                  </a:cubicBezTo>
                  <a:cubicBezTo>
                    <a:pt x="19717" y="42577"/>
                    <a:pt x="21907" y="45815"/>
                    <a:pt x="24860" y="47816"/>
                  </a:cubicBezTo>
                  <a:cubicBezTo>
                    <a:pt x="28099" y="49816"/>
                    <a:pt x="31814" y="51626"/>
                    <a:pt x="35243" y="52578"/>
                  </a:cubicBezTo>
                  <a:cubicBezTo>
                    <a:pt x="38957" y="53626"/>
                    <a:pt x="42672" y="52864"/>
                    <a:pt x="46672" y="52864"/>
                  </a:cubicBezTo>
                  <a:cubicBezTo>
                    <a:pt x="50387" y="52864"/>
                    <a:pt x="54102" y="52864"/>
                    <a:pt x="57817" y="51816"/>
                  </a:cubicBezTo>
                  <a:cubicBezTo>
                    <a:pt x="61246" y="50768"/>
                    <a:pt x="64770" y="49340"/>
                    <a:pt x="68008" y="47339"/>
                  </a:cubicBezTo>
                  <a:cubicBezTo>
                    <a:pt x="70295" y="46101"/>
                    <a:pt x="72485" y="44291"/>
                    <a:pt x="74581" y="42481"/>
                  </a:cubicBezTo>
                  <a:lnTo>
                    <a:pt x="64008" y="17526"/>
                  </a:lnTo>
                  <a:cubicBezTo>
                    <a:pt x="62579" y="18383"/>
                    <a:pt x="61151" y="19241"/>
                    <a:pt x="59626" y="20288"/>
                  </a:cubicBezTo>
                  <a:cubicBezTo>
                    <a:pt x="56674" y="22003"/>
                    <a:pt x="53721" y="23813"/>
                    <a:pt x="50197" y="25336"/>
                  </a:cubicBezTo>
                  <a:cubicBezTo>
                    <a:pt x="46958" y="26575"/>
                    <a:pt x="43720" y="28099"/>
                    <a:pt x="40291" y="28384"/>
                  </a:cubicBezTo>
                  <a:cubicBezTo>
                    <a:pt x="36862" y="28861"/>
                    <a:pt x="33147" y="29147"/>
                    <a:pt x="29623" y="28384"/>
                  </a:cubicBezTo>
                  <a:cubicBezTo>
                    <a:pt x="26384" y="27623"/>
                    <a:pt x="22955" y="26384"/>
                    <a:pt x="19717" y="24384"/>
                  </a:cubicBezTo>
                  <a:cubicBezTo>
                    <a:pt x="16954" y="22670"/>
                    <a:pt x="14002" y="20574"/>
                    <a:pt x="11335" y="17812"/>
                  </a:cubicBezTo>
                  <a:cubicBezTo>
                    <a:pt x="9144" y="15335"/>
                    <a:pt x="7906" y="11811"/>
                    <a:pt x="5620" y="8477"/>
                  </a:cubicBezTo>
                  <a:cubicBezTo>
                    <a:pt x="4000" y="5905"/>
                    <a:pt x="1714" y="3239"/>
                    <a:pt x="0" y="0"/>
                  </a:cubicBezTo>
                  <a:cubicBezTo>
                    <a:pt x="95" y="3715"/>
                    <a:pt x="952" y="7239"/>
                    <a:pt x="1619" y="10478"/>
                  </a:cubicBezTo>
                  <a:cubicBezTo>
                    <a:pt x="2381" y="14192"/>
                    <a:pt x="2572" y="17907"/>
                    <a:pt x="4096" y="214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26750ED4-63CD-A706-65F0-122CA2C82FFD}"/>
                </a:ext>
              </a:extLst>
            </p:cNvPr>
            <p:cNvSpPr/>
            <p:nvPr/>
          </p:nvSpPr>
          <p:spPr>
            <a:xfrm>
              <a:off x="5947125" y="4843602"/>
              <a:ext cx="99697" cy="103034"/>
            </a:xfrm>
            <a:custGeom>
              <a:avLst/>
              <a:gdLst>
                <a:gd name="connsiteX0" fmla="*/ 47530 w 68294"/>
                <a:gd name="connsiteY0" fmla="*/ 42577 h 70580"/>
                <a:gd name="connsiteX1" fmla="*/ 40386 w 68294"/>
                <a:gd name="connsiteY1" fmla="*/ 34576 h 70580"/>
                <a:gd name="connsiteX2" fmla="*/ 34481 w 68294"/>
                <a:gd name="connsiteY2" fmla="*/ 25813 h 70580"/>
                <a:gd name="connsiteX3" fmla="*/ 28004 w 68294"/>
                <a:gd name="connsiteY3" fmla="*/ 17050 h 70580"/>
                <a:gd name="connsiteX4" fmla="*/ 21527 w 68294"/>
                <a:gd name="connsiteY4" fmla="*/ 8763 h 70580"/>
                <a:gd name="connsiteX5" fmla="*/ 15335 w 68294"/>
                <a:gd name="connsiteY5" fmla="*/ 0 h 70580"/>
                <a:gd name="connsiteX6" fmla="*/ 4191 w 68294"/>
                <a:gd name="connsiteY6" fmla="*/ 21336 h 70580"/>
                <a:gd name="connsiteX7" fmla="*/ 0 w 68294"/>
                <a:gd name="connsiteY7" fmla="*/ 30385 h 70580"/>
                <a:gd name="connsiteX8" fmla="*/ 17335 w 68294"/>
                <a:gd name="connsiteY8" fmla="*/ 36385 h 70580"/>
                <a:gd name="connsiteX9" fmla="*/ 21527 w 68294"/>
                <a:gd name="connsiteY9" fmla="*/ 27622 h 70580"/>
                <a:gd name="connsiteX10" fmla="*/ 39719 w 68294"/>
                <a:gd name="connsiteY10" fmla="*/ 70580 h 70580"/>
                <a:gd name="connsiteX11" fmla="*/ 44291 w 68294"/>
                <a:gd name="connsiteY11" fmla="*/ 67532 h 70580"/>
                <a:gd name="connsiteX12" fmla="*/ 52006 w 68294"/>
                <a:gd name="connsiteY12" fmla="*/ 60293 h 70580"/>
                <a:gd name="connsiteX13" fmla="*/ 68294 w 68294"/>
                <a:gd name="connsiteY13" fmla="*/ 57817 h 70580"/>
                <a:gd name="connsiteX14" fmla="*/ 68294 w 68294"/>
                <a:gd name="connsiteY14" fmla="*/ 57817 h 70580"/>
                <a:gd name="connsiteX15" fmla="*/ 57245 w 68294"/>
                <a:gd name="connsiteY15" fmla="*/ 51530 h 70580"/>
                <a:gd name="connsiteX16" fmla="*/ 47530 w 68294"/>
                <a:gd name="connsiteY16" fmla="*/ 42577 h 7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294" h="70580">
                  <a:moveTo>
                    <a:pt x="47530" y="42577"/>
                  </a:moveTo>
                  <a:cubicBezTo>
                    <a:pt x="45815" y="40576"/>
                    <a:pt x="43053" y="38100"/>
                    <a:pt x="40386" y="34576"/>
                  </a:cubicBezTo>
                  <a:cubicBezTo>
                    <a:pt x="38386" y="32099"/>
                    <a:pt x="36671" y="28765"/>
                    <a:pt x="34481" y="25813"/>
                  </a:cubicBezTo>
                  <a:cubicBezTo>
                    <a:pt x="32290" y="23050"/>
                    <a:pt x="30290" y="19812"/>
                    <a:pt x="28004" y="17050"/>
                  </a:cubicBezTo>
                  <a:cubicBezTo>
                    <a:pt x="25813" y="14002"/>
                    <a:pt x="23527" y="11239"/>
                    <a:pt x="21527" y="8763"/>
                  </a:cubicBezTo>
                  <a:cubicBezTo>
                    <a:pt x="17812" y="3524"/>
                    <a:pt x="18574" y="4286"/>
                    <a:pt x="15335" y="0"/>
                  </a:cubicBezTo>
                  <a:lnTo>
                    <a:pt x="4191" y="21336"/>
                  </a:lnTo>
                  <a:cubicBezTo>
                    <a:pt x="2477" y="26098"/>
                    <a:pt x="1429" y="25813"/>
                    <a:pt x="0" y="30385"/>
                  </a:cubicBezTo>
                  <a:lnTo>
                    <a:pt x="17335" y="36385"/>
                  </a:lnTo>
                  <a:cubicBezTo>
                    <a:pt x="18860" y="31909"/>
                    <a:pt x="19812" y="32099"/>
                    <a:pt x="21527" y="27622"/>
                  </a:cubicBezTo>
                  <a:lnTo>
                    <a:pt x="39719" y="70580"/>
                  </a:lnTo>
                  <a:cubicBezTo>
                    <a:pt x="41339" y="69628"/>
                    <a:pt x="42958" y="68675"/>
                    <a:pt x="44291" y="67532"/>
                  </a:cubicBezTo>
                  <a:cubicBezTo>
                    <a:pt x="49244" y="63532"/>
                    <a:pt x="48292" y="64008"/>
                    <a:pt x="52006" y="60293"/>
                  </a:cubicBezTo>
                  <a:lnTo>
                    <a:pt x="68294" y="57817"/>
                  </a:lnTo>
                  <a:cubicBezTo>
                    <a:pt x="68294" y="57817"/>
                    <a:pt x="68294" y="57817"/>
                    <a:pt x="68294" y="57817"/>
                  </a:cubicBezTo>
                  <a:cubicBezTo>
                    <a:pt x="62675" y="54864"/>
                    <a:pt x="63151" y="55816"/>
                    <a:pt x="57245" y="51530"/>
                  </a:cubicBezTo>
                  <a:cubicBezTo>
                    <a:pt x="54007" y="48768"/>
                    <a:pt x="50768" y="45815"/>
                    <a:pt x="47530" y="4257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169F3DDC-1CA3-9767-87B9-AE40C0EABFC0}"/>
                </a:ext>
              </a:extLst>
            </p:cNvPr>
            <p:cNvSpPr/>
            <p:nvPr/>
          </p:nvSpPr>
          <p:spPr>
            <a:xfrm>
              <a:off x="5573366" y="4392062"/>
              <a:ext cx="126672" cy="155090"/>
            </a:xfrm>
            <a:custGeom>
              <a:avLst/>
              <a:gdLst>
                <a:gd name="connsiteX0" fmla="*/ 85820 w 86772"/>
                <a:gd name="connsiteY0" fmla="*/ 45851 h 106239"/>
                <a:gd name="connsiteX1" fmla="*/ 85058 w 86772"/>
                <a:gd name="connsiteY1" fmla="*/ 42231 h 106239"/>
                <a:gd name="connsiteX2" fmla="*/ 82296 w 86772"/>
                <a:gd name="connsiteY2" fmla="*/ 31659 h 106239"/>
                <a:gd name="connsiteX3" fmla="*/ 78867 w 86772"/>
                <a:gd name="connsiteY3" fmla="*/ 21086 h 106239"/>
                <a:gd name="connsiteX4" fmla="*/ 71723 w 86772"/>
                <a:gd name="connsiteY4" fmla="*/ 12799 h 106239"/>
                <a:gd name="connsiteX5" fmla="*/ 63341 w 86772"/>
                <a:gd name="connsiteY5" fmla="*/ 6036 h 106239"/>
                <a:gd name="connsiteX6" fmla="*/ 53721 w 86772"/>
                <a:gd name="connsiteY6" fmla="*/ 1560 h 106239"/>
                <a:gd name="connsiteX7" fmla="*/ 43339 w 86772"/>
                <a:gd name="connsiteY7" fmla="*/ 36 h 106239"/>
                <a:gd name="connsiteX8" fmla="*/ 32671 w 86772"/>
                <a:gd name="connsiteY8" fmla="*/ 798 h 106239"/>
                <a:gd name="connsiteX9" fmla="*/ 22765 w 86772"/>
                <a:gd name="connsiteY9" fmla="*/ 5560 h 106239"/>
                <a:gd name="connsiteX10" fmla="*/ 14573 w 86772"/>
                <a:gd name="connsiteY10" fmla="*/ 12799 h 106239"/>
                <a:gd name="connsiteX11" fmla="*/ 8668 w 86772"/>
                <a:gd name="connsiteY11" fmla="*/ 21848 h 106239"/>
                <a:gd name="connsiteX12" fmla="*/ 4000 w 86772"/>
                <a:gd name="connsiteY12" fmla="*/ 31659 h 106239"/>
                <a:gd name="connsiteX13" fmla="*/ 1238 w 86772"/>
                <a:gd name="connsiteY13" fmla="*/ 42231 h 106239"/>
                <a:gd name="connsiteX14" fmla="*/ 0 w 86772"/>
                <a:gd name="connsiteY14" fmla="*/ 52995 h 106239"/>
                <a:gd name="connsiteX15" fmla="*/ 1238 w 86772"/>
                <a:gd name="connsiteY15" fmla="*/ 64044 h 106239"/>
                <a:gd name="connsiteX16" fmla="*/ 3429 w 86772"/>
                <a:gd name="connsiteY16" fmla="*/ 74807 h 106239"/>
                <a:gd name="connsiteX17" fmla="*/ 8096 w 86772"/>
                <a:gd name="connsiteY17" fmla="*/ 84618 h 106239"/>
                <a:gd name="connsiteX18" fmla="*/ 15240 w 86772"/>
                <a:gd name="connsiteY18" fmla="*/ 92904 h 106239"/>
                <a:gd name="connsiteX19" fmla="*/ 19336 w 86772"/>
                <a:gd name="connsiteY19" fmla="*/ 97095 h 106239"/>
                <a:gd name="connsiteX20" fmla="*/ 23146 w 86772"/>
                <a:gd name="connsiteY20" fmla="*/ 100239 h 106239"/>
                <a:gd name="connsiteX21" fmla="*/ 32575 w 86772"/>
                <a:gd name="connsiteY21" fmla="*/ 105001 h 106239"/>
                <a:gd name="connsiteX22" fmla="*/ 43243 w 86772"/>
                <a:gd name="connsiteY22" fmla="*/ 106239 h 106239"/>
                <a:gd name="connsiteX23" fmla="*/ 53626 w 86772"/>
                <a:gd name="connsiteY23" fmla="*/ 104715 h 106239"/>
                <a:gd name="connsiteX24" fmla="*/ 63532 w 86772"/>
                <a:gd name="connsiteY24" fmla="*/ 100429 h 106239"/>
                <a:gd name="connsiteX25" fmla="*/ 71438 w 86772"/>
                <a:gd name="connsiteY25" fmla="*/ 93190 h 106239"/>
                <a:gd name="connsiteX26" fmla="*/ 77629 w 86772"/>
                <a:gd name="connsiteY26" fmla="*/ 84141 h 106239"/>
                <a:gd name="connsiteX27" fmla="*/ 81820 w 86772"/>
                <a:gd name="connsiteY27" fmla="*/ 74331 h 106239"/>
                <a:gd name="connsiteX28" fmla="*/ 86011 w 86772"/>
                <a:gd name="connsiteY28" fmla="*/ 64044 h 106239"/>
                <a:gd name="connsiteX29" fmla="*/ 86773 w 86772"/>
                <a:gd name="connsiteY29" fmla="*/ 52995 h 106239"/>
                <a:gd name="connsiteX30" fmla="*/ 85820 w 86772"/>
                <a:gd name="connsiteY30" fmla="*/ 45851 h 10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6772" h="106239">
                  <a:moveTo>
                    <a:pt x="85820" y="45851"/>
                  </a:moveTo>
                  <a:cubicBezTo>
                    <a:pt x="85534" y="44613"/>
                    <a:pt x="85249" y="43470"/>
                    <a:pt x="85058" y="42231"/>
                  </a:cubicBezTo>
                  <a:cubicBezTo>
                    <a:pt x="84582" y="38421"/>
                    <a:pt x="83534" y="34992"/>
                    <a:pt x="82296" y="31659"/>
                  </a:cubicBezTo>
                  <a:cubicBezTo>
                    <a:pt x="81343" y="28134"/>
                    <a:pt x="80581" y="24420"/>
                    <a:pt x="78867" y="21086"/>
                  </a:cubicBezTo>
                  <a:cubicBezTo>
                    <a:pt x="76867" y="17847"/>
                    <a:pt x="74200" y="15276"/>
                    <a:pt x="71723" y="12799"/>
                  </a:cubicBezTo>
                  <a:cubicBezTo>
                    <a:pt x="69247" y="10037"/>
                    <a:pt x="66294" y="8037"/>
                    <a:pt x="63341" y="6036"/>
                  </a:cubicBezTo>
                  <a:cubicBezTo>
                    <a:pt x="60389" y="4036"/>
                    <a:pt x="57150" y="2512"/>
                    <a:pt x="53721" y="1560"/>
                  </a:cubicBezTo>
                  <a:cubicBezTo>
                    <a:pt x="50292" y="512"/>
                    <a:pt x="47053" y="36"/>
                    <a:pt x="43339" y="36"/>
                  </a:cubicBezTo>
                  <a:cubicBezTo>
                    <a:pt x="39624" y="36"/>
                    <a:pt x="35909" y="-250"/>
                    <a:pt x="32671" y="798"/>
                  </a:cubicBezTo>
                  <a:cubicBezTo>
                    <a:pt x="29242" y="1845"/>
                    <a:pt x="25717" y="3560"/>
                    <a:pt x="22765" y="5560"/>
                  </a:cubicBezTo>
                  <a:cubicBezTo>
                    <a:pt x="19812" y="7560"/>
                    <a:pt x="17050" y="10037"/>
                    <a:pt x="14573" y="12799"/>
                  </a:cubicBezTo>
                  <a:cubicBezTo>
                    <a:pt x="12382" y="15276"/>
                    <a:pt x="10382" y="18609"/>
                    <a:pt x="8668" y="21848"/>
                  </a:cubicBezTo>
                  <a:cubicBezTo>
                    <a:pt x="6953" y="24896"/>
                    <a:pt x="5239" y="28134"/>
                    <a:pt x="4000" y="31659"/>
                  </a:cubicBezTo>
                  <a:cubicBezTo>
                    <a:pt x="2762" y="34897"/>
                    <a:pt x="2000" y="38421"/>
                    <a:pt x="1238" y="42231"/>
                  </a:cubicBezTo>
                  <a:cubicBezTo>
                    <a:pt x="762" y="45756"/>
                    <a:pt x="0" y="49280"/>
                    <a:pt x="0" y="52995"/>
                  </a:cubicBezTo>
                  <a:cubicBezTo>
                    <a:pt x="0" y="56709"/>
                    <a:pt x="476" y="60519"/>
                    <a:pt x="1238" y="64044"/>
                  </a:cubicBezTo>
                  <a:cubicBezTo>
                    <a:pt x="1715" y="67854"/>
                    <a:pt x="2191" y="71283"/>
                    <a:pt x="3429" y="74807"/>
                  </a:cubicBezTo>
                  <a:cubicBezTo>
                    <a:pt x="4667" y="78331"/>
                    <a:pt x="6382" y="81570"/>
                    <a:pt x="8096" y="84618"/>
                  </a:cubicBezTo>
                  <a:cubicBezTo>
                    <a:pt x="10096" y="87856"/>
                    <a:pt x="12764" y="90142"/>
                    <a:pt x="15240" y="92904"/>
                  </a:cubicBezTo>
                  <a:cubicBezTo>
                    <a:pt x="16573" y="94428"/>
                    <a:pt x="17907" y="95762"/>
                    <a:pt x="19336" y="97095"/>
                  </a:cubicBezTo>
                  <a:cubicBezTo>
                    <a:pt x="20574" y="98238"/>
                    <a:pt x="21812" y="99286"/>
                    <a:pt x="23146" y="100239"/>
                  </a:cubicBezTo>
                  <a:cubicBezTo>
                    <a:pt x="26098" y="102239"/>
                    <a:pt x="29051" y="104049"/>
                    <a:pt x="32575" y="105001"/>
                  </a:cubicBezTo>
                  <a:cubicBezTo>
                    <a:pt x="36004" y="106049"/>
                    <a:pt x="39529" y="106239"/>
                    <a:pt x="43243" y="106239"/>
                  </a:cubicBezTo>
                  <a:cubicBezTo>
                    <a:pt x="46958" y="106239"/>
                    <a:pt x="50197" y="105763"/>
                    <a:pt x="53626" y="104715"/>
                  </a:cubicBezTo>
                  <a:cubicBezTo>
                    <a:pt x="57055" y="103668"/>
                    <a:pt x="60579" y="102715"/>
                    <a:pt x="63532" y="100429"/>
                  </a:cubicBezTo>
                  <a:cubicBezTo>
                    <a:pt x="66484" y="98715"/>
                    <a:pt x="68961" y="95952"/>
                    <a:pt x="71438" y="93190"/>
                  </a:cubicBezTo>
                  <a:cubicBezTo>
                    <a:pt x="73914" y="90428"/>
                    <a:pt x="75628" y="87380"/>
                    <a:pt x="77629" y="84141"/>
                  </a:cubicBezTo>
                  <a:cubicBezTo>
                    <a:pt x="79343" y="81093"/>
                    <a:pt x="80581" y="77855"/>
                    <a:pt x="81820" y="74331"/>
                  </a:cubicBezTo>
                  <a:cubicBezTo>
                    <a:pt x="83058" y="71092"/>
                    <a:pt x="85534" y="67758"/>
                    <a:pt x="86011" y="64044"/>
                  </a:cubicBezTo>
                  <a:cubicBezTo>
                    <a:pt x="86487" y="60519"/>
                    <a:pt x="86773" y="56805"/>
                    <a:pt x="86773" y="52995"/>
                  </a:cubicBezTo>
                  <a:cubicBezTo>
                    <a:pt x="86773" y="50518"/>
                    <a:pt x="86392" y="48232"/>
                    <a:pt x="85820" y="4585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44A00E8F-FF89-D174-854C-DB8B275CF745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32385 w 39338"/>
                <a:gd name="connsiteY0" fmla="*/ 14478 h 62674"/>
                <a:gd name="connsiteX1" fmla="*/ 30766 w 39338"/>
                <a:gd name="connsiteY1" fmla="*/ 953 h 62674"/>
                <a:gd name="connsiteX2" fmla="*/ 30290 w 39338"/>
                <a:gd name="connsiteY2" fmla="*/ 191 h 62674"/>
                <a:gd name="connsiteX3" fmla="*/ 28099 w 39338"/>
                <a:gd name="connsiteY3" fmla="*/ 0 h 62674"/>
                <a:gd name="connsiteX4" fmla="*/ 0 w 39338"/>
                <a:gd name="connsiteY4" fmla="*/ 1238 h 62674"/>
                <a:gd name="connsiteX5" fmla="*/ 857 w 39338"/>
                <a:gd name="connsiteY5" fmla="*/ 1429 h 62674"/>
                <a:gd name="connsiteX6" fmla="*/ 2667 w 39338"/>
                <a:gd name="connsiteY6" fmla="*/ 33433 h 62674"/>
                <a:gd name="connsiteX7" fmla="*/ 5143 w 39338"/>
                <a:gd name="connsiteY7" fmla="*/ 47435 h 62674"/>
                <a:gd name="connsiteX8" fmla="*/ 7906 w 39338"/>
                <a:gd name="connsiteY8" fmla="*/ 62675 h 62674"/>
                <a:gd name="connsiteX9" fmla="*/ 39338 w 39338"/>
                <a:gd name="connsiteY9" fmla="*/ 61627 h 62674"/>
                <a:gd name="connsiteX10" fmla="*/ 32385 w 39338"/>
                <a:gd name="connsiteY10" fmla="*/ 14478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32385" y="14478"/>
                  </a:moveTo>
                  <a:cubicBezTo>
                    <a:pt x="31433" y="10001"/>
                    <a:pt x="29432" y="5429"/>
                    <a:pt x="30766" y="953"/>
                  </a:cubicBezTo>
                  <a:cubicBezTo>
                    <a:pt x="30861" y="667"/>
                    <a:pt x="30861" y="286"/>
                    <a:pt x="30290" y="191"/>
                  </a:cubicBezTo>
                  <a:cubicBezTo>
                    <a:pt x="29718" y="0"/>
                    <a:pt x="28861" y="0"/>
                    <a:pt x="28099" y="0"/>
                  </a:cubicBezTo>
                  <a:cubicBezTo>
                    <a:pt x="18764" y="476"/>
                    <a:pt x="9430" y="857"/>
                    <a:pt x="0" y="1238"/>
                  </a:cubicBezTo>
                  <a:lnTo>
                    <a:pt x="857" y="1429"/>
                  </a:lnTo>
                  <a:cubicBezTo>
                    <a:pt x="953" y="12097"/>
                    <a:pt x="1524" y="22765"/>
                    <a:pt x="2667" y="33433"/>
                  </a:cubicBezTo>
                  <a:cubicBezTo>
                    <a:pt x="3143" y="38100"/>
                    <a:pt x="3810" y="42767"/>
                    <a:pt x="5143" y="47435"/>
                  </a:cubicBezTo>
                  <a:cubicBezTo>
                    <a:pt x="6572" y="52483"/>
                    <a:pt x="8763" y="57626"/>
                    <a:pt x="7906" y="62675"/>
                  </a:cubicBezTo>
                  <a:cubicBezTo>
                    <a:pt x="18479" y="62389"/>
                    <a:pt x="28861" y="62103"/>
                    <a:pt x="39338" y="61627"/>
                  </a:cubicBezTo>
                  <a:cubicBezTo>
                    <a:pt x="28480" y="46292"/>
                    <a:pt x="36004" y="30194"/>
                    <a:pt x="32385" y="1447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3758B39F-1D07-D2FA-E616-B0373CB0AC14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32385 w 39338"/>
                <a:gd name="connsiteY0" fmla="*/ 22208 h 96503"/>
                <a:gd name="connsiteX1" fmla="*/ 30766 w 39338"/>
                <a:gd name="connsiteY1" fmla="*/ 1349 h 96503"/>
                <a:gd name="connsiteX2" fmla="*/ 30194 w 39338"/>
                <a:gd name="connsiteY2" fmla="*/ 206 h 96503"/>
                <a:gd name="connsiteX3" fmla="*/ 28099 w 39338"/>
                <a:gd name="connsiteY3" fmla="*/ 15 h 96503"/>
                <a:gd name="connsiteX4" fmla="*/ 0 w 39338"/>
                <a:gd name="connsiteY4" fmla="*/ 1825 h 96503"/>
                <a:gd name="connsiteX5" fmla="*/ 857 w 39338"/>
                <a:gd name="connsiteY5" fmla="*/ 2206 h 96503"/>
                <a:gd name="connsiteX6" fmla="*/ 2667 w 39338"/>
                <a:gd name="connsiteY6" fmla="*/ 51450 h 96503"/>
                <a:gd name="connsiteX7" fmla="*/ 5048 w 39338"/>
                <a:gd name="connsiteY7" fmla="*/ 72977 h 96503"/>
                <a:gd name="connsiteX8" fmla="*/ 7906 w 39338"/>
                <a:gd name="connsiteY8" fmla="*/ 96503 h 96503"/>
                <a:gd name="connsiteX9" fmla="*/ 39338 w 39338"/>
                <a:gd name="connsiteY9" fmla="*/ 94884 h 96503"/>
                <a:gd name="connsiteX10" fmla="*/ 32385 w 39338"/>
                <a:gd name="connsiteY10" fmla="*/ 22208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32385" y="22208"/>
                  </a:moveTo>
                  <a:cubicBezTo>
                    <a:pt x="31337" y="15255"/>
                    <a:pt x="29432" y="8302"/>
                    <a:pt x="30766" y="1349"/>
                  </a:cubicBezTo>
                  <a:cubicBezTo>
                    <a:pt x="30861" y="968"/>
                    <a:pt x="30861" y="491"/>
                    <a:pt x="30194" y="206"/>
                  </a:cubicBezTo>
                  <a:cubicBezTo>
                    <a:pt x="29718" y="-80"/>
                    <a:pt x="28861" y="15"/>
                    <a:pt x="28099" y="15"/>
                  </a:cubicBezTo>
                  <a:cubicBezTo>
                    <a:pt x="18764" y="587"/>
                    <a:pt x="9334" y="1158"/>
                    <a:pt x="0" y="1825"/>
                  </a:cubicBezTo>
                  <a:lnTo>
                    <a:pt x="857" y="2206"/>
                  </a:lnTo>
                  <a:cubicBezTo>
                    <a:pt x="953" y="18589"/>
                    <a:pt x="1524" y="35067"/>
                    <a:pt x="2667" y="51450"/>
                  </a:cubicBezTo>
                  <a:cubicBezTo>
                    <a:pt x="3143" y="58594"/>
                    <a:pt x="3810" y="65833"/>
                    <a:pt x="5048" y="72977"/>
                  </a:cubicBezTo>
                  <a:cubicBezTo>
                    <a:pt x="6477" y="80787"/>
                    <a:pt x="8763" y="88693"/>
                    <a:pt x="7906" y="96503"/>
                  </a:cubicBezTo>
                  <a:cubicBezTo>
                    <a:pt x="18383" y="96122"/>
                    <a:pt x="28861" y="95551"/>
                    <a:pt x="39338" y="94884"/>
                  </a:cubicBezTo>
                  <a:cubicBezTo>
                    <a:pt x="28480" y="71167"/>
                    <a:pt x="36004" y="46497"/>
                    <a:pt x="32385" y="2220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6A9946B8-4A59-D826-7378-DE48F72716E7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32480 w 39338"/>
                <a:gd name="connsiteY0" fmla="*/ 33613 h 145627"/>
                <a:gd name="connsiteX1" fmla="*/ 30766 w 39338"/>
                <a:gd name="connsiteY1" fmla="*/ 2085 h 145627"/>
                <a:gd name="connsiteX2" fmla="*/ 30290 w 39338"/>
                <a:gd name="connsiteY2" fmla="*/ 276 h 145627"/>
                <a:gd name="connsiteX3" fmla="*/ 28194 w 39338"/>
                <a:gd name="connsiteY3" fmla="*/ 85 h 145627"/>
                <a:gd name="connsiteX4" fmla="*/ 0 w 39338"/>
                <a:gd name="connsiteY4" fmla="*/ 2752 h 145627"/>
                <a:gd name="connsiteX5" fmla="*/ 953 w 39338"/>
                <a:gd name="connsiteY5" fmla="*/ 3324 h 145627"/>
                <a:gd name="connsiteX6" fmla="*/ 2667 w 39338"/>
                <a:gd name="connsiteY6" fmla="*/ 77619 h 145627"/>
                <a:gd name="connsiteX7" fmla="*/ 5143 w 39338"/>
                <a:gd name="connsiteY7" fmla="*/ 110099 h 145627"/>
                <a:gd name="connsiteX8" fmla="*/ 8001 w 39338"/>
                <a:gd name="connsiteY8" fmla="*/ 145627 h 145627"/>
                <a:gd name="connsiteX9" fmla="*/ 39338 w 39338"/>
                <a:gd name="connsiteY9" fmla="*/ 143151 h 145627"/>
                <a:gd name="connsiteX10" fmla="*/ 32480 w 39338"/>
                <a:gd name="connsiteY10" fmla="*/ 33613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32480" y="33613"/>
                  </a:moveTo>
                  <a:cubicBezTo>
                    <a:pt x="31432" y="23136"/>
                    <a:pt x="29432" y="12563"/>
                    <a:pt x="30766" y="2085"/>
                  </a:cubicBezTo>
                  <a:cubicBezTo>
                    <a:pt x="30861" y="1419"/>
                    <a:pt x="30956" y="657"/>
                    <a:pt x="30290" y="276"/>
                  </a:cubicBezTo>
                  <a:cubicBezTo>
                    <a:pt x="29718" y="-105"/>
                    <a:pt x="28861" y="-10"/>
                    <a:pt x="28194" y="85"/>
                  </a:cubicBezTo>
                  <a:cubicBezTo>
                    <a:pt x="18764" y="942"/>
                    <a:pt x="9430" y="1800"/>
                    <a:pt x="0" y="2752"/>
                  </a:cubicBezTo>
                  <a:lnTo>
                    <a:pt x="953" y="3324"/>
                  </a:lnTo>
                  <a:cubicBezTo>
                    <a:pt x="953" y="28089"/>
                    <a:pt x="1524" y="52854"/>
                    <a:pt x="2667" y="77619"/>
                  </a:cubicBezTo>
                  <a:cubicBezTo>
                    <a:pt x="3239" y="88477"/>
                    <a:pt x="3810" y="99336"/>
                    <a:pt x="5143" y="110099"/>
                  </a:cubicBezTo>
                  <a:cubicBezTo>
                    <a:pt x="6572" y="121910"/>
                    <a:pt x="8858" y="133816"/>
                    <a:pt x="8001" y="145627"/>
                  </a:cubicBezTo>
                  <a:cubicBezTo>
                    <a:pt x="18479" y="145056"/>
                    <a:pt x="28956" y="144198"/>
                    <a:pt x="39338" y="143151"/>
                  </a:cubicBezTo>
                  <a:cubicBezTo>
                    <a:pt x="28575" y="107432"/>
                    <a:pt x="36005" y="70094"/>
                    <a:pt x="32480" y="33613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C9C9C1CA-E0DB-5995-838D-B5117BD4095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32480 w 39338"/>
                <a:gd name="connsiteY0" fmla="*/ 44369 h 192292"/>
                <a:gd name="connsiteX1" fmla="*/ 30861 w 39338"/>
                <a:gd name="connsiteY1" fmla="*/ 2840 h 192292"/>
                <a:gd name="connsiteX2" fmla="*/ 30290 w 39338"/>
                <a:gd name="connsiteY2" fmla="*/ 364 h 192292"/>
                <a:gd name="connsiteX3" fmla="*/ 28194 w 39338"/>
                <a:gd name="connsiteY3" fmla="*/ 78 h 192292"/>
                <a:gd name="connsiteX4" fmla="*/ 0 w 39338"/>
                <a:gd name="connsiteY4" fmla="*/ 3602 h 192292"/>
                <a:gd name="connsiteX5" fmla="*/ 953 w 39338"/>
                <a:gd name="connsiteY5" fmla="*/ 4459 h 192292"/>
                <a:gd name="connsiteX6" fmla="*/ 2762 w 39338"/>
                <a:gd name="connsiteY6" fmla="*/ 102472 h 192292"/>
                <a:gd name="connsiteX7" fmla="*/ 5143 w 39338"/>
                <a:gd name="connsiteY7" fmla="*/ 145429 h 192292"/>
                <a:gd name="connsiteX8" fmla="*/ 8001 w 39338"/>
                <a:gd name="connsiteY8" fmla="*/ 192292 h 192292"/>
                <a:gd name="connsiteX9" fmla="*/ 39338 w 39338"/>
                <a:gd name="connsiteY9" fmla="*/ 189054 h 192292"/>
                <a:gd name="connsiteX10" fmla="*/ 32480 w 39338"/>
                <a:gd name="connsiteY10" fmla="*/ 44369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32480" y="44369"/>
                  </a:moveTo>
                  <a:cubicBezTo>
                    <a:pt x="31432" y="30558"/>
                    <a:pt x="29528" y="16651"/>
                    <a:pt x="30861" y="2840"/>
                  </a:cubicBezTo>
                  <a:cubicBezTo>
                    <a:pt x="30861" y="1983"/>
                    <a:pt x="30956" y="935"/>
                    <a:pt x="30290" y="364"/>
                  </a:cubicBezTo>
                  <a:cubicBezTo>
                    <a:pt x="29718" y="-113"/>
                    <a:pt x="28956" y="-17"/>
                    <a:pt x="28194" y="78"/>
                  </a:cubicBezTo>
                  <a:cubicBezTo>
                    <a:pt x="18764" y="1221"/>
                    <a:pt x="9430" y="2459"/>
                    <a:pt x="0" y="3602"/>
                  </a:cubicBezTo>
                  <a:lnTo>
                    <a:pt x="953" y="4459"/>
                  </a:lnTo>
                  <a:cubicBezTo>
                    <a:pt x="953" y="37130"/>
                    <a:pt x="1524" y="69801"/>
                    <a:pt x="2762" y="102472"/>
                  </a:cubicBezTo>
                  <a:cubicBezTo>
                    <a:pt x="3239" y="116854"/>
                    <a:pt x="3810" y="131142"/>
                    <a:pt x="5143" y="145429"/>
                  </a:cubicBezTo>
                  <a:cubicBezTo>
                    <a:pt x="6572" y="161050"/>
                    <a:pt x="8858" y="176671"/>
                    <a:pt x="8001" y="192292"/>
                  </a:cubicBezTo>
                  <a:cubicBezTo>
                    <a:pt x="18479" y="191530"/>
                    <a:pt x="28956" y="190483"/>
                    <a:pt x="39338" y="189054"/>
                  </a:cubicBezTo>
                  <a:cubicBezTo>
                    <a:pt x="28575" y="141905"/>
                    <a:pt x="36004" y="92566"/>
                    <a:pt x="32480" y="44369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9117D79E-4AE2-C692-69AC-89D2A193C464}"/>
                </a:ext>
              </a:extLst>
            </p:cNvPr>
            <p:cNvSpPr/>
            <p:nvPr/>
          </p:nvSpPr>
          <p:spPr>
            <a:xfrm>
              <a:off x="5910139" y="4661727"/>
              <a:ext cx="49917" cy="142245"/>
            </a:xfrm>
            <a:custGeom>
              <a:avLst/>
              <a:gdLst>
                <a:gd name="connsiteX0" fmla="*/ 34195 w 34194"/>
                <a:gd name="connsiteY0" fmla="*/ 96965 h 97440"/>
                <a:gd name="connsiteX1" fmla="*/ 34195 w 34194"/>
                <a:gd name="connsiteY1" fmla="*/ 96965 h 97440"/>
                <a:gd name="connsiteX2" fmla="*/ 33242 w 34194"/>
                <a:gd name="connsiteY2" fmla="*/ 86201 h 97440"/>
                <a:gd name="connsiteX3" fmla="*/ 31718 w 34194"/>
                <a:gd name="connsiteY3" fmla="*/ 75438 h 97440"/>
                <a:gd name="connsiteX4" fmla="*/ 31432 w 34194"/>
                <a:gd name="connsiteY4" fmla="*/ 64389 h 97440"/>
                <a:gd name="connsiteX5" fmla="*/ 29909 w 34194"/>
                <a:gd name="connsiteY5" fmla="*/ 53626 h 97440"/>
                <a:gd name="connsiteX6" fmla="*/ 28670 w 34194"/>
                <a:gd name="connsiteY6" fmla="*/ 42863 h 97440"/>
                <a:gd name="connsiteX7" fmla="*/ 26956 w 34194"/>
                <a:gd name="connsiteY7" fmla="*/ 32099 h 97440"/>
                <a:gd name="connsiteX8" fmla="*/ 25718 w 34194"/>
                <a:gd name="connsiteY8" fmla="*/ 21336 h 97440"/>
                <a:gd name="connsiteX9" fmla="*/ 24955 w 34194"/>
                <a:gd name="connsiteY9" fmla="*/ 10573 h 97440"/>
                <a:gd name="connsiteX10" fmla="*/ 24194 w 34194"/>
                <a:gd name="connsiteY10" fmla="*/ 0 h 97440"/>
                <a:gd name="connsiteX11" fmla="*/ 20955 w 34194"/>
                <a:gd name="connsiteY11" fmla="*/ 10287 h 97440"/>
                <a:gd name="connsiteX12" fmla="*/ 18764 w 34194"/>
                <a:gd name="connsiteY12" fmla="*/ 21336 h 97440"/>
                <a:gd name="connsiteX13" fmla="*/ 16574 w 34194"/>
                <a:gd name="connsiteY13" fmla="*/ 32385 h 97440"/>
                <a:gd name="connsiteX14" fmla="*/ 13145 w 34194"/>
                <a:gd name="connsiteY14" fmla="*/ 42958 h 97440"/>
                <a:gd name="connsiteX15" fmla="*/ 11144 w 34194"/>
                <a:gd name="connsiteY15" fmla="*/ 54007 h 97440"/>
                <a:gd name="connsiteX16" fmla="*/ 7430 w 34194"/>
                <a:gd name="connsiteY16" fmla="*/ 64579 h 97440"/>
                <a:gd name="connsiteX17" fmla="*/ 5715 w 34194"/>
                <a:gd name="connsiteY17" fmla="*/ 75628 h 97440"/>
                <a:gd name="connsiteX18" fmla="*/ 2477 w 34194"/>
                <a:gd name="connsiteY18" fmla="*/ 86392 h 97440"/>
                <a:gd name="connsiteX19" fmla="*/ 0 w 34194"/>
                <a:gd name="connsiteY19" fmla="*/ 97441 h 9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194" h="97440">
                  <a:moveTo>
                    <a:pt x="34195" y="96965"/>
                  </a:moveTo>
                  <a:lnTo>
                    <a:pt x="34195" y="96965"/>
                  </a:lnTo>
                  <a:cubicBezTo>
                    <a:pt x="33433" y="91440"/>
                    <a:pt x="33719" y="91440"/>
                    <a:pt x="33242" y="86201"/>
                  </a:cubicBezTo>
                  <a:cubicBezTo>
                    <a:pt x="32766" y="80677"/>
                    <a:pt x="32290" y="80677"/>
                    <a:pt x="31718" y="75438"/>
                  </a:cubicBezTo>
                  <a:cubicBezTo>
                    <a:pt x="31242" y="69914"/>
                    <a:pt x="32004" y="69914"/>
                    <a:pt x="31432" y="64389"/>
                  </a:cubicBezTo>
                  <a:cubicBezTo>
                    <a:pt x="30670" y="59150"/>
                    <a:pt x="30480" y="59150"/>
                    <a:pt x="29909" y="53626"/>
                  </a:cubicBezTo>
                  <a:cubicBezTo>
                    <a:pt x="29432" y="48387"/>
                    <a:pt x="29147" y="48387"/>
                    <a:pt x="28670" y="42863"/>
                  </a:cubicBezTo>
                  <a:cubicBezTo>
                    <a:pt x="28194" y="37624"/>
                    <a:pt x="27432" y="37624"/>
                    <a:pt x="26956" y="32099"/>
                  </a:cubicBezTo>
                  <a:cubicBezTo>
                    <a:pt x="26480" y="26860"/>
                    <a:pt x="26194" y="26860"/>
                    <a:pt x="25718" y="21336"/>
                  </a:cubicBezTo>
                  <a:cubicBezTo>
                    <a:pt x="25241" y="16097"/>
                    <a:pt x="25432" y="16097"/>
                    <a:pt x="24955" y="10573"/>
                  </a:cubicBezTo>
                  <a:cubicBezTo>
                    <a:pt x="24479" y="5048"/>
                    <a:pt x="29623" y="0"/>
                    <a:pt x="24194" y="0"/>
                  </a:cubicBezTo>
                  <a:cubicBezTo>
                    <a:pt x="18764" y="0"/>
                    <a:pt x="22193" y="5048"/>
                    <a:pt x="20955" y="10287"/>
                  </a:cubicBezTo>
                  <a:cubicBezTo>
                    <a:pt x="19431" y="15811"/>
                    <a:pt x="20003" y="15811"/>
                    <a:pt x="18764" y="21336"/>
                  </a:cubicBezTo>
                  <a:cubicBezTo>
                    <a:pt x="17240" y="26575"/>
                    <a:pt x="17812" y="26860"/>
                    <a:pt x="16574" y="32385"/>
                  </a:cubicBezTo>
                  <a:cubicBezTo>
                    <a:pt x="15049" y="37624"/>
                    <a:pt x="14573" y="37433"/>
                    <a:pt x="13145" y="42958"/>
                  </a:cubicBezTo>
                  <a:cubicBezTo>
                    <a:pt x="11906" y="48482"/>
                    <a:pt x="12382" y="48482"/>
                    <a:pt x="11144" y="54007"/>
                  </a:cubicBezTo>
                  <a:cubicBezTo>
                    <a:pt x="9620" y="59246"/>
                    <a:pt x="8954" y="59055"/>
                    <a:pt x="7430" y="64579"/>
                  </a:cubicBezTo>
                  <a:cubicBezTo>
                    <a:pt x="5906" y="70104"/>
                    <a:pt x="7144" y="70390"/>
                    <a:pt x="5715" y="75628"/>
                  </a:cubicBezTo>
                  <a:cubicBezTo>
                    <a:pt x="4477" y="81153"/>
                    <a:pt x="3715" y="80867"/>
                    <a:pt x="2477" y="86392"/>
                  </a:cubicBezTo>
                  <a:cubicBezTo>
                    <a:pt x="953" y="91916"/>
                    <a:pt x="1524" y="91916"/>
                    <a:pt x="0" y="9744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04023838-0ECB-2C8B-DC79-97FA83C31EBD}"/>
                </a:ext>
              </a:extLst>
            </p:cNvPr>
            <p:cNvSpPr/>
            <p:nvPr/>
          </p:nvSpPr>
          <p:spPr>
            <a:xfrm>
              <a:off x="5876768" y="4274758"/>
              <a:ext cx="116939" cy="156421"/>
            </a:xfrm>
            <a:custGeom>
              <a:avLst/>
              <a:gdLst>
                <a:gd name="connsiteX0" fmla="*/ 80105 w 80105"/>
                <a:gd name="connsiteY0" fmla="*/ 53721 h 107151"/>
                <a:gd name="connsiteX1" fmla="*/ 80105 w 80105"/>
                <a:gd name="connsiteY1" fmla="*/ 53721 h 107151"/>
                <a:gd name="connsiteX2" fmla="*/ 79153 w 80105"/>
                <a:gd name="connsiteY2" fmla="*/ 64294 h 107151"/>
                <a:gd name="connsiteX3" fmla="*/ 76962 w 80105"/>
                <a:gd name="connsiteY3" fmla="*/ 74866 h 107151"/>
                <a:gd name="connsiteX4" fmla="*/ 72771 w 80105"/>
                <a:gd name="connsiteY4" fmla="*/ 84677 h 107151"/>
                <a:gd name="connsiteX5" fmla="*/ 66865 w 80105"/>
                <a:gd name="connsiteY5" fmla="*/ 93250 h 107151"/>
                <a:gd name="connsiteX6" fmla="*/ 59436 w 80105"/>
                <a:gd name="connsiteY6" fmla="*/ 100775 h 107151"/>
                <a:gd name="connsiteX7" fmla="*/ 50482 w 80105"/>
                <a:gd name="connsiteY7" fmla="*/ 106299 h 107151"/>
                <a:gd name="connsiteX8" fmla="*/ 40100 w 80105"/>
                <a:gd name="connsiteY8" fmla="*/ 107061 h 107151"/>
                <a:gd name="connsiteX9" fmla="*/ 30194 w 80105"/>
                <a:gd name="connsiteY9" fmla="*/ 105061 h 107151"/>
                <a:gd name="connsiteX10" fmla="*/ 20765 w 80105"/>
                <a:gd name="connsiteY10" fmla="*/ 100775 h 107151"/>
                <a:gd name="connsiteX11" fmla="*/ 13811 w 80105"/>
                <a:gd name="connsiteY11" fmla="*/ 92964 h 107151"/>
                <a:gd name="connsiteX12" fmla="*/ 8096 w 80105"/>
                <a:gd name="connsiteY12" fmla="*/ 84201 h 107151"/>
                <a:gd name="connsiteX13" fmla="*/ 3429 w 80105"/>
                <a:gd name="connsiteY13" fmla="*/ 74866 h 107151"/>
                <a:gd name="connsiteX14" fmla="*/ 1715 w 80105"/>
                <a:gd name="connsiteY14" fmla="*/ 64294 h 107151"/>
                <a:gd name="connsiteX15" fmla="*/ 0 w 80105"/>
                <a:gd name="connsiteY15" fmla="*/ 53721 h 107151"/>
                <a:gd name="connsiteX16" fmla="*/ 1238 w 80105"/>
                <a:gd name="connsiteY16" fmla="*/ 43148 h 107151"/>
                <a:gd name="connsiteX17" fmla="*/ 4000 w 80105"/>
                <a:gd name="connsiteY17" fmla="*/ 32861 h 107151"/>
                <a:gd name="connsiteX18" fmla="*/ 7715 w 80105"/>
                <a:gd name="connsiteY18" fmla="*/ 23051 h 107151"/>
                <a:gd name="connsiteX19" fmla="*/ 13430 w 80105"/>
                <a:gd name="connsiteY19" fmla="*/ 14002 h 107151"/>
                <a:gd name="connsiteX20" fmla="*/ 20860 w 80105"/>
                <a:gd name="connsiteY20" fmla="*/ 6763 h 107151"/>
                <a:gd name="connsiteX21" fmla="*/ 30004 w 80105"/>
                <a:gd name="connsiteY21" fmla="*/ 1524 h 107151"/>
                <a:gd name="connsiteX22" fmla="*/ 40196 w 80105"/>
                <a:gd name="connsiteY22" fmla="*/ 0 h 107151"/>
                <a:gd name="connsiteX23" fmla="*/ 50578 w 80105"/>
                <a:gd name="connsiteY23" fmla="*/ 1238 h 107151"/>
                <a:gd name="connsiteX24" fmla="*/ 59722 w 80105"/>
                <a:gd name="connsiteY24" fmla="*/ 6763 h 107151"/>
                <a:gd name="connsiteX25" fmla="*/ 66865 w 80105"/>
                <a:gd name="connsiteY25" fmla="*/ 14287 h 107151"/>
                <a:gd name="connsiteX26" fmla="*/ 72771 w 80105"/>
                <a:gd name="connsiteY26" fmla="*/ 22860 h 107151"/>
                <a:gd name="connsiteX27" fmla="*/ 76009 w 80105"/>
                <a:gd name="connsiteY27" fmla="*/ 33147 h 107151"/>
                <a:gd name="connsiteX28" fmla="*/ 78486 w 80105"/>
                <a:gd name="connsiteY28" fmla="*/ 43148 h 107151"/>
                <a:gd name="connsiteX29" fmla="*/ 80105 w 80105"/>
                <a:gd name="connsiteY29" fmla="*/ 53721 h 107151"/>
                <a:gd name="connsiteX30" fmla="*/ 80105 w 80105"/>
                <a:gd name="connsiteY30" fmla="*/ 53721 h 107151"/>
                <a:gd name="connsiteX31" fmla="*/ 80105 w 80105"/>
                <a:gd name="connsiteY31" fmla="*/ 53721 h 107151"/>
                <a:gd name="connsiteX32" fmla="*/ 80105 w 80105"/>
                <a:gd name="connsiteY32" fmla="*/ 53721 h 10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0105" h="107151">
                  <a:moveTo>
                    <a:pt x="80105" y="53721"/>
                  </a:moveTo>
                  <a:lnTo>
                    <a:pt x="80105" y="53721"/>
                  </a:lnTo>
                  <a:cubicBezTo>
                    <a:pt x="80105" y="57245"/>
                    <a:pt x="79629" y="60960"/>
                    <a:pt x="79153" y="64294"/>
                  </a:cubicBezTo>
                  <a:cubicBezTo>
                    <a:pt x="78677" y="68104"/>
                    <a:pt x="77915" y="71533"/>
                    <a:pt x="76962" y="74866"/>
                  </a:cubicBezTo>
                  <a:cubicBezTo>
                    <a:pt x="76009" y="78391"/>
                    <a:pt x="74486" y="81629"/>
                    <a:pt x="72771" y="84677"/>
                  </a:cubicBezTo>
                  <a:cubicBezTo>
                    <a:pt x="71247" y="87916"/>
                    <a:pt x="69056" y="90678"/>
                    <a:pt x="66865" y="93250"/>
                  </a:cubicBezTo>
                  <a:cubicBezTo>
                    <a:pt x="64675" y="96298"/>
                    <a:pt x="62198" y="98489"/>
                    <a:pt x="59436" y="100775"/>
                  </a:cubicBezTo>
                  <a:cubicBezTo>
                    <a:pt x="56674" y="102775"/>
                    <a:pt x="53721" y="105061"/>
                    <a:pt x="50482" y="106299"/>
                  </a:cubicBezTo>
                  <a:cubicBezTo>
                    <a:pt x="47244" y="107537"/>
                    <a:pt x="43815" y="107061"/>
                    <a:pt x="40100" y="107061"/>
                  </a:cubicBezTo>
                  <a:cubicBezTo>
                    <a:pt x="36671" y="107061"/>
                    <a:pt x="33433" y="106299"/>
                    <a:pt x="30194" y="105061"/>
                  </a:cubicBezTo>
                  <a:cubicBezTo>
                    <a:pt x="26956" y="104013"/>
                    <a:pt x="23717" y="102775"/>
                    <a:pt x="20765" y="100775"/>
                  </a:cubicBezTo>
                  <a:cubicBezTo>
                    <a:pt x="18288" y="98489"/>
                    <a:pt x="16097" y="96012"/>
                    <a:pt x="13811" y="92964"/>
                  </a:cubicBezTo>
                  <a:cubicBezTo>
                    <a:pt x="11620" y="90488"/>
                    <a:pt x="9620" y="87440"/>
                    <a:pt x="8096" y="84201"/>
                  </a:cubicBezTo>
                  <a:cubicBezTo>
                    <a:pt x="6572" y="81153"/>
                    <a:pt x="4381" y="78391"/>
                    <a:pt x="3429" y="74866"/>
                  </a:cubicBezTo>
                  <a:cubicBezTo>
                    <a:pt x="2191" y="71628"/>
                    <a:pt x="2476" y="67818"/>
                    <a:pt x="1715" y="64294"/>
                  </a:cubicBezTo>
                  <a:cubicBezTo>
                    <a:pt x="1238" y="60770"/>
                    <a:pt x="0" y="57245"/>
                    <a:pt x="0" y="53721"/>
                  </a:cubicBezTo>
                  <a:cubicBezTo>
                    <a:pt x="0" y="50197"/>
                    <a:pt x="762" y="46482"/>
                    <a:pt x="1238" y="43148"/>
                  </a:cubicBezTo>
                  <a:cubicBezTo>
                    <a:pt x="1715" y="39624"/>
                    <a:pt x="2953" y="36100"/>
                    <a:pt x="4000" y="32861"/>
                  </a:cubicBezTo>
                  <a:cubicBezTo>
                    <a:pt x="4953" y="29337"/>
                    <a:pt x="6001" y="26098"/>
                    <a:pt x="7715" y="23051"/>
                  </a:cubicBezTo>
                  <a:cubicBezTo>
                    <a:pt x="9239" y="19812"/>
                    <a:pt x="11144" y="16764"/>
                    <a:pt x="13430" y="14002"/>
                  </a:cubicBezTo>
                  <a:cubicBezTo>
                    <a:pt x="15621" y="11239"/>
                    <a:pt x="18097" y="8763"/>
                    <a:pt x="20860" y="6763"/>
                  </a:cubicBezTo>
                  <a:cubicBezTo>
                    <a:pt x="23813" y="4477"/>
                    <a:pt x="26765" y="2762"/>
                    <a:pt x="30004" y="1524"/>
                  </a:cubicBezTo>
                  <a:cubicBezTo>
                    <a:pt x="33242" y="286"/>
                    <a:pt x="36671" y="0"/>
                    <a:pt x="40196" y="0"/>
                  </a:cubicBezTo>
                  <a:cubicBezTo>
                    <a:pt x="43910" y="0"/>
                    <a:pt x="47339" y="286"/>
                    <a:pt x="50578" y="1238"/>
                  </a:cubicBezTo>
                  <a:cubicBezTo>
                    <a:pt x="53816" y="2477"/>
                    <a:pt x="56769" y="4477"/>
                    <a:pt x="59722" y="6763"/>
                  </a:cubicBezTo>
                  <a:cubicBezTo>
                    <a:pt x="62484" y="8763"/>
                    <a:pt x="64675" y="11525"/>
                    <a:pt x="66865" y="14287"/>
                  </a:cubicBezTo>
                  <a:cubicBezTo>
                    <a:pt x="68866" y="17050"/>
                    <a:pt x="71056" y="19812"/>
                    <a:pt x="72771" y="22860"/>
                  </a:cubicBezTo>
                  <a:cubicBezTo>
                    <a:pt x="74295" y="26098"/>
                    <a:pt x="74771" y="29623"/>
                    <a:pt x="76009" y="33147"/>
                  </a:cubicBezTo>
                  <a:cubicBezTo>
                    <a:pt x="76962" y="36386"/>
                    <a:pt x="78010" y="39719"/>
                    <a:pt x="78486" y="43148"/>
                  </a:cubicBezTo>
                  <a:cubicBezTo>
                    <a:pt x="78867" y="46768"/>
                    <a:pt x="80105" y="50197"/>
                    <a:pt x="80105" y="53721"/>
                  </a:cubicBezTo>
                  <a:lnTo>
                    <a:pt x="80105" y="53721"/>
                  </a:lnTo>
                  <a:lnTo>
                    <a:pt x="80105" y="53721"/>
                  </a:lnTo>
                  <a:lnTo>
                    <a:pt x="80105" y="53721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F210B931-7E64-8EB2-E2C0-57BC7C53B03A}"/>
                </a:ext>
              </a:extLst>
            </p:cNvPr>
            <p:cNvSpPr/>
            <p:nvPr/>
          </p:nvSpPr>
          <p:spPr>
            <a:xfrm>
              <a:off x="5837453" y="4426319"/>
              <a:ext cx="78956" cy="376958"/>
            </a:xfrm>
            <a:custGeom>
              <a:avLst/>
              <a:gdLst>
                <a:gd name="connsiteX0" fmla="*/ 32932 w 54086"/>
                <a:gd name="connsiteY0" fmla="*/ 258223 h 258222"/>
                <a:gd name="connsiteX1" fmla="*/ 32932 w 54086"/>
                <a:gd name="connsiteY1" fmla="*/ 258223 h 258222"/>
                <a:gd name="connsiteX2" fmla="*/ 32932 w 54086"/>
                <a:gd name="connsiteY2" fmla="*/ 247650 h 258222"/>
                <a:gd name="connsiteX3" fmla="*/ 34170 w 54086"/>
                <a:gd name="connsiteY3" fmla="*/ 237363 h 258222"/>
                <a:gd name="connsiteX4" fmla="*/ 34456 w 54086"/>
                <a:gd name="connsiteY4" fmla="*/ 226790 h 258222"/>
                <a:gd name="connsiteX5" fmla="*/ 35980 w 54086"/>
                <a:gd name="connsiteY5" fmla="*/ 216503 h 258222"/>
                <a:gd name="connsiteX6" fmla="*/ 37504 w 54086"/>
                <a:gd name="connsiteY6" fmla="*/ 205930 h 258222"/>
                <a:gd name="connsiteX7" fmla="*/ 37790 w 54086"/>
                <a:gd name="connsiteY7" fmla="*/ 195358 h 258222"/>
                <a:gd name="connsiteX8" fmla="*/ 39028 w 54086"/>
                <a:gd name="connsiteY8" fmla="*/ 185071 h 258222"/>
                <a:gd name="connsiteX9" fmla="*/ 39314 w 54086"/>
                <a:gd name="connsiteY9" fmla="*/ 174498 h 258222"/>
                <a:gd name="connsiteX10" fmla="*/ 41028 w 54086"/>
                <a:gd name="connsiteY10" fmla="*/ 164211 h 258222"/>
                <a:gd name="connsiteX11" fmla="*/ 41981 w 54086"/>
                <a:gd name="connsiteY11" fmla="*/ 153638 h 258222"/>
                <a:gd name="connsiteX12" fmla="*/ 42933 w 54086"/>
                <a:gd name="connsiteY12" fmla="*/ 143066 h 258222"/>
                <a:gd name="connsiteX13" fmla="*/ 43886 w 54086"/>
                <a:gd name="connsiteY13" fmla="*/ 132493 h 258222"/>
                <a:gd name="connsiteX14" fmla="*/ 46076 w 54086"/>
                <a:gd name="connsiteY14" fmla="*/ 121920 h 258222"/>
                <a:gd name="connsiteX15" fmla="*/ 46838 w 54086"/>
                <a:gd name="connsiteY15" fmla="*/ 111347 h 258222"/>
                <a:gd name="connsiteX16" fmla="*/ 47791 w 54086"/>
                <a:gd name="connsiteY16" fmla="*/ 100584 h 258222"/>
                <a:gd name="connsiteX17" fmla="*/ 48267 w 54086"/>
                <a:gd name="connsiteY17" fmla="*/ 90011 h 258222"/>
                <a:gd name="connsiteX18" fmla="*/ 50458 w 54086"/>
                <a:gd name="connsiteY18" fmla="*/ 79439 h 258222"/>
                <a:gd name="connsiteX19" fmla="*/ 50744 w 54086"/>
                <a:gd name="connsiteY19" fmla="*/ 68866 h 258222"/>
                <a:gd name="connsiteX20" fmla="*/ 52934 w 54086"/>
                <a:gd name="connsiteY20" fmla="*/ 58293 h 258222"/>
                <a:gd name="connsiteX21" fmla="*/ 53887 w 54086"/>
                <a:gd name="connsiteY21" fmla="*/ 47530 h 258222"/>
                <a:gd name="connsiteX22" fmla="*/ 49220 w 54086"/>
                <a:gd name="connsiteY22" fmla="*/ 57817 h 258222"/>
                <a:gd name="connsiteX23" fmla="*/ 44267 w 54086"/>
                <a:gd name="connsiteY23" fmla="*/ 67342 h 258222"/>
                <a:gd name="connsiteX24" fmla="*/ 38552 w 54086"/>
                <a:gd name="connsiteY24" fmla="*/ 76676 h 258222"/>
                <a:gd name="connsiteX25" fmla="*/ 34837 w 54086"/>
                <a:gd name="connsiteY25" fmla="*/ 87249 h 258222"/>
                <a:gd name="connsiteX26" fmla="*/ 28931 w 54086"/>
                <a:gd name="connsiteY26" fmla="*/ 96584 h 258222"/>
                <a:gd name="connsiteX27" fmla="*/ 25502 w 54086"/>
                <a:gd name="connsiteY27" fmla="*/ 107156 h 258222"/>
                <a:gd name="connsiteX28" fmla="*/ 19597 w 54086"/>
                <a:gd name="connsiteY28" fmla="*/ 116205 h 258222"/>
                <a:gd name="connsiteX29" fmla="*/ 15406 w 54086"/>
                <a:gd name="connsiteY29" fmla="*/ 126492 h 258222"/>
                <a:gd name="connsiteX30" fmla="*/ 10929 w 54086"/>
                <a:gd name="connsiteY30" fmla="*/ 136493 h 258222"/>
                <a:gd name="connsiteX31" fmla="*/ 5214 w 54086"/>
                <a:gd name="connsiteY31" fmla="*/ 145828 h 258222"/>
                <a:gd name="connsiteX32" fmla="*/ 261 w 54086"/>
                <a:gd name="connsiteY32" fmla="*/ 155639 h 258222"/>
                <a:gd name="connsiteX33" fmla="*/ 1785 w 54086"/>
                <a:gd name="connsiteY33" fmla="*/ 144875 h 258222"/>
                <a:gd name="connsiteX34" fmla="*/ 5214 w 54086"/>
                <a:gd name="connsiteY34" fmla="*/ 134588 h 258222"/>
                <a:gd name="connsiteX35" fmla="*/ 8929 w 54086"/>
                <a:gd name="connsiteY35" fmla="*/ 124301 h 258222"/>
                <a:gd name="connsiteX36" fmla="*/ 11882 w 54086"/>
                <a:gd name="connsiteY36" fmla="*/ 113729 h 258222"/>
                <a:gd name="connsiteX37" fmla="*/ 14358 w 54086"/>
                <a:gd name="connsiteY37" fmla="*/ 103156 h 258222"/>
                <a:gd name="connsiteX38" fmla="*/ 17787 w 54086"/>
                <a:gd name="connsiteY38" fmla="*/ 92869 h 258222"/>
                <a:gd name="connsiteX39" fmla="*/ 19978 w 54086"/>
                <a:gd name="connsiteY39" fmla="*/ 82106 h 258222"/>
                <a:gd name="connsiteX40" fmla="*/ 23407 w 54086"/>
                <a:gd name="connsiteY40" fmla="*/ 71533 h 258222"/>
                <a:gd name="connsiteX41" fmla="*/ 26645 w 54086"/>
                <a:gd name="connsiteY41" fmla="*/ 61246 h 258222"/>
                <a:gd name="connsiteX42" fmla="*/ 30360 w 54086"/>
                <a:gd name="connsiteY42" fmla="*/ 50959 h 258222"/>
                <a:gd name="connsiteX43" fmla="*/ 33122 w 54086"/>
                <a:gd name="connsiteY43" fmla="*/ 40386 h 258222"/>
                <a:gd name="connsiteX44" fmla="*/ 37313 w 54086"/>
                <a:gd name="connsiteY44" fmla="*/ 30099 h 258222"/>
                <a:gd name="connsiteX45" fmla="*/ 40266 w 54086"/>
                <a:gd name="connsiteY45" fmla="*/ 19812 h 258222"/>
                <a:gd name="connsiteX46" fmla="*/ 44743 w 54086"/>
                <a:gd name="connsiteY46" fmla="*/ 9811 h 258222"/>
                <a:gd name="connsiteX47" fmla="*/ 49220 w 54086"/>
                <a:gd name="connsiteY47" fmla="*/ 0 h 25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4086" h="258222">
                  <a:moveTo>
                    <a:pt x="32932" y="258223"/>
                  </a:moveTo>
                  <a:lnTo>
                    <a:pt x="32932" y="258223"/>
                  </a:lnTo>
                  <a:cubicBezTo>
                    <a:pt x="33408" y="252984"/>
                    <a:pt x="32456" y="252984"/>
                    <a:pt x="32932" y="247650"/>
                  </a:cubicBezTo>
                  <a:cubicBezTo>
                    <a:pt x="33408" y="242411"/>
                    <a:pt x="33694" y="242602"/>
                    <a:pt x="34170" y="237363"/>
                  </a:cubicBezTo>
                  <a:cubicBezTo>
                    <a:pt x="34646" y="232124"/>
                    <a:pt x="33884" y="232124"/>
                    <a:pt x="34456" y="226790"/>
                  </a:cubicBezTo>
                  <a:cubicBezTo>
                    <a:pt x="34932" y="221552"/>
                    <a:pt x="35408" y="221552"/>
                    <a:pt x="35980" y="216503"/>
                  </a:cubicBezTo>
                  <a:cubicBezTo>
                    <a:pt x="36266" y="211265"/>
                    <a:pt x="37218" y="211265"/>
                    <a:pt x="37504" y="205930"/>
                  </a:cubicBezTo>
                  <a:cubicBezTo>
                    <a:pt x="37980" y="200692"/>
                    <a:pt x="37218" y="200692"/>
                    <a:pt x="37790" y="195358"/>
                  </a:cubicBezTo>
                  <a:cubicBezTo>
                    <a:pt x="38266" y="190310"/>
                    <a:pt x="38552" y="190310"/>
                    <a:pt x="39028" y="185071"/>
                  </a:cubicBezTo>
                  <a:cubicBezTo>
                    <a:pt x="39504" y="179832"/>
                    <a:pt x="39028" y="179832"/>
                    <a:pt x="39314" y="174498"/>
                  </a:cubicBezTo>
                  <a:cubicBezTo>
                    <a:pt x="39790" y="169259"/>
                    <a:pt x="40552" y="169450"/>
                    <a:pt x="41028" y="164211"/>
                  </a:cubicBezTo>
                  <a:cubicBezTo>
                    <a:pt x="41504" y="158972"/>
                    <a:pt x="41504" y="158972"/>
                    <a:pt x="41981" y="153638"/>
                  </a:cubicBezTo>
                  <a:cubicBezTo>
                    <a:pt x="42457" y="148400"/>
                    <a:pt x="42457" y="148400"/>
                    <a:pt x="42933" y="143066"/>
                  </a:cubicBezTo>
                  <a:cubicBezTo>
                    <a:pt x="43409" y="137827"/>
                    <a:pt x="43409" y="137827"/>
                    <a:pt x="43886" y="132493"/>
                  </a:cubicBezTo>
                  <a:cubicBezTo>
                    <a:pt x="44648" y="127254"/>
                    <a:pt x="45410" y="127254"/>
                    <a:pt x="46076" y="121920"/>
                  </a:cubicBezTo>
                  <a:cubicBezTo>
                    <a:pt x="46553" y="116681"/>
                    <a:pt x="46362" y="116681"/>
                    <a:pt x="46838" y="111347"/>
                  </a:cubicBezTo>
                  <a:cubicBezTo>
                    <a:pt x="47315" y="105823"/>
                    <a:pt x="47315" y="105823"/>
                    <a:pt x="47791" y="100584"/>
                  </a:cubicBezTo>
                  <a:cubicBezTo>
                    <a:pt x="48553" y="95345"/>
                    <a:pt x="47791" y="95345"/>
                    <a:pt x="48267" y="90011"/>
                  </a:cubicBezTo>
                  <a:cubicBezTo>
                    <a:pt x="49029" y="84773"/>
                    <a:pt x="49982" y="84773"/>
                    <a:pt x="50458" y="79439"/>
                  </a:cubicBezTo>
                  <a:cubicBezTo>
                    <a:pt x="51220" y="74200"/>
                    <a:pt x="49982" y="74200"/>
                    <a:pt x="50744" y="68866"/>
                  </a:cubicBezTo>
                  <a:cubicBezTo>
                    <a:pt x="51220" y="63341"/>
                    <a:pt x="52458" y="63627"/>
                    <a:pt x="52934" y="58293"/>
                  </a:cubicBezTo>
                  <a:cubicBezTo>
                    <a:pt x="53696" y="53054"/>
                    <a:pt x="54458" y="52769"/>
                    <a:pt x="53887" y="47530"/>
                  </a:cubicBezTo>
                  <a:cubicBezTo>
                    <a:pt x="53411" y="42005"/>
                    <a:pt x="52172" y="51530"/>
                    <a:pt x="49220" y="57817"/>
                  </a:cubicBezTo>
                  <a:cubicBezTo>
                    <a:pt x="47981" y="60579"/>
                    <a:pt x="45981" y="63627"/>
                    <a:pt x="44267" y="67342"/>
                  </a:cubicBezTo>
                  <a:cubicBezTo>
                    <a:pt x="42743" y="70390"/>
                    <a:pt x="40266" y="73343"/>
                    <a:pt x="38552" y="76676"/>
                  </a:cubicBezTo>
                  <a:cubicBezTo>
                    <a:pt x="37028" y="79915"/>
                    <a:pt x="36361" y="83725"/>
                    <a:pt x="34837" y="87249"/>
                  </a:cubicBezTo>
                  <a:cubicBezTo>
                    <a:pt x="33122" y="90488"/>
                    <a:pt x="30646" y="93250"/>
                    <a:pt x="28931" y="96584"/>
                  </a:cubicBezTo>
                  <a:cubicBezTo>
                    <a:pt x="27407" y="99822"/>
                    <a:pt x="27217" y="103823"/>
                    <a:pt x="25502" y="107156"/>
                  </a:cubicBezTo>
                  <a:cubicBezTo>
                    <a:pt x="23978" y="110395"/>
                    <a:pt x="21026" y="113157"/>
                    <a:pt x="19597" y="116205"/>
                  </a:cubicBezTo>
                  <a:cubicBezTo>
                    <a:pt x="17882" y="119729"/>
                    <a:pt x="16835" y="123254"/>
                    <a:pt x="15406" y="126492"/>
                  </a:cubicBezTo>
                  <a:cubicBezTo>
                    <a:pt x="13691" y="130016"/>
                    <a:pt x="12453" y="133541"/>
                    <a:pt x="10929" y="136493"/>
                  </a:cubicBezTo>
                  <a:cubicBezTo>
                    <a:pt x="8929" y="140018"/>
                    <a:pt x="6738" y="143066"/>
                    <a:pt x="5214" y="145828"/>
                  </a:cubicBezTo>
                  <a:cubicBezTo>
                    <a:pt x="2452" y="151352"/>
                    <a:pt x="737" y="155162"/>
                    <a:pt x="261" y="155639"/>
                  </a:cubicBezTo>
                  <a:cubicBezTo>
                    <a:pt x="-215" y="156115"/>
                    <a:pt x="-215" y="151829"/>
                    <a:pt x="1785" y="144875"/>
                  </a:cubicBezTo>
                  <a:cubicBezTo>
                    <a:pt x="2547" y="141827"/>
                    <a:pt x="4262" y="138589"/>
                    <a:pt x="5214" y="134588"/>
                  </a:cubicBezTo>
                  <a:cubicBezTo>
                    <a:pt x="6167" y="131350"/>
                    <a:pt x="7691" y="128016"/>
                    <a:pt x="8929" y="124301"/>
                  </a:cubicBezTo>
                  <a:cubicBezTo>
                    <a:pt x="9881" y="121063"/>
                    <a:pt x="10929" y="117539"/>
                    <a:pt x="11882" y="113729"/>
                  </a:cubicBezTo>
                  <a:cubicBezTo>
                    <a:pt x="12834" y="110490"/>
                    <a:pt x="13406" y="106680"/>
                    <a:pt x="14358" y="103156"/>
                  </a:cubicBezTo>
                  <a:cubicBezTo>
                    <a:pt x="15311" y="99632"/>
                    <a:pt x="16835" y="96393"/>
                    <a:pt x="17787" y="92869"/>
                  </a:cubicBezTo>
                  <a:cubicBezTo>
                    <a:pt x="18740" y="89345"/>
                    <a:pt x="18740" y="85630"/>
                    <a:pt x="19978" y="82106"/>
                  </a:cubicBezTo>
                  <a:cubicBezTo>
                    <a:pt x="20930" y="78581"/>
                    <a:pt x="22169" y="75057"/>
                    <a:pt x="23407" y="71533"/>
                  </a:cubicBezTo>
                  <a:cubicBezTo>
                    <a:pt x="24359" y="68009"/>
                    <a:pt x="25598" y="64770"/>
                    <a:pt x="26645" y="61246"/>
                  </a:cubicBezTo>
                  <a:cubicBezTo>
                    <a:pt x="27884" y="57722"/>
                    <a:pt x="29408" y="54483"/>
                    <a:pt x="30360" y="50959"/>
                  </a:cubicBezTo>
                  <a:cubicBezTo>
                    <a:pt x="31598" y="47434"/>
                    <a:pt x="32075" y="43720"/>
                    <a:pt x="33122" y="40386"/>
                  </a:cubicBezTo>
                  <a:cubicBezTo>
                    <a:pt x="34361" y="36576"/>
                    <a:pt x="36075" y="33338"/>
                    <a:pt x="37313" y="30099"/>
                  </a:cubicBezTo>
                  <a:cubicBezTo>
                    <a:pt x="38552" y="26575"/>
                    <a:pt x="39314" y="22860"/>
                    <a:pt x="40266" y="19812"/>
                  </a:cubicBezTo>
                  <a:cubicBezTo>
                    <a:pt x="41790" y="15812"/>
                    <a:pt x="43505" y="12573"/>
                    <a:pt x="44743" y="9811"/>
                  </a:cubicBezTo>
                  <a:cubicBezTo>
                    <a:pt x="46934" y="4001"/>
                    <a:pt x="48172" y="476"/>
                    <a:pt x="4922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3B13EB46-941C-F336-AD5B-7859403AA6F8}"/>
                </a:ext>
              </a:extLst>
            </p:cNvPr>
            <p:cNvSpPr/>
            <p:nvPr/>
          </p:nvSpPr>
          <p:spPr>
            <a:xfrm>
              <a:off x="5911669" y="4841393"/>
              <a:ext cx="135988" cy="157220"/>
            </a:xfrm>
            <a:custGeom>
              <a:avLst/>
              <a:gdLst>
                <a:gd name="connsiteX0" fmla="*/ 0 w 93154"/>
                <a:gd name="connsiteY0" fmla="*/ 53615 h 107698"/>
                <a:gd name="connsiteX1" fmla="*/ 0 w 93154"/>
                <a:gd name="connsiteY1" fmla="*/ 53615 h 107698"/>
                <a:gd name="connsiteX2" fmla="*/ 1715 w 93154"/>
                <a:gd name="connsiteY2" fmla="*/ 64950 h 107698"/>
                <a:gd name="connsiteX3" fmla="*/ 4191 w 93154"/>
                <a:gd name="connsiteY3" fmla="*/ 75999 h 107698"/>
                <a:gd name="connsiteX4" fmla="*/ 9906 w 93154"/>
                <a:gd name="connsiteY4" fmla="*/ 85810 h 107698"/>
                <a:gd name="connsiteX5" fmla="*/ 17050 w 93154"/>
                <a:gd name="connsiteY5" fmla="*/ 94382 h 107698"/>
                <a:gd name="connsiteX6" fmla="*/ 24955 w 93154"/>
                <a:gd name="connsiteY6" fmla="*/ 102383 h 107698"/>
                <a:gd name="connsiteX7" fmla="*/ 35338 w 93154"/>
                <a:gd name="connsiteY7" fmla="*/ 107146 h 107698"/>
                <a:gd name="connsiteX8" fmla="*/ 46768 w 93154"/>
                <a:gd name="connsiteY8" fmla="*/ 107431 h 107698"/>
                <a:gd name="connsiteX9" fmla="*/ 57912 w 93154"/>
                <a:gd name="connsiteY9" fmla="*/ 106384 h 107698"/>
                <a:gd name="connsiteX10" fmla="*/ 68104 w 93154"/>
                <a:gd name="connsiteY10" fmla="*/ 101907 h 107698"/>
                <a:gd name="connsiteX11" fmla="*/ 77057 w 93154"/>
                <a:gd name="connsiteY11" fmla="*/ 94858 h 107698"/>
                <a:gd name="connsiteX12" fmla="*/ 84487 w 93154"/>
                <a:gd name="connsiteY12" fmla="*/ 86572 h 107698"/>
                <a:gd name="connsiteX13" fmla="*/ 88487 w 93154"/>
                <a:gd name="connsiteY13" fmla="*/ 75808 h 107698"/>
                <a:gd name="connsiteX14" fmla="*/ 91440 w 93154"/>
                <a:gd name="connsiteY14" fmla="*/ 65045 h 107698"/>
                <a:gd name="connsiteX15" fmla="*/ 93155 w 93154"/>
                <a:gd name="connsiteY15" fmla="*/ 53710 h 107698"/>
                <a:gd name="connsiteX16" fmla="*/ 91630 w 93154"/>
                <a:gd name="connsiteY16" fmla="*/ 42661 h 107698"/>
                <a:gd name="connsiteX17" fmla="*/ 88678 w 93154"/>
                <a:gd name="connsiteY17" fmla="*/ 31898 h 107698"/>
                <a:gd name="connsiteX18" fmla="*/ 84201 w 93154"/>
                <a:gd name="connsiteY18" fmla="*/ 21325 h 107698"/>
                <a:gd name="connsiteX19" fmla="*/ 76486 w 93154"/>
                <a:gd name="connsiteY19" fmla="*/ 13039 h 107698"/>
                <a:gd name="connsiteX20" fmla="*/ 67818 w 93154"/>
                <a:gd name="connsiteY20" fmla="*/ 6276 h 107698"/>
                <a:gd name="connsiteX21" fmla="*/ 57626 w 93154"/>
                <a:gd name="connsiteY21" fmla="*/ 1513 h 107698"/>
                <a:gd name="connsiteX22" fmla="*/ 46768 w 93154"/>
                <a:gd name="connsiteY22" fmla="*/ 466 h 107698"/>
                <a:gd name="connsiteX23" fmla="*/ 35338 w 93154"/>
                <a:gd name="connsiteY23" fmla="*/ 466 h 107698"/>
                <a:gd name="connsiteX24" fmla="*/ 25432 w 93154"/>
                <a:gd name="connsiteY24" fmla="*/ 5704 h 107698"/>
                <a:gd name="connsiteX25" fmla="*/ 17050 w 93154"/>
                <a:gd name="connsiteY25" fmla="*/ 13229 h 107698"/>
                <a:gd name="connsiteX26" fmla="*/ 9144 w 93154"/>
                <a:gd name="connsiteY26" fmla="*/ 21040 h 107698"/>
                <a:gd name="connsiteX27" fmla="*/ 4191 w 93154"/>
                <a:gd name="connsiteY27" fmla="*/ 31327 h 107698"/>
                <a:gd name="connsiteX28" fmla="*/ 2000 w 93154"/>
                <a:gd name="connsiteY28" fmla="*/ 42661 h 107698"/>
                <a:gd name="connsiteX29" fmla="*/ 0 w 93154"/>
                <a:gd name="connsiteY29" fmla="*/ 53615 h 107698"/>
                <a:gd name="connsiteX30" fmla="*/ 0 w 93154"/>
                <a:gd name="connsiteY30" fmla="*/ 53615 h 107698"/>
                <a:gd name="connsiteX31" fmla="*/ 0 w 93154"/>
                <a:gd name="connsiteY31" fmla="*/ 53615 h 107698"/>
                <a:gd name="connsiteX32" fmla="*/ 0 w 93154"/>
                <a:gd name="connsiteY32" fmla="*/ 53615 h 107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3154" h="107698">
                  <a:moveTo>
                    <a:pt x="0" y="53615"/>
                  </a:moveTo>
                  <a:lnTo>
                    <a:pt x="0" y="53615"/>
                  </a:lnTo>
                  <a:cubicBezTo>
                    <a:pt x="0" y="57616"/>
                    <a:pt x="953" y="61426"/>
                    <a:pt x="1715" y="64950"/>
                  </a:cubicBezTo>
                  <a:cubicBezTo>
                    <a:pt x="2477" y="68760"/>
                    <a:pt x="2667" y="72475"/>
                    <a:pt x="4191" y="75999"/>
                  </a:cubicBezTo>
                  <a:cubicBezTo>
                    <a:pt x="5429" y="79809"/>
                    <a:pt x="7906" y="82762"/>
                    <a:pt x="9906" y="85810"/>
                  </a:cubicBezTo>
                  <a:cubicBezTo>
                    <a:pt x="11906" y="89048"/>
                    <a:pt x="14383" y="91810"/>
                    <a:pt x="17050" y="94382"/>
                  </a:cubicBezTo>
                  <a:cubicBezTo>
                    <a:pt x="19812" y="97144"/>
                    <a:pt x="22003" y="100383"/>
                    <a:pt x="24955" y="102383"/>
                  </a:cubicBezTo>
                  <a:cubicBezTo>
                    <a:pt x="28194" y="104383"/>
                    <a:pt x="31909" y="106193"/>
                    <a:pt x="35338" y="107146"/>
                  </a:cubicBezTo>
                  <a:cubicBezTo>
                    <a:pt x="39053" y="108193"/>
                    <a:pt x="42767" y="107431"/>
                    <a:pt x="46768" y="107431"/>
                  </a:cubicBezTo>
                  <a:cubicBezTo>
                    <a:pt x="50482" y="107431"/>
                    <a:pt x="54197" y="107431"/>
                    <a:pt x="57912" y="106384"/>
                  </a:cubicBezTo>
                  <a:cubicBezTo>
                    <a:pt x="61341" y="105336"/>
                    <a:pt x="64865" y="103907"/>
                    <a:pt x="68104" y="101907"/>
                  </a:cubicBezTo>
                  <a:cubicBezTo>
                    <a:pt x="71342" y="100192"/>
                    <a:pt x="74295" y="97621"/>
                    <a:pt x="77057" y="94858"/>
                  </a:cubicBezTo>
                  <a:cubicBezTo>
                    <a:pt x="79534" y="92382"/>
                    <a:pt x="82487" y="89620"/>
                    <a:pt x="84487" y="86572"/>
                  </a:cubicBezTo>
                  <a:cubicBezTo>
                    <a:pt x="86487" y="83333"/>
                    <a:pt x="86963" y="79333"/>
                    <a:pt x="88487" y="75808"/>
                  </a:cubicBezTo>
                  <a:cubicBezTo>
                    <a:pt x="89726" y="72284"/>
                    <a:pt x="90678" y="68760"/>
                    <a:pt x="91440" y="65045"/>
                  </a:cubicBezTo>
                  <a:cubicBezTo>
                    <a:pt x="92202" y="61235"/>
                    <a:pt x="93155" y="57806"/>
                    <a:pt x="93155" y="53710"/>
                  </a:cubicBezTo>
                  <a:cubicBezTo>
                    <a:pt x="93155" y="49900"/>
                    <a:pt x="92202" y="46186"/>
                    <a:pt x="91630" y="42661"/>
                  </a:cubicBezTo>
                  <a:cubicBezTo>
                    <a:pt x="90868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4" y="10276"/>
                    <a:pt x="70771" y="8276"/>
                    <a:pt x="67818" y="6276"/>
                  </a:cubicBezTo>
                  <a:cubicBezTo>
                    <a:pt x="64580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3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090"/>
                    <a:pt x="0" y="49805"/>
                    <a:pt x="0" y="53615"/>
                  </a:cubicBezTo>
                  <a:lnTo>
                    <a:pt x="0" y="53615"/>
                  </a:lnTo>
                  <a:lnTo>
                    <a:pt x="0" y="53615"/>
                  </a:lnTo>
                  <a:lnTo>
                    <a:pt x="0" y="53615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AA94458C-608B-45EA-31F1-FA7899ED2BC6}"/>
                </a:ext>
              </a:extLst>
            </p:cNvPr>
            <p:cNvSpPr/>
            <p:nvPr/>
          </p:nvSpPr>
          <p:spPr>
            <a:xfrm>
              <a:off x="5911252" y="4919939"/>
              <a:ext cx="111793" cy="42957"/>
            </a:xfrm>
            <a:custGeom>
              <a:avLst/>
              <a:gdLst>
                <a:gd name="connsiteX0" fmla="*/ 76581 w 76580"/>
                <a:gd name="connsiteY0" fmla="*/ 7810 h 29426"/>
                <a:gd name="connsiteX1" fmla="*/ 76581 w 76580"/>
                <a:gd name="connsiteY1" fmla="*/ 7810 h 29426"/>
                <a:gd name="connsiteX2" fmla="*/ 68866 w 76580"/>
                <a:gd name="connsiteY2" fmla="*/ 15050 h 29426"/>
                <a:gd name="connsiteX3" fmla="*/ 59912 w 76580"/>
                <a:gd name="connsiteY3" fmla="*/ 20860 h 29426"/>
                <a:gd name="connsiteX4" fmla="*/ 50482 w 76580"/>
                <a:gd name="connsiteY4" fmla="*/ 25908 h 29426"/>
                <a:gd name="connsiteX5" fmla="*/ 40576 w 76580"/>
                <a:gd name="connsiteY5" fmla="*/ 28956 h 29426"/>
                <a:gd name="connsiteX6" fmla="*/ 29908 w 76580"/>
                <a:gd name="connsiteY6" fmla="*/ 28956 h 29426"/>
                <a:gd name="connsiteX7" fmla="*/ 20003 w 76580"/>
                <a:gd name="connsiteY7" fmla="*/ 24955 h 29426"/>
                <a:gd name="connsiteX8" fmla="*/ 11620 w 76580"/>
                <a:gd name="connsiteY8" fmla="*/ 18383 h 29426"/>
                <a:gd name="connsiteX9" fmla="*/ 5905 w 76580"/>
                <a:gd name="connsiteY9" fmla="*/ 9049 h 29426"/>
                <a:gd name="connsiteX10" fmla="*/ 0 w 76580"/>
                <a:gd name="connsiteY10" fmla="*/ 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580" h="29426">
                  <a:moveTo>
                    <a:pt x="76581" y="7810"/>
                  </a:moveTo>
                  <a:lnTo>
                    <a:pt x="76581" y="7810"/>
                  </a:lnTo>
                  <a:cubicBezTo>
                    <a:pt x="72866" y="11621"/>
                    <a:pt x="73819" y="11049"/>
                    <a:pt x="68866" y="15050"/>
                  </a:cubicBezTo>
                  <a:cubicBezTo>
                    <a:pt x="66389" y="17050"/>
                    <a:pt x="63151" y="18574"/>
                    <a:pt x="59912" y="20860"/>
                  </a:cubicBezTo>
                  <a:cubicBezTo>
                    <a:pt x="56959" y="22574"/>
                    <a:pt x="54007" y="24384"/>
                    <a:pt x="50482" y="25908"/>
                  </a:cubicBezTo>
                  <a:cubicBezTo>
                    <a:pt x="47244" y="27146"/>
                    <a:pt x="44005" y="28670"/>
                    <a:pt x="40576" y="28956"/>
                  </a:cubicBezTo>
                  <a:cubicBezTo>
                    <a:pt x="37147" y="29432"/>
                    <a:pt x="33433" y="29718"/>
                    <a:pt x="29908" y="28956"/>
                  </a:cubicBezTo>
                  <a:cubicBezTo>
                    <a:pt x="26670" y="28194"/>
                    <a:pt x="23241" y="26956"/>
                    <a:pt x="20003" y="24955"/>
                  </a:cubicBezTo>
                  <a:cubicBezTo>
                    <a:pt x="17240" y="23241"/>
                    <a:pt x="14287" y="21146"/>
                    <a:pt x="11620" y="18383"/>
                  </a:cubicBezTo>
                  <a:cubicBezTo>
                    <a:pt x="9430" y="15907"/>
                    <a:pt x="8192" y="12382"/>
                    <a:pt x="5905" y="9049"/>
                  </a:cubicBezTo>
                  <a:cubicBezTo>
                    <a:pt x="4191" y="6286"/>
                    <a:pt x="1715" y="3524"/>
                    <a:pt x="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E00FCD4E-7936-49C6-E32F-73E0B4F1026F}"/>
                </a:ext>
              </a:extLst>
            </p:cNvPr>
            <p:cNvSpPr/>
            <p:nvPr/>
          </p:nvSpPr>
          <p:spPr>
            <a:xfrm>
              <a:off x="5972433" y="4883648"/>
              <a:ext cx="6118" cy="12792"/>
            </a:xfrm>
            <a:custGeom>
              <a:avLst/>
              <a:gdLst>
                <a:gd name="connsiteX0" fmla="*/ 4191 w 4191"/>
                <a:gd name="connsiteY0" fmla="*/ 0 h 8763"/>
                <a:gd name="connsiteX1" fmla="*/ 4191 w 4191"/>
                <a:gd name="connsiteY1" fmla="*/ 0 h 8763"/>
                <a:gd name="connsiteX2" fmla="*/ 0 w 4191"/>
                <a:gd name="connsiteY2" fmla="*/ 8763 h 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8763">
                  <a:moveTo>
                    <a:pt x="4191" y="0"/>
                  </a:moveTo>
                  <a:lnTo>
                    <a:pt x="4191" y="0"/>
                  </a:lnTo>
                  <a:cubicBezTo>
                    <a:pt x="2477" y="4477"/>
                    <a:pt x="1429" y="4286"/>
                    <a:pt x="0" y="876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9861AE17-D811-F9FB-E0DB-22CC551D922A}"/>
                </a:ext>
              </a:extLst>
            </p:cNvPr>
            <p:cNvSpPr/>
            <p:nvPr/>
          </p:nvSpPr>
          <p:spPr>
            <a:xfrm>
              <a:off x="5947125" y="4874610"/>
              <a:ext cx="6118" cy="13208"/>
            </a:xfrm>
            <a:custGeom>
              <a:avLst/>
              <a:gdLst>
                <a:gd name="connsiteX0" fmla="*/ 4191 w 4191"/>
                <a:gd name="connsiteY0" fmla="*/ 0 h 9048"/>
                <a:gd name="connsiteX1" fmla="*/ 4191 w 4191"/>
                <a:gd name="connsiteY1" fmla="*/ 0 h 9048"/>
                <a:gd name="connsiteX2" fmla="*/ 0 w 4191"/>
                <a:gd name="connsiteY2" fmla="*/ 9049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9048">
                  <a:moveTo>
                    <a:pt x="4191" y="0"/>
                  </a:moveTo>
                  <a:lnTo>
                    <a:pt x="4191" y="0"/>
                  </a:lnTo>
                  <a:cubicBezTo>
                    <a:pt x="2477" y="4763"/>
                    <a:pt x="1429" y="4477"/>
                    <a:pt x="0" y="9049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F452EC6D-09E2-DB16-DAC6-599CB2D4F277}"/>
                </a:ext>
              </a:extLst>
            </p:cNvPr>
            <p:cNvSpPr/>
            <p:nvPr/>
          </p:nvSpPr>
          <p:spPr>
            <a:xfrm>
              <a:off x="5969513" y="4843463"/>
              <a:ext cx="77309" cy="84124"/>
            </a:xfrm>
            <a:custGeom>
              <a:avLst/>
              <a:gdLst>
                <a:gd name="connsiteX0" fmla="*/ 0 w 52958"/>
                <a:gd name="connsiteY0" fmla="*/ 0 h 57626"/>
                <a:gd name="connsiteX1" fmla="*/ 0 w 52958"/>
                <a:gd name="connsiteY1" fmla="*/ 0 h 57626"/>
                <a:gd name="connsiteX2" fmla="*/ 6191 w 52958"/>
                <a:gd name="connsiteY2" fmla="*/ 8763 h 57626"/>
                <a:gd name="connsiteX3" fmla="*/ 12668 w 52958"/>
                <a:gd name="connsiteY3" fmla="*/ 17050 h 57626"/>
                <a:gd name="connsiteX4" fmla="*/ 19145 w 52958"/>
                <a:gd name="connsiteY4" fmla="*/ 25813 h 57626"/>
                <a:gd name="connsiteX5" fmla="*/ 25051 w 52958"/>
                <a:gd name="connsiteY5" fmla="*/ 34576 h 57626"/>
                <a:gd name="connsiteX6" fmla="*/ 32194 w 52958"/>
                <a:gd name="connsiteY6" fmla="*/ 42577 h 57626"/>
                <a:gd name="connsiteX7" fmla="*/ 41815 w 52958"/>
                <a:gd name="connsiteY7" fmla="*/ 51340 h 57626"/>
                <a:gd name="connsiteX8" fmla="*/ 52959 w 52958"/>
                <a:gd name="connsiteY8" fmla="*/ 57626 h 5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8" h="57626">
                  <a:moveTo>
                    <a:pt x="0" y="0"/>
                  </a:moveTo>
                  <a:lnTo>
                    <a:pt x="0" y="0"/>
                  </a:lnTo>
                  <a:cubicBezTo>
                    <a:pt x="3239" y="4286"/>
                    <a:pt x="2477" y="3524"/>
                    <a:pt x="6191" y="8763"/>
                  </a:cubicBezTo>
                  <a:cubicBezTo>
                    <a:pt x="8192" y="11240"/>
                    <a:pt x="10382" y="14002"/>
                    <a:pt x="12668" y="17050"/>
                  </a:cubicBezTo>
                  <a:cubicBezTo>
                    <a:pt x="14859" y="19812"/>
                    <a:pt x="16859" y="23051"/>
                    <a:pt x="19145" y="25813"/>
                  </a:cubicBezTo>
                  <a:cubicBezTo>
                    <a:pt x="21336" y="28861"/>
                    <a:pt x="23146" y="32099"/>
                    <a:pt x="25051" y="34576"/>
                  </a:cubicBezTo>
                  <a:cubicBezTo>
                    <a:pt x="27813" y="38100"/>
                    <a:pt x="30480" y="40577"/>
                    <a:pt x="32194" y="42577"/>
                  </a:cubicBezTo>
                  <a:cubicBezTo>
                    <a:pt x="35433" y="45815"/>
                    <a:pt x="38671" y="48863"/>
                    <a:pt x="41815" y="51340"/>
                  </a:cubicBezTo>
                  <a:cubicBezTo>
                    <a:pt x="47720" y="55626"/>
                    <a:pt x="47244" y="54578"/>
                    <a:pt x="52959" y="57626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A7284A88-9D7A-F02F-5786-C62FBB37CD64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849 w 14015"/>
                <a:gd name="connsiteY0" fmla="*/ 7313 h 19119"/>
                <a:gd name="connsiteX1" fmla="*/ 849 w 14015"/>
                <a:gd name="connsiteY1" fmla="*/ 7313 h 19119"/>
                <a:gd name="connsiteX2" fmla="*/ 4088 w 14015"/>
                <a:gd name="connsiteY2" fmla="*/ 18838 h 19119"/>
                <a:gd name="connsiteX3" fmla="*/ 13041 w 14015"/>
                <a:gd name="connsiteY3" fmla="*/ 12075 h 19119"/>
                <a:gd name="connsiteX4" fmla="*/ 11041 w 14015"/>
                <a:gd name="connsiteY4" fmla="*/ 264 h 19119"/>
                <a:gd name="connsiteX5" fmla="*/ 849 w 14015"/>
                <a:gd name="connsiteY5" fmla="*/ 7313 h 19119"/>
                <a:gd name="connsiteX6" fmla="*/ 849 w 14015"/>
                <a:gd name="connsiteY6" fmla="*/ 7313 h 19119"/>
                <a:gd name="connsiteX7" fmla="*/ 849 w 14015"/>
                <a:gd name="connsiteY7" fmla="*/ 7313 h 19119"/>
                <a:gd name="connsiteX8" fmla="*/ 849 w 14015"/>
                <a:gd name="connsiteY8" fmla="*/ 7313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15" h="19119">
                  <a:moveTo>
                    <a:pt x="849" y="7313"/>
                  </a:moveTo>
                  <a:lnTo>
                    <a:pt x="849" y="7313"/>
                  </a:lnTo>
                  <a:cubicBezTo>
                    <a:pt x="-1151" y="12552"/>
                    <a:pt x="564" y="17600"/>
                    <a:pt x="4088" y="18838"/>
                  </a:cubicBez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lnTo>
                    <a:pt x="849" y="7313"/>
                  </a:lnTo>
                  <a:lnTo>
                    <a:pt x="849" y="7313"/>
                  </a:lnTo>
                  <a:lnTo>
                    <a:pt x="849" y="7313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28970B16-191A-2CCD-5856-25CBE4C421BC}"/>
                </a:ext>
              </a:extLst>
            </p:cNvPr>
            <p:cNvSpPr/>
            <p:nvPr/>
          </p:nvSpPr>
          <p:spPr>
            <a:xfrm>
              <a:off x="6084227" y="4951687"/>
              <a:ext cx="53025" cy="54462"/>
            </a:xfrm>
            <a:custGeom>
              <a:avLst/>
              <a:gdLst>
                <a:gd name="connsiteX0" fmla="*/ 191 w 36323"/>
                <a:gd name="connsiteY0" fmla="*/ 160 h 37307"/>
                <a:gd name="connsiteX1" fmla="*/ 191 w 36323"/>
                <a:gd name="connsiteY1" fmla="*/ 160 h 37307"/>
                <a:gd name="connsiteX2" fmla="*/ 7144 w 36323"/>
                <a:gd name="connsiteY2" fmla="*/ 7399 h 37307"/>
                <a:gd name="connsiteX3" fmla="*/ 15050 w 36323"/>
                <a:gd name="connsiteY3" fmla="*/ 13686 h 37307"/>
                <a:gd name="connsiteX4" fmla="*/ 23717 w 36323"/>
                <a:gd name="connsiteY4" fmla="*/ 19496 h 37307"/>
                <a:gd name="connsiteX5" fmla="*/ 33909 w 36323"/>
                <a:gd name="connsiteY5" fmla="*/ 19020 h 37307"/>
                <a:gd name="connsiteX6" fmla="*/ 32194 w 36323"/>
                <a:gd name="connsiteY6" fmla="*/ 26544 h 37307"/>
                <a:gd name="connsiteX7" fmla="*/ 23813 w 36323"/>
                <a:gd name="connsiteY7" fmla="*/ 33307 h 37307"/>
                <a:gd name="connsiteX8" fmla="*/ 13906 w 36323"/>
                <a:gd name="connsiteY8" fmla="*/ 37308 h 37307"/>
                <a:gd name="connsiteX9" fmla="*/ 4000 w 36323"/>
                <a:gd name="connsiteY9" fmla="*/ 32831 h 37307"/>
                <a:gd name="connsiteX10" fmla="*/ 762 w 36323"/>
                <a:gd name="connsiteY10" fmla="*/ 22068 h 37307"/>
                <a:gd name="connsiteX11" fmla="*/ 0 w 36323"/>
                <a:gd name="connsiteY11" fmla="*/ 11019 h 37307"/>
                <a:gd name="connsiteX12" fmla="*/ 191 w 36323"/>
                <a:gd name="connsiteY12" fmla="*/ 160 h 37307"/>
                <a:gd name="connsiteX13" fmla="*/ 191 w 36323"/>
                <a:gd name="connsiteY13" fmla="*/ 160 h 37307"/>
                <a:gd name="connsiteX14" fmla="*/ 191 w 36323"/>
                <a:gd name="connsiteY14" fmla="*/ 160 h 37307"/>
                <a:gd name="connsiteX15" fmla="*/ 191 w 36323"/>
                <a:gd name="connsiteY15" fmla="*/ 160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323" h="37307">
                  <a:moveTo>
                    <a:pt x="191" y="160"/>
                  </a:moveTo>
                  <a:lnTo>
                    <a:pt x="191" y="160"/>
                  </a:lnTo>
                  <a:cubicBezTo>
                    <a:pt x="5144" y="-888"/>
                    <a:pt x="2953" y="3399"/>
                    <a:pt x="7144" y="7399"/>
                  </a:cubicBezTo>
                  <a:cubicBezTo>
                    <a:pt x="9335" y="9685"/>
                    <a:pt x="12383" y="11685"/>
                    <a:pt x="15050" y="13686"/>
                  </a:cubicBezTo>
                  <a:cubicBezTo>
                    <a:pt x="18002" y="15686"/>
                    <a:pt x="20765" y="18448"/>
                    <a:pt x="23717" y="19496"/>
                  </a:cubicBezTo>
                  <a:cubicBezTo>
                    <a:pt x="27146" y="20734"/>
                    <a:pt x="30671" y="19972"/>
                    <a:pt x="33909" y="19020"/>
                  </a:cubicBezTo>
                  <a:cubicBezTo>
                    <a:pt x="38100" y="17496"/>
                    <a:pt x="36385" y="21782"/>
                    <a:pt x="32194" y="26544"/>
                  </a:cubicBezTo>
                  <a:cubicBezTo>
                    <a:pt x="30004" y="29021"/>
                    <a:pt x="26956" y="31307"/>
                    <a:pt x="23813" y="33307"/>
                  </a:cubicBezTo>
                  <a:cubicBezTo>
                    <a:pt x="20574" y="35307"/>
                    <a:pt x="17335" y="37308"/>
                    <a:pt x="13906" y="37308"/>
                  </a:cubicBezTo>
                  <a:cubicBezTo>
                    <a:pt x="10477" y="37308"/>
                    <a:pt x="6477" y="36546"/>
                    <a:pt x="4000" y="32831"/>
                  </a:cubicBezTo>
                  <a:cubicBezTo>
                    <a:pt x="2286" y="30545"/>
                    <a:pt x="1524" y="26830"/>
                    <a:pt x="762" y="22068"/>
                  </a:cubicBezTo>
                  <a:cubicBezTo>
                    <a:pt x="0" y="19020"/>
                    <a:pt x="0" y="15305"/>
                    <a:pt x="0" y="11019"/>
                  </a:cubicBezTo>
                  <a:cubicBezTo>
                    <a:pt x="0" y="7685"/>
                    <a:pt x="0" y="4351"/>
                    <a:pt x="191" y="160"/>
                  </a:cubicBez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80B878B5-0C66-0E95-326E-C0F3CBAA3893}"/>
                </a:ext>
              </a:extLst>
            </p:cNvPr>
            <p:cNvSpPr/>
            <p:nvPr/>
          </p:nvSpPr>
          <p:spPr>
            <a:xfrm>
              <a:off x="6020822" y="4983347"/>
              <a:ext cx="145496" cy="188224"/>
            </a:xfrm>
            <a:custGeom>
              <a:avLst/>
              <a:gdLst>
                <a:gd name="connsiteX0" fmla="*/ 0 w 99667"/>
                <a:gd name="connsiteY0" fmla="*/ 0 h 128936"/>
                <a:gd name="connsiteX1" fmla="*/ 0 w 99667"/>
                <a:gd name="connsiteY1" fmla="*/ 0 h 128936"/>
                <a:gd name="connsiteX2" fmla="*/ 6477 w 99667"/>
                <a:gd name="connsiteY2" fmla="*/ 8763 h 128936"/>
                <a:gd name="connsiteX3" fmla="*/ 13906 w 99667"/>
                <a:gd name="connsiteY3" fmla="*/ 16764 h 128936"/>
                <a:gd name="connsiteX4" fmla="*/ 20098 w 99667"/>
                <a:gd name="connsiteY4" fmla="*/ 25336 h 128936"/>
                <a:gd name="connsiteX5" fmla="*/ 26765 w 99667"/>
                <a:gd name="connsiteY5" fmla="*/ 33909 h 128936"/>
                <a:gd name="connsiteX6" fmla="*/ 32956 w 99667"/>
                <a:gd name="connsiteY6" fmla="*/ 42672 h 128936"/>
                <a:gd name="connsiteX7" fmla="*/ 39433 w 99667"/>
                <a:gd name="connsiteY7" fmla="*/ 51435 h 128936"/>
                <a:gd name="connsiteX8" fmla="*/ 44672 w 99667"/>
                <a:gd name="connsiteY8" fmla="*/ 60960 h 128936"/>
                <a:gd name="connsiteX9" fmla="*/ 51149 w 99667"/>
                <a:gd name="connsiteY9" fmla="*/ 69532 h 128936"/>
                <a:gd name="connsiteX10" fmla="*/ 56864 w 99667"/>
                <a:gd name="connsiteY10" fmla="*/ 79819 h 128936"/>
                <a:gd name="connsiteX11" fmla="*/ 63341 w 99667"/>
                <a:gd name="connsiteY11" fmla="*/ 89344 h 128936"/>
                <a:gd name="connsiteX12" fmla="*/ 70485 w 99667"/>
                <a:gd name="connsiteY12" fmla="*/ 98679 h 128936"/>
                <a:gd name="connsiteX13" fmla="*/ 76676 w 99667"/>
                <a:gd name="connsiteY13" fmla="*/ 108490 h 128936"/>
                <a:gd name="connsiteX14" fmla="*/ 83820 w 99667"/>
                <a:gd name="connsiteY14" fmla="*/ 118015 h 128936"/>
                <a:gd name="connsiteX15" fmla="*/ 99441 w 99667"/>
                <a:gd name="connsiteY15" fmla="*/ 116491 h 128936"/>
                <a:gd name="connsiteX16" fmla="*/ 91535 w 99667"/>
                <a:gd name="connsiteY16" fmla="*/ 125063 h 128936"/>
                <a:gd name="connsiteX17" fmla="*/ 80391 w 99667"/>
                <a:gd name="connsiteY17" fmla="*/ 128873 h 128936"/>
                <a:gd name="connsiteX18" fmla="*/ 71723 w 99667"/>
                <a:gd name="connsiteY18" fmla="*/ 122873 h 128936"/>
                <a:gd name="connsiteX19" fmla="*/ 64770 w 99667"/>
                <a:gd name="connsiteY19" fmla="*/ 115348 h 128936"/>
                <a:gd name="connsiteX20" fmla="*/ 57340 w 99667"/>
                <a:gd name="connsiteY20" fmla="*/ 108299 h 128936"/>
                <a:gd name="connsiteX21" fmla="*/ 50387 w 99667"/>
                <a:gd name="connsiteY21" fmla="*/ 100774 h 128936"/>
                <a:gd name="connsiteX22" fmla="*/ 43434 w 99667"/>
                <a:gd name="connsiteY22" fmla="*/ 92964 h 128936"/>
                <a:gd name="connsiteX23" fmla="*/ 36957 w 99667"/>
                <a:gd name="connsiteY23" fmla="*/ 84963 h 128936"/>
                <a:gd name="connsiteX24" fmla="*/ 29242 w 99667"/>
                <a:gd name="connsiteY24" fmla="*/ 77915 h 128936"/>
                <a:gd name="connsiteX25" fmla="*/ 23527 w 99667"/>
                <a:gd name="connsiteY25" fmla="*/ 69151 h 128936"/>
                <a:gd name="connsiteX26" fmla="*/ 16859 w 99667"/>
                <a:gd name="connsiteY26" fmla="*/ 61627 h 128936"/>
                <a:gd name="connsiteX27" fmla="*/ 20288 w 99667"/>
                <a:gd name="connsiteY27" fmla="*/ 71914 h 128936"/>
                <a:gd name="connsiteX28" fmla="*/ 24003 w 99667"/>
                <a:gd name="connsiteY28" fmla="*/ 82487 h 128936"/>
                <a:gd name="connsiteX29" fmla="*/ 28194 w 99667"/>
                <a:gd name="connsiteY29" fmla="*/ 92773 h 128936"/>
                <a:gd name="connsiteX30" fmla="*/ 32385 w 99667"/>
                <a:gd name="connsiteY30" fmla="*/ 102775 h 12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9667" h="128936">
                  <a:moveTo>
                    <a:pt x="0" y="0"/>
                  </a:moveTo>
                  <a:lnTo>
                    <a:pt x="0" y="0"/>
                  </a:lnTo>
                  <a:cubicBezTo>
                    <a:pt x="3238" y="4477"/>
                    <a:pt x="2476" y="3524"/>
                    <a:pt x="6477" y="8763"/>
                  </a:cubicBezTo>
                  <a:cubicBezTo>
                    <a:pt x="8477" y="11240"/>
                    <a:pt x="11430" y="13525"/>
                    <a:pt x="13906" y="16764"/>
                  </a:cubicBezTo>
                  <a:cubicBezTo>
                    <a:pt x="15907" y="19241"/>
                    <a:pt x="17907" y="22289"/>
                    <a:pt x="20098" y="25336"/>
                  </a:cubicBezTo>
                  <a:cubicBezTo>
                    <a:pt x="22098" y="28384"/>
                    <a:pt x="24575" y="31147"/>
                    <a:pt x="26765" y="33909"/>
                  </a:cubicBezTo>
                  <a:cubicBezTo>
                    <a:pt x="28765" y="36957"/>
                    <a:pt x="30766" y="39910"/>
                    <a:pt x="32956" y="42672"/>
                  </a:cubicBezTo>
                  <a:cubicBezTo>
                    <a:pt x="35147" y="45910"/>
                    <a:pt x="37433" y="48673"/>
                    <a:pt x="39433" y="51435"/>
                  </a:cubicBezTo>
                  <a:cubicBezTo>
                    <a:pt x="41624" y="54673"/>
                    <a:pt x="42863" y="58198"/>
                    <a:pt x="44672" y="60960"/>
                  </a:cubicBezTo>
                  <a:cubicBezTo>
                    <a:pt x="48101" y="65722"/>
                    <a:pt x="50863" y="68770"/>
                    <a:pt x="51149" y="69532"/>
                  </a:cubicBezTo>
                  <a:cubicBezTo>
                    <a:pt x="51435" y="70580"/>
                    <a:pt x="53340" y="74581"/>
                    <a:pt x="56864" y="79819"/>
                  </a:cubicBezTo>
                  <a:cubicBezTo>
                    <a:pt x="58865" y="82582"/>
                    <a:pt x="60865" y="86106"/>
                    <a:pt x="63341" y="89344"/>
                  </a:cubicBezTo>
                  <a:cubicBezTo>
                    <a:pt x="65532" y="92583"/>
                    <a:pt x="68294" y="95345"/>
                    <a:pt x="70485" y="98679"/>
                  </a:cubicBezTo>
                  <a:cubicBezTo>
                    <a:pt x="72676" y="102013"/>
                    <a:pt x="74486" y="105727"/>
                    <a:pt x="76676" y="108490"/>
                  </a:cubicBezTo>
                  <a:cubicBezTo>
                    <a:pt x="80391" y="113728"/>
                    <a:pt x="83344" y="117824"/>
                    <a:pt x="83820" y="118015"/>
                  </a:cubicBezTo>
                  <a:cubicBezTo>
                    <a:pt x="85820" y="119063"/>
                    <a:pt x="97726" y="115729"/>
                    <a:pt x="99441" y="116491"/>
                  </a:cubicBezTo>
                  <a:cubicBezTo>
                    <a:pt x="100679" y="117253"/>
                    <a:pt x="96679" y="122015"/>
                    <a:pt x="91535" y="125063"/>
                  </a:cubicBezTo>
                  <a:cubicBezTo>
                    <a:pt x="88297" y="127063"/>
                    <a:pt x="84392" y="129350"/>
                    <a:pt x="80391" y="128873"/>
                  </a:cubicBezTo>
                  <a:cubicBezTo>
                    <a:pt x="78676" y="128588"/>
                    <a:pt x="75724" y="126111"/>
                    <a:pt x="71723" y="122873"/>
                  </a:cubicBezTo>
                  <a:cubicBezTo>
                    <a:pt x="69532" y="120872"/>
                    <a:pt x="67532" y="118110"/>
                    <a:pt x="64770" y="115348"/>
                  </a:cubicBezTo>
                  <a:cubicBezTo>
                    <a:pt x="62294" y="113062"/>
                    <a:pt x="59817" y="110871"/>
                    <a:pt x="57340" y="108299"/>
                  </a:cubicBezTo>
                  <a:cubicBezTo>
                    <a:pt x="55150" y="105823"/>
                    <a:pt x="52673" y="103251"/>
                    <a:pt x="50387" y="100774"/>
                  </a:cubicBezTo>
                  <a:cubicBezTo>
                    <a:pt x="47911" y="98012"/>
                    <a:pt x="45720" y="95536"/>
                    <a:pt x="43434" y="92964"/>
                  </a:cubicBezTo>
                  <a:cubicBezTo>
                    <a:pt x="40957" y="90488"/>
                    <a:pt x="39243" y="87440"/>
                    <a:pt x="36957" y="84963"/>
                  </a:cubicBezTo>
                  <a:cubicBezTo>
                    <a:pt x="34480" y="82201"/>
                    <a:pt x="31242" y="80486"/>
                    <a:pt x="29242" y="77915"/>
                  </a:cubicBezTo>
                  <a:cubicBezTo>
                    <a:pt x="26765" y="74867"/>
                    <a:pt x="25527" y="71342"/>
                    <a:pt x="23527" y="69151"/>
                  </a:cubicBezTo>
                  <a:cubicBezTo>
                    <a:pt x="19526" y="64389"/>
                    <a:pt x="16097" y="56388"/>
                    <a:pt x="16859" y="61627"/>
                  </a:cubicBezTo>
                  <a:cubicBezTo>
                    <a:pt x="17812" y="66866"/>
                    <a:pt x="18574" y="66866"/>
                    <a:pt x="20288" y="71914"/>
                  </a:cubicBezTo>
                  <a:cubicBezTo>
                    <a:pt x="22288" y="77152"/>
                    <a:pt x="22003" y="77152"/>
                    <a:pt x="24003" y="82487"/>
                  </a:cubicBezTo>
                  <a:cubicBezTo>
                    <a:pt x="26003" y="87535"/>
                    <a:pt x="26194" y="87535"/>
                    <a:pt x="28194" y="92773"/>
                  </a:cubicBezTo>
                  <a:cubicBezTo>
                    <a:pt x="30194" y="97822"/>
                    <a:pt x="30385" y="97822"/>
                    <a:pt x="32385" y="102775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1C9C214B-3518-95EE-5C7E-B10043AE92BE}"/>
                </a:ext>
              </a:extLst>
            </p:cNvPr>
            <p:cNvSpPr/>
            <p:nvPr/>
          </p:nvSpPr>
          <p:spPr>
            <a:xfrm>
              <a:off x="5813858" y="4817219"/>
              <a:ext cx="137857" cy="313795"/>
            </a:xfrm>
            <a:custGeom>
              <a:avLst/>
              <a:gdLst>
                <a:gd name="connsiteX0" fmla="*/ 94434 w 94434"/>
                <a:gd name="connsiteY0" fmla="*/ 214955 h 214954"/>
                <a:gd name="connsiteX1" fmla="*/ 94434 w 94434"/>
                <a:gd name="connsiteY1" fmla="*/ 214955 h 214954"/>
                <a:gd name="connsiteX2" fmla="*/ 91481 w 94434"/>
                <a:gd name="connsiteY2" fmla="*/ 204382 h 214954"/>
                <a:gd name="connsiteX3" fmla="*/ 87767 w 94434"/>
                <a:gd name="connsiteY3" fmla="*/ 193809 h 214954"/>
                <a:gd name="connsiteX4" fmla="*/ 83099 w 94434"/>
                <a:gd name="connsiteY4" fmla="*/ 183808 h 214954"/>
                <a:gd name="connsiteX5" fmla="*/ 80623 w 94434"/>
                <a:gd name="connsiteY5" fmla="*/ 172759 h 214954"/>
                <a:gd name="connsiteX6" fmla="*/ 76622 w 94434"/>
                <a:gd name="connsiteY6" fmla="*/ 162472 h 214954"/>
                <a:gd name="connsiteX7" fmla="*/ 71955 w 94434"/>
                <a:gd name="connsiteY7" fmla="*/ 152471 h 214954"/>
                <a:gd name="connsiteX8" fmla="*/ 69193 w 94434"/>
                <a:gd name="connsiteY8" fmla="*/ 141708 h 214954"/>
                <a:gd name="connsiteX9" fmla="*/ 64240 w 94434"/>
                <a:gd name="connsiteY9" fmla="*/ 131897 h 214954"/>
                <a:gd name="connsiteX10" fmla="*/ 60049 w 94434"/>
                <a:gd name="connsiteY10" fmla="*/ 121610 h 214954"/>
                <a:gd name="connsiteX11" fmla="*/ 57096 w 94434"/>
                <a:gd name="connsiteY11" fmla="*/ 110847 h 214954"/>
                <a:gd name="connsiteX12" fmla="*/ 52143 w 94434"/>
                <a:gd name="connsiteY12" fmla="*/ 100845 h 214954"/>
                <a:gd name="connsiteX13" fmla="*/ 47476 w 94434"/>
                <a:gd name="connsiteY13" fmla="*/ 90844 h 214954"/>
                <a:gd name="connsiteX14" fmla="*/ 43475 w 94434"/>
                <a:gd name="connsiteY14" fmla="*/ 80557 h 214954"/>
                <a:gd name="connsiteX15" fmla="*/ 38808 w 94434"/>
                <a:gd name="connsiteY15" fmla="*/ 70556 h 214954"/>
                <a:gd name="connsiteX16" fmla="*/ 35379 w 94434"/>
                <a:gd name="connsiteY16" fmla="*/ 59983 h 214954"/>
                <a:gd name="connsiteX17" fmla="*/ 29474 w 94434"/>
                <a:gd name="connsiteY17" fmla="*/ 50458 h 214954"/>
                <a:gd name="connsiteX18" fmla="*/ 24521 w 94434"/>
                <a:gd name="connsiteY18" fmla="*/ 40647 h 214954"/>
                <a:gd name="connsiteX19" fmla="*/ 19282 w 94434"/>
                <a:gd name="connsiteY19" fmla="*/ 30837 h 214954"/>
                <a:gd name="connsiteX20" fmla="*/ 13853 w 94434"/>
                <a:gd name="connsiteY20" fmla="*/ 21312 h 214954"/>
                <a:gd name="connsiteX21" fmla="*/ 7661 w 94434"/>
                <a:gd name="connsiteY21" fmla="*/ 11977 h 214954"/>
                <a:gd name="connsiteX22" fmla="*/ 518 w 94434"/>
                <a:gd name="connsiteY22" fmla="*/ 3405 h 214954"/>
                <a:gd name="connsiteX23" fmla="*/ 6709 w 94434"/>
                <a:gd name="connsiteY23" fmla="*/ 3405 h 214954"/>
                <a:gd name="connsiteX24" fmla="*/ 14900 w 94434"/>
                <a:gd name="connsiteY24" fmla="*/ 10453 h 214954"/>
                <a:gd name="connsiteX25" fmla="*/ 23282 w 94434"/>
                <a:gd name="connsiteY25" fmla="*/ 17216 h 214954"/>
                <a:gd name="connsiteX26" fmla="*/ 30426 w 94434"/>
                <a:gd name="connsiteY26" fmla="*/ 25503 h 214954"/>
                <a:gd name="connsiteX27" fmla="*/ 38332 w 94434"/>
                <a:gd name="connsiteY27" fmla="*/ 32742 h 214954"/>
                <a:gd name="connsiteX28" fmla="*/ 45476 w 94434"/>
                <a:gd name="connsiteY28" fmla="*/ 41028 h 214954"/>
                <a:gd name="connsiteX29" fmla="*/ 53191 w 94434"/>
                <a:gd name="connsiteY29" fmla="*/ 48839 h 214954"/>
                <a:gd name="connsiteX30" fmla="*/ 60620 w 94434"/>
                <a:gd name="connsiteY30" fmla="*/ 56840 h 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4434" h="214954">
                  <a:moveTo>
                    <a:pt x="94434" y="214955"/>
                  </a:moveTo>
                  <a:lnTo>
                    <a:pt x="94434" y="214955"/>
                  </a:lnTo>
                  <a:cubicBezTo>
                    <a:pt x="93482" y="211907"/>
                    <a:pt x="92910" y="208192"/>
                    <a:pt x="91481" y="204382"/>
                  </a:cubicBezTo>
                  <a:cubicBezTo>
                    <a:pt x="90529" y="201144"/>
                    <a:pt x="89005" y="197619"/>
                    <a:pt x="87767" y="193809"/>
                  </a:cubicBezTo>
                  <a:cubicBezTo>
                    <a:pt x="86528" y="190571"/>
                    <a:pt x="84338" y="187237"/>
                    <a:pt x="83099" y="183808"/>
                  </a:cubicBezTo>
                  <a:cubicBezTo>
                    <a:pt x="81861" y="180570"/>
                    <a:pt x="81861" y="176569"/>
                    <a:pt x="80623" y="172759"/>
                  </a:cubicBezTo>
                  <a:cubicBezTo>
                    <a:pt x="79385" y="169521"/>
                    <a:pt x="77861" y="166187"/>
                    <a:pt x="76622" y="162472"/>
                  </a:cubicBezTo>
                  <a:cubicBezTo>
                    <a:pt x="75384" y="159234"/>
                    <a:pt x="73193" y="155900"/>
                    <a:pt x="71955" y="152471"/>
                  </a:cubicBezTo>
                  <a:cubicBezTo>
                    <a:pt x="70717" y="149232"/>
                    <a:pt x="70717" y="145232"/>
                    <a:pt x="69193" y="141708"/>
                  </a:cubicBezTo>
                  <a:cubicBezTo>
                    <a:pt x="67955" y="138183"/>
                    <a:pt x="65478" y="135135"/>
                    <a:pt x="64240" y="131897"/>
                  </a:cubicBezTo>
                  <a:cubicBezTo>
                    <a:pt x="63002" y="128373"/>
                    <a:pt x="61478" y="124848"/>
                    <a:pt x="60049" y="121610"/>
                  </a:cubicBezTo>
                  <a:cubicBezTo>
                    <a:pt x="58811" y="118086"/>
                    <a:pt x="58334" y="114371"/>
                    <a:pt x="57096" y="110847"/>
                  </a:cubicBezTo>
                  <a:cubicBezTo>
                    <a:pt x="55572" y="107322"/>
                    <a:pt x="53381" y="104274"/>
                    <a:pt x="52143" y="100845"/>
                  </a:cubicBezTo>
                  <a:cubicBezTo>
                    <a:pt x="50619" y="97607"/>
                    <a:pt x="48905" y="94273"/>
                    <a:pt x="47476" y="90844"/>
                  </a:cubicBezTo>
                  <a:cubicBezTo>
                    <a:pt x="45952" y="87606"/>
                    <a:pt x="44999" y="84081"/>
                    <a:pt x="43475" y="80557"/>
                  </a:cubicBezTo>
                  <a:cubicBezTo>
                    <a:pt x="41951" y="77319"/>
                    <a:pt x="40237" y="73794"/>
                    <a:pt x="38808" y="70556"/>
                  </a:cubicBezTo>
                  <a:cubicBezTo>
                    <a:pt x="37284" y="67317"/>
                    <a:pt x="36808" y="63317"/>
                    <a:pt x="35379" y="59983"/>
                  </a:cubicBezTo>
                  <a:cubicBezTo>
                    <a:pt x="33665" y="56459"/>
                    <a:pt x="30902" y="53697"/>
                    <a:pt x="29474" y="50458"/>
                  </a:cubicBezTo>
                  <a:cubicBezTo>
                    <a:pt x="27759" y="47220"/>
                    <a:pt x="26045" y="43886"/>
                    <a:pt x="24521" y="40647"/>
                  </a:cubicBezTo>
                  <a:cubicBezTo>
                    <a:pt x="22520" y="37409"/>
                    <a:pt x="21282" y="33885"/>
                    <a:pt x="19282" y="30837"/>
                  </a:cubicBezTo>
                  <a:cubicBezTo>
                    <a:pt x="17567" y="27598"/>
                    <a:pt x="15567" y="24264"/>
                    <a:pt x="13853" y="21312"/>
                  </a:cubicBezTo>
                  <a:cubicBezTo>
                    <a:pt x="11662" y="18073"/>
                    <a:pt x="9662" y="14739"/>
                    <a:pt x="7661" y="11977"/>
                  </a:cubicBezTo>
                  <a:cubicBezTo>
                    <a:pt x="5471" y="8739"/>
                    <a:pt x="2708" y="5976"/>
                    <a:pt x="518" y="3405"/>
                  </a:cubicBezTo>
                  <a:cubicBezTo>
                    <a:pt x="-1197" y="-1644"/>
                    <a:pt x="1470" y="-596"/>
                    <a:pt x="6709" y="3405"/>
                  </a:cubicBezTo>
                  <a:cubicBezTo>
                    <a:pt x="8900" y="5405"/>
                    <a:pt x="11948" y="7691"/>
                    <a:pt x="14900" y="10453"/>
                  </a:cubicBezTo>
                  <a:cubicBezTo>
                    <a:pt x="17377" y="12739"/>
                    <a:pt x="20615" y="14739"/>
                    <a:pt x="23282" y="17216"/>
                  </a:cubicBezTo>
                  <a:cubicBezTo>
                    <a:pt x="25759" y="19692"/>
                    <a:pt x="27950" y="23026"/>
                    <a:pt x="30426" y="25503"/>
                  </a:cubicBezTo>
                  <a:cubicBezTo>
                    <a:pt x="32903" y="27979"/>
                    <a:pt x="35855" y="30265"/>
                    <a:pt x="38332" y="32742"/>
                  </a:cubicBezTo>
                  <a:cubicBezTo>
                    <a:pt x="41094" y="35504"/>
                    <a:pt x="42999" y="38552"/>
                    <a:pt x="45476" y="41028"/>
                  </a:cubicBezTo>
                  <a:cubicBezTo>
                    <a:pt x="48238" y="44076"/>
                    <a:pt x="50905" y="46553"/>
                    <a:pt x="53191" y="48839"/>
                  </a:cubicBezTo>
                  <a:cubicBezTo>
                    <a:pt x="57668" y="53601"/>
                    <a:pt x="56906" y="52649"/>
                    <a:pt x="60620" y="5684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C64BACD-23F0-1FF8-55F6-8051724B3EC6}"/>
                </a:ext>
              </a:extLst>
            </p:cNvPr>
            <p:cNvGrpSpPr/>
            <p:nvPr/>
          </p:nvGrpSpPr>
          <p:grpSpPr>
            <a:xfrm>
              <a:off x="5164775" y="4915374"/>
              <a:ext cx="200785" cy="496958"/>
              <a:chOff x="5040950" y="4861399"/>
              <a:chExt cx="200785" cy="496958"/>
            </a:xfrm>
          </p:grpSpPr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17C98569-3566-A068-BDD9-7711304244AB}"/>
                  </a:ext>
                </a:extLst>
              </p:cNvPr>
              <p:cNvSpPr/>
              <p:nvPr/>
            </p:nvSpPr>
            <p:spPr>
              <a:xfrm>
                <a:off x="5107137" y="5042719"/>
                <a:ext cx="1111" cy="2223"/>
              </a:xfrm>
              <a:custGeom>
                <a:avLst/>
                <a:gdLst>
                  <a:gd name="connsiteX0" fmla="*/ 0 w 761"/>
                  <a:gd name="connsiteY0" fmla="*/ 0 h 1523"/>
                  <a:gd name="connsiteX1" fmla="*/ 667 w 761"/>
                  <a:gd name="connsiteY1" fmla="*/ 1524 h 1523"/>
                  <a:gd name="connsiteX2" fmla="*/ 762 w 761"/>
                  <a:gd name="connsiteY2" fmla="*/ 1429 h 1523"/>
                  <a:gd name="connsiteX3" fmla="*/ 0 w 761"/>
                  <a:gd name="connsiteY3" fmla="*/ 0 h 1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1" h="1523">
                    <a:moveTo>
                      <a:pt x="0" y="0"/>
                    </a:moveTo>
                    <a:cubicBezTo>
                      <a:pt x="190" y="476"/>
                      <a:pt x="381" y="952"/>
                      <a:pt x="667" y="1524"/>
                    </a:cubicBezTo>
                    <a:lnTo>
                      <a:pt x="762" y="142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240B3761-826F-7171-66EA-F7D3FEC91577}"/>
                  </a:ext>
                </a:extLst>
              </p:cNvPr>
              <p:cNvSpPr/>
              <p:nvPr/>
            </p:nvSpPr>
            <p:spPr>
              <a:xfrm>
                <a:off x="5164842" y="4955397"/>
                <a:ext cx="972" cy="2085"/>
              </a:xfrm>
              <a:custGeom>
                <a:avLst/>
                <a:gdLst>
                  <a:gd name="connsiteX0" fmla="*/ 667 w 666"/>
                  <a:gd name="connsiteY0" fmla="*/ 667 h 1428"/>
                  <a:gd name="connsiteX1" fmla="*/ 286 w 666"/>
                  <a:gd name="connsiteY1" fmla="*/ 0 h 1428"/>
                  <a:gd name="connsiteX2" fmla="*/ 0 w 666"/>
                  <a:gd name="connsiteY2" fmla="*/ 1429 h 1428"/>
                  <a:gd name="connsiteX3" fmla="*/ 667 w 666"/>
                  <a:gd name="connsiteY3" fmla="*/ 667 h 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" h="1428">
                    <a:moveTo>
                      <a:pt x="667" y="667"/>
                    </a:moveTo>
                    <a:lnTo>
                      <a:pt x="286" y="0"/>
                    </a:lnTo>
                    <a:cubicBezTo>
                      <a:pt x="190" y="476"/>
                      <a:pt x="95" y="953"/>
                      <a:pt x="0" y="1429"/>
                    </a:cubicBezTo>
                    <a:cubicBezTo>
                      <a:pt x="190" y="1143"/>
                      <a:pt x="476" y="953"/>
                      <a:pt x="667" y="667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792C7713-1ACF-E628-87E4-90CABC128E17}"/>
                  </a:ext>
                </a:extLst>
              </p:cNvPr>
              <p:cNvSpPr/>
              <p:nvPr/>
            </p:nvSpPr>
            <p:spPr>
              <a:xfrm>
                <a:off x="5108389" y="5026728"/>
                <a:ext cx="92049" cy="153230"/>
              </a:xfrm>
              <a:custGeom>
                <a:avLst/>
                <a:gdLst>
                  <a:gd name="connsiteX0" fmla="*/ 62389 w 63055"/>
                  <a:gd name="connsiteY0" fmla="*/ 85630 h 104965"/>
                  <a:gd name="connsiteX1" fmla="*/ 58198 w 63055"/>
                  <a:gd name="connsiteY1" fmla="*/ 75819 h 104965"/>
                  <a:gd name="connsiteX2" fmla="*/ 52959 w 63055"/>
                  <a:gd name="connsiteY2" fmla="*/ 66484 h 104965"/>
                  <a:gd name="connsiteX3" fmla="*/ 48006 w 63055"/>
                  <a:gd name="connsiteY3" fmla="*/ 56959 h 104965"/>
                  <a:gd name="connsiteX4" fmla="*/ 43339 w 63055"/>
                  <a:gd name="connsiteY4" fmla="*/ 47434 h 104965"/>
                  <a:gd name="connsiteX5" fmla="*/ 39148 w 63055"/>
                  <a:gd name="connsiteY5" fmla="*/ 37624 h 104965"/>
                  <a:gd name="connsiteX6" fmla="*/ 32957 w 63055"/>
                  <a:gd name="connsiteY6" fmla="*/ 29051 h 104965"/>
                  <a:gd name="connsiteX7" fmla="*/ 29528 w 63055"/>
                  <a:gd name="connsiteY7" fmla="*/ 18764 h 104965"/>
                  <a:gd name="connsiteX8" fmla="*/ 23622 w 63055"/>
                  <a:gd name="connsiteY8" fmla="*/ 10001 h 104965"/>
                  <a:gd name="connsiteX9" fmla="*/ 19622 w 63055"/>
                  <a:gd name="connsiteY9" fmla="*/ 0 h 104965"/>
                  <a:gd name="connsiteX10" fmla="*/ 0 w 63055"/>
                  <a:gd name="connsiteY10" fmla="*/ 12478 h 104965"/>
                  <a:gd name="connsiteX11" fmla="*/ 1143 w 63055"/>
                  <a:gd name="connsiteY11" fmla="*/ 14859 h 104965"/>
                  <a:gd name="connsiteX12" fmla="*/ 1714 w 63055"/>
                  <a:gd name="connsiteY12" fmla="*/ 15811 h 104965"/>
                  <a:gd name="connsiteX13" fmla="*/ 7429 w 63055"/>
                  <a:gd name="connsiteY13" fmla="*/ 25146 h 104965"/>
                  <a:gd name="connsiteX14" fmla="*/ 13335 w 63055"/>
                  <a:gd name="connsiteY14" fmla="*/ 34195 h 104965"/>
                  <a:gd name="connsiteX15" fmla="*/ 19526 w 63055"/>
                  <a:gd name="connsiteY15" fmla="*/ 42958 h 104965"/>
                  <a:gd name="connsiteX16" fmla="*/ 25241 w 63055"/>
                  <a:gd name="connsiteY16" fmla="*/ 52292 h 104965"/>
                  <a:gd name="connsiteX17" fmla="*/ 31433 w 63055"/>
                  <a:gd name="connsiteY17" fmla="*/ 61341 h 104965"/>
                  <a:gd name="connsiteX18" fmla="*/ 36671 w 63055"/>
                  <a:gd name="connsiteY18" fmla="*/ 70866 h 104965"/>
                  <a:gd name="connsiteX19" fmla="*/ 42101 w 63055"/>
                  <a:gd name="connsiteY19" fmla="*/ 80391 h 104965"/>
                  <a:gd name="connsiteX20" fmla="*/ 48292 w 63055"/>
                  <a:gd name="connsiteY20" fmla="*/ 89154 h 104965"/>
                  <a:gd name="connsiteX21" fmla="*/ 54959 w 63055"/>
                  <a:gd name="connsiteY21" fmla="*/ 97726 h 104965"/>
                  <a:gd name="connsiteX22" fmla="*/ 60198 w 63055"/>
                  <a:gd name="connsiteY22" fmla="*/ 104966 h 104965"/>
                  <a:gd name="connsiteX23" fmla="*/ 62103 w 63055"/>
                  <a:gd name="connsiteY23" fmla="*/ 102870 h 104965"/>
                  <a:gd name="connsiteX24" fmla="*/ 63056 w 63055"/>
                  <a:gd name="connsiteY24" fmla="*/ 86963 h 104965"/>
                  <a:gd name="connsiteX25" fmla="*/ 62389 w 63055"/>
                  <a:gd name="connsiteY25" fmla="*/ 85630 h 10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055" h="104965">
                    <a:moveTo>
                      <a:pt x="62389" y="85630"/>
                    </a:moveTo>
                    <a:cubicBezTo>
                      <a:pt x="59912" y="81153"/>
                      <a:pt x="60674" y="80581"/>
                      <a:pt x="58198" y="75819"/>
                    </a:cubicBezTo>
                    <a:cubicBezTo>
                      <a:pt x="55721" y="71056"/>
                      <a:pt x="55435" y="71342"/>
                      <a:pt x="52959" y="66484"/>
                    </a:cubicBezTo>
                    <a:cubicBezTo>
                      <a:pt x="50483" y="61722"/>
                      <a:pt x="50483" y="61722"/>
                      <a:pt x="48006" y="56959"/>
                    </a:cubicBezTo>
                    <a:cubicBezTo>
                      <a:pt x="45815" y="52483"/>
                      <a:pt x="45815" y="52197"/>
                      <a:pt x="43339" y="47434"/>
                    </a:cubicBezTo>
                    <a:cubicBezTo>
                      <a:pt x="41148" y="42958"/>
                      <a:pt x="41624" y="42386"/>
                      <a:pt x="39148" y="37624"/>
                    </a:cubicBezTo>
                    <a:cubicBezTo>
                      <a:pt x="36957" y="33147"/>
                      <a:pt x="35433" y="33623"/>
                      <a:pt x="32957" y="29051"/>
                    </a:cubicBezTo>
                    <a:cubicBezTo>
                      <a:pt x="30766" y="24289"/>
                      <a:pt x="32004" y="23527"/>
                      <a:pt x="29528" y="18764"/>
                    </a:cubicBezTo>
                    <a:cubicBezTo>
                      <a:pt x="27051" y="14002"/>
                      <a:pt x="25813" y="14764"/>
                      <a:pt x="23622" y="10001"/>
                    </a:cubicBezTo>
                    <a:cubicBezTo>
                      <a:pt x="21145" y="5239"/>
                      <a:pt x="22098" y="4763"/>
                      <a:pt x="19622" y="0"/>
                    </a:cubicBezTo>
                    <a:lnTo>
                      <a:pt x="0" y="12478"/>
                    </a:lnTo>
                    <a:lnTo>
                      <a:pt x="1143" y="14859"/>
                    </a:lnTo>
                    <a:cubicBezTo>
                      <a:pt x="1333" y="15145"/>
                      <a:pt x="1524" y="15430"/>
                      <a:pt x="1714" y="15811"/>
                    </a:cubicBezTo>
                    <a:cubicBezTo>
                      <a:pt x="3429" y="18574"/>
                      <a:pt x="5143" y="21622"/>
                      <a:pt x="7429" y="25146"/>
                    </a:cubicBezTo>
                    <a:cubicBezTo>
                      <a:pt x="9144" y="28194"/>
                      <a:pt x="11144" y="30956"/>
                      <a:pt x="13335" y="34195"/>
                    </a:cubicBezTo>
                    <a:cubicBezTo>
                      <a:pt x="15049" y="37243"/>
                      <a:pt x="17526" y="40005"/>
                      <a:pt x="19526" y="42958"/>
                    </a:cubicBezTo>
                    <a:cubicBezTo>
                      <a:pt x="21241" y="46006"/>
                      <a:pt x="23241" y="49244"/>
                      <a:pt x="25241" y="52292"/>
                    </a:cubicBezTo>
                    <a:cubicBezTo>
                      <a:pt x="27242" y="55340"/>
                      <a:pt x="29432" y="58293"/>
                      <a:pt x="31433" y="61341"/>
                    </a:cubicBezTo>
                    <a:cubicBezTo>
                      <a:pt x="33433" y="64389"/>
                      <a:pt x="34671" y="67913"/>
                      <a:pt x="36671" y="70866"/>
                    </a:cubicBezTo>
                    <a:cubicBezTo>
                      <a:pt x="38672" y="74104"/>
                      <a:pt x="40100" y="77438"/>
                      <a:pt x="42101" y="80391"/>
                    </a:cubicBezTo>
                    <a:cubicBezTo>
                      <a:pt x="44101" y="83439"/>
                      <a:pt x="46291" y="86392"/>
                      <a:pt x="48292" y="89154"/>
                    </a:cubicBezTo>
                    <a:cubicBezTo>
                      <a:pt x="50483" y="92393"/>
                      <a:pt x="52959" y="95155"/>
                      <a:pt x="54959" y="97726"/>
                    </a:cubicBezTo>
                    <a:cubicBezTo>
                      <a:pt x="57245" y="100870"/>
                      <a:pt x="58865" y="103346"/>
                      <a:pt x="60198" y="104966"/>
                    </a:cubicBezTo>
                    <a:lnTo>
                      <a:pt x="62103" y="102870"/>
                    </a:lnTo>
                    <a:lnTo>
                      <a:pt x="63056" y="86963"/>
                    </a:lnTo>
                    <a:cubicBezTo>
                      <a:pt x="62865" y="86392"/>
                      <a:pt x="62675" y="86106"/>
                      <a:pt x="62389" y="8563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0C723CD0-6EB2-991F-3C3D-C9408090D39C}"/>
                  </a:ext>
                </a:extLst>
              </p:cNvPr>
              <p:cNvSpPr/>
              <p:nvPr/>
            </p:nvSpPr>
            <p:spPr>
              <a:xfrm>
                <a:off x="5196266" y="5176761"/>
                <a:ext cx="2779" cy="5283"/>
              </a:xfrm>
              <a:custGeom>
                <a:avLst/>
                <a:gdLst>
                  <a:gd name="connsiteX0" fmla="*/ 1715 w 1904"/>
                  <a:gd name="connsiteY0" fmla="*/ 3620 h 3619"/>
                  <a:gd name="connsiteX1" fmla="*/ 1905 w 1904"/>
                  <a:gd name="connsiteY1" fmla="*/ 0 h 3619"/>
                  <a:gd name="connsiteX2" fmla="*/ 0 w 1904"/>
                  <a:gd name="connsiteY2" fmla="*/ 2096 h 3619"/>
                  <a:gd name="connsiteX3" fmla="*/ 1715 w 1904"/>
                  <a:gd name="connsiteY3" fmla="*/ 3620 h 3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4" h="3619">
                    <a:moveTo>
                      <a:pt x="1715" y="3620"/>
                    </a:moveTo>
                    <a:lnTo>
                      <a:pt x="1905" y="0"/>
                    </a:lnTo>
                    <a:lnTo>
                      <a:pt x="0" y="2096"/>
                    </a:lnTo>
                    <a:cubicBezTo>
                      <a:pt x="667" y="2953"/>
                      <a:pt x="1238" y="3524"/>
                      <a:pt x="1715" y="362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449970D7-E1EF-DD9E-DCE7-2ED3CE27B0A1}"/>
                  </a:ext>
                </a:extLst>
              </p:cNvPr>
              <p:cNvSpPr/>
              <p:nvPr/>
            </p:nvSpPr>
            <p:spPr>
              <a:xfrm>
                <a:off x="5042619" y="5201374"/>
                <a:ext cx="115827" cy="156845"/>
              </a:xfrm>
              <a:custGeom>
                <a:avLst/>
                <a:gdLst>
                  <a:gd name="connsiteX0" fmla="*/ 76486 w 79343"/>
                  <a:gd name="connsiteY0" fmla="*/ 94202 h 107441"/>
                  <a:gd name="connsiteX1" fmla="*/ 72771 w 79343"/>
                  <a:gd name="connsiteY1" fmla="*/ 83153 h 107441"/>
                  <a:gd name="connsiteX2" fmla="*/ 69818 w 79343"/>
                  <a:gd name="connsiteY2" fmla="*/ 72104 h 107441"/>
                  <a:gd name="connsiteX3" fmla="*/ 66866 w 79343"/>
                  <a:gd name="connsiteY3" fmla="*/ 61055 h 107441"/>
                  <a:gd name="connsiteX4" fmla="*/ 63437 w 79343"/>
                  <a:gd name="connsiteY4" fmla="*/ 50006 h 107441"/>
                  <a:gd name="connsiteX5" fmla="*/ 60484 w 79343"/>
                  <a:gd name="connsiteY5" fmla="*/ 38671 h 107441"/>
                  <a:gd name="connsiteX6" fmla="*/ 59341 w 79343"/>
                  <a:gd name="connsiteY6" fmla="*/ 33719 h 107441"/>
                  <a:gd name="connsiteX7" fmla="*/ 58769 w 79343"/>
                  <a:gd name="connsiteY7" fmla="*/ 34290 h 107441"/>
                  <a:gd name="connsiteX8" fmla="*/ 56007 w 79343"/>
                  <a:gd name="connsiteY8" fmla="*/ 16859 h 107441"/>
                  <a:gd name="connsiteX9" fmla="*/ 44006 w 79343"/>
                  <a:gd name="connsiteY9" fmla="*/ 13906 h 107441"/>
                  <a:gd name="connsiteX10" fmla="*/ 33147 w 79343"/>
                  <a:gd name="connsiteY10" fmla="*/ 10096 h 107441"/>
                  <a:gd name="connsiteX11" fmla="*/ 21717 w 79343"/>
                  <a:gd name="connsiteY11" fmla="*/ 7048 h 107441"/>
                  <a:gd name="connsiteX12" fmla="*/ 10859 w 79343"/>
                  <a:gd name="connsiteY12" fmla="*/ 3238 h 107441"/>
                  <a:gd name="connsiteX13" fmla="*/ 0 w 79343"/>
                  <a:gd name="connsiteY13" fmla="*/ 0 h 107441"/>
                  <a:gd name="connsiteX14" fmla="*/ 8668 w 79343"/>
                  <a:gd name="connsiteY14" fmla="*/ 4763 h 107441"/>
                  <a:gd name="connsiteX15" fmla="*/ 12668 w 79343"/>
                  <a:gd name="connsiteY15" fmla="*/ 15050 h 107441"/>
                  <a:gd name="connsiteX16" fmla="*/ 16383 w 79343"/>
                  <a:gd name="connsiteY16" fmla="*/ 25622 h 107441"/>
                  <a:gd name="connsiteX17" fmla="*/ 21336 w 79343"/>
                  <a:gd name="connsiteY17" fmla="*/ 35623 h 107441"/>
                  <a:gd name="connsiteX18" fmla="*/ 34004 w 79343"/>
                  <a:gd name="connsiteY18" fmla="*/ 64865 h 107441"/>
                  <a:gd name="connsiteX19" fmla="*/ 34481 w 79343"/>
                  <a:gd name="connsiteY19" fmla="*/ 66008 h 107441"/>
                  <a:gd name="connsiteX20" fmla="*/ 38195 w 79343"/>
                  <a:gd name="connsiteY20" fmla="*/ 76581 h 107441"/>
                  <a:gd name="connsiteX21" fmla="*/ 42672 w 79343"/>
                  <a:gd name="connsiteY21" fmla="*/ 86868 h 107441"/>
                  <a:gd name="connsiteX22" fmla="*/ 46863 w 79343"/>
                  <a:gd name="connsiteY22" fmla="*/ 96869 h 107441"/>
                  <a:gd name="connsiteX23" fmla="*/ 50578 w 79343"/>
                  <a:gd name="connsiteY23" fmla="*/ 107442 h 107441"/>
                  <a:gd name="connsiteX24" fmla="*/ 79343 w 79343"/>
                  <a:gd name="connsiteY24" fmla="*/ 105442 h 107441"/>
                  <a:gd name="connsiteX25" fmla="*/ 76486 w 79343"/>
                  <a:gd name="connsiteY25" fmla="*/ 94202 h 107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9343" h="107441">
                    <a:moveTo>
                      <a:pt x="76486" y="94202"/>
                    </a:moveTo>
                    <a:cubicBezTo>
                      <a:pt x="74962" y="88678"/>
                      <a:pt x="74295" y="88963"/>
                      <a:pt x="72771" y="83153"/>
                    </a:cubicBezTo>
                    <a:cubicBezTo>
                      <a:pt x="71247" y="77629"/>
                      <a:pt x="71247" y="77629"/>
                      <a:pt x="69818" y="72104"/>
                    </a:cubicBezTo>
                    <a:cubicBezTo>
                      <a:pt x="68294" y="66580"/>
                      <a:pt x="68294" y="66580"/>
                      <a:pt x="66866" y="61055"/>
                    </a:cubicBezTo>
                    <a:cubicBezTo>
                      <a:pt x="65342" y="55245"/>
                      <a:pt x="64865" y="55531"/>
                      <a:pt x="63437" y="50006"/>
                    </a:cubicBezTo>
                    <a:cubicBezTo>
                      <a:pt x="61913" y="44196"/>
                      <a:pt x="61913" y="44482"/>
                      <a:pt x="60484" y="38671"/>
                    </a:cubicBezTo>
                    <a:cubicBezTo>
                      <a:pt x="59817" y="36290"/>
                      <a:pt x="59531" y="34957"/>
                      <a:pt x="59341" y="33719"/>
                    </a:cubicBezTo>
                    <a:lnTo>
                      <a:pt x="58769" y="34290"/>
                    </a:lnTo>
                    <a:cubicBezTo>
                      <a:pt x="56864" y="31813"/>
                      <a:pt x="58484" y="21717"/>
                      <a:pt x="56007" y="16859"/>
                    </a:cubicBezTo>
                    <a:cubicBezTo>
                      <a:pt x="53816" y="12573"/>
                      <a:pt x="46482" y="14573"/>
                      <a:pt x="44006" y="13906"/>
                    </a:cubicBezTo>
                    <a:cubicBezTo>
                      <a:pt x="38291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  <a:lnTo>
                      <a:pt x="8668" y="4763"/>
                    </a:lnTo>
                    <a:cubicBezTo>
                      <a:pt x="10668" y="9811"/>
                      <a:pt x="10382" y="10001"/>
                      <a:pt x="12668" y="15050"/>
                    </a:cubicBezTo>
                    <a:cubicBezTo>
                      <a:pt x="14669" y="20288"/>
                      <a:pt x="14192" y="20574"/>
                      <a:pt x="16383" y="25622"/>
                    </a:cubicBezTo>
                    <a:cubicBezTo>
                      <a:pt x="18574" y="30671"/>
                      <a:pt x="19145" y="30385"/>
                      <a:pt x="21336" y="35623"/>
                    </a:cubicBezTo>
                    <a:cubicBezTo>
                      <a:pt x="22955" y="39815"/>
                      <a:pt x="32480" y="61627"/>
                      <a:pt x="34004" y="64865"/>
                    </a:cubicBezTo>
                    <a:cubicBezTo>
                      <a:pt x="34195" y="65246"/>
                      <a:pt x="34290" y="65532"/>
                      <a:pt x="34481" y="66008"/>
                    </a:cubicBezTo>
                    <a:cubicBezTo>
                      <a:pt x="36671" y="71247"/>
                      <a:pt x="36005" y="71533"/>
                      <a:pt x="38195" y="76581"/>
                    </a:cubicBezTo>
                    <a:cubicBezTo>
                      <a:pt x="40196" y="81820"/>
                      <a:pt x="40386" y="81629"/>
                      <a:pt x="42672" y="86868"/>
                    </a:cubicBezTo>
                    <a:cubicBezTo>
                      <a:pt x="44672" y="91916"/>
                      <a:pt x="44863" y="91916"/>
                      <a:pt x="46863" y="96869"/>
                    </a:cubicBezTo>
                    <a:cubicBezTo>
                      <a:pt x="49054" y="102108"/>
                      <a:pt x="48387" y="102394"/>
                      <a:pt x="50578" y="107442"/>
                    </a:cubicBezTo>
                    <a:lnTo>
                      <a:pt x="79343" y="105442"/>
                    </a:lnTo>
                    <a:cubicBezTo>
                      <a:pt x="77724" y="100013"/>
                      <a:pt x="77724" y="99727"/>
                      <a:pt x="76486" y="94202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34281C3A-A240-E8FC-1E0B-441B9E2C3EC2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3615" cy="7230"/>
              </a:xfrm>
              <a:custGeom>
                <a:avLst/>
                <a:gdLst>
                  <a:gd name="connsiteX0" fmla="*/ 2476 w 2476"/>
                  <a:gd name="connsiteY0" fmla="*/ 4953 h 4953"/>
                  <a:gd name="connsiteX1" fmla="*/ 0 w 2476"/>
                  <a:gd name="connsiteY1" fmla="*/ 0 h 4953"/>
                  <a:gd name="connsiteX2" fmla="*/ 2476 w 2476"/>
                  <a:gd name="connsiteY2" fmla="*/ 4953 h 4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6" h="4953">
                    <a:moveTo>
                      <a:pt x="2476" y="4953"/>
                    </a:moveTo>
                    <a:cubicBezTo>
                      <a:pt x="2000" y="3619"/>
                      <a:pt x="1714" y="2667"/>
                      <a:pt x="0" y="0"/>
                    </a:cubicBezTo>
                    <a:lnTo>
                      <a:pt x="2476" y="495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9A5F79AC-D650-6749-5C21-DEC64B6DFDCE}"/>
                  </a:ext>
                </a:extLst>
              </p:cNvPr>
              <p:cNvSpPr/>
              <p:nvPr/>
            </p:nvSpPr>
            <p:spPr>
              <a:xfrm>
                <a:off x="5040950" y="5206796"/>
                <a:ext cx="75225" cy="151423"/>
              </a:xfrm>
              <a:custGeom>
                <a:avLst/>
                <a:gdLst>
                  <a:gd name="connsiteX0" fmla="*/ 26765 w 51530"/>
                  <a:gd name="connsiteY0" fmla="*/ 42100 h 103727"/>
                  <a:gd name="connsiteX1" fmla="*/ 9620 w 51530"/>
                  <a:gd name="connsiteY1" fmla="*/ 0 h 103727"/>
                  <a:gd name="connsiteX2" fmla="*/ 17336 w 51530"/>
                  <a:gd name="connsiteY2" fmla="*/ 48101 h 103727"/>
                  <a:gd name="connsiteX3" fmla="*/ 13145 w 51530"/>
                  <a:gd name="connsiteY3" fmla="*/ 59627 h 103727"/>
                  <a:gd name="connsiteX4" fmla="*/ 9430 w 51530"/>
                  <a:gd name="connsiteY4" fmla="*/ 71152 h 103727"/>
                  <a:gd name="connsiteX5" fmla="*/ 5239 w 51530"/>
                  <a:gd name="connsiteY5" fmla="*/ 82677 h 103727"/>
                  <a:gd name="connsiteX6" fmla="*/ 0 w 51530"/>
                  <a:gd name="connsiteY6" fmla="*/ 93726 h 103727"/>
                  <a:gd name="connsiteX7" fmla="*/ 51530 w 51530"/>
                  <a:gd name="connsiteY7" fmla="*/ 103727 h 103727"/>
                  <a:gd name="connsiteX8" fmla="*/ 30956 w 51530"/>
                  <a:gd name="connsiteY8" fmla="*/ 52292 h 103727"/>
                  <a:gd name="connsiteX9" fmla="*/ 26765 w 51530"/>
                  <a:gd name="connsiteY9" fmla="*/ 42100 h 103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530" h="103727">
                    <a:moveTo>
                      <a:pt x="26765" y="42100"/>
                    </a:moveTo>
                    <a:cubicBezTo>
                      <a:pt x="26384" y="41338"/>
                      <a:pt x="9906" y="571"/>
                      <a:pt x="9620" y="0"/>
                    </a:cubicBezTo>
                    <a:lnTo>
                      <a:pt x="17336" y="48101"/>
                    </a:lnTo>
                    <a:cubicBezTo>
                      <a:pt x="15335" y="53911"/>
                      <a:pt x="15145" y="53911"/>
                      <a:pt x="13145" y="59627"/>
                    </a:cubicBezTo>
                    <a:cubicBezTo>
                      <a:pt x="10954" y="65151"/>
                      <a:pt x="11430" y="65437"/>
                      <a:pt x="9430" y="71152"/>
                    </a:cubicBezTo>
                    <a:cubicBezTo>
                      <a:pt x="7239" y="76962"/>
                      <a:pt x="7430" y="76962"/>
                      <a:pt x="5239" y="82677"/>
                    </a:cubicBezTo>
                    <a:cubicBezTo>
                      <a:pt x="3239" y="88487"/>
                      <a:pt x="2000" y="87916"/>
                      <a:pt x="0" y="93726"/>
                    </a:cubicBezTo>
                    <a:lnTo>
                      <a:pt x="51530" y="103727"/>
                    </a:lnTo>
                    <a:cubicBezTo>
                      <a:pt x="50768" y="102108"/>
                      <a:pt x="32290" y="55340"/>
                      <a:pt x="30956" y="52292"/>
                    </a:cubicBezTo>
                    <a:cubicBezTo>
                      <a:pt x="29051" y="47339"/>
                      <a:pt x="28766" y="47339"/>
                      <a:pt x="26765" y="42100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9AFA5CCD-051C-8033-1CA4-FC3A57CBD59B}"/>
                  </a:ext>
                </a:extLst>
              </p:cNvPr>
              <p:cNvSpPr/>
              <p:nvPr/>
            </p:nvSpPr>
            <p:spPr>
              <a:xfrm>
                <a:off x="5108111" y="5044944"/>
                <a:ext cx="1807" cy="3336"/>
              </a:xfrm>
              <a:custGeom>
                <a:avLst/>
                <a:gdLst>
                  <a:gd name="connsiteX0" fmla="*/ 0 w 1238"/>
                  <a:gd name="connsiteY0" fmla="*/ 0 h 2285"/>
                  <a:gd name="connsiteX1" fmla="*/ 1238 w 1238"/>
                  <a:gd name="connsiteY1" fmla="*/ 2286 h 2285"/>
                  <a:gd name="connsiteX2" fmla="*/ 0 w 1238"/>
                  <a:gd name="connsiteY2" fmla="*/ 0 h 2285"/>
                  <a:gd name="connsiteX3" fmla="*/ 0 w 1238"/>
                  <a:gd name="connsiteY3" fmla="*/ 0 h 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2285">
                    <a:moveTo>
                      <a:pt x="0" y="0"/>
                    </a:moveTo>
                    <a:cubicBezTo>
                      <a:pt x="286" y="571"/>
                      <a:pt x="762" y="1429"/>
                      <a:pt x="1238" y="2286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BA994D74-99A2-2140-C638-DFEFADF5D716}"/>
                  </a:ext>
                </a:extLst>
              </p:cNvPr>
              <p:cNvSpPr/>
              <p:nvPr/>
            </p:nvSpPr>
            <p:spPr>
              <a:xfrm>
                <a:off x="5063818" y="4861399"/>
                <a:ext cx="105200" cy="145210"/>
              </a:xfrm>
              <a:custGeom>
                <a:avLst/>
                <a:gdLst>
                  <a:gd name="connsiteX0" fmla="*/ 42347 w 105200"/>
                  <a:gd name="connsiteY0" fmla="*/ 95665 h 145210"/>
                  <a:gd name="connsiteX1" fmla="*/ 42346 w 105200"/>
                  <a:gd name="connsiteY1" fmla="*/ 95666 h 145210"/>
                  <a:gd name="connsiteX2" fmla="*/ 48793 w 105200"/>
                  <a:gd name="connsiteY2" fmla="*/ 100480 h 145210"/>
                  <a:gd name="connsiteX3" fmla="*/ 56805 w 105200"/>
                  <a:gd name="connsiteY3" fmla="*/ 104147 h 145210"/>
                  <a:gd name="connsiteX4" fmla="*/ 72657 w 105200"/>
                  <a:gd name="connsiteY4" fmla="*/ 108875 h 145210"/>
                  <a:gd name="connsiteX5" fmla="*/ 72659 w 105200"/>
                  <a:gd name="connsiteY5" fmla="*/ 108875 h 145210"/>
                  <a:gd name="connsiteX6" fmla="*/ 56807 w 105200"/>
                  <a:gd name="connsiteY6" fmla="*/ 104147 h 145210"/>
                  <a:gd name="connsiteX7" fmla="*/ 42347 w 105200"/>
                  <a:gd name="connsiteY7" fmla="*/ 95665 h 145210"/>
                  <a:gd name="connsiteX8" fmla="*/ 53610 w 105200"/>
                  <a:gd name="connsiteY8" fmla="*/ 0 h 145210"/>
                  <a:gd name="connsiteX9" fmla="*/ 69461 w 105200"/>
                  <a:gd name="connsiteY9" fmla="*/ 4449 h 145210"/>
                  <a:gd name="connsiteX10" fmla="*/ 83227 w 105200"/>
                  <a:gd name="connsiteY10" fmla="*/ 13626 h 145210"/>
                  <a:gd name="connsiteX11" fmla="*/ 91988 w 105200"/>
                  <a:gd name="connsiteY11" fmla="*/ 26974 h 145210"/>
                  <a:gd name="connsiteX12" fmla="*/ 100608 w 105200"/>
                  <a:gd name="connsiteY12" fmla="*/ 41297 h 145210"/>
                  <a:gd name="connsiteX13" fmla="*/ 104224 w 105200"/>
                  <a:gd name="connsiteY13" fmla="*/ 55618 h 145210"/>
                  <a:gd name="connsiteX14" fmla="*/ 104226 w 105200"/>
                  <a:gd name="connsiteY14" fmla="*/ 55619 h 145210"/>
                  <a:gd name="connsiteX15" fmla="*/ 104505 w 105200"/>
                  <a:gd name="connsiteY15" fmla="*/ 57149 h 145210"/>
                  <a:gd name="connsiteX16" fmla="*/ 105200 w 105200"/>
                  <a:gd name="connsiteY16" fmla="*/ 73974 h 145210"/>
                  <a:gd name="connsiteX17" fmla="*/ 102001 w 105200"/>
                  <a:gd name="connsiteY17" fmla="*/ 90104 h 145210"/>
                  <a:gd name="connsiteX18" fmla="*/ 101445 w 105200"/>
                  <a:gd name="connsiteY18" fmla="*/ 93858 h 145210"/>
                  <a:gd name="connsiteX19" fmla="*/ 78502 w 105200"/>
                  <a:gd name="connsiteY19" fmla="*/ 55342 h 145210"/>
                  <a:gd name="connsiteX20" fmla="*/ 78920 w 105200"/>
                  <a:gd name="connsiteY20" fmla="*/ 42828 h 145210"/>
                  <a:gd name="connsiteX21" fmla="*/ 78916 w 105200"/>
                  <a:gd name="connsiteY21" fmla="*/ 42827 h 145210"/>
                  <a:gd name="connsiteX22" fmla="*/ 78499 w 105200"/>
                  <a:gd name="connsiteY22" fmla="*/ 55340 h 145210"/>
                  <a:gd name="connsiteX23" fmla="*/ 101303 w 105200"/>
                  <a:gd name="connsiteY23" fmla="*/ 93858 h 145210"/>
                  <a:gd name="connsiteX24" fmla="*/ 100887 w 105200"/>
                  <a:gd name="connsiteY24" fmla="*/ 95943 h 145210"/>
                  <a:gd name="connsiteX25" fmla="*/ 100884 w 105200"/>
                  <a:gd name="connsiteY25" fmla="*/ 95944 h 145210"/>
                  <a:gd name="connsiteX26" fmla="*/ 98660 w 105200"/>
                  <a:gd name="connsiteY26" fmla="*/ 106233 h 145210"/>
                  <a:gd name="connsiteX27" fmla="*/ 90317 w 105200"/>
                  <a:gd name="connsiteY27" fmla="*/ 120138 h 145210"/>
                  <a:gd name="connsiteX28" fmla="*/ 79888 w 105200"/>
                  <a:gd name="connsiteY28" fmla="*/ 132235 h 145210"/>
                  <a:gd name="connsiteX29" fmla="*/ 66122 w 105200"/>
                  <a:gd name="connsiteY29" fmla="*/ 140717 h 145210"/>
                  <a:gd name="connsiteX30" fmla="*/ 50269 w 105200"/>
                  <a:gd name="connsiteY30" fmla="*/ 145166 h 145210"/>
                  <a:gd name="connsiteX31" fmla="*/ 34697 w 105200"/>
                  <a:gd name="connsiteY31" fmla="*/ 140438 h 145210"/>
                  <a:gd name="connsiteX32" fmla="*/ 22044 w 105200"/>
                  <a:gd name="connsiteY32" fmla="*/ 130844 h 145210"/>
                  <a:gd name="connsiteX33" fmla="*/ 13283 w 105200"/>
                  <a:gd name="connsiteY33" fmla="*/ 121528 h 145210"/>
                  <a:gd name="connsiteX34" fmla="*/ 13342 w 105200"/>
                  <a:gd name="connsiteY34" fmla="*/ 121390 h 145210"/>
                  <a:gd name="connsiteX35" fmla="*/ 11340 w 105200"/>
                  <a:gd name="connsiteY35" fmla="*/ 118887 h 145210"/>
                  <a:gd name="connsiteX36" fmla="*/ 3692 w 105200"/>
                  <a:gd name="connsiteY36" fmla="*/ 104287 h 145210"/>
                  <a:gd name="connsiteX37" fmla="*/ 772 w 105200"/>
                  <a:gd name="connsiteY37" fmla="*/ 88157 h 145210"/>
                  <a:gd name="connsiteX38" fmla="*/ 76 w 105200"/>
                  <a:gd name="connsiteY38" fmla="*/ 71610 h 145210"/>
                  <a:gd name="connsiteX39" fmla="*/ 2300 w 105200"/>
                  <a:gd name="connsiteY39" fmla="*/ 55480 h 145210"/>
                  <a:gd name="connsiteX40" fmla="*/ 6611 w 105200"/>
                  <a:gd name="connsiteY40" fmla="*/ 40046 h 145210"/>
                  <a:gd name="connsiteX41" fmla="*/ 12452 w 105200"/>
                  <a:gd name="connsiteY41" fmla="*/ 24334 h 145210"/>
                  <a:gd name="connsiteX42" fmla="*/ 23297 w 105200"/>
                  <a:gd name="connsiteY42" fmla="*/ 11818 h 145210"/>
                  <a:gd name="connsiteX43" fmla="*/ 37758 w 105200"/>
                  <a:gd name="connsiteY43" fmla="*/ 4449 h 145210"/>
                  <a:gd name="connsiteX44" fmla="*/ 53610 w 105200"/>
                  <a:gd name="connsiteY44" fmla="*/ 0 h 145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05200" h="145210">
                    <a:moveTo>
                      <a:pt x="42347" y="95665"/>
                    </a:moveTo>
                    <a:lnTo>
                      <a:pt x="42346" y="95666"/>
                    </a:lnTo>
                    <a:lnTo>
                      <a:pt x="48793" y="100480"/>
                    </a:lnTo>
                    <a:cubicBezTo>
                      <a:pt x="50514" y="101505"/>
                      <a:pt x="52495" y="102340"/>
                      <a:pt x="56805" y="104147"/>
                    </a:cubicBezTo>
                    <a:cubicBezTo>
                      <a:pt x="61395" y="106372"/>
                      <a:pt x="66817" y="108458"/>
                      <a:pt x="72657" y="108875"/>
                    </a:cubicBezTo>
                    <a:lnTo>
                      <a:pt x="72659" y="108875"/>
                    </a:lnTo>
                    <a:lnTo>
                      <a:pt x="56807" y="104147"/>
                    </a:lnTo>
                    <a:cubicBezTo>
                      <a:pt x="48187" y="100394"/>
                      <a:pt x="48882" y="100810"/>
                      <a:pt x="42347" y="95665"/>
                    </a:cubicBezTo>
                    <a:close/>
                    <a:moveTo>
                      <a:pt x="53610" y="0"/>
                    </a:moveTo>
                    <a:cubicBezTo>
                      <a:pt x="59032" y="417"/>
                      <a:pt x="64455" y="2225"/>
                      <a:pt x="69461" y="4449"/>
                    </a:cubicBezTo>
                    <a:cubicBezTo>
                      <a:pt x="74189" y="6674"/>
                      <a:pt x="79195" y="9594"/>
                      <a:pt x="83227" y="13626"/>
                    </a:cubicBezTo>
                    <a:cubicBezTo>
                      <a:pt x="86842" y="17242"/>
                      <a:pt x="88928" y="22386"/>
                      <a:pt x="91988" y="26974"/>
                    </a:cubicBezTo>
                    <a:cubicBezTo>
                      <a:pt x="94768" y="31703"/>
                      <a:pt x="98800" y="35735"/>
                      <a:pt x="100608" y="41297"/>
                    </a:cubicBezTo>
                    <a:lnTo>
                      <a:pt x="104224" y="55618"/>
                    </a:lnTo>
                    <a:lnTo>
                      <a:pt x="104226" y="55619"/>
                    </a:lnTo>
                    <a:cubicBezTo>
                      <a:pt x="104226" y="56175"/>
                      <a:pt x="104365" y="56593"/>
                      <a:pt x="104505" y="57149"/>
                    </a:cubicBezTo>
                    <a:cubicBezTo>
                      <a:pt x="105200" y="62572"/>
                      <a:pt x="105200" y="68133"/>
                      <a:pt x="105200" y="73974"/>
                    </a:cubicBezTo>
                    <a:cubicBezTo>
                      <a:pt x="105200" y="79536"/>
                      <a:pt x="103114" y="84542"/>
                      <a:pt x="102001" y="90104"/>
                    </a:cubicBezTo>
                    <a:cubicBezTo>
                      <a:pt x="101863" y="91355"/>
                      <a:pt x="101584" y="92607"/>
                      <a:pt x="101445" y="93858"/>
                    </a:cubicBezTo>
                    <a:lnTo>
                      <a:pt x="78502" y="55342"/>
                    </a:lnTo>
                    <a:lnTo>
                      <a:pt x="78920" y="42828"/>
                    </a:lnTo>
                    <a:lnTo>
                      <a:pt x="78916" y="42827"/>
                    </a:lnTo>
                    <a:cubicBezTo>
                      <a:pt x="79195" y="49083"/>
                      <a:pt x="78083" y="49083"/>
                      <a:pt x="78499" y="55340"/>
                    </a:cubicBezTo>
                    <a:lnTo>
                      <a:pt x="101303" y="93858"/>
                    </a:lnTo>
                    <a:cubicBezTo>
                      <a:pt x="101164" y="94552"/>
                      <a:pt x="101025" y="95247"/>
                      <a:pt x="100887" y="95943"/>
                    </a:cubicBezTo>
                    <a:lnTo>
                      <a:pt x="100884" y="95944"/>
                    </a:lnTo>
                    <a:lnTo>
                      <a:pt x="98660" y="106233"/>
                    </a:lnTo>
                    <a:cubicBezTo>
                      <a:pt x="96434" y="111377"/>
                      <a:pt x="93237" y="115688"/>
                      <a:pt x="90317" y="120138"/>
                    </a:cubicBezTo>
                    <a:cubicBezTo>
                      <a:pt x="87536" y="124865"/>
                      <a:pt x="83920" y="128898"/>
                      <a:pt x="79888" y="132235"/>
                    </a:cubicBezTo>
                    <a:cubicBezTo>
                      <a:pt x="75577" y="136267"/>
                      <a:pt x="70850" y="138910"/>
                      <a:pt x="66122" y="140717"/>
                    </a:cubicBezTo>
                    <a:cubicBezTo>
                      <a:pt x="61116" y="142942"/>
                      <a:pt x="56110" y="145584"/>
                      <a:pt x="50269" y="145166"/>
                    </a:cubicBezTo>
                    <a:cubicBezTo>
                      <a:pt x="44848" y="145166"/>
                      <a:pt x="39703" y="142663"/>
                      <a:pt x="34697" y="140438"/>
                    </a:cubicBezTo>
                    <a:cubicBezTo>
                      <a:pt x="29969" y="138213"/>
                      <a:pt x="26076" y="134460"/>
                      <a:pt x="22044" y="130844"/>
                    </a:cubicBezTo>
                    <a:cubicBezTo>
                      <a:pt x="18845" y="127924"/>
                      <a:pt x="15926" y="125005"/>
                      <a:pt x="13283" y="121528"/>
                    </a:cubicBezTo>
                    <a:lnTo>
                      <a:pt x="13342" y="121390"/>
                    </a:lnTo>
                    <a:lnTo>
                      <a:pt x="11340" y="118887"/>
                    </a:lnTo>
                    <a:cubicBezTo>
                      <a:pt x="8419" y="114576"/>
                      <a:pt x="5499" y="109848"/>
                      <a:pt x="3692" y="104287"/>
                    </a:cubicBezTo>
                    <a:cubicBezTo>
                      <a:pt x="1884" y="99141"/>
                      <a:pt x="1467" y="93717"/>
                      <a:pt x="772" y="88157"/>
                    </a:cubicBezTo>
                    <a:cubicBezTo>
                      <a:pt x="-340" y="82594"/>
                      <a:pt x="76" y="77449"/>
                      <a:pt x="76" y="71610"/>
                    </a:cubicBezTo>
                    <a:cubicBezTo>
                      <a:pt x="493" y="66048"/>
                      <a:pt x="1188" y="60625"/>
                      <a:pt x="2300" y="55480"/>
                    </a:cubicBezTo>
                    <a:cubicBezTo>
                      <a:pt x="3413" y="49918"/>
                      <a:pt x="4804" y="44774"/>
                      <a:pt x="6611" y="40046"/>
                    </a:cubicBezTo>
                    <a:cubicBezTo>
                      <a:pt x="8836" y="34622"/>
                      <a:pt x="9531" y="28783"/>
                      <a:pt x="12452" y="24334"/>
                    </a:cubicBezTo>
                    <a:cubicBezTo>
                      <a:pt x="15649" y="19466"/>
                      <a:pt x="19265" y="15434"/>
                      <a:pt x="23297" y="11818"/>
                    </a:cubicBezTo>
                    <a:cubicBezTo>
                      <a:pt x="27608" y="8064"/>
                      <a:pt x="33031" y="6257"/>
                      <a:pt x="37758" y="4449"/>
                    </a:cubicBezTo>
                    <a:cubicBezTo>
                      <a:pt x="42764" y="2225"/>
                      <a:pt x="48187" y="0"/>
                      <a:pt x="53610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7" name="Freeform: Shape 566">
                <a:extLst>
                  <a:ext uri="{FF2B5EF4-FFF2-40B4-BE49-F238E27FC236}">
                    <a16:creationId xmlns:a16="http://schemas.microsoft.com/office/drawing/2014/main" id="{7614273D-A269-989C-4364-F9974A62D917}"/>
                  </a:ext>
                </a:extLst>
              </p:cNvPr>
              <p:cNvSpPr/>
              <p:nvPr/>
            </p:nvSpPr>
            <p:spPr>
              <a:xfrm>
                <a:off x="5142132" y="4904367"/>
                <a:ext cx="556" cy="12514"/>
              </a:xfrm>
              <a:custGeom>
                <a:avLst/>
                <a:gdLst>
                  <a:gd name="connsiteX0" fmla="*/ 317 w 381"/>
                  <a:gd name="connsiteY0" fmla="*/ 0 h 8572"/>
                  <a:gd name="connsiteX1" fmla="*/ 317 w 381"/>
                  <a:gd name="connsiteY1" fmla="*/ 0 h 8572"/>
                  <a:gd name="connsiteX2" fmla="*/ 31 w 381"/>
                  <a:gd name="connsiteY2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" h="8572">
                    <a:moveTo>
                      <a:pt x="317" y="0"/>
                    </a:moveTo>
                    <a:lnTo>
                      <a:pt x="317" y="0"/>
                    </a:lnTo>
                    <a:cubicBezTo>
                      <a:pt x="602" y="4286"/>
                      <a:pt x="-160" y="4286"/>
                      <a:pt x="31" y="857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6FDC38C5-512D-D1F3-2565-3EEBA456380A}"/>
                  </a:ext>
                </a:extLst>
              </p:cNvPr>
              <p:cNvSpPr/>
              <p:nvPr/>
            </p:nvSpPr>
            <p:spPr>
              <a:xfrm>
                <a:off x="5063817" y="4861400"/>
                <a:ext cx="105196" cy="145325"/>
              </a:xfrm>
              <a:custGeom>
                <a:avLst/>
                <a:gdLst>
                  <a:gd name="connsiteX0" fmla="*/ 72061 w 72061"/>
                  <a:gd name="connsiteY0" fmla="*/ 50768 h 99550"/>
                  <a:gd name="connsiteX1" fmla="*/ 72061 w 72061"/>
                  <a:gd name="connsiteY1" fmla="*/ 50768 h 99550"/>
                  <a:gd name="connsiteX2" fmla="*/ 69871 w 72061"/>
                  <a:gd name="connsiteY2" fmla="*/ 61817 h 99550"/>
                  <a:gd name="connsiteX3" fmla="*/ 67680 w 72061"/>
                  <a:gd name="connsiteY3" fmla="*/ 72866 h 99550"/>
                  <a:gd name="connsiteX4" fmla="*/ 61965 w 72061"/>
                  <a:gd name="connsiteY4" fmla="*/ 82391 h 99550"/>
                  <a:gd name="connsiteX5" fmla="*/ 54821 w 72061"/>
                  <a:gd name="connsiteY5" fmla="*/ 90678 h 99550"/>
                  <a:gd name="connsiteX6" fmla="*/ 45391 w 72061"/>
                  <a:gd name="connsiteY6" fmla="*/ 96488 h 99550"/>
                  <a:gd name="connsiteX7" fmla="*/ 34533 w 72061"/>
                  <a:gd name="connsiteY7" fmla="*/ 99536 h 99550"/>
                  <a:gd name="connsiteX8" fmla="*/ 23865 w 72061"/>
                  <a:gd name="connsiteY8" fmla="*/ 96298 h 99550"/>
                  <a:gd name="connsiteX9" fmla="*/ 15197 w 72061"/>
                  <a:gd name="connsiteY9" fmla="*/ 89725 h 99550"/>
                  <a:gd name="connsiteX10" fmla="*/ 7768 w 72061"/>
                  <a:gd name="connsiteY10" fmla="*/ 81439 h 99550"/>
                  <a:gd name="connsiteX11" fmla="*/ 2529 w 72061"/>
                  <a:gd name="connsiteY11" fmla="*/ 71438 h 99550"/>
                  <a:gd name="connsiteX12" fmla="*/ 529 w 72061"/>
                  <a:gd name="connsiteY12" fmla="*/ 60389 h 99550"/>
                  <a:gd name="connsiteX13" fmla="*/ 52 w 72061"/>
                  <a:gd name="connsiteY13" fmla="*/ 49054 h 99550"/>
                  <a:gd name="connsiteX14" fmla="*/ 1576 w 72061"/>
                  <a:gd name="connsiteY14" fmla="*/ 38005 h 99550"/>
                  <a:gd name="connsiteX15" fmla="*/ 4529 w 72061"/>
                  <a:gd name="connsiteY15" fmla="*/ 27432 h 99550"/>
                  <a:gd name="connsiteX16" fmla="*/ 8530 w 72061"/>
                  <a:gd name="connsiteY16" fmla="*/ 16669 h 99550"/>
                  <a:gd name="connsiteX17" fmla="*/ 15959 w 72061"/>
                  <a:gd name="connsiteY17" fmla="*/ 8096 h 99550"/>
                  <a:gd name="connsiteX18" fmla="*/ 25865 w 72061"/>
                  <a:gd name="connsiteY18" fmla="*/ 3048 h 99550"/>
                  <a:gd name="connsiteX19" fmla="*/ 36724 w 72061"/>
                  <a:gd name="connsiteY19" fmla="*/ 0 h 99550"/>
                  <a:gd name="connsiteX20" fmla="*/ 47582 w 72061"/>
                  <a:gd name="connsiteY20" fmla="*/ 3048 h 99550"/>
                  <a:gd name="connsiteX21" fmla="*/ 57012 w 72061"/>
                  <a:gd name="connsiteY21" fmla="*/ 9334 h 99550"/>
                  <a:gd name="connsiteX22" fmla="*/ 62917 w 72061"/>
                  <a:gd name="connsiteY22" fmla="*/ 18669 h 99550"/>
                  <a:gd name="connsiteX23" fmla="*/ 68823 w 72061"/>
                  <a:gd name="connsiteY23" fmla="*/ 28480 h 99550"/>
                  <a:gd name="connsiteX24" fmla="*/ 71585 w 72061"/>
                  <a:gd name="connsiteY24" fmla="*/ 39243 h 99550"/>
                  <a:gd name="connsiteX25" fmla="*/ 72061 w 72061"/>
                  <a:gd name="connsiteY25" fmla="*/ 50768 h 99550"/>
                  <a:gd name="connsiteX26" fmla="*/ 72061 w 72061"/>
                  <a:gd name="connsiteY26" fmla="*/ 50768 h 99550"/>
                  <a:gd name="connsiteX27" fmla="*/ 72061 w 72061"/>
                  <a:gd name="connsiteY27" fmla="*/ 50768 h 99550"/>
                  <a:gd name="connsiteX28" fmla="*/ 72061 w 72061"/>
                  <a:gd name="connsiteY28" fmla="*/ 50768 h 9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2061" h="99550">
                    <a:moveTo>
                      <a:pt x="72061" y="50768"/>
                    </a:moveTo>
                    <a:lnTo>
                      <a:pt x="72061" y="50768"/>
                    </a:lnTo>
                    <a:cubicBezTo>
                      <a:pt x="72061" y="54578"/>
                      <a:pt x="70537" y="58007"/>
                      <a:pt x="69871" y="61817"/>
                    </a:cubicBezTo>
                    <a:cubicBezTo>
                      <a:pt x="69109" y="65627"/>
                      <a:pt x="68918" y="69342"/>
                      <a:pt x="67680" y="72866"/>
                    </a:cubicBezTo>
                    <a:cubicBezTo>
                      <a:pt x="66156" y="76391"/>
                      <a:pt x="63965" y="79439"/>
                      <a:pt x="61965" y="82391"/>
                    </a:cubicBezTo>
                    <a:cubicBezTo>
                      <a:pt x="59965" y="85630"/>
                      <a:pt x="57488" y="88392"/>
                      <a:pt x="54821" y="90678"/>
                    </a:cubicBezTo>
                    <a:cubicBezTo>
                      <a:pt x="51868" y="93440"/>
                      <a:pt x="48630" y="95155"/>
                      <a:pt x="45391" y="96488"/>
                    </a:cubicBezTo>
                    <a:cubicBezTo>
                      <a:pt x="41962" y="98012"/>
                      <a:pt x="38438" y="99727"/>
                      <a:pt x="34533" y="99536"/>
                    </a:cubicBezTo>
                    <a:cubicBezTo>
                      <a:pt x="30818" y="99536"/>
                      <a:pt x="27389" y="97822"/>
                      <a:pt x="23865" y="96298"/>
                    </a:cubicBezTo>
                    <a:cubicBezTo>
                      <a:pt x="20626" y="94774"/>
                      <a:pt x="17959" y="92297"/>
                      <a:pt x="15197" y="89725"/>
                    </a:cubicBezTo>
                    <a:cubicBezTo>
                      <a:pt x="12435" y="87249"/>
                      <a:pt x="9768" y="84677"/>
                      <a:pt x="7768" y="81439"/>
                    </a:cubicBezTo>
                    <a:cubicBezTo>
                      <a:pt x="5767" y="78391"/>
                      <a:pt x="3767" y="75152"/>
                      <a:pt x="2529" y="71438"/>
                    </a:cubicBezTo>
                    <a:cubicBezTo>
                      <a:pt x="1291" y="67913"/>
                      <a:pt x="1005" y="64198"/>
                      <a:pt x="529" y="60389"/>
                    </a:cubicBezTo>
                    <a:cubicBezTo>
                      <a:pt x="-233" y="56578"/>
                      <a:pt x="52" y="53149"/>
                      <a:pt x="52" y="49054"/>
                    </a:cubicBezTo>
                    <a:cubicBezTo>
                      <a:pt x="338" y="45244"/>
                      <a:pt x="814" y="41529"/>
                      <a:pt x="1576" y="38005"/>
                    </a:cubicBezTo>
                    <a:cubicBezTo>
                      <a:pt x="2338" y="34195"/>
                      <a:pt x="3291" y="30766"/>
                      <a:pt x="4529" y="27432"/>
                    </a:cubicBezTo>
                    <a:cubicBezTo>
                      <a:pt x="6053" y="23622"/>
                      <a:pt x="6529" y="19622"/>
                      <a:pt x="8530" y="16669"/>
                    </a:cubicBezTo>
                    <a:cubicBezTo>
                      <a:pt x="10720" y="13430"/>
                      <a:pt x="13197" y="10668"/>
                      <a:pt x="15959" y="8096"/>
                    </a:cubicBezTo>
                    <a:cubicBezTo>
                      <a:pt x="18912" y="5620"/>
                      <a:pt x="22627" y="4286"/>
                      <a:pt x="25865" y="3048"/>
                    </a:cubicBezTo>
                    <a:cubicBezTo>
                      <a:pt x="29294" y="1524"/>
                      <a:pt x="33009" y="0"/>
                      <a:pt x="36724" y="0"/>
                    </a:cubicBezTo>
                    <a:cubicBezTo>
                      <a:pt x="40438" y="286"/>
                      <a:pt x="44153" y="1524"/>
                      <a:pt x="47582" y="3048"/>
                    </a:cubicBezTo>
                    <a:cubicBezTo>
                      <a:pt x="50821" y="4572"/>
                      <a:pt x="54250" y="6572"/>
                      <a:pt x="57012" y="9334"/>
                    </a:cubicBezTo>
                    <a:cubicBezTo>
                      <a:pt x="59488" y="11811"/>
                      <a:pt x="61012" y="15335"/>
                      <a:pt x="62917" y="18669"/>
                    </a:cubicBezTo>
                    <a:cubicBezTo>
                      <a:pt x="64918" y="21907"/>
                      <a:pt x="67585" y="24670"/>
                      <a:pt x="68823" y="28480"/>
                    </a:cubicBezTo>
                    <a:cubicBezTo>
                      <a:pt x="70061" y="31718"/>
                      <a:pt x="70823" y="35528"/>
                      <a:pt x="71585" y="39243"/>
                    </a:cubicBezTo>
                    <a:cubicBezTo>
                      <a:pt x="72061" y="42958"/>
                      <a:pt x="72061" y="46672"/>
                      <a:pt x="72061" y="50768"/>
                    </a:cubicBezTo>
                    <a:lnTo>
                      <a:pt x="72061" y="50768"/>
                    </a:lnTo>
                    <a:lnTo>
                      <a:pt x="72061" y="50768"/>
                    </a:lnTo>
                    <a:lnTo>
                      <a:pt x="72061" y="50768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A82FEA1E-39FF-5259-EA8B-9267EE69BA61}"/>
                  </a:ext>
                </a:extLst>
              </p:cNvPr>
              <p:cNvSpPr/>
              <p:nvPr/>
            </p:nvSpPr>
            <p:spPr>
              <a:xfrm>
                <a:off x="5106165" y="4956232"/>
                <a:ext cx="59511" cy="14160"/>
              </a:xfrm>
              <a:custGeom>
                <a:avLst/>
                <a:gdLst>
                  <a:gd name="connsiteX0" fmla="*/ 0 w 40766"/>
                  <a:gd name="connsiteY0" fmla="*/ 572 h 9700"/>
                  <a:gd name="connsiteX1" fmla="*/ 0 w 40766"/>
                  <a:gd name="connsiteY1" fmla="*/ 572 h 9700"/>
                  <a:gd name="connsiteX2" fmla="*/ 9906 w 40766"/>
                  <a:gd name="connsiteY2" fmla="*/ 6382 h 9700"/>
                  <a:gd name="connsiteX3" fmla="*/ 20764 w 40766"/>
                  <a:gd name="connsiteY3" fmla="*/ 9620 h 9700"/>
                  <a:gd name="connsiteX4" fmla="*/ 31623 w 40766"/>
                  <a:gd name="connsiteY4" fmla="*/ 6572 h 9700"/>
                  <a:gd name="connsiteX5" fmla="*/ 40767 w 40766"/>
                  <a:gd name="connsiteY5" fmla="*/ 0 h 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66" h="9700">
                    <a:moveTo>
                      <a:pt x="0" y="572"/>
                    </a:moveTo>
                    <a:lnTo>
                      <a:pt x="0" y="572"/>
                    </a:lnTo>
                    <a:cubicBezTo>
                      <a:pt x="4477" y="4096"/>
                      <a:pt x="4000" y="3810"/>
                      <a:pt x="9906" y="6382"/>
                    </a:cubicBezTo>
                    <a:cubicBezTo>
                      <a:pt x="13144" y="7906"/>
                      <a:pt x="16859" y="9430"/>
                      <a:pt x="20764" y="9620"/>
                    </a:cubicBezTo>
                    <a:cubicBezTo>
                      <a:pt x="24479" y="10097"/>
                      <a:pt x="28194" y="8382"/>
                      <a:pt x="31623" y="6572"/>
                    </a:cubicBezTo>
                    <a:cubicBezTo>
                      <a:pt x="34862" y="5334"/>
                      <a:pt x="38100" y="3810"/>
                      <a:pt x="40767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9ECB127A-9A50-78C3-912C-DFBE388215CE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95107" cy="146695"/>
              </a:xfrm>
              <a:custGeom>
                <a:avLst/>
                <a:gdLst>
                  <a:gd name="connsiteX0" fmla="*/ 0 w 65150"/>
                  <a:gd name="connsiteY0" fmla="*/ 0 h 100488"/>
                  <a:gd name="connsiteX1" fmla="*/ 0 w 65150"/>
                  <a:gd name="connsiteY1" fmla="*/ 0 h 100488"/>
                  <a:gd name="connsiteX2" fmla="*/ 4953 w 65150"/>
                  <a:gd name="connsiteY2" fmla="*/ 9811 h 100488"/>
                  <a:gd name="connsiteX3" fmla="*/ 10668 w 65150"/>
                  <a:gd name="connsiteY3" fmla="*/ 19145 h 100488"/>
                  <a:gd name="connsiteX4" fmla="*/ 16573 w 65150"/>
                  <a:gd name="connsiteY4" fmla="*/ 28194 h 100488"/>
                  <a:gd name="connsiteX5" fmla="*/ 22765 w 65150"/>
                  <a:gd name="connsiteY5" fmla="*/ 36957 h 100488"/>
                  <a:gd name="connsiteX6" fmla="*/ 28480 w 65150"/>
                  <a:gd name="connsiteY6" fmla="*/ 46292 h 100488"/>
                  <a:gd name="connsiteX7" fmla="*/ 34671 w 65150"/>
                  <a:gd name="connsiteY7" fmla="*/ 55340 h 100488"/>
                  <a:gd name="connsiteX8" fmla="*/ 39910 w 65150"/>
                  <a:gd name="connsiteY8" fmla="*/ 64865 h 100488"/>
                  <a:gd name="connsiteX9" fmla="*/ 45339 w 65150"/>
                  <a:gd name="connsiteY9" fmla="*/ 74390 h 100488"/>
                  <a:gd name="connsiteX10" fmla="*/ 51530 w 65150"/>
                  <a:gd name="connsiteY10" fmla="*/ 83153 h 100488"/>
                  <a:gd name="connsiteX11" fmla="*/ 58198 w 65150"/>
                  <a:gd name="connsiteY11" fmla="*/ 91726 h 100488"/>
                  <a:gd name="connsiteX12" fmla="*/ 65151 w 65150"/>
                  <a:gd name="connsiteY12" fmla="*/ 100489 h 10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150" h="100488">
                    <a:moveTo>
                      <a:pt x="0" y="0"/>
                    </a:moveTo>
                    <a:lnTo>
                      <a:pt x="0" y="0"/>
                    </a:lnTo>
                    <a:cubicBezTo>
                      <a:pt x="2953" y="4763"/>
                      <a:pt x="1524" y="4000"/>
                      <a:pt x="4953" y="9811"/>
                    </a:cubicBezTo>
                    <a:cubicBezTo>
                      <a:pt x="6667" y="12573"/>
                      <a:pt x="8382" y="15621"/>
                      <a:pt x="10668" y="19145"/>
                    </a:cubicBezTo>
                    <a:cubicBezTo>
                      <a:pt x="12382" y="22193"/>
                      <a:pt x="14383" y="24955"/>
                      <a:pt x="16573" y="28194"/>
                    </a:cubicBezTo>
                    <a:cubicBezTo>
                      <a:pt x="18288" y="31242"/>
                      <a:pt x="20764" y="34004"/>
                      <a:pt x="22765" y="36957"/>
                    </a:cubicBezTo>
                    <a:cubicBezTo>
                      <a:pt x="24479" y="40005"/>
                      <a:pt x="26479" y="43244"/>
                      <a:pt x="28480" y="46292"/>
                    </a:cubicBezTo>
                    <a:cubicBezTo>
                      <a:pt x="30480" y="49340"/>
                      <a:pt x="32671" y="52292"/>
                      <a:pt x="34671" y="55340"/>
                    </a:cubicBezTo>
                    <a:cubicBezTo>
                      <a:pt x="36671" y="58388"/>
                      <a:pt x="37910" y="61913"/>
                      <a:pt x="39910" y="64865"/>
                    </a:cubicBezTo>
                    <a:cubicBezTo>
                      <a:pt x="41910" y="68104"/>
                      <a:pt x="43339" y="71438"/>
                      <a:pt x="45339" y="74390"/>
                    </a:cubicBezTo>
                    <a:cubicBezTo>
                      <a:pt x="47339" y="77438"/>
                      <a:pt x="49530" y="80391"/>
                      <a:pt x="51530" y="83153"/>
                    </a:cubicBezTo>
                    <a:cubicBezTo>
                      <a:pt x="53721" y="86392"/>
                      <a:pt x="56198" y="89154"/>
                      <a:pt x="58198" y="91726"/>
                    </a:cubicBezTo>
                    <a:cubicBezTo>
                      <a:pt x="61627" y="96488"/>
                      <a:pt x="63913" y="100298"/>
                      <a:pt x="65151" y="10048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B8E3E2F5-3FEE-7769-3346-947700E65B77}"/>
                  </a:ext>
                </a:extLst>
              </p:cNvPr>
              <p:cNvSpPr/>
              <p:nvPr/>
            </p:nvSpPr>
            <p:spPr>
              <a:xfrm>
                <a:off x="5136894" y="5026728"/>
                <a:ext cx="70358" cy="138631"/>
              </a:xfrm>
              <a:custGeom>
                <a:avLst/>
                <a:gdLst>
                  <a:gd name="connsiteX0" fmla="*/ 0 w 48196"/>
                  <a:gd name="connsiteY0" fmla="*/ 0 h 94964"/>
                  <a:gd name="connsiteX1" fmla="*/ 0 w 48196"/>
                  <a:gd name="connsiteY1" fmla="*/ 0 h 94964"/>
                  <a:gd name="connsiteX2" fmla="*/ 4000 w 48196"/>
                  <a:gd name="connsiteY2" fmla="*/ 10001 h 94964"/>
                  <a:gd name="connsiteX3" fmla="*/ 9906 w 48196"/>
                  <a:gd name="connsiteY3" fmla="*/ 18764 h 94964"/>
                  <a:gd name="connsiteX4" fmla="*/ 13335 w 48196"/>
                  <a:gd name="connsiteY4" fmla="*/ 29051 h 94964"/>
                  <a:gd name="connsiteX5" fmla="*/ 19526 w 48196"/>
                  <a:gd name="connsiteY5" fmla="*/ 37624 h 94964"/>
                  <a:gd name="connsiteX6" fmla="*/ 23717 w 48196"/>
                  <a:gd name="connsiteY6" fmla="*/ 47434 h 94964"/>
                  <a:gd name="connsiteX7" fmla="*/ 28384 w 48196"/>
                  <a:gd name="connsiteY7" fmla="*/ 56959 h 94964"/>
                  <a:gd name="connsiteX8" fmla="*/ 33338 w 48196"/>
                  <a:gd name="connsiteY8" fmla="*/ 66484 h 94964"/>
                  <a:gd name="connsiteX9" fmla="*/ 38576 w 48196"/>
                  <a:gd name="connsiteY9" fmla="*/ 75819 h 94964"/>
                  <a:gd name="connsiteX10" fmla="*/ 42767 w 48196"/>
                  <a:gd name="connsiteY10" fmla="*/ 85630 h 94964"/>
                  <a:gd name="connsiteX11" fmla="*/ 48196 w 48196"/>
                  <a:gd name="connsiteY11" fmla="*/ 94964 h 9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196" h="94964">
                    <a:moveTo>
                      <a:pt x="0" y="0"/>
                    </a:moveTo>
                    <a:lnTo>
                      <a:pt x="0" y="0"/>
                    </a:lnTo>
                    <a:cubicBezTo>
                      <a:pt x="2476" y="4763"/>
                      <a:pt x="1524" y="5239"/>
                      <a:pt x="4000" y="10001"/>
                    </a:cubicBezTo>
                    <a:cubicBezTo>
                      <a:pt x="6191" y="14764"/>
                      <a:pt x="7429" y="14002"/>
                      <a:pt x="9906" y="18764"/>
                    </a:cubicBezTo>
                    <a:cubicBezTo>
                      <a:pt x="12383" y="23527"/>
                      <a:pt x="11144" y="24289"/>
                      <a:pt x="13335" y="29051"/>
                    </a:cubicBezTo>
                    <a:cubicBezTo>
                      <a:pt x="15811" y="33528"/>
                      <a:pt x="17335" y="33052"/>
                      <a:pt x="19526" y="37624"/>
                    </a:cubicBezTo>
                    <a:cubicBezTo>
                      <a:pt x="22003" y="42386"/>
                      <a:pt x="21527" y="42863"/>
                      <a:pt x="23717" y="47434"/>
                    </a:cubicBezTo>
                    <a:cubicBezTo>
                      <a:pt x="26194" y="52197"/>
                      <a:pt x="26194" y="52483"/>
                      <a:pt x="28384" y="56959"/>
                    </a:cubicBezTo>
                    <a:cubicBezTo>
                      <a:pt x="30861" y="61722"/>
                      <a:pt x="30861" y="61722"/>
                      <a:pt x="33338" y="66484"/>
                    </a:cubicBezTo>
                    <a:cubicBezTo>
                      <a:pt x="35814" y="71247"/>
                      <a:pt x="36100" y="70961"/>
                      <a:pt x="38576" y="75819"/>
                    </a:cubicBezTo>
                    <a:cubicBezTo>
                      <a:pt x="41053" y="80581"/>
                      <a:pt x="40291" y="81058"/>
                      <a:pt x="42767" y="85630"/>
                    </a:cubicBezTo>
                    <a:cubicBezTo>
                      <a:pt x="45244" y="90392"/>
                      <a:pt x="45720" y="90107"/>
                      <a:pt x="48196" y="94964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8967C12E-133A-11BC-D9D0-3817488C1967}"/>
                  </a:ext>
                </a:extLst>
              </p:cNvPr>
              <p:cNvSpPr/>
              <p:nvPr/>
            </p:nvSpPr>
            <p:spPr>
              <a:xfrm>
                <a:off x="5200438" y="5147534"/>
                <a:ext cx="41297" cy="28392"/>
              </a:xfrm>
              <a:custGeom>
                <a:avLst/>
                <a:gdLst>
                  <a:gd name="connsiteX0" fmla="*/ 10192 w 28289"/>
                  <a:gd name="connsiteY0" fmla="*/ 19450 h 19449"/>
                  <a:gd name="connsiteX1" fmla="*/ 10192 w 28289"/>
                  <a:gd name="connsiteY1" fmla="*/ 19450 h 19449"/>
                  <a:gd name="connsiteX2" fmla="*/ 20860 w 28289"/>
                  <a:gd name="connsiteY2" fmla="*/ 13449 h 19449"/>
                  <a:gd name="connsiteX3" fmla="*/ 28289 w 28289"/>
                  <a:gd name="connsiteY3" fmla="*/ 3638 h 19449"/>
                  <a:gd name="connsiteX4" fmla="*/ 19336 w 28289"/>
                  <a:gd name="connsiteY4" fmla="*/ 114 h 19449"/>
                  <a:gd name="connsiteX5" fmla="*/ 9430 w 28289"/>
                  <a:gd name="connsiteY5" fmla="*/ 590 h 19449"/>
                  <a:gd name="connsiteX6" fmla="*/ 0 w 28289"/>
                  <a:gd name="connsiteY6" fmla="*/ 3352 h 1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9" h="19449">
                    <a:moveTo>
                      <a:pt x="10192" y="19450"/>
                    </a:moveTo>
                    <a:lnTo>
                      <a:pt x="10192" y="19450"/>
                    </a:lnTo>
                    <a:cubicBezTo>
                      <a:pt x="15145" y="15925"/>
                      <a:pt x="16097" y="17164"/>
                      <a:pt x="20860" y="13449"/>
                    </a:cubicBezTo>
                    <a:cubicBezTo>
                      <a:pt x="25051" y="9925"/>
                      <a:pt x="28289" y="5448"/>
                      <a:pt x="28289" y="3638"/>
                    </a:cubicBezTo>
                    <a:cubicBezTo>
                      <a:pt x="28004" y="2114"/>
                      <a:pt x="24289" y="590"/>
                      <a:pt x="19336" y="114"/>
                    </a:cubicBezTo>
                    <a:cubicBezTo>
                      <a:pt x="16383" y="-172"/>
                      <a:pt x="12859" y="114"/>
                      <a:pt x="9430" y="590"/>
                    </a:cubicBezTo>
                    <a:cubicBezTo>
                      <a:pt x="5715" y="1066"/>
                      <a:pt x="2286" y="1638"/>
                      <a:pt x="0" y="335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3" name="Freeform: Shape 572">
                <a:extLst>
                  <a:ext uri="{FF2B5EF4-FFF2-40B4-BE49-F238E27FC236}">
                    <a16:creationId xmlns:a16="http://schemas.microsoft.com/office/drawing/2014/main" id="{8AB7291C-D6E9-3F49-6CB3-41FEE1F8F526}"/>
                  </a:ext>
                </a:extLst>
              </p:cNvPr>
              <p:cNvSpPr/>
              <p:nvPr/>
            </p:nvSpPr>
            <p:spPr>
              <a:xfrm>
                <a:off x="5041089" y="4981955"/>
                <a:ext cx="36430" cy="105677"/>
              </a:xfrm>
              <a:custGeom>
                <a:avLst/>
                <a:gdLst>
                  <a:gd name="connsiteX0" fmla="*/ 24956 w 24955"/>
                  <a:gd name="connsiteY0" fmla="*/ 0 h 72390"/>
                  <a:gd name="connsiteX1" fmla="*/ 24956 w 24955"/>
                  <a:gd name="connsiteY1" fmla="*/ 0 h 72390"/>
                  <a:gd name="connsiteX2" fmla="*/ 20765 w 24955"/>
                  <a:gd name="connsiteY2" fmla="*/ 10097 h 72390"/>
                  <a:gd name="connsiteX3" fmla="*/ 17050 w 24955"/>
                  <a:gd name="connsiteY3" fmla="*/ 20384 h 72390"/>
                  <a:gd name="connsiteX4" fmla="*/ 14288 w 24955"/>
                  <a:gd name="connsiteY4" fmla="*/ 30956 h 72390"/>
                  <a:gd name="connsiteX5" fmla="*/ 10859 w 24955"/>
                  <a:gd name="connsiteY5" fmla="*/ 41529 h 72390"/>
                  <a:gd name="connsiteX6" fmla="*/ 6858 w 24955"/>
                  <a:gd name="connsiteY6" fmla="*/ 51530 h 72390"/>
                  <a:gd name="connsiteX7" fmla="*/ 3429 w 24955"/>
                  <a:gd name="connsiteY7" fmla="*/ 62103 h 72390"/>
                  <a:gd name="connsiteX8" fmla="*/ 0 w 24955"/>
                  <a:gd name="connsiteY8" fmla="*/ 72390 h 7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55" h="72390">
                    <a:moveTo>
                      <a:pt x="24956" y="0"/>
                    </a:moveTo>
                    <a:lnTo>
                      <a:pt x="24956" y="0"/>
                    </a:lnTo>
                    <a:cubicBezTo>
                      <a:pt x="23241" y="5048"/>
                      <a:pt x="22479" y="4763"/>
                      <a:pt x="20765" y="10097"/>
                    </a:cubicBezTo>
                    <a:cubicBezTo>
                      <a:pt x="19050" y="15335"/>
                      <a:pt x="18764" y="15145"/>
                      <a:pt x="17050" y="20384"/>
                    </a:cubicBezTo>
                    <a:cubicBezTo>
                      <a:pt x="15050" y="25432"/>
                      <a:pt x="16288" y="25908"/>
                      <a:pt x="14288" y="30956"/>
                    </a:cubicBezTo>
                    <a:cubicBezTo>
                      <a:pt x="12573" y="36195"/>
                      <a:pt x="12573" y="36195"/>
                      <a:pt x="10859" y="41529"/>
                    </a:cubicBezTo>
                    <a:cubicBezTo>
                      <a:pt x="9144" y="46577"/>
                      <a:pt x="8668" y="46577"/>
                      <a:pt x="6858" y="51530"/>
                    </a:cubicBezTo>
                    <a:cubicBezTo>
                      <a:pt x="4858" y="56769"/>
                      <a:pt x="5334" y="56769"/>
                      <a:pt x="3429" y="62103"/>
                    </a:cubicBezTo>
                    <a:cubicBezTo>
                      <a:pt x="1715" y="67151"/>
                      <a:pt x="1715" y="67151"/>
                      <a:pt x="0" y="7239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BE9758B5-A27A-2F25-AD70-2F31BE691AC3}"/>
                  </a:ext>
                </a:extLst>
              </p:cNvPr>
              <p:cNvSpPr/>
              <p:nvPr/>
            </p:nvSpPr>
            <p:spPr>
              <a:xfrm>
                <a:off x="5122710" y="5074701"/>
                <a:ext cx="35456" cy="281016"/>
              </a:xfrm>
              <a:custGeom>
                <a:avLst/>
                <a:gdLst>
                  <a:gd name="connsiteX0" fmla="*/ 286 w 24288"/>
                  <a:gd name="connsiteY0" fmla="*/ 0 h 192500"/>
                  <a:gd name="connsiteX1" fmla="*/ 286 w 24288"/>
                  <a:gd name="connsiteY1" fmla="*/ 0 h 192500"/>
                  <a:gd name="connsiteX2" fmla="*/ 0 w 24288"/>
                  <a:gd name="connsiteY2" fmla="*/ 11525 h 192500"/>
                  <a:gd name="connsiteX3" fmla="*/ 0 w 24288"/>
                  <a:gd name="connsiteY3" fmla="*/ 22860 h 192500"/>
                  <a:gd name="connsiteX4" fmla="*/ 0 w 24288"/>
                  <a:gd name="connsiteY4" fmla="*/ 34385 h 192500"/>
                  <a:gd name="connsiteX5" fmla="*/ 286 w 24288"/>
                  <a:gd name="connsiteY5" fmla="*/ 45910 h 192500"/>
                  <a:gd name="connsiteX6" fmla="*/ 572 w 24288"/>
                  <a:gd name="connsiteY6" fmla="*/ 57245 h 192500"/>
                  <a:gd name="connsiteX7" fmla="*/ 286 w 24288"/>
                  <a:gd name="connsiteY7" fmla="*/ 68771 h 192500"/>
                  <a:gd name="connsiteX8" fmla="*/ 1238 w 24288"/>
                  <a:gd name="connsiteY8" fmla="*/ 80105 h 192500"/>
                  <a:gd name="connsiteX9" fmla="*/ 762 w 24288"/>
                  <a:gd name="connsiteY9" fmla="*/ 91631 h 192500"/>
                  <a:gd name="connsiteX10" fmla="*/ 1048 w 24288"/>
                  <a:gd name="connsiteY10" fmla="*/ 102965 h 192500"/>
                  <a:gd name="connsiteX11" fmla="*/ 3048 w 24288"/>
                  <a:gd name="connsiteY11" fmla="*/ 114300 h 192500"/>
                  <a:gd name="connsiteX12" fmla="*/ 5525 w 24288"/>
                  <a:gd name="connsiteY12" fmla="*/ 125635 h 192500"/>
                  <a:gd name="connsiteX13" fmla="*/ 8477 w 24288"/>
                  <a:gd name="connsiteY13" fmla="*/ 136969 h 192500"/>
                  <a:gd name="connsiteX14" fmla="*/ 11906 w 24288"/>
                  <a:gd name="connsiteY14" fmla="*/ 148019 h 192500"/>
                  <a:gd name="connsiteX15" fmla="*/ 14859 w 24288"/>
                  <a:gd name="connsiteY15" fmla="*/ 159067 h 192500"/>
                  <a:gd name="connsiteX16" fmla="*/ 17812 w 24288"/>
                  <a:gd name="connsiteY16" fmla="*/ 170117 h 192500"/>
                  <a:gd name="connsiteX17" fmla="*/ 21527 w 24288"/>
                  <a:gd name="connsiteY17" fmla="*/ 181165 h 192500"/>
                  <a:gd name="connsiteX18" fmla="*/ 24289 w 24288"/>
                  <a:gd name="connsiteY18" fmla="*/ 192500 h 19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288" h="192500">
                    <a:moveTo>
                      <a:pt x="286" y="0"/>
                    </a:moveTo>
                    <a:lnTo>
                      <a:pt x="286" y="0"/>
                    </a:lnTo>
                    <a:cubicBezTo>
                      <a:pt x="286" y="5810"/>
                      <a:pt x="0" y="5810"/>
                      <a:pt x="0" y="11525"/>
                    </a:cubicBezTo>
                    <a:cubicBezTo>
                      <a:pt x="0" y="17335"/>
                      <a:pt x="286" y="17335"/>
                      <a:pt x="0" y="22860"/>
                    </a:cubicBezTo>
                    <a:cubicBezTo>
                      <a:pt x="0" y="28670"/>
                      <a:pt x="0" y="28670"/>
                      <a:pt x="0" y="34385"/>
                    </a:cubicBezTo>
                    <a:cubicBezTo>
                      <a:pt x="0" y="40196"/>
                      <a:pt x="286" y="40196"/>
                      <a:pt x="286" y="45910"/>
                    </a:cubicBezTo>
                    <a:cubicBezTo>
                      <a:pt x="286" y="51435"/>
                      <a:pt x="572" y="51435"/>
                      <a:pt x="572" y="57245"/>
                    </a:cubicBezTo>
                    <a:cubicBezTo>
                      <a:pt x="572" y="63056"/>
                      <a:pt x="286" y="63056"/>
                      <a:pt x="286" y="68771"/>
                    </a:cubicBezTo>
                    <a:cubicBezTo>
                      <a:pt x="286" y="74581"/>
                      <a:pt x="1238" y="74581"/>
                      <a:pt x="1238" y="80105"/>
                    </a:cubicBezTo>
                    <a:cubicBezTo>
                      <a:pt x="953" y="85915"/>
                      <a:pt x="762" y="85915"/>
                      <a:pt x="762" y="91631"/>
                    </a:cubicBezTo>
                    <a:cubicBezTo>
                      <a:pt x="762" y="97346"/>
                      <a:pt x="286" y="97441"/>
                      <a:pt x="1048" y="102965"/>
                    </a:cubicBezTo>
                    <a:cubicBezTo>
                      <a:pt x="1810" y="108775"/>
                      <a:pt x="1524" y="108775"/>
                      <a:pt x="3048" y="114300"/>
                    </a:cubicBezTo>
                    <a:cubicBezTo>
                      <a:pt x="4572" y="120110"/>
                      <a:pt x="4001" y="120110"/>
                      <a:pt x="5525" y="125635"/>
                    </a:cubicBezTo>
                    <a:cubicBezTo>
                      <a:pt x="7049" y="131445"/>
                      <a:pt x="7049" y="131159"/>
                      <a:pt x="8477" y="136969"/>
                    </a:cubicBezTo>
                    <a:cubicBezTo>
                      <a:pt x="10001" y="142494"/>
                      <a:pt x="10478" y="142208"/>
                      <a:pt x="11906" y="148019"/>
                    </a:cubicBezTo>
                    <a:cubicBezTo>
                      <a:pt x="13430" y="153543"/>
                      <a:pt x="13430" y="153543"/>
                      <a:pt x="14859" y="159067"/>
                    </a:cubicBezTo>
                    <a:cubicBezTo>
                      <a:pt x="16383" y="164592"/>
                      <a:pt x="16383" y="164592"/>
                      <a:pt x="17812" y="170117"/>
                    </a:cubicBezTo>
                    <a:cubicBezTo>
                      <a:pt x="19336" y="175927"/>
                      <a:pt x="20003" y="175641"/>
                      <a:pt x="21527" y="181165"/>
                    </a:cubicBezTo>
                    <a:cubicBezTo>
                      <a:pt x="22765" y="186690"/>
                      <a:pt x="22765" y="186976"/>
                      <a:pt x="24289" y="19250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53F4E53A-A5A0-5678-050E-3655C059BC2E}"/>
                  </a:ext>
                </a:extLst>
              </p:cNvPr>
              <p:cNvSpPr/>
              <p:nvPr/>
            </p:nvSpPr>
            <p:spPr>
              <a:xfrm>
                <a:off x="5054995" y="5208464"/>
                <a:ext cx="61180" cy="149893"/>
              </a:xfrm>
              <a:custGeom>
                <a:avLst/>
                <a:gdLst>
                  <a:gd name="connsiteX0" fmla="*/ 41910 w 41909"/>
                  <a:gd name="connsiteY0" fmla="*/ 102679 h 102679"/>
                  <a:gd name="connsiteX1" fmla="*/ 41910 w 41909"/>
                  <a:gd name="connsiteY1" fmla="*/ 102679 h 102679"/>
                  <a:gd name="connsiteX2" fmla="*/ 38195 w 41909"/>
                  <a:gd name="connsiteY2" fmla="*/ 92107 h 102679"/>
                  <a:gd name="connsiteX3" fmla="*/ 34004 w 41909"/>
                  <a:gd name="connsiteY3" fmla="*/ 82105 h 102679"/>
                  <a:gd name="connsiteX4" fmla="*/ 29527 w 41909"/>
                  <a:gd name="connsiteY4" fmla="*/ 71818 h 102679"/>
                  <a:gd name="connsiteX5" fmla="*/ 25813 w 41909"/>
                  <a:gd name="connsiteY5" fmla="*/ 61246 h 102679"/>
                  <a:gd name="connsiteX6" fmla="*/ 21336 w 41909"/>
                  <a:gd name="connsiteY6" fmla="*/ 51244 h 102679"/>
                  <a:gd name="connsiteX7" fmla="*/ 17145 w 41909"/>
                  <a:gd name="connsiteY7" fmla="*/ 40957 h 102679"/>
                  <a:gd name="connsiteX8" fmla="*/ 12668 w 41909"/>
                  <a:gd name="connsiteY8" fmla="*/ 30861 h 102679"/>
                  <a:gd name="connsiteX9" fmla="*/ 7715 w 41909"/>
                  <a:gd name="connsiteY9" fmla="*/ 20860 h 102679"/>
                  <a:gd name="connsiteX10" fmla="*/ 4000 w 41909"/>
                  <a:gd name="connsiteY10" fmla="*/ 10287 h 102679"/>
                  <a:gd name="connsiteX11" fmla="*/ 0 w 41909"/>
                  <a:gd name="connsiteY11" fmla="*/ 0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09" h="102679">
                    <a:moveTo>
                      <a:pt x="41910" y="102679"/>
                    </a:moveTo>
                    <a:lnTo>
                      <a:pt x="41910" y="102679"/>
                    </a:lnTo>
                    <a:cubicBezTo>
                      <a:pt x="39719" y="97631"/>
                      <a:pt x="40386" y="97441"/>
                      <a:pt x="38195" y="92107"/>
                    </a:cubicBezTo>
                    <a:cubicBezTo>
                      <a:pt x="36195" y="87058"/>
                      <a:pt x="36005" y="87058"/>
                      <a:pt x="34004" y="82105"/>
                    </a:cubicBezTo>
                    <a:cubicBezTo>
                      <a:pt x="31814" y="76867"/>
                      <a:pt x="31528" y="77057"/>
                      <a:pt x="29527" y="71818"/>
                    </a:cubicBezTo>
                    <a:cubicBezTo>
                      <a:pt x="27337" y="66770"/>
                      <a:pt x="28004" y="66580"/>
                      <a:pt x="25813" y="61246"/>
                    </a:cubicBezTo>
                    <a:cubicBezTo>
                      <a:pt x="23622" y="56197"/>
                      <a:pt x="23622" y="56197"/>
                      <a:pt x="21336" y="51244"/>
                    </a:cubicBezTo>
                    <a:cubicBezTo>
                      <a:pt x="19336" y="46196"/>
                      <a:pt x="19145" y="46196"/>
                      <a:pt x="17145" y="40957"/>
                    </a:cubicBezTo>
                    <a:cubicBezTo>
                      <a:pt x="14954" y="35909"/>
                      <a:pt x="14669" y="35909"/>
                      <a:pt x="12668" y="30861"/>
                    </a:cubicBezTo>
                    <a:cubicBezTo>
                      <a:pt x="10478" y="25622"/>
                      <a:pt x="9906" y="25813"/>
                      <a:pt x="7715" y="20860"/>
                    </a:cubicBezTo>
                    <a:cubicBezTo>
                      <a:pt x="5525" y="15811"/>
                      <a:pt x="6001" y="15621"/>
                      <a:pt x="4000" y="10287"/>
                    </a:cubicBezTo>
                    <a:cubicBezTo>
                      <a:pt x="1810" y="5239"/>
                      <a:pt x="2000" y="5048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6" name="Freeform: Shape 575">
                <a:extLst>
                  <a:ext uri="{FF2B5EF4-FFF2-40B4-BE49-F238E27FC236}">
                    <a16:creationId xmlns:a16="http://schemas.microsoft.com/office/drawing/2014/main" id="{1DC02A6F-7CD5-D68E-B16F-2671228CF77D}"/>
                  </a:ext>
                </a:extLst>
              </p:cNvPr>
              <p:cNvSpPr/>
              <p:nvPr/>
            </p:nvSpPr>
            <p:spPr>
              <a:xfrm>
                <a:off x="5040950" y="5277016"/>
                <a:ext cx="25306" cy="66603"/>
              </a:xfrm>
              <a:custGeom>
                <a:avLst/>
                <a:gdLst>
                  <a:gd name="connsiteX0" fmla="*/ 17336 w 17335"/>
                  <a:gd name="connsiteY0" fmla="*/ 0 h 45624"/>
                  <a:gd name="connsiteX1" fmla="*/ 17336 w 17335"/>
                  <a:gd name="connsiteY1" fmla="*/ 0 h 45624"/>
                  <a:gd name="connsiteX2" fmla="*/ 13145 w 17335"/>
                  <a:gd name="connsiteY2" fmla="*/ 11525 h 45624"/>
                  <a:gd name="connsiteX3" fmla="*/ 9430 w 17335"/>
                  <a:gd name="connsiteY3" fmla="*/ 23050 h 45624"/>
                  <a:gd name="connsiteX4" fmla="*/ 5239 w 17335"/>
                  <a:gd name="connsiteY4" fmla="*/ 34576 h 45624"/>
                  <a:gd name="connsiteX5" fmla="*/ 0 w 17335"/>
                  <a:gd name="connsiteY5" fmla="*/ 45625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35" h="45624">
                    <a:moveTo>
                      <a:pt x="17336" y="0"/>
                    </a:moveTo>
                    <a:lnTo>
                      <a:pt x="17336" y="0"/>
                    </a:lnTo>
                    <a:cubicBezTo>
                      <a:pt x="15335" y="5810"/>
                      <a:pt x="15145" y="5810"/>
                      <a:pt x="13145" y="11525"/>
                    </a:cubicBezTo>
                    <a:cubicBezTo>
                      <a:pt x="10954" y="17050"/>
                      <a:pt x="11430" y="17335"/>
                      <a:pt x="9430" y="23050"/>
                    </a:cubicBezTo>
                    <a:cubicBezTo>
                      <a:pt x="7239" y="28861"/>
                      <a:pt x="7430" y="28861"/>
                      <a:pt x="5239" y="34576"/>
                    </a:cubicBezTo>
                    <a:cubicBezTo>
                      <a:pt x="3239" y="40386"/>
                      <a:pt x="2000" y="39814"/>
                      <a:pt x="0" y="45625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B79D66BB-2DA2-29A5-7222-A1F2C6B23113}"/>
                  </a:ext>
                </a:extLst>
              </p:cNvPr>
              <p:cNvSpPr/>
              <p:nvPr/>
            </p:nvSpPr>
            <p:spPr>
              <a:xfrm>
                <a:off x="5042480" y="5201374"/>
                <a:ext cx="80925" cy="22802"/>
              </a:xfrm>
              <a:custGeom>
                <a:avLst/>
                <a:gdLst>
                  <a:gd name="connsiteX0" fmla="*/ 55436 w 55435"/>
                  <a:gd name="connsiteY0" fmla="*/ 15621 h 15620"/>
                  <a:gd name="connsiteX1" fmla="*/ 55436 w 55435"/>
                  <a:gd name="connsiteY1" fmla="*/ 15621 h 15620"/>
                  <a:gd name="connsiteX2" fmla="*/ 44006 w 55435"/>
                  <a:gd name="connsiteY2" fmla="*/ 13906 h 15620"/>
                  <a:gd name="connsiteX3" fmla="*/ 33147 w 55435"/>
                  <a:gd name="connsiteY3" fmla="*/ 10096 h 15620"/>
                  <a:gd name="connsiteX4" fmla="*/ 21717 w 55435"/>
                  <a:gd name="connsiteY4" fmla="*/ 7048 h 15620"/>
                  <a:gd name="connsiteX5" fmla="*/ 10859 w 55435"/>
                  <a:gd name="connsiteY5" fmla="*/ 3238 h 15620"/>
                  <a:gd name="connsiteX6" fmla="*/ 0 w 55435"/>
                  <a:gd name="connsiteY6" fmla="*/ 0 h 1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435" h="15620">
                    <a:moveTo>
                      <a:pt x="55436" y="15621"/>
                    </a:moveTo>
                    <a:lnTo>
                      <a:pt x="55436" y="15621"/>
                    </a:lnTo>
                    <a:cubicBezTo>
                      <a:pt x="50006" y="14097"/>
                      <a:pt x="49530" y="15335"/>
                      <a:pt x="44006" y="13906"/>
                    </a:cubicBezTo>
                    <a:cubicBezTo>
                      <a:pt x="38290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1498EF2B-D447-F3E6-5929-AFD13396187B}"/>
                </a:ext>
              </a:extLst>
            </p:cNvPr>
            <p:cNvSpPr/>
            <p:nvPr/>
          </p:nvSpPr>
          <p:spPr>
            <a:xfrm>
              <a:off x="5573366" y="4392339"/>
              <a:ext cx="126672" cy="154951"/>
            </a:xfrm>
            <a:custGeom>
              <a:avLst/>
              <a:gdLst>
                <a:gd name="connsiteX0" fmla="*/ 86773 w 86772"/>
                <a:gd name="connsiteY0" fmla="*/ 52899 h 106144"/>
                <a:gd name="connsiteX1" fmla="*/ 86773 w 86772"/>
                <a:gd name="connsiteY1" fmla="*/ 52899 h 106144"/>
                <a:gd name="connsiteX2" fmla="*/ 86011 w 86772"/>
                <a:gd name="connsiteY2" fmla="*/ 63948 h 106144"/>
                <a:gd name="connsiteX3" fmla="*/ 81820 w 86772"/>
                <a:gd name="connsiteY3" fmla="*/ 74235 h 106144"/>
                <a:gd name="connsiteX4" fmla="*/ 77629 w 86772"/>
                <a:gd name="connsiteY4" fmla="*/ 84046 h 106144"/>
                <a:gd name="connsiteX5" fmla="*/ 71438 w 86772"/>
                <a:gd name="connsiteY5" fmla="*/ 93095 h 106144"/>
                <a:gd name="connsiteX6" fmla="*/ 63532 w 86772"/>
                <a:gd name="connsiteY6" fmla="*/ 100334 h 106144"/>
                <a:gd name="connsiteX7" fmla="*/ 53626 w 86772"/>
                <a:gd name="connsiteY7" fmla="*/ 104620 h 106144"/>
                <a:gd name="connsiteX8" fmla="*/ 43243 w 86772"/>
                <a:gd name="connsiteY8" fmla="*/ 106144 h 106144"/>
                <a:gd name="connsiteX9" fmla="*/ 32575 w 86772"/>
                <a:gd name="connsiteY9" fmla="*/ 104906 h 106144"/>
                <a:gd name="connsiteX10" fmla="*/ 23146 w 86772"/>
                <a:gd name="connsiteY10" fmla="*/ 100143 h 106144"/>
                <a:gd name="connsiteX11" fmla="*/ 15240 w 86772"/>
                <a:gd name="connsiteY11" fmla="*/ 92904 h 106144"/>
                <a:gd name="connsiteX12" fmla="*/ 8096 w 86772"/>
                <a:gd name="connsiteY12" fmla="*/ 84618 h 106144"/>
                <a:gd name="connsiteX13" fmla="*/ 3429 w 86772"/>
                <a:gd name="connsiteY13" fmla="*/ 74807 h 106144"/>
                <a:gd name="connsiteX14" fmla="*/ 1238 w 86772"/>
                <a:gd name="connsiteY14" fmla="*/ 64044 h 106144"/>
                <a:gd name="connsiteX15" fmla="*/ 0 w 86772"/>
                <a:gd name="connsiteY15" fmla="*/ 52995 h 106144"/>
                <a:gd name="connsiteX16" fmla="*/ 1238 w 86772"/>
                <a:gd name="connsiteY16" fmla="*/ 42231 h 106144"/>
                <a:gd name="connsiteX17" fmla="*/ 4000 w 86772"/>
                <a:gd name="connsiteY17" fmla="*/ 31659 h 106144"/>
                <a:gd name="connsiteX18" fmla="*/ 8668 w 86772"/>
                <a:gd name="connsiteY18" fmla="*/ 21848 h 106144"/>
                <a:gd name="connsiteX19" fmla="*/ 14573 w 86772"/>
                <a:gd name="connsiteY19" fmla="*/ 12799 h 106144"/>
                <a:gd name="connsiteX20" fmla="*/ 22765 w 86772"/>
                <a:gd name="connsiteY20" fmla="*/ 5560 h 106144"/>
                <a:gd name="connsiteX21" fmla="*/ 32671 w 86772"/>
                <a:gd name="connsiteY21" fmla="*/ 798 h 106144"/>
                <a:gd name="connsiteX22" fmla="*/ 43339 w 86772"/>
                <a:gd name="connsiteY22" fmla="*/ 36 h 106144"/>
                <a:gd name="connsiteX23" fmla="*/ 53721 w 86772"/>
                <a:gd name="connsiteY23" fmla="*/ 1560 h 106144"/>
                <a:gd name="connsiteX24" fmla="*/ 63341 w 86772"/>
                <a:gd name="connsiteY24" fmla="*/ 6036 h 106144"/>
                <a:gd name="connsiteX25" fmla="*/ 71723 w 86772"/>
                <a:gd name="connsiteY25" fmla="*/ 12799 h 106144"/>
                <a:gd name="connsiteX26" fmla="*/ 78867 w 86772"/>
                <a:gd name="connsiteY26" fmla="*/ 21086 h 106144"/>
                <a:gd name="connsiteX27" fmla="*/ 82296 w 86772"/>
                <a:gd name="connsiteY27" fmla="*/ 31659 h 106144"/>
                <a:gd name="connsiteX28" fmla="*/ 85058 w 86772"/>
                <a:gd name="connsiteY28" fmla="*/ 42231 h 106144"/>
                <a:gd name="connsiteX29" fmla="*/ 86773 w 86772"/>
                <a:gd name="connsiteY29" fmla="*/ 52899 h 106144"/>
                <a:gd name="connsiteX30" fmla="*/ 86773 w 86772"/>
                <a:gd name="connsiteY30" fmla="*/ 52899 h 106144"/>
                <a:gd name="connsiteX31" fmla="*/ 86773 w 86772"/>
                <a:gd name="connsiteY31" fmla="*/ 52899 h 106144"/>
                <a:gd name="connsiteX32" fmla="*/ 86773 w 86772"/>
                <a:gd name="connsiteY32" fmla="*/ 52899 h 10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6772" h="106144">
                  <a:moveTo>
                    <a:pt x="86773" y="52899"/>
                  </a:moveTo>
                  <a:lnTo>
                    <a:pt x="86773" y="52899"/>
                  </a:lnTo>
                  <a:cubicBezTo>
                    <a:pt x="86773" y="56709"/>
                    <a:pt x="86487" y="60424"/>
                    <a:pt x="86011" y="63948"/>
                  </a:cubicBezTo>
                  <a:cubicBezTo>
                    <a:pt x="85534" y="67758"/>
                    <a:pt x="83058" y="70997"/>
                    <a:pt x="81820" y="74235"/>
                  </a:cubicBezTo>
                  <a:cubicBezTo>
                    <a:pt x="80581" y="77760"/>
                    <a:pt x="79343" y="80998"/>
                    <a:pt x="77629" y="84046"/>
                  </a:cubicBezTo>
                  <a:cubicBezTo>
                    <a:pt x="75628" y="87285"/>
                    <a:pt x="73914" y="90333"/>
                    <a:pt x="71438" y="93095"/>
                  </a:cubicBezTo>
                  <a:cubicBezTo>
                    <a:pt x="68961" y="95857"/>
                    <a:pt x="66484" y="98619"/>
                    <a:pt x="63532" y="100334"/>
                  </a:cubicBezTo>
                  <a:cubicBezTo>
                    <a:pt x="60579" y="102620"/>
                    <a:pt x="57055" y="103572"/>
                    <a:pt x="53626" y="104620"/>
                  </a:cubicBezTo>
                  <a:cubicBezTo>
                    <a:pt x="50197" y="105668"/>
                    <a:pt x="46958" y="106144"/>
                    <a:pt x="43243" y="106144"/>
                  </a:cubicBezTo>
                  <a:cubicBezTo>
                    <a:pt x="39529" y="106144"/>
                    <a:pt x="36100" y="105858"/>
                    <a:pt x="32575" y="104906"/>
                  </a:cubicBezTo>
                  <a:cubicBezTo>
                    <a:pt x="29146" y="103858"/>
                    <a:pt x="26098" y="102144"/>
                    <a:pt x="23146" y="100143"/>
                  </a:cubicBezTo>
                  <a:cubicBezTo>
                    <a:pt x="20193" y="98143"/>
                    <a:pt x="17716" y="95667"/>
                    <a:pt x="15240" y="92904"/>
                  </a:cubicBezTo>
                  <a:cubicBezTo>
                    <a:pt x="12764" y="90142"/>
                    <a:pt x="10001" y="87856"/>
                    <a:pt x="8096" y="84618"/>
                  </a:cubicBezTo>
                  <a:cubicBezTo>
                    <a:pt x="6382" y="81570"/>
                    <a:pt x="4667" y="78331"/>
                    <a:pt x="3429" y="74807"/>
                  </a:cubicBezTo>
                  <a:cubicBezTo>
                    <a:pt x="2191" y="71283"/>
                    <a:pt x="1715" y="67758"/>
                    <a:pt x="1238" y="64044"/>
                  </a:cubicBezTo>
                  <a:cubicBezTo>
                    <a:pt x="476" y="60519"/>
                    <a:pt x="0" y="56805"/>
                    <a:pt x="0" y="52995"/>
                  </a:cubicBezTo>
                  <a:cubicBezTo>
                    <a:pt x="0" y="49185"/>
                    <a:pt x="762" y="45756"/>
                    <a:pt x="1238" y="42231"/>
                  </a:cubicBezTo>
                  <a:cubicBezTo>
                    <a:pt x="2000" y="38421"/>
                    <a:pt x="2762" y="34992"/>
                    <a:pt x="4000" y="31659"/>
                  </a:cubicBezTo>
                  <a:cubicBezTo>
                    <a:pt x="5239" y="28134"/>
                    <a:pt x="6953" y="24896"/>
                    <a:pt x="8668" y="21848"/>
                  </a:cubicBezTo>
                  <a:cubicBezTo>
                    <a:pt x="10382" y="18609"/>
                    <a:pt x="12382" y="15276"/>
                    <a:pt x="14573" y="12799"/>
                  </a:cubicBezTo>
                  <a:cubicBezTo>
                    <a:pt x="17050" y="10037"/>
                    <a:pt x="19812" y="7560"/>
                    <a:pt x="22765" y="5560"/>
                  </a:cubicBezTo>
                  <a:cubicBezTo>
                    <a:pt x="25717" y="3560"/>
                    <a:pt x="29242" y="1750"/>
                    <a:pt x="32671" y="798"/>
                  </a:cubicBezTo>
                  <a:cubicBezTo>
                    <a:pt x="35909" y="-250"/>
                    <a:pt x="39624" y="36"/>
                    <a:pt x="43339" y="36"/>
                  </a:cubicBezTo>
                  <a:cubicBezTo>
                    <a:pt x="47053" y="36"/>
                    <a:pt x="50292" y="512"/>
                    <a:pt x="53721" y="1560"/>
                  </a:cubicBezTo>
                  <a:cubicBezTo>
                    <a:pt x="57150" y="2607"/>
                    <a:pt x="60389" y="4036"/>
                    <a:pt x="63341" y="6036"/>
                  </a:cubicBezTo>
                  <a:cubicBezTo>
                    <a:pt x="66294" y="8037"/>
                    <a:pt x="69247" y="10037"/>
                    <a:pt x="71723" y="12799"/>
                  </a:cubicBezTo>
                  <a:cubicBezTo>
                    <a:pt x="74200" y="15276"/>
                    <a:pt x="76962" y="17847"/>
                    <a:pt x="78867" y="21086"/>
                  </a:cubicBezTo>
                  <a:cubicBezTo>
                    <a:pt x="80581" y="24324"/>
                    <a:pt x="81343" y="28134"/>
                    <a:pt x="82296" y="31659"/>
                  </a:cubicBezTo>
                  <a:cubicBezTo>
                    <a:pt x="83534" y="34897"/>
                    <a:pt x="84487" y="38421"/>
                    <a:pt x="85058" y="42231"/>
                  </a:cubicBezTo>
                  <a:cubicBezTo>
                    <a:pt x="85820" y="45565"/>
                    <a:pt x="86773" y="49089"/>
                    <a:pt x="86773" y="52899"/>
                  </a:cubicBezTo>
                  <a:lnTo>
                    <a:pt x="86773" y="52899"/>
                  </a:lnTo>
                  <a:lnTo>
                    <a:pt x="86773" y="52899"/>
                  </a:lnTo>
                  <a:lnTo>
                    <a:pt x="86773" y="52899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AABB4A42-206C-96D1-781C-E032696957CD}"/>
                </a:ext>
              </a:extLst>
            </p:cNvPr>
            <p:cNvSpPr/>
            <p:nvPr/>
          </p:nvSpPr>
          <p:spPr>
            <a:xfrm>
              <a:off x="5514075" y="4561197"/>
              <a:ext cx="103488" cy="175828"/>
            </a:xfrm>
            <a:custGeom>
              <a:avLst/>
              <a:gdLst>
                <a:gd name="connsiteX0" fmla="*/ 60046 w 70891"/>
                <a:gd name="connsiteY0" fmla="*/ 0 h 120445"/>
                <a:gd name="connsiteX1" fmla="*/ 60046 w 70891"/>
                <a:gd name="connsiteY1" fmla="*/ 0 h 120445"/>
                <a:gd name="connsiteX2" fmla="*/ 56807 w 70891"/>
                <a:gd name="connsiteY2" fmla="*/ 11049 h 120445"/>
                <a:gd name="connsiteX3" fmla="*/ 52140 w 70891"/>
                <a:gd name="connsiteY3" fmla="*/ 21622 h 120445"/>
                <a:gd name="connsiteX4" fmla="*/ 48425 w 70891"/>
                <a:gd name="connsiteY4" fmla="*/ 32385 h 120445"/>
                <a:gd name="connsiteX5" fmla="*/ 44996 w 70891"/>
                <a:gd name="connsiteY5" fmla="*/ 43148 h 120445"/>
                <a:gd name="connsiteX6" fmla="*/ 40996 w 70891"/>
                <a:gd name="connsiteY6" fmla="*/ 53912 h 120445"/>
                <a:gd name="connsiteX7" fmla="*/ 36519 w 70891"/>
                <a:gd name="connsiteY7" fmla="*/ 64675 h 120445"/>
                <a:gd name="connsiteX8" fmla="*/ 32519 w 70891"/>
                <a:gd name="connsiteY8" fmla="*/ 75248 h 120445"/>
                <a:gd name="connsiteX9" fmla="*/ 28042 w 70891"/>
                <a:gd name="connsiteY9" fmla="*/ 85820 h 120445"/>
                <a:gd name="connsiteX10" fmla="*/ 24613 w 70891"/>
                <a:gd name="connsiteY10" fmla="*/ 96869 h 120445"/>
                <a:gd name="connsiteX11" fmla="*/ 19184 w 70891"/>
                <a:gd name="connsiteY11" fmla="*/ 106871 h 120445"/>
                <a:gd name="connsiteX12" fmla="*/ 10802 w 70891"/>
                <a:gd name="connsiteY12" fmla="*/ 112395 h 120445"/>
                <a:gd name="connsiteX13" fmla="*/ 896 w 70891"/>
                <a:gd name="connsiteY13" fmla="*/ 113157 h 120445"/>
                <a:gd name="connsiteX14" fmla="*/ 10040 w 70891"/>
                <a:gd name="connsiteY14" fmla="*/ 116205 h 120445"/>
                <a:gd name="connsiteX15" fmla="*/ 19946 w 70891"/>
                <a:gd name="connsiteY15" fmla="*/ 119729 h 120445"/>
                <a:gd name="connsiteX16" fmla="*/ 30328 w 70891"/>
                <a:gd name="connsiteY16" fmla="*/ 119444 h 120445"/>
                <a:gd name="connsiteX17" fmla="*/ 36519 w 70891"/>
                <a:gd name="connsiteY17" fmla="*/ 109919 h 120445"/>
                <a:gd name="connsiteX18" fmla="*/ 40996 w 70891"/>
                <a:gd name="connsiteY18" fmla="*/ 99631 h 120445"/>
                <a:gd name="connsiteX19" fmla="*/ 46711 w 70891"/>
                <a:gd name="connsiteY19" fmla="*/ 89821 h 120445"/>
                <a:gd name="connsiteX20" fmla="*/ 50426 w 70891"/>
                <a:gd name="connsiteY20" fmla="*/ 79057 h 120445"/>
                <a:gd name="connsiteX21" fmla="*/ 53855 w 70891"/>
                <a:gd name="connsiteY21" fmla="*/ 68294 h 120445"/>
                <a:gd name="connsiteX22" fmla="*/ 58331 w 70891"/>
                <a:gd name="connsiteY22" fmla="*/ 58007 h 120445"/>
                <a:gd name="connsiteX23" fmla="*/ 62999 w 70891"/>
                <a:gd name="connsiteY23" fmla="*/ 47720 h 120445"/>
                <a:gd name="connsiteX24" fmla="*/ 67475 w 70891"/>
                <a:gd name="connsiteY24" fmla="*/ 37433 h 120445"/>
                <a:gd name="connsiteX25" fmla="*/ 70714 w 70891"/>
                <a:gd name="connsiteY25" fmla="*/ 26670 h 120445"/>
                <a:gd name="connsiteX26" fmla="*/ 68999 w 70891"/>
                <a:gd name="connsiteY26" fmla="*/ 37433 h 120445"/>
                <a:gd name="connsiteX27" fmla="*/ 65570 w 70891"/>
                <a:gd name="connsiteY27" fmla="*/ 48006 h 120445"/>
                <a:gd name="connsiteX28" fmla="*/ 63570 w 70891"/>
                <a:gd name="connsiteY28" fmla="*/ 59055 h 120445"/>
                <a:gd name="connsiteX29" fmla="*/ 61856 w 70891"/>
                <a:gd name="connsiteY29" fmla="*/ 69818 h 120445"/>
                <a:gd name="connsiteX30" fmla="*/ 59093 w 70891"/>
                <a:gd name="connsiteY30" fmla="*/ 80581 h 12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0891" h="120445">
                  <a:moveTo>
                    <a:pt x="60046" y="0"/>
                  </a:moveTo>
                  <a:lnTo>
                    <a:pt x="60046" y="0"/>
                  </a:lnTo>
                  <a:cubicBezTo>
                    <a:pt x="58046" y="5524"/>
                    <a:pt x="59284" y="4477"/>
                    <a:pt x="56807" y="11049"/>
                  </a:cubicBezTo>
                  <a:cubicBezTo>
                    <a:pt x="55569" y="14097"/>
                    <a:pt x="53569" y="17621"/>
                    <a:pt x="52140" y="21622"/>
                  </a:cubicBezTo>
                  <a:cubicBezTo>
                    <a:pt x="50902" y="24860"/>
                    <a:pt x="49664" y="28670"/>
                    <a:pt x="48425" y="32385"/>
                  </a:cubicBezTo>
                  <a:cubicBezTo>
                    <a:pt x="47187" y="35909"/>
                    <a:pt x="46235" y="39624"/>
                    <a:pt x="44996" y="43148"/>
                  </a:cubicBezTo>
                  <a:cubicBezTo>
                    <a:pt x="43472" y="46672"/>
                    <a:pt x="42520" y="50387"/>
                    <a:pt x="40996" y="53912"/>
                  </a:cubicBezTo>
                  <a:cubicBezTo>
                    <a:pt x="39758" y="57721"/>
                    <a:pt x="38043" y="60960"/>
                    <a:pt x="36519" y="64675"/>
                  </a:cubicBezTo>
                  <a:cubicBezTo>
                    <a:pt x="35281" y="68199"/>
                    <a:pt x="33757" y="71723"/>
                    <a:pt x="32519" y="75248"/>
                  </a:cubicBezTo>
                  <a:cubicBezTo>
                    <a:pt x="30995" y="79057"/>
                    <a:pt x="29566" y="82487"/>
                    <a:pt x="28042" y="85820"/>
                  </a:cubicBezTo>
                  <a:cubicBezTo>
                    <a:pt x="26518" y="89821"/>
                    <a:pt x="25851" y="93821"/>
                    <a:pt x="24613" y="96869"/>
                  </a:cubicBezTo>
                  <a:cubicBezTo>
                    <a:pt x="22422" y="102108"/>
                    <a:pt x="20136" y="105632"/>
                    <a:pt x="19184" y="106871"/>
                  </a:cubicBezTo>
                  <a:cubicBezTo>
                    <a:pt x="17183" y="110109"/>
                    <a:pt x="14231" y="111633"/>
                    <a:pt x="10802" y="112395"/>
                  </a:cubicBezTo>
                  <a:cubicBezTo>
                    <a:pt x="5563" y="113633"/>
                    <a:pt x="4325" y="109347"/>
                    <a:pt x="896" y="113157"/>
                  </a:cubicBezTo>
                  <a:cubicBezTo>
                    <a:pt x="-2533" y="117157"/>
                    <a:pt x="4610" y="114205"/>
                    <a:pt x="10040" y="116205"/>
                  </a:cubicBezTo>
                  <a:cubicBezTo>
                    <a:pt x="13278" y="117443"/>
                    <a:pt x="16517" y="119253"/>
                    <a:pt x="19946" y="119729"/>
                  </a:cubicBezTo>
                  <a:cubicBezTo>
                    <a:pt x="23946" y="120491"/>
                    <a:pt x="27851" y="120968"/>
                    <a:pt x="30328" y="119444"/>
                  </a:cubicBezTo>
                  <a:cubicBezTo>
                    <a:pt x="31852" y="118681"/>
                    <a:pt x="33757" y="114967"/>
                    <a:pt x="36519" y="109919"/>
                  </a:cubicBezTo>
                  <a:cubicBezTo>
                    <a:pt x="38043" y="106871"/>
                    <a:pt x="39281" y="103346"/>
                    <a:pt x="40996" y="99631"/>
                  </a:cubicBezTo>
                  <a:cubicBezTo>
                    <a:pt x="42520" y="96393"/>
                    <a:pt x="45187" y="93345"/>
                    <a:pt x="46711" y="89821"/>
                  </a:cubicBezTo>
                  <a:cubicBezTo>
                    <a:pt x="48235" y="86582"/>
                    <a:pt x="48902" y="82582"/>
                    <a:pt x="50426" y="79057"/>
                  </a:cubicBezTo>
                  <a:cubicBezTo>
                    <a:pt x="51950" y="75819"/>
                    <a:pt x="52426" y="71818"/>
                    <a:pt x="53855" y="68294"/>
                  </a:cubicBezTo>
                  <a:cubicBezTo>
                    <a:pt x="55093" y="64770"/>
                    <a:pt x="56807" y="61531"/>
                    <a:pt x="58331" y="58007"/>
                  </a:cubicBezTo>
                  <a:cubicBezTo>
                    <a:pt x="59855" y="54197"/>
                    <a:pt x="61760" y="50959"/>
                    <a:pt x="62999" y="47720"/>
                  </a:cubicBezTo>
                  <a:cubicBezTo>
                    <a:pt x="64523" y="43720"/>
                    <a:pt x="66237" y="40481"/>
                    <a:pt x="67475" y="37433"/>
                  </a:cubicBezTo>
                  <a:cubicBezTo>
                    <a:pt x="69666" y="30861"/>
                    <a:pt x="71476" y="20860"/>
                    <a:pt x="70714" y="26670"/>
                  </a:cubicBezTo>
                  <a:cubicBezTo>
                    <a:pt x="70238" y="31909"/>
                    <a:pt x="70238" y="32194"/>
                    <a:pt x="68999" y="37433"/>
                  </a:cubicBezTo>
                  <a:cubicBezTo>
                    <a:pt x="68047" y="42958"/>
                    <a:pt x="66809" y="42672"/>
                    <a:pt x="65570" y="48006"/>
                  </a:cubicBezTo>
                  <a:cubicBezTo>
                    <a:pt x="64618" y="53530"/>
                    <a:pt x="64618" y="53530"/>
                    <a:pt x="63570" y="59055"/>
                  </a:cubicBezTo>
                  <a:cubicBezTo>
                    <a:pt x="62332" y="64294"/>
                    <a:pt x="63094" y="64579"/>
                    <a:pt x="61856" y="69818"/>
                  </a:cubicBezTo>
                  <a:cubicBezTo>
                    <a:pt x="60617" y="75343"/>
                    <a:pt x="60141" y="75057"/>
                    <a:pt x="59093" y="8058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423EBD42-333A-56E9-6E88-5FA0DE1DE554}"/>
                </a:ext>
              </a:extLst>
            </p:cNvPr>
            <p:cNvSpPr/>
            <p:nvPr/>
          </p:nvSpPr>
          <p:spPr>
            <a:xfrm>
              <a:off x="5703375" y="4324462"/>
              <a:ext cx="59203" cy="345886"/>
            </a:xfrm>
            <a:custGeom>
              <a:avLst/>
              <a:gdLst>
                <a:gd name="connsiteX0" fmla="*/ 0 w 40555"/>
                <a:gd name="connsiteY0" fmla="*/ 236937 h 236937"/>
                <a:gd name="connsiteX1" fmla="*/ 0 w 40555"/>
                <a:gd name="connsiteY1" fmla="*/ 236937 h 236937"/>
                <a:gd name="connsiteX2" fmla="*/ 2191 w 40555"/>
                <a:gd name="connsiteY2" fmla="*/ 226365 h 236937"/>
                <a:gd name="connsiteX3" fmla="*/ 2667 w 40555"/>
                <a:gd name="connsiteY3" fmla="*/ 215316 h 236937"/>
                <a:gd name="connsiteX4" fmla="*/ 5429 w 40555"/>
                <a:gd name="connsiteY4" fmla="*/ 204743 h 236937"/>
                <a:gd name="connsiteX5" fmla="*/ 6191 w 40555"/>
                <a:gd name="connsiteY5" fmla="*/ 193694 h 236937"/>
                <a:gd name="connsiteX6" fmla="*/ 8192 w 40555"/>
                <a:gd name="connsiteY6" fmla="*/ 182931 h 236937"/>
                <a:gd name="connsiteX7" fmla="*/ 9430 w 40555"/>
                <a:gd name="connsiteY7" fmla="*/ 172167 h 236937"/>
                <a:gd name="connsiteX8" fmla="*/ 11144 w 40555"/>
                <a:gd name="connsiteY8" fmla="*/ 161404 h 236937"/>
                <a:gd name="connsiteX9" fmla="*/ 11621 w 40555"/>
                <a:gd name="connsiteY9" fmla="*/ 150355 h 236937"/>
                <a:gd name="connsiteX10" fmla="*/ 13811 w 40555"/>
                <a:gd name="connsiteY10" fmla="*/ 139782 h 236937"/>
                <a:gd name="connsiteX11" fmla="*/ 15335 w 40555"/>
                <a:gd name="connsiteY11" fmla="*/ 128733 h 236937"/>
                <a:gd name="connsiteX12" fmla="*/ 17050 w 40555"/>
                <a:gd name="connsiteY12" fmla="*/ 117970 h 236937"/>
                <a:gd name="connsiteX13" fmla="*/ 17526 w 40555"/>
                <a:gd name="connsiteY13" fmla="*/ 107207 h 236937"/>
                <a:gd name="connsiteX14" fmla="*/ 19717 w 40555"/>
                <a:gd name="connsiteY14" fmla="*/ 96444 h 236937"/>
                <a:gd name="connsiteX15" fmla="*/ 21241 w 40555"/>
                <a:gd name="connsiteY15" fmla="*/ 85680 h 236937"/>
                <a:gd name="connsiteX16" fmla="*/ 23717 w 40555"/>
                <a:gd name="connsiteY16" fmla="*/ 74917 h 236937"/>
                <a:gd name="connsiteX17" fmla="*/ 25241 w 40555"/>
                <a:gd name="connsiteY17" fmla="*/ 64154 h 236937"/>
                <a:gd name="connsiteX18" fmla="*/ 28003 w 40555"/>
                <a:gd name="connsiteY18" fmla="*/ 53391 h 236937"/>
                <a:gd name="connsiteX19" fmla="*/ 29527 w 40555"/>
                <a:gd name="connsiteY19" fmla="*/ 42627 h 236937"/>
                <a:gd name="connsiteX20" fmla="*/ 31242 w 40555"/>
                <a:gd name="connsiteY20" fmla="*/ 31864 h 236937"/>
                <a:gd name="connsiteX21" fmla="*/ 33433 w 40555"/>
                <a:gd name="connsiteY21" fmla="*/ 21101 h 236937"/>
                <a:gd name="connsiteX22" fmla="*/ 38100 w 40555"/>
                <a:gd name="connsiteY22" fmla="*/ 11576 h 236937"/>
                <a:gd name="connsiteX23" fmla="*/ 39624 w 40555"/>
                <a:gd name="connsiteY23" fmla="*/ 813 h 236937"/>
                <a:gd name="connsiteX24" fmla="*/ 31242 w 40555"/>
                <a:gd name="connsiteY24" fmla="*/ 6051 h 236937"/>
                <a:gd name="connsiteX25" fmla="*/ 25527 w 40555"/>
                <a:gd name="connsiteY25" fmla="*/ 15576 h 236937"/>
                <a:gd name="connsiteX26" fmla="*/ 22765 w 40555"/>
                <a:gd name="connsiteY26" fmla="*/ 26340 h 236937"/>
                <a:gd name="connsiteX27" fmla="*/ 18288 w 40555"/>
                <a:gd name="connsiteY27" fmla="*/ 36912 h 236937"/>
                <a:gd name="connsiteX28" fmla="*/ 16097 w 40555"/>
                <a:gd name="connsiteY28" fmla="*/ 47961 h 236937"/>
                <a:gd name="connsiteX29" fmla="*/ 13621 w 40555"/>
                <a:gd name="connsiteY29" fmla="*/ 59010 h 236937"/>
                <a:gd name="connsiteX30" fmla="*/ 11144 w 40555"/>
                <a:gd name="connsiteY30" fmla="*/ 70059 h 236937"/>
                <a:gd name="connsiteX31" fmla="*/ 8668 w 40555"/>
                <a:gd name="connsiteY31" fmla="*/ 81108 h 236937"/>
                <a:gd name="connsiteX32" fmla="*/ 6953 w 40555"/>
                <a:gd name="connsiteY32" fmla="*/ 92157 h 236937"/>
                <a:gd name="connsiteX33" fmla="*/ 4477 w 40555"/>
                <a:gd name="connsiteY33" fmla="*/ 103206 h 236937"/>
                <a:gd name="connsiteX34" fmla="*/ 2476 w 40555"/>
                <a:gd name="connsiteY34" fmla="*/ 114541 h 236937"/>
                <a:gd name="connsiteX35" fmla="*/ 762 w 40555"/>
                <a:gd name="connsiteY35" fmla="*/ 125590 h 23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0555" h="236937">
                  <a:moveTo>
                    <a:pt x="0" y="236937"/>
                  </a:moveTo>
                  <a:lnTo>
                    <a:pt x="0" y="236937"/>
                  </a:lnTo>
                  <a:cubicBezTo>
                    <a:pt x="476" y="231699"/>
                    <a:pt x="1238" y="233127"/>
                    <a:pt x="2191" y="226365"/>
                  </a:cubicBezTo>
                  <a:cubicBezTo>
                    <a:pt x="2476" y="223126"/>
                    <a:pt x="2191" y="219602"/>
                    <a:pt x="2667" y="215316"/>
                  </a:cubicBezTo>
                  <a:cubicBezTo>
                    <a:pt x="3143" y="212077"/>
                    <a:pt x="4858" y="208553"/>
                    <a:pt x="5429" y="204743"/>
                  </a:cubicBezTo>
                  <a:cubicBezTo>
                    <a:pt x="5905" y="201219"/>
                    <a:pt x="5715" y="197504"/>
                    <a:pt x="6191" y="193694"/>
                  </a:cubicBezTo>
                  <a:cubicBezTo>
                    <a:pt x="6668" y="190170"/>
                    <a:pt x="7715" y="186645"/>
                    <a:pt x="8192" y="182931"/>
                  </a:cubicBezTo>
                  <a:cubicBezTo>
                    <a:pt x="8668" y="179406"/>
                    <a:pt x="8953" y="175882"/>
                    <a:pt x="9430" y="172167"/>
                  </a:cubicBezTo>
                  <a:cubicBezTo>
                    <a:pt x="9906" y="168643"/>
                    <a:pt x="10668" y="165119"/>
                    <a:pt x="11144" y="161404"/>
                  </a:cubicBezTo>
                  <a:cubicBezTo>
                    <a:pt x="11621" y="157880"/>
                    <a:pt x="11144" y="154165"/>
                    <a:pt x="11621" y="150355"/>
                  </a:cubicBezTo>
                  <a:cubicBezTo>
                    <a:pt x="12097" y="146831"/>
                    <a:pt x="13335" y="143307"/>
                    <a:pt x="13811" y="139782"/>
                  </a:cubicBezTo>
                  <a:cubicBezTo>
                    <a:pt x="14288" y="135972"/>
                    <a:pt x="14764" y="132543"/>
                    <a:pt x="15335" y="128733"/>
                  </a:cubicBezTo>
                  <a:cubicBezTo>
                    <a:pt x="15811" y="125209"/>
                    <a:pt x="16574" y="121685"/>
                    <a:pt x="17050" y="117970"/>
                  </a:cubicBezTo>
                  <a:cubicBezTo>
                    <a:pt x="17812" y="114446"/>
                    <a:pt x="17050" y="110731"/>
                    <a:pt x="17526" y="107207"/>
                  </a:cubicBezTo>
                  <a:cubicBezTo>
                    <a:pt x="18002" y="103397"/>
                    <a:pt x="19050" y="99968"/>
                    <a:pt x="19717" y="96444"/>
                  </a:cubicBezTo>
                  <a:cubicBezTo>
                    <a:pt x="20193" y="92634"/>
                    <a:pt x="20669" y="89205"/>
                    <a:pt x="21241" y="85680"/>
                  </a:cubicBezTo>
                  <a:cubicBezTo>
                    <a:pt x="22003" y="81870"/>
                    <a:pt x="23241" y="78441"/>
                    <a:pt x="23717" y="74917"/>
                  </a:cubicBezTo>
                  <a:cubicBezTo>
                    <a:pt x="24479" y="71107"/>
                    <a:pt x="24479" y="67678"/>
                    <a:pt x="25241" y="64154"/>
                  </a:cubicBezTo>
                  <a:cubicBezTo>
                    <a:pt x="25718" y="60344"/>
                    <a:pt x="27242" y="56915"/>
                    <a:pt x="28003" y="53391"/>
                  </a:cubicBezTo>
                  <a:cubicBezTo>
                    <a:pt x="28480" y="49581"/>
                    <a:pt x="28766" y="46152"/>
                    <a:pt x="29527" y="42627"/>
                  </a:cubicBezTo>
                  <a:cubicBezTo>
                    <a:pt x="30290" y="38817"/>
                    <a:pt x="30480" y="35103"/>
                    <a:pt x="31242" y="31864"/>
                  </a:cubicBezTo>
                  <a:cubicBezTo>
                    <a:pt x="32004" y="27864"/>
                    <a:pt x="32766" y="24054"/>
                    <a:pt x="33433" y="21101"/>
                  </a:cubicBezTo>
                  <a:cubicBezTo>
                    <a:pt x="34671" y="16053"/>
                    <a:pt x="36862" y="13100"/>
                    <a:pt x="38100" y="11576"/>
                  </a:cubicBezTo>
                  <a:cubicBezTo>
                    <a:pt x="41053" y="7575"/>
                    <a:pt x="41053" y="2527"/>
                    <a:pt x="39624" y="813"/>
                  </a:cubicBezTo>
                  <a:cubicBezTo>
                    <a:pt x="38100" y="-902"/>
                    <a:pt x="35433" y="-235"/>
                    <a:pt x="31242" y="6051"/>
                  </a:cubicBezTo>
                  <a:cubicBezTo>
                    <a:pt x="29718" y="8337"/>
                    <a:pt x="27527" y="11290"/>
                    <a:pt x="25527" y="15576"/>
                  </a:cubicBezTo>
                  <a:cubicBezTo>
                    <a:pt x="24289" y="18243"/>
                    <a:pt x="24289" y="22339"/>
                    <a:pt x="22765" y="26340"/>
                  </a:cubicBezTo>
                  <a:cubicBezTo>
                    <a:pt x="21812" y="29578"/>
                    <a:pt x="19526" y="32912"/>
                    <a:pt x="18288" y="36912"/>
                  </a:cubicBezTo>
                  <a:cubicBezTo>
                    <a:pt x="17335" y="40151"/>
                    <a:pt x="17050" y="44151"/>
                    <a:pt x="16097" y="47961"/>
                  </a:cubicBezTo>
                  <a:cubicBezTo>
                    <a:pt x="15335" y="51486"/>
                    <a:pt x="14383" y="55010"/>
                    <a:pt x="13621" y="59010"/>
                  </a:cubicBezTo>
                  <a:cubicBezTo>
                    <a:pt x="12859" y="62535"/>
                    <a:pt x="12097" y="66059"/>
                    <a:pt x="11144" y="70059"/>
                  </a:cubicBezTo>
                  <a:cubicBezTo>
                    <a:pt x="10382" y="73584"/>
                    <a:pt x="9430" y="77108"/>
                    <a:pt x="8668" y="81108"/>
                  </a:cubicBezTo>
                  <a:cubicBezTo>
                    <a:pt x="7906" y="84633"/>
                    <a:pt x="7429" y="88347"/>
                    <a:pt x="6953" y="92157"/>
                  </a:cubicBezTo>
                  <a:cubicBezTo>
                    <a:pt x="6191" y="95682"/>
                    <a:pt x="5239" y="99396"/>
                    <a:pt x="4477" y="103206"/>
                  </a:cubicBezTo>
                  <a:cubicBezTo>
                    <a:pt x="4000" y="107016"/>
                    <a:pt x="2953" y="110445"/>
                    <a:pt x="2476" y="114541"/>
                  </a:cubicBezTo>
                  <a:cubicBezTo>
                    <a:pt x="2000" y="118065"/>
                    <a:pt x="1238" y="121780"/>
                    <a:pt x="762" y="12559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493191A9-D2A6-DE40-0A98-ECBD6EC62FDF}"/>
                </a:ext>
              </a:extLst>
            </p:cNvPr>
            <p:cNvSpPr/>
            <p:nvPr/>
          </p:nvSpPr>
          <p:spPr>
            <a:xfrm>
              <a:off x="5617582" y="4437999"/>
              <a:ext cx="695" cy="12514"/>
            </a:xfrm>
            <a:custGeom>
              <a:avLst/>
              <a:gdLst>
                <a:gd name="connsiteX0" fmla="*/ 0 w 476"/>
                <a:gd name="connsiteY0" fmla="*/ 0 h 8572"/>
                <a:gd name="connsiteX1" fmla="*/ 0 w 476"/>
                <a:gd name="connsiteY1" fmla="*/ 0 h 8572"/>
                <a:gd name="connsiteX2" fmla="*/ 476 w 476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476" y="4286"/>
                    <a:pt x="476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405C7143-D702-AC96-DBDC-E965DFAAD211}"/>
                </a:ext>
              </a:extLst>
            </p:cNvPr>
            <p:cNvSpPr/>
            <p:nvPr/>
          </p:nvSpPr>
          <p:spPr>
            <a:xfrm>
              <a:off x="5641081" y="4437999"/>
              <a:ext cx="2223" cy="12514"/>
            </a:xfrm>
            <a:custGeom>
              <a:avLst/>
              <a:gdLst>
                <a:gd name="connsiteX0" fmla="*/ 0 w 1523"/>
                <a:gd name="connsiteY0" fmla="*/ 0 h 8572"/>
                <a:gd name="connsiteX1" fmla="*/ 0 w 1523"/>
                <a:gd name="connsiteY1" fmla="*/ 0 h 8572"/>
                <a:gd name="connsiteX2" fmla="*/ 1524 w 1523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1524" y="4286"/>
                    <a:pt x="1524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E8A3FA2A-AEAA-C8E1-CDC9-775F23FD3B61}"/>
                </a:ext>
              </a:extLst>
            </p:cNvPr>
            <p:cNvSpPr/>
            <p:nvPr/>
          </p:nvSpPr>
          <p:spPr>
            <a:xfrm>
              <a:off x="5573921" y="4457883"/>
              <a:ext cx="125699" cy="44295"/>
            </a:xfrm>
            <a:custGeom>
              <a:avLst/>
              <a:gdLst>
                <a:gd name="connsiteX0" fmla="*/ 0 w 86106"/>
                <a:gd name="connsiteY0" fmla="*/ 7715 h 30343"/>
                <a:gd name="connsiteX1" fmla="*/ 0 w 86106"/>
                <a:gd name="connsiteY1" fmla="*/ 7715 h 30343"/>
                <a:gd name="connsiteX2" fmla="*/ 6668 w 86106"/>
                <a:gd name="connsiteY2" fmla="*/ 16002 h 30343"/>
                <a:gd name="connsiteX3" fmla="*/ 15335 w 86106"/>
                <a:gd name="connsiteY3" fmla="*/ 22003 h 30343"/>
                <a:gd name="connsiteX4" fmla="*/ 24479 w 86106"/>
                <a:gd name="connsiteY4" fmla="*/ 26765 h 30343"/>
                <a:gd name="connsiteX5" fmla="*/ 34385 w 86106"/>
                <a:gd name="connsiteY5" fmla="*/ 29813 h 30343"/>
                <a:gd name="connsiteX6" fmla="*/ 44768 w 86106"/>
                <a:gd name="connsiteY6" fmla="*/ 30099 h 30343"/>
                <a:gd name="connsiteX7" fmla="*/ 55150 w 86106"/>
                <a:gd name="connsiteY7" fmla="*/ 28099 h 30343"/>
                <a:gd name="connsiteX8" fmla="*/ 64103 w 86106"/>
                <a:gd name="connsiteY8" fmla="*/ 22574 h 30343"/>
                <a:gd name="connsiteX9" fmla="*/ 71819 w 86106"/>
                <a:gd name="connsiteY9" fmla="*/ 15335 h 30343"/>
                <a:gd name="connsiteX10" fmla="*/ 78962 w 86106"/>
                <a:gd name="connsiteY10" fmla="*/ 7810 h 30343"/>
                <a:gd name="connsiteX11" fmla="*/ 86106 w 86106"/>
                <a:gd name="connsiteY11" fmla="*/ 0 h 3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106" h="30343">
                  <a:moveTo>
                    <a:pt x="0" y="7715"/>
                  </a:moveTo>
                  <a:lnTo>
                    <a:pt x="0" y="7715"/>
                  </a:lnTo>
                  <a:cubicBezTo>
                    <a:pt x="3239" y="12002"/>
                    <a:pt x="2191" y="11716"/>
                    <a:pt x="6668" y="16002"/>
                  </a:cubicBezTo>
                  <a:cubicBezTo>
                    <a:pt x="8858" y="18002"/>
                    <a:pt x="12097" y="19812"/>
                    <a:pt x="15335" y="22003"/>
                  </a:cubicBezTo>
                  <a:cubicBezTo>
                    <a:pt x="18098" y="23717"/>
                    <a:pt x="21241" y="25241"/>
                    <a:pt x="24479" y="26765"/>
                  </a:cubicBezTo>
                  <a:cubicBezTo>
                    <a:pt x="27718" y="28004"/>
                    <a:pt x="30956" y="29242"/>
                    <a:pt x="34385" y="29813"/>
                  </a:cubicBezTo>
                  <a:cubicBezTo>
                    <a:pt x="37814" y="30290"/>
                    <a:pt x="41339" y="30575"/>
                    <a:pt x="44768" y="30099"/>
                  </a:cubicBezTo>
                  <a:cubicBezTo>
                    <a:pt x="48006" y="29623"/>
                    <a:pt x="51721" y="29623"/>
                    <a:pt x="55150" y="28099"/>
                  </a:cubicBezTo>
                  <a:cubicBezTo>
                    <a:pt x="58103" y="26860"/>
                    <a:pt x="60865" y="24575"/>
                    <a:pt x="64103" y="22574"/>
                  </a:cubicBezTo>
                  <a:cubicBezTo>
                    <a:pt x="66866" y="20574"/>
                    <a:pt x="69056" y="18097"/>
                    <a:pt x="71819" y="15335"/>
                  </a:cubicBezTo>
                  <a:cubicBezTo>
                    <a:pt x="74295" y="13049"/>
                    <a:pt x="76772" y="10859"/>
                    <a:pt x="78962" y="7810"/>
                  </a:cubicBezTo>
                  <a:cubicBezTo>
                    <a:pt x="81153" y="5334"/>
                    <a:pt x="84201" y="3048"/>
                    <a:pt x="86106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00AA83D8-57AB-5AC7-1FEC-64B579D16F7E}"/>
                </a:ext>
              </a:extLst>
            </p:cNvPr>
            <p:cNvSpPr/>
            <p:nvPr/>
          </p:nvSpPr>
          <p:spPr>
            <a:xfrm>
              <a:off x="5581256" y="4679782"/>
              <a:ext cx="245805" cy="29081"/>
            </a:xfrm>
            <a:custGeom>
              <a:avLst/>
              <a:gdLst>
                <a:gd name="connsiteX0" fmla="*/ 6787 w 168380"/>
                <a:gd name="connsiteY0" fmla="*/ 5063 h 19921"/>
                <a:gd name="connsiteX1" fmla="*/ 88130 w 168380"/>
                <a:gd name="connsiteY1" fmla="*/ 4396 h 19921"/>
                <a:gd name="connsiteX2" fmla="*/ 166997 w 168380"/>
                <a:gd name="connsiteY2" fmla="*/ 2015 h 19921"/>
                <a:gd name="connsiteX3" fmla="*/ 165664 w 168380"/>
                <a:gd name="connsiteY3" fmla="*/ 967 h 19921"/>
                <a:gd name="connsiteX4" fmla="*/ 166330 w 168380"/>
                <a:gd name="connsiteY4" fmla="*/ 12111 h 19921"/>
                <a:gd name="connsiteX5" fmla="*/ 160901 w 168380"/>
                <a:gd name="connsiteY5" fmla="*/ 17731 h 19921"/>
                <a:gd name="connsiteX6" fmla="*/ 138422 w 168380"/>
                <a:gd name="connsiteY6" fmla="*/ 17731 h 19921"/>
                <a:gd name="connsiteX7" fmla="*/ 92226 w 168380"/>
                <a:gd name="connsiteY7" fmla="*/ 17636 h 19921"/>
                <a:gd name="connsiteX8" fmla="*/ 1072 w 168380"/>
                <a:gd name="connsiteY8" fmla="*/ 17445 h 19921"/>
                <a:gd name="connsiteX9" fmla="*/ 1072 w 168380"/>
                <a:gd name="connsiteY9" fmla="*/ 19636 h 19921"/>
                <a:gd name="connsiteX10" fmla="*/ 166807 w 168380"/>
                <a:gd name="connsiteY10" fmla="*/ 19922 h 19921"/>
                <a:gd name="connsiteX11" fmla="*/ 167854 w 168380"/>
                <a:gd name="connsiteY11" fmla="*/ 18874 h 19921"/>
                <a:gd name="connsiteX12" fmla="*/ 167759 w 168380"/>
                <a:gd name="connsiteY12" fmla="*/ 1062 h 19921"/>
                <a:gd name="connsiteX13" fmla="*/ 166426 w 168380"/>
                <a:gd name="connsiteY13" fmla="*/ 14 h 19921"/>
                <a:gd name="connsiteX14" fmla="*/ 85749 w 168380"/>
                <a:gd name="connsiteY14" fmla="*/ 2300 h 19921"/>
                <a:gd name="connsiteX15" fmla="*/ 6691 w 168380"/>
                <a:gd name="connsiteY15" fmla="*/ 2967 h 19921"/>
                <a:gd name="connsiteX16" fmla="*/ 6787 w 168380"/>
                <a:gd name="connsiteY16" fmla="*/ 5063 h 19921"/>
                <a:gd name="connsiteX17" fmla="*/ 6787 w 168380"/>
                <a:gd name="connsiteY17" fmla="*/ 5063 h 1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380" h="19921">
                  <a:moveTo>
                    <a:pt x="6787" y="5063"/>
                  </a:moveTo>
                  <a:cubicBezTo>
                    <a:pt x="33933" y="4872"/>
                    <a:pt x="61079" y="4586"/>
                    <a:pt x="88130" y="4396"/>
                  </a:cubicBezTo>
                  <a:cubicBezTo>
                    <a:pt x="114324" y="4205"/>
                    <a:pt x="141089" y="5539"/>
                    <a:pt x="166997" y="2015"/>
                  </a:cubicBezTo>
                  <a:cubicBezTo>
                    <a:pt x="166521" y="1634"/>
                    <a:pt x="166045" y="1348"/>
                    <a:pt x="165664" y="967"/>
                  </a:cubicBezTo>
                  <a:cubicBezTo>
                    <a:pt x="166140" y="4682"/>
                    <a:pt x="166426" y="8396"/>
                    <a:pt x="166330" y="12111"/>
                  </a:cubicBezTo>
                  <a:cubicBezTo>
                    <a:pt x="166140" y="16588"/>
                    <a:pt x="165568" y="17731"/>
                    <a:pt x="160901" y="17731"/>
                  </a:cubicBezTo>
                  <a:cubicBezTo>
                    <a:pt x="153376" y="17731"/>
                    <a:pt x="145947" y="17731"/>
                    <a:pt x="138422" y="17731"/>
                  </a:cubicBezTo>
                  <a:cubicBezTo>
                    <a:pt x="122992" y="17731"/>
                    <a:pt x="107656" y="17636"/>
                    <a:pt x="92226" y="17636"/>
                  </a:cubicBezTo>
                  <a:cubicBezTo>
                    <a:pt x="61841" y="17540"/>
                    <a:pt x="31456" y="17540"/>
                    <a:pt x="1072" y="17445"/>
                  </a:cubicBezTo>
                  <a:cubicBezTo>
                    <a:pt x="-357" y="17445"/>
                    <a:pt x="-357" y="19636"/>
                    <a:pt x="1072" y="19636"/>
                  </a:cubicBezTo>
                  <a:cubicBezTo>
                    <a:pt x="56317" y="19731"/>
                    <a:pt x="111562" y="19826"/>
                    <a:pt x="166807" y="19922"/>
                  </a:cubicBezTo>
                  <a:cubicBezTo>
                    <a:pt x="167473" y="19922"/>
                    <a:pt x="167854" y="19445"/>
                    <a:pt x="167854" y="18874"/>
                  </a:cubicBezTo>
                  <a:cubicBezTo>
                    <a:pt x="168616" y="12873"/>
                    <a:pt x="168521" y="7063"/>
                    <a:pt x="167759" y="1062"/>
                  </a:cubicBezTo>
                  <a:cubicBezTo>
                    <a:pt x="167664" y="300"/>
                    <a:pt x="167188" y="-81"/>
                    <a:pt x="166426" y="14"/>
                  </a:cubicBezTo>
                  <a:cubicBezTo>
                    <a:pt x="139946" y="3634"/>
                    <a:pt x="112419" y="2110"/>
                    <a:pt x="85749" y="2300"/>
                  </a:cubicBezTo>
                  <a:cubicBezTo>
                    <a:pt x="59365" y="2491"/>
                    <a:pt x="33076" y="2681"/>
                    <a:pt x="6691" y="2967"/>
                  </a:cubicBezTo>
                  <a:cubicBezTo>
                    <a:pt x="5358" y="2872"/>
                    <a:pt x="5358" y="5063"/>
                    <a:pt x="6787" y="5063"/>
                  </a:cubicBezTo>
                  <a:lnTo>
                    <a:pt x="6787" y="506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435785C9-040D-7B02-D2DD-2D1219D3B69B}"/>
                </a:ext>
              </a:extLst>
            </p:cNvPr>
            <p:cNvSpPr/>
            <p:nvPr/>
          </p:nvSpPr>
          <p:spPr>
            <a:xfrm>
              <a:off x="5467587" y="4679943"/>
              <a:ext cx="79984" cy="23081"/>
            </a:xfrm>
            <a:custGeom>
              <a:avLst/>
              <a:gdLst>
                <a:gd name="connsiteX0" fmla="*/ 53790 w 54790"/>
                <a:gd name="connsiteY0" fmla="*/ 0 h 15811"/>
                <a:gd name="connsiteX1" fmla="*/ 21501 w 54790"/>
                <a:gd name="connsiteY1" fmla="*/ 476 h 15811"/>
                <a:gd name="connsiteX2" fmla="*/ 5880 w 54790"/>
                <a:gd name="connsiteY2" fmla="*/ 762 h 15811"/>
                <a:gd name="connsiteX3" fmla="*/ 69 w 54790"/>
                <a:gd name="connsiteY3" fmla="*/ 4667 h 15811"/>
                <a:gd name="connsiteX4" fmla="*/ 5118 w 54790"/>
                <a:gd name="connsiteY4" fmla="*/ 14954 h 15811"/>
                <a:gd name="connsiteX5" fmla="*/ 9594 w 54790"/>
                <a:gd name="connsiteY5" fmla="*/ 15716 h 15811"/>
                <a:gd name="connsiteX6" fmla="*/ 17881 w 54790"/>
                <a:gd name="connsiteY6" fmla="*/ 15811 h 15811"/>
                <a:gd name="connsiteX7" fmla="*/ 49885 w 54790"/>
                <a:gd name="connsiteY7" fmla="*/ 14669 h 15811"/>
                <a:gd name="connsiteX8" fmla="*/ 49885 w 54790"/>
                <a:gd name="connsiteY8" fmla="*/ 12478 h 15811"/>
                <a:gd name="connsiteX9" fmla="*/ 24072 w 54790"/>
                <a:gd name="connsiteY9" fmla="*/ 13621 h 15811"/>
                <a:gd name="connsiteX10" fmla="*/ 10642 w 54790"/>
                <a:gd name="connsiteY10" fmla="*/ 13621 h 15811"/>
                <a:gd name="connsiteX11" fmla="*/ 7785 w 54790"/>
                <a:gd name="connsiteY11" fmla="*/ 13526 h 15811"/>
                <a:gd name="connsiteX12" fmla="*/ 4356 w 54790"/>
                <a:gd name="connsiteY12" fmla="*/ 10859 h 15811"/>
                <a:gd name="connsiteX13" fmla="*/ 2260 w 54790"/>
                <a:gd name="connsiteY13" fmla="*/ 4953 h 15811"/>
                <a:gd name="connsiteX14" fmla="*/ 4260 w 54790"/>
                <a:gd name="connsiteY14" fmla="*/ 2953 h 15811"/>
                <a:gd name="connsiteX15" fmla="*/ 7880 w 54790"/>
                <a:gd name="connsiteY15" fmla="*/ 2858 h 15811"/>
                <a:gd name="connsiteX16" fmla="*/ 14166 w 54790"/>
                <a:gd name="connsiteY16" fmla="*/ 2762 h 15811"/>
                <a:gd name="connsiteX17" fmla="*/ 27216 w 54790"/>
                <a:gd name="connsiteY17" fmla="*/ 2572 h 15811"/>
                <a:gd name="connsiteX18" fmla="*/ 53790 w 54790"/>
                <a:gd name="connsiteY18" fmla="*/ 2191 h 15811"/>
                <a:gd name="connsiteX19" fmla="*/ 53790 w 54790"/>
                <a:gd name="connsiteY19" fmla="*/ 0 h 15811"/>
                <a:gd name="connsiteX20" fmla="*/ 53790 w 54790"/>
                <a:gd name="connsiteY20" fmla="*/ 0 h 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90" h="15811">
                  <a:moveTo>
                    <a:pt x="53790" y="0"/>
                  </a:moveTo>
                  <a:cubicBezTo>
                    <a:pt x="43027" y="191"/>
                    <a:pt x="32264" y="286"/>
                    <a:pt x="21501" y="476"/>
                  </a:cubicBezTo>
                  <a:cubicBezTo>
                    <a:pt x="16262" y="572"/>
                    <a:pt x="11118" y="667"/>
                    <a:pt x="5880" y="762"/>
                  </a:cubicBezTo>
                  <a:cubicBezTo>
                    <a:pt x="2546" y="857"/>
                    <a:pt x="-502" y="476"/>
                    <a:pt x="69" y="4667"/>
                  </a:cubicBezTo>
                  <a:cubicBezTo>
                    <a:pt x="546" y="7906"/>
                    <a:pt x="2070" y="13145"/>
                    <a:pt x="5118" y="14954"/>
                  </a:cubicBezTo>
                  <a:cubicBezTo>
                    <a:pt x="6451" y="15716"/>
                    <a:pt x="8166" y="15621"/>
                    <a:pt x="9594" y="15716"/>
                  </a:cubicBezTo>
                  <a:cubicBezTo>
                    <a:pt x="12357" y="15811"/>
                    <a:pt x="15119" y="15811"/>
                    <a:pt x="17881" y="15811"/>
                  </a:cubicBezTo>
                  <a:cubicBezTo>
                    <a:pt x="28549" y="15811"/>
                    <a:pt x="39217" y="15431"/>
                    <a:pt x="49885" y="14669"/>
                  </a:cubicBezTo>
                  <a:cubicBezTo>
                    <a:pt x="51219" y="14573"/>
                    <a:pt x="51314" y="12383"/>
                    <a:pt x="49885" y="12478"/>
                  </a:cubicBezTo>
                  <a:cubicBezTo>
                    <a:pt x="41313" y="13049"/>
                    <a:pt x="32740" y="13430"/>
                    <a:pt x="24072" y="13621"/>
                  </a:cubicBezTo>
                  <a:cubicBezTo>
                    <a:pt x="19596" y="13716"/>
                    <a:pt x="15119" y="13716"/>
                    <a:pt x="10642" y="13621"/>
                  </a:cubicBezTo>
                  <a:cubicBezTo>
                    <a:pt x="9690" y="13621"/>
                    <a:pt x="8737" y="13621"/>
                    <a:pt x="7785" y="13526"/>
                  </a:cubicBezTo>
                  <a:cubicBezTo>
                    <a:pt x="5975" y="13335"/>
                    <a:pt x="5308" y="12383"/>
                    <a:pt x="4356" y="10859"/>
                  </a:cubicBezTo>
                  <a:cubicBezTo>
                    <a:pt x="3403" y="9239"/>
                    <a:pt x="2355" y="6858"/>
                    <a:pt x="2260" y="4953"/>
                  </a:cubicBezTo>
                  <a:cubicBezTo>
                    <a:pt x="2165" y="2953"/>
                    <a:pt x="2641" y="2953"/>
                    <a:pt x="4260" y="2953"/>
                  </a:cubicBezTo>
                  <a:cubicBezTo>
                    <a:pt x="5499" y="2953"/>
                    <a:pt x="6737" y="2953"/>
                    <a:pt x="7880" y="2858"/>
                  </a:cubicBezTo>
                  <a:cubicBezTo>
                    <a:pt x="9975" y="2858"/>
                    <a:pt x="12071" y="2762"/>
                    <a:pt x="14166" y="2762"/>
                  </a:cubicBezTo>
                  <a:cubicBezTo>
                    <a:pt x="18548" y="2667"/>
                    <a:pt x="22834" y="2667"/>
                    <a:pt x="27216" y="2572"/>
                  </a:cubicBezTo>
                  <a:cubicBezTo>
                    <a:pt x="36074" y="2477"/>
                    <a:pt x="44932" y="2286"/>
                    <a:pt x="53790" y="2191"/>
                  </a:cubicBezTo>
                  <a:cubicBezTo>
                    <a:pt x="55124" y="2191"/>
                    <a:pt x="55124" y="0"/>
                    <a:pt x="53790" y="0"/>
                  </a:cubicBezTo>
                  <a:lnTo>
                    <a:pt x="5379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F464E834-CB88-059D-5C21-63596D08FB8D}"/>
                </a:ext>
              </a:extLst>
            </p:cNvPr>
            <p:cNvSpPr/>
            <p:nvPr/>
          </p:nvSpPr>
          <p:spPr>
            <a:xfrm>
              <a:off x="5483920" y="4709630"/>
              <a:ext cx="6730" cy="54989"/>
            </a:xfrm>
            <a:custGeom>
              <a:avLst/>
              <a:gdLst>
                <a:gd name="connsiteX0" fmla="*/ 26 w 4610"/>
                <a:gd name="connsiteY0" fmla="*/ 1000 h 37668"/>
                <a:gd name="connsiteX1" fmla="*/ 2503 w 4610"/>
                <a:gd name="connsiteY1" fmla="*/ 36909 h 37668"/>
                <a:gd name="connsiteX2" fmla="*/ 4598 w 4610"/>
                <a:gd name="connsiteY2" fmla="*/ 36338 h 37668"/>
                <a:gd name="connsiteX3" fmla="*/ 2122 w 4610"/>
                <a:gd name="connsiteY3" fmla="*/ 1000 h 37668"/>
                <a:gd name="connsiteX4" fmla="*/ 26 w 4610"/>
                <a:gd name="connsiteY4" fmla="*/ 1000 h 37668"/>
                <a:gd name="connsiteX5" fmla="*/ 26 w 4610"/>
                <a:gd name="connsiteY5" fmla="*/ 1000 h 3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10" h="37668">
                  <a:moveTo>
                    <a:pt x="26" y="1000"/>
                  </a:moveTo>
                  <a:cubicBezTo>
                    <a:pt x="-164" y="13002"/>
                    <a:pt x="693" y="25003"/>
                    <a:pt x="2503" y="36909"/>
                  </a:cubicBezTo>
                  <a:cubicBezTo>
                    <a:pt x="2693" y="38243"/>
                    <a:pt x="4789" y="37671"/>
                    <a:pt x="4598" y="36338"/>
                  </a:cubicBezTo>
                  <a:cubicBezTo>
                    <a:pt x="2788" y="24622"/>
                    <a:pt x="1931" y="12811"/>
                    <a:pt x="2122" y="1000"/>
                  </a:cubicBezTo>
                  <a:cubicBezTo>
                    <a:pt x="2217" y="-333"/>
                    <a:pt x="26" y="-333"/>
                    <a:pt x="26" y="1000"/>
                  </a:cubicBezTo>
                  <a:lnTo>
                    <a:pt x="26" y="100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1C5AB47C-C5AC-6854-D8F4-6C6FAD09919D}"/>
                </a:ext>
              </a:extLst>
            </p:cNvPr>
            <p:cNvSpPr/>
            <p:nvPr/>
          </p:nvSpPr>
          <p:spPr>
            <a:xfrm>
              <a:off x="5486873" y="4840786"/>
              <a:ext cx="10159" cy="272412"/>
            </a:xfrm>
            <a:custGeom>
              <a:avLst/>
              <a:gdLst>
                <a:gd name="connsiteX0" fmla="*/ 3 w 6959"/>
                <a:gd name="connsiteY0" fmla="*/ 1072 h 186606"/>
                <a:gd name="connsiteX1" fmla="*/ 4766 w 6959"/>
                <a:gd name="connsiteY1" fmla="*/ 93274 h 186606"/>
                <a:gd name="connsiteX2" fmla="*/ 479 w 6959"/>
                <a:gd name="connsiteY2" fmla="*/ 185571 h 186606"/>
                <a:gd name="connsiteX3" fmla="*/ 2670 w 6959"/>
                <a:gd name="connsiteY3" fmla="*/ 185571 h 186606"/>
                <a:gd name="connsiteX4" fmla="*/ 6956 w 6959"/>
                <a:gd name="connsiteY4" fmla="*/ 93274 h 186606"/>
                <a:gd name="connsiteX5" fmla="*/ 2194 w 6959"/>
                <a:gd name="connsiteY5" fmla="*/ 1072 h 186606"/>
                <a:gd name="connsiteX6" fmla="*/ 3 w 6959"/>
                <a:gd name="connsiteY6" fmla="*/ 1072 h 186606"/>
                <a:gd name="connsiteX7" fmla="*/ 3 w 6959"/>
                <a:gd name="connsiteY7" fmla="*/ 1072 h 186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9" h="186606">
                  <a:moveTo>
                    <a:pt x="3" y="1072"/>
                  </a:moveTo>
                  <a:cubicBezTo>
                    <a:pt x="2384" y="31742"/>
                    <a:pt x="4670" y="62508"/>
                    <a:pt x="4766" y="93274"/>
                  </a:cubicBezTo>
                  <a:cubicBezTo>
                    <a:pt x="4861" y="124135"/>
                    <a:pt x="2670" y="154900"/>
                    <a:pt x="479" y="185571"/>
                  </a:cubicBezTo>
                  <a:cubicBezTo>
                    <a:pt x="384" y="187000"/>
                    <a:pt x="2575" y="186904"/>
                    <a:pt x="2670" y="185571"/>
                  </a:cubicBezTo>
                  <a:cubicBezTo>
                    <a:pt x="4861" y="154805"/>
                    <a:pt x="7051" y="124039"/>
                    <a:pt x="6956" y="93274"/>
                  </a:cubicBezTo>
                  <a:cubicBezTo>
                    <a:pt x="6861" y="62508"/>
                    <a:pt x="4480" y="31742"/>
                    <a:pt x="2194" y="1072"/>
                  </a:cubicBezTo>
                  <a:cubicBezTo>
                    <a:pt x="2099" y="-357"/>
                    <a:pt x="-92" y="-357"/>
                    <a:pt x="3" y="1072"/>
                  </a:cubicBezTo>
                  <a:lnTo>
                    <a:pt x="3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6B459526-DCD6-4234-DD21-7C98EB9C5401}"/>
                </a:ext>
              </a:extLst>
            </p:cNvPr>
            <p:cNvSpPr/>
            <p:nvPr/>
          </p:nvSpPr>
          <p:spPr>
            <a:xfrm>
              <a:off x="5814728" y="4717920"/>
              <a:ext cx="9239" cy="76871"/>
            </a:xfrm>
            <a:custGeom>
              <a:avLst/>
              <a:gdLst>
                <a:gd name="connsiteX0" fmla="*/ 778 w 6329"/>
                <a:gd name="connsiteY0" fmla="*/ 1036 h 52658"/>
                <a:gd name="connsiteX1" fmla="*/ 4207 w 6329"/>
                <a:gd name="connsiteY1" fmla="*/ 51900 h 52658"/>
                <a:gd name="connsiteX2" fmla="*/ 6303 w 6329"/>
                <a:gd name="connsiteY2" fmla="*/ 51328 h 52658"/>
                <a:gd name="connsiteX3" fmla="*/ 2969 w 6329"/>
                <a:gd name="connsiteY3" fmla="*/ 1036 h 52658"/>
                <a:gd name="connsiteX4" fmla="*/ 778 w 6329"/>
                <a:gd name="connsiteY4" fmla="*/ 1036 h 52658"/>
                <a:gd name="connsiteX5" fmla="*/ 778 w 6329"/>
                <a:gd name="connsiteY5" fmla="*/ 1036 h 5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9" h="52658">
                  <a:moveTo>
                    <a:pt x="778" y="1036"/>
                  </a:moveTo>
                  <a:cubicBezTo>
                    <a:pt x="-1031" y="18181"/>
                    <a:pt x="397" y="35136"/>
                    <a:pt x="4207" y="51900"/>
                  </a:cubicBezTo>
                  <a:cubicBezTo>
                    <a:pt x="4493" y="53233"/>
                    <a:pt x="6589" y="52662"/>
                    <a:pt x="6303" y="51328"/>
                  </a:cubicBezTo>
                  <a:cubicBezTo>
                    <a:pt x="2588" y="34659"/>
                    <a:pt x="1159" y="17991"/>
                    <a:pt x="2969" y="1036"/>
                  </a:cubicBezTo>
                  <a:cubicBezTo>
                    <a:pt x="3064" y="-393"/>
                    <a:pt x="969" y="-297"/>
                    <a:pt x="778" y="1036"/>
                  </a:cubicBezTo>
                  <a:lnTo>
                    <a:pt x="778" y="103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A5FFA216-853B-E2B0-E110-4D8280E88127}"/>
                </a:ext>
              </a:extLst>
            </p:cNvPr>
            <p:cNvSpPr/>
            <p:nvPr/>
          </p:nvSpPr>
          <p:spPr>
            <a:xfrm>
              <a:off x="5829983" y="4878191"/>
              <a:ext cx="8684" cy="245437"/>
            </a:xfrm>
            <a:custGeom>
              <a:avLst/>
              <a:gdLst>
                <a:gd name="connsiteX0" fmla="*/ 901 w 5949"/>
                <a:gd name="connsiteY0" fmla="*/ 1072 h 168128"/>
                <a:gd name="connsiteX1" fmla="*/ 234 w 5949"/>
                <a:gd name="connsiteY1" fmla="*/ 84130 h 168128"/>
                <a:gd name="connsiteX2" fmla="*/ 3759 w 5949"/>
                <a:gd name="connsiteY2" fmla="*/ 167092 h 168128"/>
                <a:gd name="connsiteX3" fmla="*/ 5949 w 5949"/>
                <a:gd name="connsiteY3" fmla="*/ 167092 h 168128"/>
                <a:gd name="connsiteX4" fmla="*/ 2425 w 5949"/>
                <a:gd name="connsiteY4" fmla="*/ 84130 h 168128"/>
                <a:gd name="connsiteX5" fmla="*/ 3092 w 5949"/>
                <a:gd name="connsiteY5" fmla="*/ 1072 h 168128"/>
                <a:gd name="connsiteX6" fmla="*/ 901 w 5949"/>
                <a:gd name="connsiteY6" fmla="*/ 1072 h 168128"/>
                <a:gd name="connsiteX7" fmla="*/ 901 w 5949"/>
                <a:gd name="connsiteY7" fmla="*/ 1072 h 16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49" h="168128">
                  <a:moveTo>
                    <a:pt x="901" y="1072"/>
                  </a:moveTo>
                  <a:cubicBezTo>
                    <a:pt x="234" y="28789"/>
                    <a:pt x="-337" y="56412"/>
                    <a:pt x="234" y="84130"/>
                  </a:cubicBezTo>
                  <a:cubicBezTo>
                    <a:pt x="806" y="111847"/>
                    <a:pt x="2330" y="139470"/>
                    <a:pt x="3759" y="167092"/>
                  </a:cubicBezTo>
                  <a:cubicBezTo>
                    <a:pt x="3854" y="168426"/>
                    <a:pt x="5949" y="168521"/>
                    <a:pt x="5949" y="167092"/>
                  </a:cubicBezTo>
                  <a:cubicBezTo>
                    <a:pt x="4521" y="139470"/>
                    <a:pt x="2997" y="111752"/>
                    <a:pt x="2425" y="84130"/>
                  </a:cubicBezTo>
                  <a:cubicBezTo>
                    <a:pt x="1854" y="56412"/>
                    <a:pt x="2425" y="28789"/>
                    <a:pt x="3092" y="1072"/>
                  </a:cubicBezTo>
                  <a:cubicBezTo>
                    <a:pt x="3092" y="-357"/>
                    <a:pt x="996" y="-357"/>
                    <a:pt x="901" y="1072"/>
                  </a:cubicBezTo>
                  <a:lnTo>
                    <a:pt x="901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DFD786CD-287E-0274-E340-A62A8553DB71}"/>
                </a:ext>
              </a:extLst>
            </p:cNvPr>
            <p:cNvSpPr/>
            <p:nvPr/>
          </p:nvSpPr>
          <p:spPr>
            <a:xfrm>
              <a:off x="5421455" y="5143251"/>
              <a:ext cx="660721" cy="3197"/>
            </a:xfrm>
            <a:custGeom>
              <a:avLst/>
              <a:gdLst>
                <a:gd name="connsiteX0" fmla="*/ 1000 w 452604"/>
                <a:gd name="connsiteY0" fmla="*/ 2191 h 2190"/>
                <a:gd name="connsiteX1" fmla="*/ 355330 w 452604"/>
                <a:gd name="connsiteY1" fmla="*/ 2191 h 2190"/>
                <a:gd name="connsiteX2" fmla="*/ 451533 w 452604"/>
                <a:gd name="connsiteY2" fmla="*/ 2191 h 2190"/>
                <a:gd name="connsiteX3" fmla="*/ 451533 w 452604"/>
                <a:gd name="connsiteY3" fmla="*/ 0 h 2190"/>
                <a:gd name="connsiteX4" fmla="*/ 97203 w 452604"/>
                <a:gd name="connsiteY4" fmla="*/ 0 h 2190"/>
                <a:gd name="connsiteX5" fmla="*/ 1000 w 452604"/>
                <a:gd name="connsiteY5" fmla="*/ 0 h 2190"/>
                <a:gd name="connsiteX6" fmla="*/ 1000 w 452604"/>
                <a:gd name="connsiteY6" fmla="*/ 2191 h 2190"/>
                <a:gd name="connsiteX7" fmla="*/ 1000 w 452604"/>
                <a:gd name="connsiteY7" fmla="*/ 2191 h 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604" h="2190">
                  <a:moveTo>
                    <a:pt x="1000" y="2191"/>
                  </a:moveTo>
                  <a:cubicBezTo>
                    <a:pt x="119110" y="2191"/>
                    <a:pt x="237220" y="2191"/>
                    <a:pt x="355330" y="2191"/>
                  </a:cubicBezTo>
                  <a:cubicBezTo>
                    <a:pt x="387429" y="2191"/>
                    <a:pt x="419433" y="2191"/>
                    <a:pt x="451533" y="2191"/>
                  </a:cubicBezTo>
                  <a:cubicBezTo>
                    <a:pt x="452961" y="2191"/>
                    <a:pt x="452961" y="0"/>
                    <a:pt x="451533" y="0"/>
                  </a:cubicBezTo>
                  <a:cubicBezTo>
                    <a:pt x="333423" y="0"/>
                    <a:pt x="215313" y="0"/>
                    <a:pt x="97203" y="0"/>
                  </a:cubicBezTo>
                  <a:cubicBezTo>
                    <a:pt x="65103" y="0"/>
                    <a:pt x="33099" y="0"/>
                    <a:pt x="1000" y="0"/>
                  </a:cubicBezTo>
                  <a:cubicBezTo>
                    <a:pt x="-333" y="0"/>
                    <a:pt x="-333" y="2191"/>
                    <a:pt x="1000" y="2191"/>
                  </a:cubicBezTo>
                  <a:lnTo>
                    <a:pt x="1000" y="219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5F1F471D-58C1-48D2-96DC-B74ACA5307F8}"/>
                </a:ext>
              </a:extLst>
            </p:cNvPr>
            <p:cNvSpPr/>
            <p:nvPr/>
          </p:nvSpPr>
          <p:spPr>
            <a:xfrm>
              <a:off x="5944660" y="4458126"/>
              <a:ext cx="34173" cy="149442"/>
            </a:xfrm>
            <a:custGeom>
              <a:avLst/>
              <a:gdLst>
                <a:gd name="connsiteX0" fmla="*/ 70 w 23409"/>
                <a:gd name="connsiteY0" fmla="*/ 1262 h 102370"/>
                <a:gd name="connsiteX1" fmla="*/ 21215 w 23409"/>
                <a:gd name="connsiteY1" fmla="*/ 101370 h 102370"/>
                <a:gd name="connsiteX2" fmla="*/ 23406 w 23409"/>
                <a:gd name="connsiteY2" fmla="*/ 101370 h 102370"/>
                <a:gd name="connsiteX3" fmla="*/ 2165 w 23409"/>
                <a:gd name="connsiteY3" fmla="*/ 691 h 102370"/>
                <a:gd name="connsiteX4" fmla="*/ 70 w 23409"/>
                <a:gd name="connsiteY4" fmla="*/ 1262 h 102370"/>
                <a:gd name="connsiteX5" fmla="*/ 70 w 23409"/>
                <a:gd name="connsiteY5" fmla="*/ 1262 h 10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09" h="102370">
                  <a:moveTo>
                    <a:pt x="70" y="1262"/>
                  </a:moveTo>
                  <a:cubicBezTo>
                    <a:pt x="11976" y="33743"/>
                    <a:pt x="17691" y="67080"/>
                    <a:pt x="21215" y="101370"/>
                  </a:cubicBezTo>
                  <a:cubicBezTo>
                    <a:pt x="21311" y="102704"/>
                    <a:pt x="23501" y="102704"/>
                    <a:pt x="23406" y="101370"/>
                  </a:cubicBezTo>
                  <a:cubicBezTo>
                    <a:pt x="19882" y="66890"/>
                    <a:pt x="14167" y="33362"/>
                    <a:pt x="2165" y="691"/>
                  </a:cubicBezTo>
                  <a:cubicBezTo>
                    <a:pt x="1689" y="-547"/>
                    <a:pt x="-406" y="24"/>
                    <a:pt x="70" y="1262"/>
                  </a:cubicBezTo>
                  <a:lnTo>
                    <a:pt x="70" y="126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DF2CF986-A257-0827-237B-78F796217117}"/>
                </a:ext>
              </a:extLst>
            </p:cNvPr>
            <p:cNvSpPr/>
            <p:nvPr/>
          </p:nvSpPr>
          <p:spPr>
            <a:xfrm>
              <a:off x="6026345" y="4469128"/>
              <a:ext cx="22348" cy="40183"/>
            </a:xfrm>
            <a:custGeom>
              <a:avLst/>
              <a:gdLst>
                <a:gd name="connsiteX0" fmla="*/ 3646 w 15309"/>
                <a:gd name="connsiteY0" fmla="*/ 2107 h 27526"/>
                <a:gd name="connsiteX1" fmla="*/ 26 w 15309"/>
                <a:gd name="connsiteY1" fmla="*/ 14680 h 27526"/>
                <a:gd name="connsiteX2" fmla="*/ 4789 w 15309"/>
                <a:gd name="connsiteY2" fmla="*/ 26682 h 27526"/>
                <a:gd name="connsiteX3" fmla="*/ 10313 w 15309"/>
                <a:gd name="connsiteY3" fmla="*/ 27158 h 27526"/>
                <a:gd name="connsiteX4" fmla="*/ 14123 w 15309"/>
                <a:gd name="connsiteY4" fmla="*/ 22776 h 27526"/>
                <a:gd name="connsiteX5" fmla="*/ 15266 w 15309"/>
                <a:gd name="connsiteY5" fmla="*/ 15347 h 27526"/>
                <a:gd name="connsiteX6" fmla="*/ 14600 w 15309"/>
                <a:gd name="connsiteY6" fmla="*/ 7822 h 27526"/>
                <a:gd name="connsiteX7" fmla="*/ 9551 w 15309"/>
                <a:gd name="connsiteY7" fmla="*/ 2488 h 27526"/>
                <a:gd name="connsiteX8" fmla="*/ 1931 w 15309"/>
                <a:gd name="connsiteY8" fmla="*/ 12 h 27526"/>
                <a:gd name="connsiteX9" fmla="*/ 1931 w 15309"/>
                <a:gd name="connsiteY9" fmla="*/ 2202 h 27526"/>
                <a:gd name="connsiteX10" fmla="*/ 7551 w 15309"/>
                <a:gd name="connsiteY10" fmla="*/ 3822 h 27526"/>
                <a:gd name="connsiteX11" fmla="*/ 12028 w 15309"/>
                <a:gd name="connsiteY11" fmla="*/ 7155 h 27526"/>
                <a:gd name="connsiteX12" fmla="*/ 13076 w 15309"/>
                <a:gd name="connsiteY12" fmla="*/ 12966 h 27526"/>
                <a:gd name="connsiteX13" fmla="*/ 12599 w 15309"/>
                <a:gd name="connsiteY13" fmla="*/ 19252 h 27526"/>
                <a:gd name="connsiteX14" fmla="*/ 10694 w 15309"/>
                <a:gd name="connsiteY14" fmla="*/ 24205 h 27526"/>
                <a:gd name="connsiteX15" fmla="*/ 6218 w 15309"/>
                <a:gd name="connsiteY15" fmla="*/ 24872 h 27526"/>
                <a:gd name="connsiteX16" fmla="*/ 1931 w 15309"/>
                <a:gd name="connsiteY16" fmla="*/ 15156 h 27526"/>
                <a:gd name="connsiteX17" fmla="*/ 4884 w 15309"/>
                <a:gd name="connsiteY17" fmla="*/ 3345 h 27526"/>
                <a:gd name="connsiteX18" fmla="*/ 3646 w 15309"/>
                <a:gd name="connsiteY18" fmla="*/ 2107 h 27526"/>
                <a:gd name="connsiteX19" fmla="*/ 3646 w 15309"/>
                <a:gd name="connsiteY19" fmla="*/ 2107 h 2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09" h="27526">
                  <a:moveTo>
                    <a:pt x="3646" y="2107"/>
                  </a:moveTo>
                  <a:cubicBezTo>
                    <a:pt x="407" y="5441"/>
                    <a:pt x="217" y="10394"/>
                    <a:pt x="26" y="14680"/>
                  </a:cubicBezTo>
                  <a:cubicBezTo>
                    <a:pt x="-164" y="19062"/>
                    <a:pt x="598" y="24396"/>
                    <a:pt x="4789" y="26682"/>
                  </a:cubicBezTo>
                  <a:cubicBezTo>
                    <a:pt x="6503" y="27539"/>
                    <a:pt x="8504" y="27825"/>
                    <a:pt x="10313" y="27158"/>
                  </a:cubicBezTo>
                  <a:cubicBezTo>
                    <a:pt x="12314" y="26396"/>
                    <a:pt x="13457" y="24681"/>
                    <a:pt x="14123" y="22776"/>
                  </a:cubicBezTo>
                  <a:cubicBezTo>
                    <a:pt x="14885" y="20395"/>
                    <a:pt x="15171" y="17823"/>
                    <a:pt x="15266" y="15347"/>
                  </a:cubicBezTo>
                  <a:cubicBezTo>
                    <a:pt x="15362" y="12870"/>
                    <a:pt x="15362" y="10203"/>
                    <a:pt x="14600" y="7822"/>
                  </a:cubicBezTo>
                  <a:cubicBezTo>
                    <a:pt x="13838" y="5346"/>
                    <a:pt x="11742" y="3726"/>
                    <a:pt x="9551" y="2488"/>
                  </a:cubicBezTo>
                  <a:cubicBezTo>
                    <a:pt x="7170" y="1155"/>
                    <a:pt x="4598" y="393"/>
                    <a:pt x="1931" y="12"/>
                  </a:cubicBezTo>
                  <a:cubicBezTo>
                    <a:pt x="598" y="-179"/>
                    <a:pt x="598" y="2012"/>
                    <a:pt x="1931" y="2202"/>
                  </a:cubicBezTo>
                  <a:cubicBezTo>
                    <a:pt x="3836" y="2393"/>
                    <a:pt x="5837" y="2964"/>
                    <a:pt x="7551" y="3822"/>
                  </a:cubicBezTo>
                  <a:cubicBezTo>
                    <a:pt x="9170" y="4584"/>
                    <a:pt x="10980" y="5631"/>
                    <a:pt x="12028" y="7155"/>
                  </a:cubicBezTo>
                  <a:cubicBezTo>
                    <a:pt x="13076" y="8775"/>
                    <a:pt x="13076" y="11156"/>
                    <a:pt x="13076" y="12966"/>
                  </a:cubicBezTo>
                  <a:cubicBezTo>
                    <a:pt x="13171" y="15061"/>
                    <a:pt x="12980" y="17252"/>
                    <a:pt x="12599" y="19252"/>
                  </a:cubicBezTo>
                  <a:cubicBezTo>
                    <a:pt x="12314" y="20967"/>
                    <a:pt x="12028" y="22967"/>
                    <a:pt x="10694" y="24205"/>
                  </a:cubicBezTo>
                  <a:cubicBezTo>
                    <a:pt x="9551" y="25348"/>
                    <a:pt x="7742" y="25443"/>
                    <a:pt x="6218" y="24872"/>
                  </a:cubicBezTo>
                  <a:cubicBezTo>
                    <a:pt x="2408" y="23443"/>
                    <a:pt x="1836" y="18585"/>
                    <a:pt x="1931" y="15156"/>
                  </a:cubicBezTo>
                  <a:cubicBezTo>
                    <a:pt x="2027" y="11251"/>
                    <a:pt x="2027" y="6298"/>
                    <a:pt x="4884" y="3345"/>
                  </a:cubicBezTo>
                  <a:cubicBezTo>
                    <a:pt x="6122" y="2679"/>
                    <a:pt x="4598" y="1155"/>
                    <a:pt x="3646" y="2107"/>
                  </a:cubicBezTo>
                  <a:lnTo>
                    <a:pt x="3646" y="2107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27EF13AD-B160-039E-80C7-152B74E44DF3}"/>
                </a:ext>
              </a:extLst>
            </p:cNvPr>
            <p:cNvSpPr/>
            <p:nvPr/>
          </p:nvSpPr>
          <p:spPr>
            <a:xfrm>
              <a:off x="5945879" y="4439774"/>
              <a:ext cx="96944" cy="34028"/>
            </a:xfrm>
            <a:custGeom>
              <a:avLst/>
              <a:gdLst>
                <a:gd name="connsiteX0" fmla="*/ 1331 w 66408"/>
                <a:gd name="connsiteY0" fmla="*/ 14405 h 23310"/>
                <a:gd name="connsiteX1" fmla="*/ 43050 w 66408"/>
                <a:gd name="connsiteY1" fmla="*/ 7166 h 23310"/>
                <a:gd name="connsiteX2" fmla="*/ 52766 w 66408"/>
                <a:gd name="connsiteY2" fmla="*/ 4975 h 23310"/>
                <a:gd name="connsiteX3" fmla="*/ 58195 w 66408"/>
                <a:gd name="connsiteY3" fmla="*/ 3641 h 23310"/>
                <a:gd name="connsiteX4" fmla="*/ 63052 w 66408"/>
                <a:gd name="connsiteY4" fmla="*/ 2403 h 23310"/>
                <a:gd name="connsiteX5" fmla="*/ 63814 w 66408"/>
                <a:gd name="connsiteY5" fmla="*/ 6404 h 23310"/>
                <a:gd name="connsiteX6" fmla="*/ 63338 w 66408"/>
                <a:gd name="connsiteY6" fmla="*/ 11261 h 23310"/>
                <a:gd name="connsiteX7" fmla="*/ 62291 w 66408"/>
                <a:gd name="connsiteY7" fmla="*/ 22310 h 23310"/>
                <a:gd name="connsiteX8" fmla="*/ 64481 w 66408"/>
                <a:gd name="connsiteY8" fmla="*/ 22310 h 23310"/>
                <a:gd name="connsiteX9" fmla="*/ 65624 w 66408"/>
                <a:gd name="connsiteY9" fmla="*/ 10023 h 23310"/>
                <a:gd name="connsiteX10" fmla="*/ 66196 w 66408"/>
                <a:gd name="connsiteY10" fmla="*/ 4499 h 23310"/>
                <a:gd name="connsiteX11" fmla="*/ 66100 w 66408"/>
                <a:gd name="connsiteY11" fmla="*/ 1070 h 23310"/>
                <a:gd name="connsiteX12" fmla="*/ 60671 w 66408"/>
                <a:gd name="connsiteY12" fmla="*/ 689 h 23310"/>
                <a:gd name="connsiteX13" fmla="*/ 48575 w 66408"/>
                <a:gd name="connsiteY13" fmla="*/ 3546 h 23310"/>
                <a:gd name="connsiteX14" fmla="*/ 759 w 66408"/>
                <a:gd name="connsiteY14" fmla="*/ 12214 h 23310"/>
                <a:gd name="connsiteX15" fmla="*/ 1331 w 66408"/>
                <a:gd name="connsiteY15" fmla="*/ 14405 h 23310"/>
                <a:gd name="connsiteX16" fmla="*/ 1331 w 66408"/>
                <a:gd name="connsiteY16" fmla="*/ 14405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408" h="23310">
                  <a:moveTo>
                    <a:pt x="1331" y="14405"/>
                  </a:moveTo>
                  <a:cubicBezTo>
                    <a:pt x="15332" y="12500"/>
                    <a:pt x="29239" y="10118"/>
                    <a:pt x="43050" y="7166"/>
                  </a:cubicBezTo>
                  <a:cubicBezTo>
                    <a:pt x="46289" y="6499"/>
                    <a:pt x="49527" y="5737"/>
                    <a:pt x="52766" y="4975"/>
                  </a:cubicBezTo>
                  <a:cubicBezTo>
                    <a:pt x="54575" y="4594"/>
                    <a:pt x="56385" y="4118"/>
                    <a:pt x="58195" y="3641"/>
                  </a:cubicBezTo>
                  <a:cubicBezTo>
                    <a:pt x="59623" y="3260"/>
                    <a:pt x="61624" y="2403"/>
                    <a:pt x="63052" y="2403"/>
                  </a:cubicBezTo>
                  <a:cubicBezTo>
                    <a:pt x="64958" y="2498"/>
                    <a:pt x="64005" y="4784"/>
                    <a:pt x="63814" y="6404"/>
                  </a:cubicBezTo>
                  <a:cubicBezTo>
                    <a:pt x="63624" y="8023"/>
                    <a:pt x="63529" y="9642"/>
                    <a:pt x="63338" y="11261"/>
                  </a:cubicBezTo>
                  <a:cubicBezTo>
                    <a:pt x="62957" y="14976"/>
                    <a:pt x="62671" y="18596"/>
                    <a:pt x="62291" y="22310"/>
                  </a:cubicBezTo>
                  <a:cubicBezTo>
                    <a:pt x="62195" y="23644"/>
                    <a:pt x="64291" y="23644"/>
                    <a:pt x="64481" y="22310"/>
                  </a:cubicBezTo>
                  <a:cubicBezTo>
                    <a:pt x="64862" y="18215"/>
                    <a:pt x="65243" y="14119"/>
                    <a:pt x="65624" y="10023"/>
                  </a:cubicBezTo>
                  <a:cubicBezTo>
                    <a:pt x="65815" y="8213"/>
                    <a:pt x="66005" y="6308"/>
                    <a:pt x="66196" y="4499"/>
                  </a:cubicBezTo>
                  <a:cubicBezTo>
                    <a:pt x="66291" y="3451"/>
                    <a:pt x="66672" y="2117"/>
                    <a:pt x="66100" y="1070"/>
                  </a:cubicBezTo>
                  <a:cubicBezTo>
                    <a:pt x="64958" y="-835"/>
                    <a:pt x="62386" y="308"/>
                    <a:pt x="60671" y="689"/>
                  </a:cubicBezTo>
                  <a:cubicBezTo>
                    <a:pt x="56671" y="1736"/>
                    <a:pt x="52575" y="2689"/>
                    <a:pt x="48575" y="3546"/>
                  </a:cubicBezTo>
                  <a:cubicBezTo>
                    <a:pt x="32763" y="7166"/>
                    <a:pt x="16856" y="10023"/>
                    <a:pt x="759" y="12214"/>
                  </a:cubicBezTo>
                  <a:cubicBezTo>
                    <a:pt x="-575" y="12500"/>
                    <a:pt x="-3" y="14595"/>
                    <a:pt x="1331" y="14405"/>
                  </a:cubicBezTo>
                  <a:lnTo>
                    <a:pt x="1331" y="14405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317E0047-F62E-5415-B90F-A3620A8DA2FE}"/>
                </a:ext>
              </a:extLst>
            </p:cNvPr>
            <p:cNvSpPr/>
            <p:nvPr/>
          </p:nvSpPr>
          <p:spPr>
            <a:xfrm>
              <a:off x="5974977" y="4505716"/>
              <a:ext cx="80159" cy="98537"/>
            </a:xfrm>
            <a:custGeom>
              <a:avLst/>
              <a:gdLst>
                <a:gd name="connsiteX0" fmla="*/ 43786 w 54910"/>
                <a:gd name="connsiteY0" fmla="*/ 1048 h 67499"/>
                <a:gd name="connsiteX1" fmla="*/ 46834 w 54910"/>
                <a:gd name="connsiteY1" fmla="*/ 29909 h 67499"/>
                <a:gd name="connsiteX2" fmla="*/ 49596 w 54910"/>
                <a:gd name="connsiteY2" fmla="*/ 44005 h 67499"/>
                <a:gd name="connsiteX3" fmla="*/ 51406 w 54910"/>
                <a:gd name="connsiteY3" fmla="*/ 51245 h 67499"/>
                <a:gd name="connsiteX4" fmla="*/ 52359 w 54910"/>
                <a:gd name="connsiteY4" fmla="*/ 54864 h 67499"/>
                <a:gd name="connsiteX5" fmla="*/ 49596 w 54910"/>
                <a:gd name="connsiteY5" fmla="*/ 57626 h 67499"/>
                <a:gd name="connsiteX6" fmla="*/ 352 w 54910"/>
                <a:gd name="connsiteY6" fmla="*/ 65723 h 67499"/>
                <a:gd name="connsiteX7" fmla="*/ 1876 w 54910"/>
                <a:gd name="connsiteY7" fmla="*/ 67247 h 67499"/>
                <a:gd name="connsiteX8" fmla="*/ 29118 w 54910"/>
                <a:gd name="connsiteY8" fmla="*/ 59627 h 67499"/>
                <a:gd name="connsiteX9" fmla="*/ 44072 w 54910"/>
                <a:gd name="connsiteY9" fmla="*/ 60008 h 67499"/>
                <a:gd name="connsiteX10" fmla="*/ 54359 w 54910"/>
                <a:gd name="connsiteY10" fmla="*/ 58388 h 67499"/>
                <a:gd name="connsiteX11" fmla="*/ 54740 w 54910"/>
                <a:gd name="connsiteY11" fmla="*/ 55340 h 67499"/>
                <a:gd name="connsiteX12" fmla="*/ 52644 w 54910"/>
                <a:gd name="connsiteY12" fmla="*/ 47625 h 67499"/>
                <a:gd name="connsiteX13" fmla="*/ 49501 w 54910"/>
                <a:gd name="connsiteY13" fmla="*/ 32957 h 67499"/>
                <a:gd name="connsiteX14" fmla="*/ 45882 w 54910"/>
                <a:gd name="connsiteY14" fmla="*/ 953 h 67499"/>
                <a:gd name="connsiteX15" fmla="*/ 43786 w 54910"/>
                <a:gd name="connsiteY15" fmla="*/ 1048 h 67499"/>
                <a:gd name="connsiteX16" fmla="*/ 43786 w 54910"/>
                <a:gd name="connsiteY16" fmla="*/ 1048 h 6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910" h="67499">
                  <a:moveTo>
                    <a:pt x="43786" y="1048"/>
                  </a:moveTo>
                  <a:cubicBezTo>
                    <a:pt x="44262" y="10668"/>
                    <a:pt x="45215" y="20384"/>
                    <a:pt x="46834" y="29909"/>
                  </a:cubicBezTo>
                  <a:cubicBezTo>
                    <a:pt x="47596" y="34671"/>
                    <a:pt x="48549" y="39338"/>
                    <a:pt x="49596" y="44005"/>
                  </a:cubicBezTo>
                  <a:cubicBezTo>
                    <a:pt x="50168" y="46482"/>
                    <a:pt x="50739" y="48863"/>
                    <a:pt x="51406" y="51245"/>
                  </a:cubicBezTo>
                  <a:cubicBezTo>
                    <a:pt x="51692" y="52388"/>
                    <a:pt x="52263" y="53626"/>
                    <a:pt x="52359" y="54864"/>
                  </a:cubicBezTo>
                  <a:cubicBezTo>
                    <a:pt x="52644" y="57436"/>
                    <a:pt x="51882" y="57436"/>
                    <a:pt x="49596" y="57626"/>
                  </a:cubicBezTo>
                  <a:cubicBezTo>
                    <a:pt x="33023" y="58865"/>
                    <a:pt x="14259" y="53816"/>
                    <a:pt x="352" y="65723"/>
                  </a:cubicBezTo>
                  <a:cubicBezTo>
                    <a:pt x="-696" y="66580"/>
                    <a:pt x="828" y="68104"/>
                    <a:pt x="1876" y="67247"/>
                  </a:cubicBezTo>
                  <a:cubicBezTo>
                    <a:pt x="9401" y="60770"/>
                    <a:pt x="19497" y="59531"/>
                    <a:pt x="29118" y="59627"/>
                  </a:cubicBezTo>
                  <a:cubicBezTo>
                    <a:pt x="34071" y="59627"/>
                    <a:pt x="39024" y="60008"/>
                    <a:pt x="44072" y="60008"/>
                  </a:cubicBezTo>
                  <a:cubicBezTo>
                    <a:pt x="46644" y="60008"/>
                    <a:pt x="52549" y="60865"/>
                    <a:pt x="54359" y="58388"/>
                  </a:cubicBezTo>
                  <a:cubicBezTo>
                    <a:pt x="55121" y="57436"/>
                    <a:pt x="54930" y="56388"/>
                    <a:pt x="54740" y="55340"/>
                  </a:cubicBezTo>
                  <a:cubicBezTo>
                    <a:pt x="54264" y="52768"/>
                    <a:pt x="53311" y="50197"/>
                    <a:pt x="52644" y="47625"/>
                  </a:cubicBezTo>
                  <a:cubicBezTo>
                    <a:pt x="51406" y="42767"/>
                    <a:pt x="50358" y="37910"/>
                    <a:pt x="49501" y="32957"/>
                  </a:cubicBezTo>
                  <a:cubicBezTo>
                    <a:pt x="47596" y="22384"/>
                    <a:pt x="46358" y="11716"/>
                    <a:pt x="45882" y="953"/>
                  </a:cubicBezTo>
                  <a:cubicBezTo>
                    <a:pt x="45882" y="-286"/>
                    <a:pt x="43691" y="-381"/>
                    <a:pt x="43786" y="1048"/>
                  </a:cubicBezTo>
                  <a:lnTo>
                    <a:pt x="43786" y="1048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94AEE72-64D0-0DDA-E7B0-DFEC8EE8C20D}"/>
                </a:ext>
              </a:extLst>
            </p:cNvPr>
            <p:cNvSpPr/>
            <p:nvPr/>
          </p:nvSpPr>
          <p:spPr>
            <a:xfrm>
              <a:off x="5974773" y="4407736"/>
              <a:ext cx="35227" cy="39062"/>
            </a:xfrm>
            <a:custGeom>
              <a:avLst/>
              <a:gdLst>
                <a:gd name="connsiteX0" fmla="*/ 302 w 24131"/>
                <a:gd name="connsiteY0" fmla="*/ 1872 h 26758"/>
                <a:gd name="connsiteX1" fmla="*/ 22590 w 24131"/>
                <a:gd name="connsiteY1" fmla="*/ 26541 h 26758"/>
                <a:gd name="connsiteX2" fmla="*/ 23638 w 24131"/>
                <a:gd name="connsiteY2" fmla="*/ 24636 h 26758"/>
                <a:gd name="connsiteX3" fmla="*/ 1826 w 24131"/>
                <a:gd name="connsiteY3" fmla="*/ 252 h 26758"/>
                <a:gd name="connsiteX4" fmla="*/ 302 w 24131"/>
                <a:gd name="connsiteY4" fmla="*/ 1872 h 26758"/>
                <a:gd name="connsiteX5" fmla="*/ 302 w 24131"/>
                <a:gd name="connsiteY5" fmla="*/ 1872 h 2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1" h="26758">
                  <a:moveTo>
                    <a:pt x="302" y="1872"/>
                  </a:moveTo>
                  <a:cubicBezTo>
                    <a:pt x="8398" y="9492"/>
                    <a:pt x="13541" y="19874"/>
                    <a:pt x="22590" y="26541"/>
                  </a:cubicBezTo>
                  <a:cubicBezTo>
                    <a:pt x="23733" y="27399"/>
                    <a:pt x="24781" y="25494"/>
                    <a:pt x="23638" y="24636"/>
                  </a:cubicBezTo>
                  <a:cubicBezTo>
                    <a:pt x="14780" y="18064"/>
                    <a:pt x="9731" y="7777"/>
                    <a:pt x="1826" y="252"/>
                  </a:cubicBezTo>
                  <a:cubicBezTo>
                    <a:pt x="873" y="-605"/>
                    <a:pt x="-651" y="919"/>
                    <a:pt x="302" y="1872"/>
                  </a:cubicBezTo>
                  <a:lnTo>
                    <a:pt x="302" y="18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591D0B1F-1EC3-B997-AE66-47AA06272281}"/>
                </a:ext>
              </a:extLst>
            </p:cNvPr>
            <p:cNvSpPr/>
            <p:nvPr/>
          </p:nvSpPr>
          <p:spPr>
            <a:xfrm>
              <a:off x="5994397" y="4593559"/>
              <a:ext cx="15022" cy="214846"/>
            </a:xfrm>
            <a:custGeom>
              <a:avLst/>
              <a:gdLst>
                <a:gd name="connsiteX0" fmla="*/ 8099 w 10290"/>
                <a:gd name="connsiteY0" fmla="*/ 1072 h 147173"/>
                <a:gd name="connsiteX1" fmla="*/ 3 w 10290"/>
                <a:gd name="connsiteY1" fmla="*/ 146137 h 147173"/>
                <a:gd name="connsiteX2" fmla="*/ 2194 w 10290"/>
                <a:gd name="connsiteY2" fmla="*/ 146137 h 147173"/>
                <a:gd name="connsiteX3" fmla="*/ 10290 w 10290"/>
                <a:gd name="connsiteY3" fmla="*/ 1072 h 147173"/>
                <a:gd name="connsiteX4" fmla="*/ 8099 w 10290"/>
                <a:gd name="connsiteY4" fmla="*/ 1072 h 147173"/>
                <a:gd name="connsiteX5" fmla="*/ 8099 w 10290"/>
                <a:gd name="connsiteY5" fmla="*/ 1072 h 14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90" h="147173">
                  <a:moveTo>
                    <a:pt x="8099" y="1072"/>
                  </a:moveTo>
                  <a:cubicBezTo>
                    <a:pt x="5909" y="49459"/>
                    <a:pt x="3241" y="97846"/>
                    <a:pt x="3" y="146137"/>
                  </a:cubicBezTo>
                  <a:cubicBezTo>
                    <a:pt x="-92" y="147566"/>
                    <a:pt x="2099" y="147471"/>
                    <a:pt x="2194" y="146137"/>
                  </a:cubicBezTo>
                  <a:cubicBezTo>
                    <a:pt x="5432" y="97846"/>
                    <a:pt x="8099" y="49459"/>
                    <a:pt x="10290" y="1072"/>
                  </a:cubicBezTo>
                  <a:cubicBezTo>
                    <a:pt x="10290" y="-357"/>
                    <a:pt x="8195" y="-357"/>
                    <a:pt x="8099" y="1072"/>
                  </a:cubicBezTo>
                  <a:lnTo>
                    <a:pt x="8099" y="10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8EAEC094-EA80-93AB-BCB4-239F63FEDBA0}"/>
                </a:ext>
              </a:extLst>
            </p:cNvPr>
            <p:cNvSpPr/>
            <p:nvPr/>
          </p:nvSpPr>
          <p:spPr>
            <a:xfrm>
              <a:off x="5882847" y="4369046"/>
              <a:ext cx="56837" cy="22359"/>
            </a:xfrm>
            <a:custGeom>
              <a:avLst/>
              <a:gdLst>
                <a:gd name="connsiteX0" fmla="*/ 2122 w 38934"/>
                <a:gd name="connsiteY0" fmla="*/ 14564 h 15316"/>
                <a:gd name="connsiteX1" fmla="*/ 20886 w 38934"/>
                <a:gd name="connsiteY1" fmla="*/ 2753 h 15316"/>
                <a:gd name="connsiteX2" fmla="*/ 32507 w 38934"/>
                <a:gd name="connsiteY2" fmla="*/ 3896 h 15316"/>
                <a:gd name="connsiteX3" fmla="*/ 36793 w 38934"/>
                <a:gd name="connsiteY3" fmla="*/ 12659 h 15316"/>
                <a:gd name="connsiteX4" fmla="*/ 38889 w 38934"/>
                <a:gd name="connsiteY4" fmla="*/ 12087 h 15316"/>
                <a:gd name="connsiteX5" fmla="*/ 33840 w 38934"/>
                <a:gd name="connsiteY5" fmla="*/ 2181 h 15316"/>
                <a:gd name="connsiteX6" fmla="*/ 21267 w 38934"/>
                <a:gd name="connsiteY6" fmla="*/ 467 h 15316"/>
                <a:gd name="connsiteX7" fmla="*/ 27 w 38934"/>
                <a:gd name="connsiteY7" fmla="*/ 13897 h 15316"/>
                <a:gd name="connsiteX8" fmla="*/ 2122 w 38934"/>
                <a:gd name="connsiteY8" fmla="*/ 14564 h 15316"/>
                <a:gd name="connsiteX9" fmla="*/ 2122 w 38934"/>
                <a:gd name="connsiteY9" fmla="*/ 14564 h 1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34" h="15316">
                  <a:moveTo>
                    <a:pt x="2122" y="14564"/>
                  </a:moveTo>
                  <a:cubicBezTo>
                    <a:pt x="3551" y="6277"/>
                    <a:pt x="13743" y="3800"/>
                    <a:pt x="20886" y="2753"/>
                  </a:cubicBezTo>
                  <a:cubicBezTo>
                    <a:pt x="24411" y="2276"/>
                    <a:pt x="29459" y="1324"/>
                    <a:pt x="32507" y="3896"/>
                  </a:cubicBezTo>
                  <a:cubicBezTo>
                    <a:pt x="34983" y="6086"/>
                    <a:pt x="36031" y="9611"/>
                    <a:pt x="36793" y="12659"/>
                  </a:cubicBezTo>
                  <a:cubicBezTo>
                    <a:pt x="37174" y="13992"/>
                    <a:pt x="39270" y="13421"/>
                    <a:pt x="38889" y="12087"/>
                  </a:cubicBezTo>
                  <a:cubicBezTo>
                    <a:pt x="37936" y="8563"/>
                    <a:pt x="36698" y="4658"/>
                    <a:pt x="33840" y="2181"/>
                  </a:cubicBezTo>
                  <a:cubicBezTo>
                    <a:pt x="30411" y="-676"/>
                    <a:pt x="25363" y="-105"/>
                    <a:pt x="21267" y="467"/>
                  </a:cubicBezTo>
                  <a:cubicBezTo>
                    <a:pt x="13171" y="1514"/>
                    <a:pt x="1741" y="4467"/>
                    <a:pt x="27" y="13897"/>
                  </a:cubicBezTo>
                  <a:cubicBezTo>
                    <a:pt x="-259" y="15326"/>
                    <a:pt x="1836" y="15897"/>
                    <a:pt x="2122" y="14564"/>
                  </a:cubicBezTo>
                  <a:lnTo>
                    <a:pt x="2122" y="1456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2D31C3F5-DE62-E45C-03CA-959A1F99553B}"/>
                </a:ext>
              </a:extLst>
            </p:cNvPr>
            <p:cNvSpPr/>
            <p:nvPr/>
          </p:nvSpPr>
          <p:spPr>
            <a:xfrm>
              <a:off x="5831597" y="4332448"/>
              <a:ext cx="52022" cy="13765"/>
            </a:xfrm>
            <a:custGeom>
              <a:avLst/>
              <a:gdLst>
                <a:gd name="connsiteX0" fmla="*/ 32850 w 35636"/>
                <a:gd name="connsiteY0" fmla="*/ 0 h 9429"/>
                <a:gd name="connsiteX1" fmla="*/ 12371 w 35636"/>
                <a:gd name="connsiteY1" fmla="*/ 190 h 9429"/>
                <a:gd name="connsiteX2" fmla="*/ 5228 w 35636"/>
                <a:gd name="connsiteY2" fmla="*/ 1238 h 9429"/>
                <a:gd name="connsiteX3" fmla="*/ 179 w 35636"/>
                <a:gd name="connsiteY3" fmla="*/ 5429 h 9429"/>
                <a:gd name="connsiteX4" fmla="*/ 3799 w 35636"/>
                <a:gd name="connsiteY4" fmla="*/ 8858 h 9429"/>
                <a:gd name="connsiteX5" fmla="*/ 13610 w 35636"/>
                <a:gd name="connsiteY5" fmla="*/ 9049 h 9429"/>
                <a:gd name="connsiteX6" fmla="*/ 34565 w 35636"/>
                <a:gd name="connsiteY6" fmla="*/ 9430 h 9429"/>
                <a:gd name="connsiteX7" fmla="*/ 34565 w 35636"/>
                <a:gd name="connsiteY7" fmla="*/ 7239 h 9429"/>
                <a:gd name="connsiteX8" fmla="*/ 17515 w 35636"/>
                <a:gd name="connsiteY8" fmla="*/ 6953 h 9429"/>
                <a:gd name="connsiteX9" fmla="*/ 9038 w 35636"/>
                <a:gd name="connsiteY9" fmla="*/ 6763 h 9429"/>
                <a:gd name="connsiteX10" fmla="*/ 5132 w 35636"/>
                <a:gd name="connsiteY10" fmla="*/ 6667 h 9429"/>
                <a:gd name="connsiteX11" fmla="*/ 3132 w 35636"/>
                <a:gd name="connsiteY11" fmla="*/ 6667 h 9429"/>
                <a:gd name="connsiteX12" fmla="*/ 2370 w 35636"/>
                <a:gd name="connsiteY12" fmla="*/ 5810 h 9429"/>
                <a:gd name="connsiteX13" fmla="*/ 2942 w 35636"/>
                <a:gd name="connsiteY13" fmla="*/ 5143 h 9429"/>
                <a:gd name="connsiteX14" fmla="*/ 16086 w 35636"/>
                <a:gd name="connsiteY14" fmla="*/ 2381 h 9429"/>
                <a:gd name="connsiteX15" fmla="*/ 32945 w 35636"/>
                <a:gd name="connsiteY15" fmla="*/ 2286 h 9429"/>
                <a:gd name="connsiteX16" fmla="*/ 32850 w 35636"/>
                <a:gd name="connsiteY16" fmla="*/ 0 h 9429"/>
                <a:gd name="connsiteX17" fmla="*/ 32850 w 35636"/>
                <a:gd name="connsiteY17" fmla="*/ 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636" h="9429">
                  <a:moveTo>
                    <a:pt x="32850" y="0"/>
                  </a:moveTo>
                  <a:cubicBezTo>
                    <a:pt x="25992" y="95"/>
                    <a:pt x="19229" y="0"/>
                    <a:pt x="12371" y="190"/>
                  </a:cubicBezTo>
                  <a:cubicBezTo>
                    <a:pt x="9990" y="286"/>
                    <a:pt x="7418" y="381"/>
                    <a:pt x="5228" y="1238"/>
                  </a:cubicBezTo>
                  <a:cubicBezTo>
                    <a:pt x="3227" y="1905"/>
                    <a:pt x="846" y="3334"/>
                    <a:pt x="179" y="5429"/>
                  </a:cubicBezTo>
                  <a:cubicBezTo>
                    <a:pt x="-678" y="8096"/>
                    <a:pt x="1703" y="8858"/>
                    <a:pt x="3799" y="8858"/>
                  </a:cubicBezTo>
                  <a:cubicBezTo>
                    <a:pt x="7037" y="8954"/>
                    <a:pt x="10371" y="8954"/>
                    <a:pt x="13610" y="9049"/>
                  </a:cubicBezTo>
                  <a:cubicBezTo>
                    <a:pt x="20563" y="9144"/>
                    <a:pt x="27611" y="9335"/>
                    <a:pt x="34565" y="9430"/>
                  </a:cubicBezTo>
                  <a:cubicBezTo>
                    <a:pt x="35993" y="9430"/>
                    <a:pt x="35993" y="7334"/>
                    <a:pt x="34565" y="7239"/>
                  </a:cubicBezTo>
                  <a:cubicBezTo>
                    <a:pt x="28850" y="7144"/>
                    <a:pt x="23230" y="7048"/>
                    <a:pt x="17515" y="6953"/>
                  </a:cubicBezTo>
                  <a:cubicBezTo>
                    <a:pt x="14657" y="6858"/>
                    <a:pt x="11800" y="6858"/>
                    <a:pt x="9038" y="6763"/>
                  </a:cubicBezTo>
                  <a:cubicBezTo>
                    <a:pt x="7704" y="6763"/>
                    <a:pt x="6466" y="6763"/>
                    <a:pt x="5132" y="6667"/>
                  </a:cubicBezTo>
                  <a:cubicBezTo>
                    <a:pt x="4561" y="6667"/>
                    <a:pt x="3704" y="6858"/>
                    <a:pt x="3132" y="6667"/>
                  </a:cubicBezTo>
                  <a:cubicBezTo>
                    <a:pt x="2465" y="6858"/>
                    <a:pt x="2180" y="6572"/>
                    <a:pt x="2370" y="5810"/>
                  </a:cubicBezTo>
                  <a:cubicBezTo>
                    <a:pt x="2465" y="5524"/>
                    <a:pt x="2656" y="5334"/>
                    <a:pt x="2942" y="5143"/>
                  </a:cubicBezTo>
                  <a:cubicBezTo>
                    <a:pt x="6085" y="1810"/>
                    <a:pt x="11990" y="2381"/>
                    <a:pt x="16086" y="2381"/>
                  </a:cubicBezTo>
                  <a:cubicBezTo>
                    <a:pt x="21706" y="2381"/>
                    <a:pt x="27326" y="2286"/>
                    <a:pt x="32945" y="2286"/>
                  </a:cubicBezTo>
                  <a:cubicBezTo>
                    <a:pt x="34279" y="2191"/>
                    <a:pt x="34279" y="0"/>
                    <a:pt x="32850" y="0"/>
                  </a:cubicBezTo>
                  <a:lnTo>
                    <a:pt x="3285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275918A4-72BB-C861-61E8-00652E743F1B}"/>
                </a:ext>
              </a:extLst>
            </p:cNvPr>
            <p:cNvSpPr/>
            <p:nvPr/>
          </p:nvSpPr>
          <p:spPr>
            <a:xfrm>
              <a:off x="5150530" y="4288731"/>
              <a:ext cx="417169" cy="333743"/>
            </a:xfrm>
            <a:custGeom>
              <a:avLst/>
              <a:gdLst>
                <a:gd name="connsiteX0" fmla="*/ 1041 w 285767"/>
                <a:gd name="connsiteY0" fmla="*/ 1000 h 228619"/>
                <a:gd name="connsiteX1" fmla="*/ 15138 w 285767"/>
                <a:gd name="connsiteY1" fmla="*/ 195691 h 228619"/>
                <a:gd name="connsiteX2" fmla="*/ 14852 w 285767"/>
                <a:gd name="connsiteY2" fmla="*/ 219218 h 228619"/>
                <a:gd name="connsiteX3" fmla="*/ 17900 w 285767"/>
                <a:gd name="connsiteY3" fmla="*/ 228362 h 228619"/>
                <a:gd name="connsiteX4" fmla="*/ 27711 w 285767"/>
                <a:gd name="connsiteY4" fmla="*/ 227695 h 228619"/>
                <a:gd name="connsiteX5" fmla="*/ 39427 w 285767"/>
                <a:gd name="connsiteY5" fmla="*/ 226457 h 228619"/>
                <a:gd name="connsiteX6" fmla="*/ 66478 w 285767"/>
                <a:gd name="connsiteY6" fmla="*/ 223885 h 228619"/>
                <a:gd name="connsiteX7" fmla="*/ 168967 w 285767"/>
                <a:gd name="connsiteY7" fmla="*/ 217313 h 228619"/>
                <a:gd name="connsiteX8" fmla="*/ 284696 w 285767"/>
                <a:gd name="connsiteY8" fmla="*/ 215694 h 228619"/>
                <a:gd name="connsiteX9" fmla="*/ 284696 w 285767"/>
                <a:gd name="connsiteY9" fmla="*/ 213503 h 228619"/>
                <a:gd name="connsiteX10" fmla="*/ 88862 w 285767"/>
                <a:gd name="connsiteY10" fmla="*/ 219885 h 228619"/>
                <a:gd name="connsiteX11" fmla="*/ 39427 w 285767"/>
                <a:gd name="connsiteY11" fmla="*/ 224266 h 228619"/>
                <a:gd name="connsiteX12" fmla="*/ 27711 w 285767"/>
                <a:gd name="connsiteY12" fmla="*/ 225504 h 228619"/>
                <a:gd name="connsiteX13" fmla="*/ 16853 w 285767"/>
                <a:gd name="connsiteY13" fmla="*/ 222552 h 228619"/>
                <a:gd name="connsiteX14" fmla="*/ 17329 w 285767"/>
                <a:gd name="connsiteY14" fmla="*/ 211312 h 228619"/>
                <a:gd name="connsiteX15" fmla="*/ 17424 w 285767"/>
                <a:gd name="connsiteY15" fmla="*/ 197882 h 228619"/>
                <a:gd name="connsiteX16" fmla="*/ 8661 w 285767"/>
                <a:gd name="connsiteY16" fmla="*/ 106061 h 228619"/>
                <a:gd name="connsiteX17" fmla="*/ 3232 w 285767"/>
                <a:gd name="connsiteY17" fmla="*/ 1000 h 228619"/>
                <a:gd name="connsiteX18" fmla="*/ 1041 w 285767"/>
                <a:gd name="connsiteY18" fmla="*/ 1000 h 228619"/>
                <a:gd name="connsiteX19" fmla="*/ 1041 w 285767"/>
                <a:gd name="connsiteY19" fmla="*/ 1000 h 22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767" h="228619">
                  <a:moveTo>
                    <a:pt x="1041" y="1000"/>
                  </a:moveTo>
                  <a:cubicBezTo>
                    <a:pt x="-4483" y="66437"/>
                    <a:pt x="13709" y="130540"/>
                    <a:pt x="15138" y="195691"/>
                  </a:cubicBezTo>
                  <a:cubicBezTo>
                    <a:pt x="15329" y="203502"/>
                    <a:pt x="15233" y="211407"/>
                    <a:pt x="14852" y="219218"/>
                  </a:cubicBezTo>
                  <a:cubicBezTo>
                    <a:pt x="14662" y="222647"/>
                    <a:pt x="13709" y="227219"/>
                    <a:pt x="17900" y="228362"/>
                  </a:cubicBezTo>
                  <a:cubicBezTo>
                    <a:pt x="20663" y="229124"/>
                    <a:pt x="24949" y="227981"/>
                    <a:pt x="27711" y="227695"/>
                  </a:cubicBezTo>
                  <a:cubicBezTo>
                    <a:pt x="31616" y="227314"/>
                    <a:pt x="35522" y="226838"/>
                    <a:pt x="39427" y="226457"/>
                  </a:cubicBezTo>
                  <a:cubicBezTo>
                    <a:pt x="48476" y="225504"/>
                    <a:pt x="57429" y="224742"/>
                    <a:pt x="66478" y="223885"/>
                  </a:cubicBezTo>
                  <a:cubicBezTo>
                    <a:pt x="100577" y="220837"/>
                    <a:pt x="134772" y="218646"/>
                    <a:pt x="168967" y="217313"/>
                  </a:cubicBezTo>
                  <a:cubicBezTo>
                    <a:pt x="207543" y="215789"/>
                    <a:pt x="246119" y="215217"/>
                    <a:pt x="284696" y="215694"/>
                  </a:cubicBezTo>
                  <a:cubicBezTo>
                    <a:pt x="286124" y="215694"/>
                    <a:pt x="286124" y="213598"/>
                    <a:pt x="284696" y="213503"/>
                  </a:cubicBezTo>
                  <a:cubicBezTo>
                    <a:pt x="219354" y="212741"/>
                    <a:pt x="154013" y="214836"/>
                    <a:pt x="88862" y="219885"/>
                  </a:cubicBezTo>
                  <a:cubicBezTo>
                    <a:pt x="72383" y="221123"/>
                    <a:pt x="55905" y="222647"/>
                    <a:pt x="39427" y="224266"/>
                  </a:cubicBezTo>
                  <a:cubicBezTo>
                    <a:pt x="35522" y="224647"/>
                    <a:pt x="31616" y="225028"/>
                    <a:pt x="27711" y="225504"/>
                  </a:cubicBezTo>
                  <a:cubicBezTo>
                    <a:pt x="23615" y="225981"/>
                    <a:pt x="18091" y="228362"/>
                    <a:pt x="16853" y="222552"/>
                  </a:cubicBezTo>
                  <a:cubicBezTo>
                    <a:pt x="16186" y="219313"/>
                    <a:pt x="17234" y="214646"/>
                    <a:pt x="17329" y="211312"/>
                  </a:cubicBezTo>
                  <a:cubicBezTo>
                    <a:pt x="17424" y="206835"/>
                    <a:pt x="17424" y="202359"/>
                    <a:pt x="17424" y="197882"/>
                  </a:cubicBezTo>
                  <a:cubicBezTo>
                    <a:pt x="16948" y="167116"/>
                    <a:pt x="12566" y="136541"/>
                    <a:pt x="8661" y="106061"/>
                  </a:cubicBezTo>
                  <a:cubicBezTo>
                    <a:pt x="4089" y="71295"/>
                    <a:pt x="184" y="36147"/>
                    <a:pt x="3232" y="1000"/>
                  </a:cubicBezTo>
                  <a:cubicBezTo>
                    <a:pt x="3327" y="-333"/>
                    <a:pt x="1136" y="-333"/>
                    <a:pt x="1041" y="1000"/>
                  </a:cubicBezTo>
                  <a:lnTo>
                    <a:pt x="1041" y="1000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69A7CBB7-D13B-B56C-859B-6836E2FDDE43}"/>
                </a:ext>
              </a:extLst>
            </p:cNvPr>
            <p:cNvSpPr/>
            <p:nvPr/>
          </p:nvSpPr>
          <p:spPr>
            <a:xfrm>
              <a:off x="5146732" y="4259752"/>
              <a:ext cx="612818" cy="51088"/>
            </a:xfrm>
            <a:custGeom>
              <a:avLst/>
              <a:gdLst>
                <a:gd name="connsiteX0" fmla="*/ 419791 w 419790"/>
                <a:gd name="connsiteY0" fmla="*/ 33996 h 34996"/>
                <a:gd name="connsiteX1" fmla="*/ 419124 w 419790"/>
                <a:gd name="connsiteY1" fmla="*/ 11803 h 34996"/>
                <a:gd name="connsiteX2" fmla="*/ 416838 w 419790"/>
                <a:gd name="connsiteY2" fmla="*/ 468 h 34996"/>
                <a:gd name="connsiteX3" fmla="*/ 404741 w 419790"/>
                <a:gd name="connsiteY3" fmla="*/ 2564 h 34996"/>
                <a:gd name="connsiteX4" fmla="*/ 381310 w 419790"/>
                <a:gd name="connsiteY4" fmla="*/ 5421 h 34996"/>
                <a:gd name="connsiteX5" fmla="*/ 289870 w 419790"/>
                <a:gd name="connsiteY5" fmla="*/ 8279 h 34996"/>
                <a:gd name="connsiteX6" fmla="*/ 104799 w 419790"/>
                <a:gd name="connsiteY6" fmla="*/ 14851 h 34996"/>
                <a:gd name="connsiteX7" fmla="*/ 1072 w 419790"/>
                <a:gd name="connsiteY7" fmla="*/ 13803 h 34996"/>
                <a:gd name="connsiteX8" fmla="*/ 1072 w 419790"/>
                <a:gd name="connsiteY8" fmla="*/ 15994 h 34996"/>
                <a:gd name="connsiteX9" fmla="*/ 354925 w 419790"/>
                <a:gd name="connsiteY9" fmla="*/ 8469 h 34996"/>
                <a:gd name="connsiteX10" fmla="*/ 397978 w 419790"/>
                <a:gd name="connsiteY10" fmla="*/ 5993 h 34996"/>
                <a:gd name="connsiteX11" fmla="*/ 409694 w 419790"/>
                <a:gd name="connsiteY11" fmla="*/ 3707 h 34996"/>
                <a:gd name="connsiteX12" fmla="*/ 413885 w 419790"/>
                <a:gd name="connsiteY12" fmla="*/ 2564 h 34996"/>
                <a:gd name="connsiteX13" fmla="*/ 417028 w 419790"/>
                <a:gd name="connsiteY13" fmla="*/ 9612 h 34996"/>
                <a:gd name="connsiteX14" fmla="*/ 417695 w 419790"/>
                <a:gd name="connsiteY14" fmla="*/ 33996 h 34996"/>
                <a:gd name="connsiteX15" fmla="*/ 419791 w 419790"/>
                <a:gd name="connsiteY15" fmla="*/ 33996 h 34996"/>
                <a:gd name="connsiteX16" fmla="*/ 419791 w 419790"/>
                <a:gd name="connsiteY16" fmla="*/ 33996 h 3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9790" h="34996">
                  <a:moveTo>
                    <a:pt x="419791" y="33996"/>
                  </a:moveTo>
                  <a:cubicBezTo>
                    <a:pt x="419600" y="26567"/>
                    <a:pt x="419410" y="19232"/>
                    <a:pt x="419124" y="11803"/>
                  </a:cubicBezTo>
                  <a:cubicBezTo>
                    <a:pt x="419029" y="8945"/>
                    <a:pt x="420267" y="2183"/>
                    <a:pt x="416838" y="468"/>
                  </a:cubicBezTo>
                  <a:cubicBezTo>
                    <a:pt x="413695" y="-1151"/>
                    <a:pt x="407884" y="1897"/>
                    <a:pt x="404741" y="2564"/>
                  </a:cubicBezTo>
                  <a:cubicBezTo>
                    <a:pt x="397026" y="4183"/>
                    <a:pt x="389215" y="4945"/>
                    <a:pt x="381310" y="5421"/>
                  </a:cubicBezTo>
                  <a:cubicBezTo>
                    <a:pt x="350925" y="7231"/>
                    <a:pt x="320350" y="7136"/>
                    <a:pt x="289870" y="8279"/>
                  </a:cubicBezTo>
                  <a:cubicBezTo>
                    <a:pt x="228243" y="10660"/>
                    <a:pt x="166521" y="13803"/>
                    <a:pt x="104799" y="14851"/>
                  </a:cubicBezTo>
                  <a:cubicBezTo>
                    <a:pt x="70223" y="15422"/>
                    <a:pt x="35647" y="15232"/>
                    <a:pt x="1072" y="13803"/>
                  </a:cubicBezTo>
                  <a:cubicBezTo>
                    <a:pt x="-357" y="13708"/>
                    <a:pt x="-357" y="15899"/>
                    <a:pt x="1072" y="15994"/>
                  </a:cubicBezTo>
                  <a:cubicBezTo>
                    <a:pt x="119086" y="20661"/>
                    <a:pt x="236911" y="11136"/>
                    <a:pt x="354925" y="8469"/>
                  </a:cubicBezTo>
                  <a:cubicBezTo>
                    <a:pt x="369308" y="8183"/>
                    <a:pt x="383691" y="8088"/>
                    <a:pt x="397978" y="5993"/>
                  </a:cubicBezTo>
                  <a:cubicBezTo>
                    <a:pt x="401884" y="5421"/>
                    <a:pt x="405789" y="4659"/>
                    <a:pt x="409694" y="3707"/>
                  </a:cubicBezTo>
                  <a:cubicBezTo>
                    <a:pt x="410647" y="3516"/>
                    <a:pt x="413123" y="2468"/>
                    <a:pt x="413885" y="2564"/>
                  </a:cubicBezTo>
                  <a:cubicBezTo>
                    <a:pt x="417695" y="3230"/>
                    <a:pt x="416933" y="7040"/>
                    <a:pt x="417028" y="9612"/>
                  </a:cubicBezTo>
                  <a:cubicBezTo>
                    <a:pt x="417219" y="17708"/>
                    <a:pt x="417505" y="25900"/>
                    <a:pt x="417695" y="33996"/>
                  </a:cubicBezTo>
                  <a:cubicBezTo>
                    <a:pt x="417600" y="35330"/>
                    <a:pt x="419791" y="35330"/>
                    <a:pt x="419791" y="33996"/>
                  </a:cubicBezTo>
                  <a:lnTo>
                    <a:pt x="419791" y="33996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A80B0636-57BD-9FBA-E236-A05F1425A654}"/>
                </a:ext>
              </a:extLst>
            </p:cNvPr>
            <p:cNvSpPr/>
            <p:nvPr/>
          </p:nvSpPr>
          <p:spPr>
            <a:xfrm flipV="1">
              <a:off x="5910992" y="4308977"/>
              <a:ext cx="30864" cy="30864"/>
            </a:xfrm>
            <a:custGeom>
              <a:avLst/>
              <a:gdLst>
                <a:gd name="connsiteX0" fmla="*/ 1289 w 11637"/>
                <a:gd name="connsiteY0" fmla="*/ 5681 h 5726"/>
                <a:gd name="connsiteX1" fmla="*/ 11100 w 11637"/>
                <a:gd name="connsiteY1" fmla="*/ 1966 h 5726"/>
                <a:gd name="connsiteX2" fmla="*/ 11481 w 11637"/>
                <a:gd name="connsiteY2" fmla="*/ 537 h 5726"/>
                <a:gd name="connsiteX3" fmla="*/ 10052 w 11637"/>
                <a:gd name="connsiteY3" fmla="*/ 156 h 5726"/>
                <a:gd name="connsiteX4" fmla="*/ 718 w 11637"/>
                <a:gd name="connsiteY4" fmla="*/ 3680 h 5726"/>
                <a:gd name="connsiteX5" fmla="*/ 1289 w 11637"/>
                <a:gd name="connsiteY5" fmla="*/ 5681 h 5726"/>
                <a:gd name="connsiteX6" fmla="*/ 1289 w 11637"/>
                <a:gd name="connsiteY6" fmla="*/ 5681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37" h="5726">
                  <a:moveTo>
                    <a:pt x="1289" y="5681"/>
                  </a:moveTo>
                  <a:cubicBezTo>
                    <a:pt x="4623" y="4633"/>
                    <a:pt x="7957" y="3395"/>
                    <a:pt x="11100" y="1966"/>
                  </a:cubicBezTo>
                  <a:cubicBezTo>
                    <a:pt x="11672" y="1775"/>
                    <a:pt x="11767" y="918"/>
                    <a:pt x="11481" y="537"/>
                  </a:cubicBezTo>
                  <a:cubicBezTo>
                    <a:pt x="11195" y="-34"/>
                    <a:pt x="10529" y="-130"/>
                    <a:pt x="10052" y="156"/>
                  </a:cubicBezTo>
                  <a:cubicBezTo>
                    <a:pt x="7004" y="1490"/>
                    <a:pt x="3861" y="2633"/>
                    <a:pt x="718" y="3680"/>
                  </a:cubicBezTo>
                  <a:cubicBezTo>
                    <a:pt x="-520" y="3966"/>
                    <a:pt x="-44" y="6062"/>
                    <a:pt x="1289" y="5681"/>
                  </a:cubicBezTo>
                  <a:lnTo>
                    <a:pt x="1289" y="568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940301A5-1D15-7503-D5A9-914F8841959E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7906 w 39338"/>
                <a:gd name="connsiteY0" fmla="*/ 62675 h 62674"/>
                <a:gd name="connsiteX1" fmla="*/ 5143 w 39338"/>
                <a:gd name="connsiteY1" fmla="*/ 47435 h 62674"/>
                <a:gd name="connsiteX2" fmla="*/ 2667 w 39338"/>
                <a:gd name="connsiteY2" fmla="*/ 33433 h 62674"/>
                <a:gd name="connsiteX3" fmla="*/ 857 w 39338"/>
                <a:gd name="connsiteY3" fmla="*/ 1429 h 62674"/>
                <a:gd name="connsiteX4" fmla="*/ 0 w 39338"/>
                <a:gd name="connsiteY4" fmla="*/ 1238 h 62674"/>
                <a:gd name="connsiteX5" fmla="*/ 28099 w 39338"/>
                <a:gd name="connsiteY5" fmla="*/ 0 h 62674"/>
                <a:gd name="connsiteX6" fmla="*/ 30290 w 39338"/>
                <a:gd name="connsiteY6" fmla="*/ 191 h 62674"/>
                <a:gd name="connsiteX7" fmla="*/ 30766 w 39338"/>
                <a:gd name="connsiteY7" fmla="*/ 953 h 62674"/>
                <a:gd name="connsiteX8" fmla="*/ 32385 w 39338"/>
                <a:gd name="connsiteY8" fmla="*/ 14478 h 62674"/>
                <a:gd name="connsiteX9" fmla="*/ 39338 w 39338"/>
                <a:gd name="connsiteY9" fmla="*/ 61627 h 62674"/>
                <a:gd name="connsiteX10" fmla="*/ 7906 w 39338"/>
                <a:gd name="connsiteY10" fmla="*/ 62675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7906" y="62675"/>
                  </a:moveTo>
                  <a:cubicBezTo>
                    <a:pt x="8763" y="57626"/>
                    <a:pt x="6572" y="52483"/>
                    <a:pt x="5143" y="47435"/>
                  </a:cubicBezTo>
                  <a:cubicBezTo>
                    <a:pt x="3810" y="42767"/>
                    <a:pt x="3143" y="38100"/>
                    <a:pt x="2667" y="33433"/>
                  </a:cubicBezTo>
                  <a:cubicBezTo>
                    <a:pt x="1524" y="22765"/>
                    <a:pt x="953" y="12097"/>
                    <a:pt x="857" y="1429"/>
                  </a:cubicBezTo>
                  <a:lnTo>
                    <a:pt x="0" y="1238"/>
                  </a:lnTo>
                  <a:cubicBezTo>
                    <a:pt x="9430" y="857"/>
                    <a:pt x="18764" y="476"/>
                    <a:pt x="28099" y="0"/>
                  </a:cubicBezTo>
                  <a:cubicBezTo>
                    <a:pt x="28861" y="0"/>
                    <a:pt x="29718" y="0"/>
                    <a:pt x="30290" y="191"/>
                  </a:cubicBezTo>
                  <a:cubicBezTo>
                    <a:pt x="30861" y="286"/>
                    <a:pt x="30861" y="667"/>
                    <a:pt x="30766" y="953"/>
                  </a:cubicBezTo>
                  <a:cubicBezTo>
                    <a:pt x="29432" y="5429"/>
                    <a:pt x="31433" y="10001"/>
                    <a:pt x="32385" y="14478"/>
                  </a:cubicBezTo>
                  <a:cubicBezTo>
                    <a:pt x="36004" y="30194"/>
                    <a:pt x="28480" y="46292"/>
                    <a:pt x="39338" y="61627"/>
                  </a:cubicBezTo>
                  <a:cubicBezTo>
                    <a:pt x="28861" y="62103"/>
                    <a:pt x="18479" y="62389"/>
                    <a:pt x="7906" y="626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F593C03D-E2A5-8DF0-9E60-A0AE6F4E8BC5}"/>
                </a:ext>
              </a:extLst>
            </p:cNvPr>
            <p:cNvSpPr/>
            <p:nvPr/>
          </p:nvSpPr>
          <p:spPr>
            <a:xfrm>
              <a:off x="5207662" y="4503353"/>
              <a:ext cx="60587" cy="94586"/>
            </a:xfrm>
            <a:custGeom>
              <a:avLst/>
              <a:gdLst>
                <a:gd name="connsiteX0" fmla="*/ 9911 w 41503"/>
                <a:gd name="connsiteY0" fmla="*/ 63722 h 64793"/>
                <a:gd name="connsiteX1" fmla="*/ 7721 w 41503"/>
                <a:gd name="connsiteY1" fmla="*/ 50387 h 64793"/>
                <a:gd name="connsiteX2" fmla="*/ 4673 w 41503"/>
                <a:gd name="connsiteY2" fmla="*/ 34480 h 64793"/>
                <a:gd name="connsiteX3" fmla="*/ 2863 w 41503"/>
                <a:gd name="connsiteY3" fmla="*/ 2477 h 64793"/>
                <a:gd name="connsiteX4" fmla="*/ 2101 w 41503"/>
                <a:gd name="connsiteY4" fmla="*/ 1429 h 64793"/>
                <a:gd name="connsiteX5" fmla="*/ 1244 w 41503"/>
                <a:gd name="connsiteY5" fmla="*/ 1238 h 64793"/>
                <a:gd name="connsiteX6" fmla="*/ 958 w 41503"/>
                <a:gd name="connsiteY6" fmla="*/ 3334 h 64793"/>
                <a:gd name="connsiteX7" fmla="*/ 27247 w 41503"/>
                <a:gd name="connsiteY7" fmla="*/ 2191 h 64793"/>
                <a:gd name="connsiteX8" fmla="*/ 30295 w 41503"/>
                <a:gd name="connsiteY8" fmla="*/ 4191 h 64793"/>
                <a:gd name="connsiteX9" fmla="*/ 30676 w 41503"/>
                <a:gd name="connsiteY9" fmla="*/ 8953 h 64793"/>
                <a:gd name="connsiteX10" fmla="*/ 33248 w 41503"/>
                <a:gd name="connsiteY10" fmla="*/ 21431 h 64793"/>
                <a:gd name="connsiteX11" fmla="*/ 33152 w 41503"/>
                <a:gd name="connsiteY11" fmla="*/ 42672 h 64793"/>
                <a:gd name="connsiteX12" fmla="*/ 39439 w 41503"/>
                <a:gd name="connsiteY12" fmla="*/ 63151 h 64793"/>
                <a:gd name="connsiteX13" fmla="*/ 40391 w 41503"/>
                <a:gd name="connsiteY13" fmla="*/ 61531 h 64793"/>
                <a:gd name="connsiteX14" fmla="*/ 8959 w 41503"/>
                <a:gd name="connsiteY14" fmla="*/ 62579 h 64793"/>
                <a:gd name="connsiteX15" fmla="*/ 8959 w 41503"/>
                <a:gd name="connsiteY15" fmla="*/ 64770 h 64793"/>
                <a:gd name="connsiteX16" fmla="*/ 40391 w 41503"/>
                <a:gd name="connsiteY16" fmla="*/ 63722 h 64793"/>
                <a:gd name="connsiteX17" fmla="*/ 41344 w 41503"/>
                <a:gd name="connsiteY17" fmla="*/ 62103 h 64793"/>
                <a:gd name="connsiteX18" fmla="*/ 35343 w 41503"/>
                <a:gd name="connsiteY18" fmla="*/ 37719 h 64793"/>
                <a:gd name="connsiteX19" fmla="*/ 34581 w 41503"/>
                <a:gd name="connsiteY19" fmla="*/ 15716 h 64793"/>
                <a:gd name="connsiteX20" fmla="*/ 33057 w 41503"/>
                <a:gd name="connsiteY20" fmla="*/ 9620 h 64793"/>
                <a:gd name="connsiteX21" fmla="*/ 32486 w 41503"/>
                <a:gd name="connsiteY21" fmla="*/ 5429 h 64793"/>
                <a:gd name="connsiteX22" fmla="*/ 32867 w 41503"/>
                <a:gd name="connsiteY22" fmla="*/ 2191 h 64793"/>
                <a:gd name="connsiteX23" fmla="*/ 29152 w 41503"/>
                <a:gd name="connsiteY23" fmla="*/ 0 h 64793"/>
                <a:gd name="connsiteX24" fmla="*/ 1053 w 41503"/>
                <a:gd name="connsiteY24" fmla="*/ 1238 h 64793"/>
                <a:gd name="connsiteX25" fmla="*/ 767 w 41503"/>
                <a:gd name="connsiteY25" fmla="*/ 3334 h 64793"/>
                <a:gd name="connsiteX26" fmla="*/ 1625 w 41503"/>
                <a:gd name="connsiteY26" fmla="*/ 3524 h 64793"/>
                <a:gd name="connsiteX27" fmla="*/ 863 w 41503"/>
                <a:gd name="connsiteY27" fmla="*/ 2477 h 64793"/>
                <a:gd name="connsiteX28" fmla="*/ 2672 w 41503"/>
                <a:gd name="connsiteY28" fmla="*/ 34480 h 64793"/>
                <a:gd name="connsiteX29" fmla="*/ 5149 w 41503"/>
                <a:gd name="connsiteY29" fmla="*/ 48768 h 64793"/>
                <a:gd name="connsiteX30" fmla="*/ 7911 w 41503"/>
                <a:gd name="connsiteY30" fmla="*/ 63722 h 64793"/>
                <a:gd name="connsiteX31" fmla="*/ 9911 w 41503"/>
                <a:gd name="connsiteY31" fmla="*/ 63722 h 6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503" h="64793">
                  <a:moveTo>
                    <a:pt x="9911" y="63722"/>
                  </a:moveTo>
                  <a:cubicBezTo>
                    <a:pt x="10483" y="59055"/>
                    <a:pt x="9054" y="54769"/>
                    <a:pt x="7721" y="50387"/>
                  </a:cubicBezTo>
                  <a:cubicBezTo>
                    <a:pt x="6101" y="45148"/>
                    <a:pt x="5244" y="39910"/>
                    <a:pt x="4673" y="34480"/>
                  </a:cubicBezTo>
                  <a:cubicBezTo>
                    <a:pt x="3530" y="23813"/>
                    <a:pt x="2958" y="13144"/>
                    <a:pt x="2863" y="2477"/>
                  </a:cubicBezTo>
                  <a:cubicBezTo>
                    <a:pt x="2863" y="2000"/>
                    <a:pt x="2577" y="1524"/>
                    <a:pt x="2101" y="1429"/>
                  </a:cubicBezTo>
                  <a:cubicBezTo>
                    <a:pt x="1815" y="1333"/>
                    <a:pt x="1529" y="1333"/>
                    <a:pt x="1244" y="1238"/>
                  </a:cubicBezTo>
                  <a:cubicBezTo>
                    <a:pt x="1148" y="1905"/>
                    <a:pt x="1053" y="2667"/>
                    <a:pt x="958" y="3334"/>
                  </a:cubicBezTo>
                  <a:cubicBezTo>
                    <a:pt x="9721" y="2953"/>
                    <a:pt x="18484" y="2667"/>
                    <a:pt x="27247" y="2191"/>
                  </a:cubicBezTo>
                  <a:cubicBezTo>
                    <a:pt x="29533" y="2095"/>
                    <a:pt x="30390" y="1810"/>
                    <a:pt x="30295" y="4191"/>
                  </a:cubicBezTo>
                  <a:cubicBezTo>
                    <a:pt x="30200" y="5810"/>
                    <a:pt x="30390" y="7429"/>
                    <a:pt x="30676" y="8953"/>
                  </a:cubicBezTo>
                  <a:cubicBezTo>
                    <a:pt x="31533" y="13144"/>
                    <a:pt x="32867" y="17145"/>
                    <a:pt x="33248" y="21431"/>
                  </a:cubicBezTo>
                  <a:cubicBezTo>
                    <a:pt x="33819" y="28480"/>
                    <a:pt x="32867" y="35528"/>
                    <a:pt x="33152" y="42672"/>
                  </a:cubicBezTo>
                  <a:cubicBezTo>
                    <a:pt x="33438" y="50102"/>
                    <a:pt x="35248" y="56959"/>
                    <a:pt x="39439" y="63151"/>
                  </a:cubicBezTo>
                  <a:cubicBezTo>
                    <a:pt x="39725" y="62579"/>
                    <a:pt x="40106" y="62103"/>
                    <a:pt x="40391" y="61531"/>
                  </a:cubicBezTo>
                  <a:cubicBezTo>
                    <a:pt x="29914" y="62008"/>
                    <a:pt x="19436" y="62293"/>
                    <a:pt x="8959" y="62579"/>
                  </a:cubicBezTo>
                  <a:cubicBezTo>
                    <a:pt x="7530" y="62579"/>
                    <a:pt x="7530" y="64770"/>
                    <a:pt x="8959" y="64770"/>
                  </a:cubicBezTo>
                  <a:cubicBezTo>
                    <a:pt x="19436" y="64484"/>
                    <a:pt x="29914" y="64198"/>
                    <a:pt x="40391" y="63722"/>
                  </a:cubicBezTo>
                  <a:cubicBezTo>
                    <a:pt x="41153" y="63722"/>
                    <a:pt x="41820" y="62770"/>
                    <a:pt x="41344" y="62103"/>
                  </a:cubicBezTo>
                  <a:cubicBezTo>
                    <a:pt x="36296" y="54673"/>
                    <a:pt x="35153" y="46482"/>
                    <a:pt x="35343" y="37719"/>
                  </a:cubicBezTo>
                  <a:cubicBezTo>
                    <a:pt x="35534" y="30385"/>
                    <a:pt x="36105" y="22955"/>
                    <a:pt x="34581" y="15716"/>
                  </a:cubicBezTo>
                  <a:cubicBezTo>
                    <a:pt x="34105" y="13621"/>
                    <a:pt x="33533" y="11620"/>
                    <a:pt x="33057" y="9620"/>
                  </a:cubicBezTo>
                  <a:cubicBezTo>
                    <a:pt x="32771" y="8191"/>
                    <a:pt x="32486" y="6763"/>
                    <a:pt x="32486" y="5429"/>
                  </a:cubicBezTo>
                  <a:cubicBezTo>
                    <a:pt x="32486" y="4381"/>
                    <a:pt x="32962" y="3239"/>
                    <a:pt x="32867" y="2191"/>
                  </a:cubicBezTo>
                  <a:cubicBezTo>
                    <a:pt x="32771" y="95"/>
                    <a:pt x="31057" y="0"/>
                    <a:pt x="29152" y="0"/>
                  </a:cubicBezTo>
                  <a:cubicBezTo>
                    <a:pt x="19817" y="0"/>
                    <a:pt x="10388" y="857"/>
                    <a:pt x="1053" y="1238"/>
                  </a:cubicBezTo>
                  <a:cubicBezTo>
                    <a:pt x="-90" y="1238"/>
                    <a:pt x="-471" y="3048"/>
                    <a:pt x="767" y="3334"/>
                  </a:cubicBezTo>
                  <a:cubicBezTo>
                    <a:pt x="1053" y="3429"/>
                    <a:pt x="1339" y="3429"/>
                    <a:pt x="1625" y="3524"/>
                  </a:cubicBezTo>
                  <a:cubicBezTo>
                    <a:pt x="1339" y="3143"/>
                    <a:pt x="1053" y="2857"/>
                    <a:pt x="863" y="2477"/>
                  </a:cubicBezTo>
                  <a:cubicBezTo>
                    <a:pt x="958" y="13144"/>
                    <a:pt x="1529" y="23813"/>
                    <a:pt x="2672" y="34480"/>
                  </a:cubicBezTo>
                  <a:cubicBezTo>
                    <a:pt x="3149" y="39338"/>
                    <a:pt x="3911" y="44101"/>
                    <a:pt x="5149" y="48768"/>
                  </a:cubicBezTo>
                  <a:cubicBezTo>
                    <a:pt x="6578" y="53721"/>
                    <a:pt x="8578" y="58483"/>
                    <a:pt x="7911" y="63722"/>
                  </a:cubicBezTo>
                  <a:cubicBezTo>
                    <a:pt x="7625" y="65151"/>
                    <a:pt x="9721" y="65151"/>
                    <a:pt x="9911" y="63722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88D2400F-F678-E13D-C5A5-6840957AF779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7906 w 39338"/>
                <a:gd name="connsiteY0" fmla="*/ 96503 h 96503"/>
                <a:gd name="connsiteX1" fmla="*/ 5048 w 39338"/>
                <a:gd name="connsiteY1" fmla="*/ 72977 h 96503"/>
                <a:gd name="connsiteX2" fmla="*/ 2667 w 39338"/>
                <a:gd name="connsiteY2" fmla="*/ 51450 h 96503"/>
                <a:gd name="connsiteX3" fmla="*/ 857 w 39338"/>
                <a:gd name="connsiteY3" fmla="*/ 2206 h 96503"/>
                <a:gd name="connsiteX4" fmla="*/ 0 w 39338"/>
                <a:gd name="connsiteY4" fmla="*/ 1825 h 96503"/>
                <a:gd name="connsiteX5" fmla="*/ 28099 w 39338"/>
                <a:gd name="connsiteY5" fmla="*/ 15 h 96503"/>
                <a:gd name="connsiteX6" fmla="*/ 30194 w 39338"/>
                <a:gd name="connsiteY6" fmla="*/ 206 h 96503"/>
                <a:gd name="connsiteX7" fmla="*/ 30766 w 39338"/>
                <a:gd name="connsiteY7" fmla="*/ 1349 h 96503"/>
                <a:gd name="connsiteX8" fmla="*/ 32385 w 39338"/>
                <a:gd name="connsiteY8" fmla="*/ 22208 h 96503"/>
                <a:gd name="connsiteX9" fmla="*/ 39338 w 39338"/>
                <a:gd name="connsiteY9" fmla="*/ 94884 h 96503"/>
                <a:gd name="connsiteX10" fmla="*/ 7906 w 39338"/>
                <a:gd name="connsiteY10" fmla="*/ 96503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7906" y="96503"/>
                  </a:moveTo>
                  <a:cubicBezTo>
                    <a:pt x="8763" y="88693"/>
                    <a:pt x="6477" y="80787"/>
                    <a:pt x="5048" y="72977"/>
                  </a:cubicBezTo>
                  <a:cubicBezTo>
                    <a:pt x="3810" y="65833"/>
                    <a:pt x="3143" y="58594"/>
                    <a:pt x="2667" y="51450"/>
                  </a:cubicBezTo>
                  <a:cubicBezTo>
                    <a:pt x="1524" y="35067"/>
                    <a:pt x="953" y="18589"/>
                    <a:pt x="857" y="2206"/>
                  </a:cubicBezTo>
                  <a:lnTo>
                    <a:pt x="0" y="1825"/>
                  </a:lnTo>
                  <a:cubicBezTo>
                    <a:pt x="9334" y="1158"/>
                    <a:pt x="18764" y="587"/>
                    <a:pt x="28099" y="15"/>
                  </a:cubicBezTo>
                  <a:cubicBezTo>
                    <a:pt x="28861" y="15"/>
                    <a:pt x="29718" y="-80"/>
                    <a:pt x="30194" y="206"/>
                  </a:cubicBezTo>
                  <a:cubicBezTo>
                    <a:pt x="30861" y="491"/>
                    <a:pt x="30861" y="968"/>
                    <a:pt x="30766" y="1349"/>
                  </a:cubicBezTo>
                  <a:cubicBezTo>
                    <a:pt x="29432" y="8302"/>
                    <a:pt x="31337" y="15255"/>
                    <a:pt x="32385" y="22208"/>
                  </a:cubicBezTo>
                  <a:cubicBezTo>
                    <a:pt x="36004" y="46497"/>
                    <a:pt x="28480" y="71167"/>
                    <a:pt x="39338" y="94884"/>
                  </a:cubicBezTo>
                  <a:cubicBezTo>
                    <a:pt x="28861" y="95551"/>
                    <a:pt x="18383" y="96122"/>
                    <a:pt x="7906" y="96503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21BB0995-0EBC-8549-3A04-42D42D11D5C6}"/>
                </a:ext>
              </a:extLst>
            </p:cNvPr>
            <p:cNvSpPr/>
            <p:nvPr/>
          </p:nvSpPr>
          <p:spPr>
            <a:xfrm>
              <a:off x="5276834" y="4453522"/>
              <a:ext cx="60564" cy="144522"/>
            </a:xfrm>
            <a:custGeom>
              <a:avLst/>
              <a:gdLst>
                <a:gd name="connsiteX0" fmla="*/ 10057 w 41487"/>
                <a:gd name="connsiteY0" fmla="*/ 97857 h 99000"/>
                <a:gd name="connsiteX1" fmla="*/ 7485 w 41487"/>
                <a:gd name="connsiteY1" fmla="*/ 75854 h 99000"/>
                <a:gd name="connsiteX2" fmla="*/ 4723 w 41487"/>
                <a:gd name="connsiteY2" fmla="*/ 51851 h 99000"/>
                <a:gd name="connsiteX3" fmla="*/ 3008 w 41487"/>
                <a:gd name="connsiteY3" fmla="*/ 3560 h 99000"/>
                <a:gd name="connsiteX4" fmla="*/ 2437 w 41487"/>
                <a:gd name="connsiteY4" fmla="*/ 2607 h 99000"/>
                <a:gd name="connsiteX5" fmla="*/ 1579 w 41487"/>
                <a:gd name="connsiteY5" fmla="*/ 2226 h 99000"/>
                <a:gd name="connsiteX6" fmla="*/ 1008 w 41487"/>
                <a:gd name="connsiteY6" fmla="*/ 4226 h 99000"/>
                <a:gd name="connsiteX7" fmla="*/ 17867 w 41487"/>
                <a:gd name="connsiteY7" fmla="*/ 3083 h 99000"/>
                <a:gd name="connsiteX8" fmla="*/ 26344 w 41487"/>
                <a:gd name="connsiteY8" fmla="*/ 2607 h 99000"/>
                <a:gd name="connsiteX9" fmla="*/ 30345 w 41487"/>
                <a:gd name="connsiteY9" fmla="*/ 6131 h 99000"/>
                <a:gd name="connsiteX10" fmla="*/ 31869 w 41487"/>
                <a:gd name="connsiteY10" fmla="*/ 20324 h 99000"/>
                <a:gd name="connsiteX11" fmla="*/ 33488 w 41487"/>
                <a:gd name="connsiteY11" fmla="*/ 37469 h 99000"/>
                <a:gd name="connsiteX12" fmla="*/ 39489 w 41487"/>
                <a:gd name="connsiteY12" fmla="*/ 96809 h 99000"/>
                <a:gd name="connsiteX13" fmla="*/ 40441 w 41487"/>
                <a:gd name="connsiteY13" fmla="*/ 95190 h 99000"/>
                <a:gd name="connsiteX14" fmla="*/ 9009 w 41487"/>
                <a:gd name="connsiteY14" fmla="*/ 96809 h 99000"/>
                <a:gd name="connsiteX15" fmla="*/ 9009 w 41487"/>
                <a:gd name="connsiteY15" fmla="*/ 99000 h 99000"/>
                <a:gd name="connsiteX16" fmla="*/ 40441 w 41487"/>
                <a:gd name="connsiteY16" fmla="*/ 97381 h 99000"/>
                <a:gd name="connsiteX17" fmla="*/ 41394 w 41487"/>
                <a:gd name="connsiteY17" fmla="*/ 95762 h 99000"/>
                <a:gd name="connsiteX18" fmla="*/ 34917 w 41487"/>
                <a:gd name="connsiteY18" fmla="*/ 26229 h 99000"/>
                <a:gd name="connsiteX19" fmla="*/ 32536 w 41487"/>
                <a:gd name="connsiteY19" fmla="*/ 9751 h 99000"/>
                <a:gd name="connsiteX20" fmla="*/ 31964 w 41487"/>
                <a:gd name="connsiteY20" fmla="*/ 797 h 99000"/>
                <a:gd name="connsiteX21" fmla="*/ 19867 w 41487"/>
                <a:gd name="connsiteY21" fmla="*/ 988 h 99000"/>
                <a:gd name="connsiteX22" fmla="*/ 1103 w 41487"/>
                <a:gd name="connsiteY22" fmla="*/ 2226 h 99000"/>
                <a:gd name="connsiteX23" fmla="*/ 532 w 41487"/>
                <a:gd name="connsiteY23" fmla="*/ 4226 h 99000"/>
                <a:gd name="connsiteX24" fmla="*/ 1008 w 41487"/>
                <a:gd name="connsiteY24" fmla="*/ 14990 h 99000"/>
                <a:gd name="connsiteX25" fmla="*/ 1294 w 41487"/>
                <a:gd name="connsiteY25" fmla="*/ 26324 h 99000"/>
                <a:gd name="connsiteX26" fmla="*/ 2532 w 41487"/>
                <a:gd name="connsiteY26" fmla="*/ 50994 h 99000"/>
                <a:gd name="connsiteX27" fmla="*/ 4818 w 41487"/>
                <a:gd name="connsiteY27" fmla="*/ 72902 h 99000"/>
                <a:gd name="connsiteX28" fmla="*/ 7961 w 41487"/>
                <a:gd name="connsiteY28" fmla="*/ 97952 h 99000"/>
                <a:gd name="connsiteX29" fmla="*/ 10057 w 41487"/>
                <a:gd name="connsiteY29" fmla="*/ 97857 h 9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487" h="99000">
                  <a:moveTo>
                    <a:pt x="10057" y="97857"/>
                  </a:moveTo>
                  <a:cubicBezTo>
                    <a:pt x="10628" y="90332"/>
                    <a:pt x="8914" y="83189"/>
                    <a:pt x="7485" y="75854"/>
                  </a:cubicBezTo>
                  <a:cubicBezTo>
                    <a:pt x="5961" y="67949"/>
                    <a:pt x="5294" y="59948"/>
                    <a:pt x="4723" y="51851"/>
                  </a:cubicBezTo>
                  <a:cubicBezTo>
                    <a:pt x="3675" y="35754"/>
                    <a:pt x="3103" y="19657"/>
                    <a:pt x="3008" y="3560"/>
                  </a:cubicBezTo>
                  <a:cubicBezTo>
                    <a:pt x="3008" y="3179"/>
                    <a:pt x="2818" y="2798"/>
                    <a:pt x="2437" y="2607"/>
                  </a:cubicBezTo>
                  <a:cubicBezTo>
                    <a:pt x="2151" y="2512"/>
                    <a:pt x="1865" y="2321"/>
                    <a:pt x="1579" y="2226"/>
                  </a:cubicBezTo>
                  <a:cubicBezTo>
                    <a:pt x="1389" y="2893"/>
                    <a:pt x="1198" y="3560"/>
                    <a:pt x="1008" y="4226"/>
                  </a:cubicBezTo>
                  <a:cubicBezTo>
                    <a:pt x="6628" y="3845"/>
                    <a:pt x="12247" y="3464"/>
                    <a:pt x="17867" y="3083"/>
                  </a:cubicBezTo>
                  <a:cubicBezTo>
                    <a:pt x="20725" y="2893"/>
                    <a:pt x="23487" y="2702"/>
                    <a:pt x="26344" y="2607"/>
                  </a:cubicBezTo>
                  <a:cubicBezTo>
                    <a:pt x="29488" y="2417"/>
                    <a:pt x="30535" y="2988"/>
                    <a:pt x="30345" y="6131"/>
                  </a:cubicBezTo>
                  <a:cubicBezTo>
                    <a:pt x="30059" y="10894"/>
                    <a:pt x="31012" y="15656"/>
                    <a:pt x="31869" y="20324"/>
                  </a:cubicBezTo>
                  <a:cubicBezTo>
                    <a:pt x="32821" y="26039"/>
                    <a:pt x="33393" y="31658"/>
                    <a:pt x="33488" y="37469"/>
                  </a:cubicBezTo>
                  <a:cubicBezTo>
                    <a:pt x="33869" y="57662"/>
                    <a:pt x="31202" y="77759"/>
                    <a:pt x="39489" y="96809"/>
                  </a:cubicBezTo>
                  <a:cubicBezTo>
                    <a:pt x="39775" y="96238"/>
                    <a:pt x="40156" y="95762"/>
                    <a:pt x="40441" y="95190"/>
                  </a:cubicBezTo>
                  <a:cubicBezTo>
                    <a:pt x="29964" y="95857"/>
                    <a:pt x="19486" y="96428"/>
                    <a:pt x="9009" y="96809"/>
                  </a:cubicBezTo>
                  <a:cubicBezTo>
                    <a:pt x="7580" y="96905"/>
                    <a:pt x="7580" y="99000"/>
                    <a:pt x="9009" y="99000"/>
                  </a:cubicBezTo>
                  <a:cubicBezTo>
                    <a:pt x="19486" y="98619"/>
                    <a:pt x="29964" y="98048"/>
                    <a:pt x="40441" y="97381"/>
                  </a:cubicBezTo>
                  <a:cubicBezTo>
                    <a:pt x="41299" y="97286"/>
                    <a:pt x="41680" y="96524"/>
                    <a:pt x="41394" y="95762"/>
                  </a:cubicBezTo>
                  <a:cubicBezTo>
                    <a:pt x="31583" y="73473"/>
                    <a:pt x="37679" y="49565"/>
                    <a:pt x="34917" y="26229"/>
                  </a:cubicBezTo>
                  <a:cubicBezTo>
                    <a:pt x="34250" y="20705"/>
                    <a:pt x="32821" y="15275"/>
                    <a:pt x="32536" y="9751"/>
                  </a:cubicBezTo>
                  <a:cubicBezTo>
                    <a:pt x="32440" y="7179"/>
                    <a:pt x="34441" y="2607"/>
                    <a:pt x="31964" y="797"/>
                  </a:cubicBezTo>
                  <a:cubicBezTo>
                    <a:pt x="29488" y="-1012"/>
                    <a:pt x="22725" y="797"/>
                    <a:pt x="19867" y="988"/>
                  </a:cubicBezTo>
                  <a:cubicBezTo>
                    <a:pt x="13581" y="1369"/>
                    <a:pt x="7390" y="1750"/>
                    <a:pt x="1103" y="2226"/>
                  </a:cubicBezTo>
                  <a:cubicBezTo>
                    <a:pt x="151" y="2321"/>
                    <a:pt x="-516" y="3750"/>
                    <a:pt x="532" y="4226"/>
                  </a:cubicBezTo>
                  <a:cubicBezTo>
                    <a:pt x="1579" y="4703"/>
                    <a:pt x="1008" y="13751"/>
                    <a:pt x="1008" y="14990"/>
                  </a:cubicBezTo>
                  <a:cubicBezTo>
                    <a:pt x="1103" y="18800"/>
                    <a:pt x="1198" y="22610"/>
                    <a:pt x="1294" y="26324"/>
                  </a:cubicBezTo>
                  <a:cubicBezTo>
                    <a:pt x="1579" y="34516"/>
                    <a:pt x="1960" y="42707"/>
                    <a:pt x="2532" y="50994"/>
                  </a:cubicBezTo>
                  <a:cubicBezTo>
                    <a:pt x="3008" y="58328"/>
                    <a:pt x="3580" y="65663"/>
                    <a:pt x="4818" y="72902"/>
                  </a:cubicBezTo>
                  <a:cubicBezTo>
                    <a:pt x="6151" y="81284"/>
                    <a:pt x="8628" y="89380"/>
                    <a:pt x="7961" y="97952"/>
                  </a:cubicBezTo>
                  <a:cubicBezTo>
                    <a:pt x="7771" y="99286"/>
                    <a:pt x="9961" y="99286"/>
                    <a:pt x="10057" y="9785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C48C12B0-28B0-9B5E-9DF3-9D062BC30C45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8001 w 39338"/>
                <a:gd name="connsiteY0" fmla="*/ 145627 h 145627"/>
                <a:gd name="connsiteX1" fmla="*/ 5143 w 39338"/>
                <a:gd name="connsiteY1" fmla="*/ 110099 h 145627"/>
                <a:gd name="connsiteX2" fmla="*/ 2667 w 39338"/>
                <a:gd name="connsiteY2" fmla="*/ 77619 h 145627"/>
                <a:gd name="connsiteX3" fmla="*/ 953 w 39338"/>
                <a:gd name="connsiteY3" fmla="*/ 3324 h 145627"/>
                <a:gd name="connsiteX4" fmla="*/ 0 w 39338"/>
                <a:gd name="connsiteY4" fmla="*/ 2752 h 145627"/>
                <a:gd name="connsiteX5" fmla="*/ 28194 w 39338"/>
                <a:gd name="connsiteY5" fmla="*/ 85 h 145627"/>
                <a:gd name="connsiteX6" fmla="*/ 30290 w 39338"/>
                <a:gd name="connsiteY6" fmla="*/ 276 h 145627"/>
                <a:gd name="connsiteX7" fmla="*/ 30766 w 39338"/>
                <a:gd name="connsiteY7" fmla="*/ 2085 h 145627"/>
                <a:gd name="connsiteX8" fmla="*/ 32480 w 39338"/>
                <a:gd name="connsiteY8" fmla="*/ 33613 h 145627"/>
                <a:gd name="connsiteX9" fmla="*/ 39338 w 39338"/>
                <a:gd name="connsiteY9" fmla="*/ 143151 h 145627"/>
                <a:gd name="connsiteX10" fmla="*/ 8001 w 39338"/>
                <a:gd name="connsiteY10" fmla="*/ 145627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8001" y="145627"/>
                  </a:moveTo>
                  <a:cubicBezTo>
                    <a:pt x="8858" y="133816"/>
                    <a:pt x="6572" y="121910"/>
                    <a:pt x="5143" y="110099"/>
                  </a:cubicBezTo>
                  <a:cubicBezTo>
                    <a:pt x="3810" y="99336"/>
                    <a:pt x="3239" y="88477"/>
                    <a:pt x="2667" y="77619"/>
                  </a:cubicBezTo>
                  <a:cubicBezTo>
                    <a:pt x="1524" y="52854"/>
                    <a:pt x="953" y="28089"/>
                    <a:pt x="953" y="3324"/>
                  </a:cubicBezTo>
                  <a:lnTo>
                    <a:pt x="0" y="2752"/>
                  </a:lnTo>
                  <a:cubicBezTo>
                    <a:pt x="9430" y="1800"/>
                    <a:pt x="18764" y="942"/>
                    <a:pt x="28194" y="85"/>
                  </a:cubicBezTo>
                  <a:cubicBezTo>
                    <a:pt x="28861" y="-10"/>
                    <a:pt x="29718" y="-105"/>
                    <a:pt x="30290" y="276"/>
                  </a:cubicBezTo>
                  <a:cubicBezTo>
                    <a:pt x="30956" y="657"/>
                    <a:pt x="30861" y="1419"/>
                    <a:pt x="30766" y="2085"/>
                  </a:cubicBezTo>
                  <a:cubicBezTo>
                    <a:pt x="29432" y="12563"/>
                    <a:pt x="31432" y="23136"/>
                    <a:pt x="32480" y="33613"/>
                  </a:cubicBezTo>
                  <a:cubicBezTo>
                    <a:pt x="36005" y="70094"/>
                    <a:pt x="28575" y="107432"/>
                    <a:pt x="39338" y="143151"/>
                  </a:cubicBezTo>
                  <a:cubicBezTo>
                    <a:pt x="28956" y="144198"/>
                    <a:pt x="18479" y="145056"/>
                    <a:pt x="8001" y="14562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A96B763A-3F40-7F7F-4D4D-A61D6E7CEA6E}"/>
                </a:ext>
              </a:extLst>
            </p:cNvPr>
            <p:cNvSpPr/>
            <p:nvPr/>
          </p:nvSpPr>
          <p:spPr>
            <a:xfrm>
              <a:off x="5343742" y="4382351"/>
              <a:ext cx="60594" cy="215692"/>
            </a:xfrm>
            <a:custGeom>
              <a:avLst/>
              <a:gdLst>
                <a:gd name="connsiteX0" fmla="*/ 10230 w 41508"/>
                <a:gd name="connsiteY0" fmla="*/ 146609 h 147752"/>
                <a:gd name="connsiteX1" fmla="*/ 7086 w 41508"/>
                <a:gd name="connsiteY1" fmla="*/ 108795 h 147752"/>
                <a:gd name="connsiteX2" fmla="*/ 4515 w 41508"/>
                <a:gd name="connsiteY2" fmla="*/ 69362 h 147752"/>
                <a:gd name="connsiteX3" fmla="*/ 3467 w 41508"/>
                <a:gd name="connsiteY3" fmla="*/ 31071 h 147752"/>
                <a:gd name="connsiteX4" fmla="*/ 3276 w 41508"/>
                <a:gd name="connsiteY4" fmla="*/ 11354 h 147752"/>
                <a:gd name="connsiteX5" fmla="*/ 1752 w 41508"/>
                <a:gd name="connsiteY5" fmla="*/ 2877 h 147752"/>
                <a:gd name="connsiteX6" fmla="*/ 1181 w 41508"/>
                <a:gd name="connsiteY6" fmla="*/ 4877 h 147752"/>
                <a:gd name="connsiteX7" fmla="*/ 23469 w 41508"/>
                <a:gd name="connsiteY7" fmla="*/ 2782 h 147752"/>
                <a:gd name="connsiteX8" fmla="*/ 29375 w 41508"/>
                <a:gd name="connsiteY8" fmla="*/ 2210 h 147752"/>
                <a:gd name="connsiteX9" fmla="*/ 30518 w 41508"/>
                <a:gd name="connsiteY9" fmla="*/ 6497 h 147752"/>
                <a:gd name="connsiteX10" fmla="*/ 30613 w 41508"/>
                <a:gd name="connsiteY10" fmla="*/ 16593 h 147752"/>
                <a:gd name="connsiteX11" fmla="*/ 33566 w 41508"/>
                <a:gd name="connsiteY11" fmla="*/ 60408 h 147752"/>
                <a:gd name="connsiteX12" fmla="*/ 39376 w 41508"/>
                <a:gd name="connsiteY12" fmla="*/ 144419 h 147752"/>
                <a:gd name="connsiteX13" fmla="*/ 40424 w 41508"/>
                <a:gd name="connsiteY13" fmla="*/ 143085 h 147752"/>
                <a:gd name="connsiteX14" fmla="*/ 9087 w 41508"/>
                <a:gd name="connsiteY14" fmla="*/ 145562 h 147752"/>
                <a:gd name="connsiteX15" fmla="*/ 9087 w 41508"/>
                <a:gd name="connsiteY15" fmla="*/ 147752 h 147752"/>
                <a:gd name="connsiteX16" fmla="*/ 40424 w 41508"/>
                <a:gd name="connsiteY16" fmla="*/ 145276 h 147752"/>
                <a:gd name="connsiteX17" fmla="*/ 41472 w 41508"/>
                <a:gd name="connsiteY17" fmla="*/ 143942 h 147752"/>
                <a:gd name="connsiteX18" fmla="*/ 35471 w 41508"/>
                <a:gd name="connsiteY18" fmla="*/ 48121 h 147752"/>
                <a:gd name="connsiteX19" fmla="*/ 33566 w 41508"/>
                <a:gd name="connsiteY19" fmla="*/ 25642 h 147752"/>
                <a:gd name="connsiteX20" fmla="*/ 32518 w 41508"/>
                <a:gd name="connsiteY20" fmla="*/ 13259 h 147752"/>
                <a:gd name="connsiteX21" fmla="*/ 32899 w 41508"/>
                <a:gd name="connsiteY21" fmla="*/ 2591 h 147752"/>
                <a:gd name="connsiteX22" fmla="*/ 26898 w 41508"/>
                <a:gd name="connsiteY22" fmla="*/ 210 h 147752"/>
                <a:gd name="connsiteX23" fmla="*/ 1086 w 41508"/>
                <a:gd name="connsiteY23" fmla="*/ 2687 h 147752"/>
                <a:gd name="connsiteX24" fmla="*/ 514 w 41508"/>
                <a:gd name="connsiteY24" fmla="*/ 4687 h 147752"/>
                <a:gd name="connsiteX25" fmla="*/ 1086 w 41508"/>
                <a:gd name="connsiteY25" fmla="*/ 20594 h 147752"/>
                <a:gd name="connsiteX26" fmla="*/ 1371 w 41508"/>
                <a:gd name="connsiteY26" fmla="*/ 39167 h 147752"/>
                <a:gd name="connsiteX27" fmla="*/ 2514 w 41508"/>
                <a:gd name="connsiteY27" fmla="*/ 75172 h 147752"/>
                <a:gd name="connsiteX28" fmla="*/ 5181 w 41508"/>
                <a:gd name="connsiteY28" fmla="*/ 111176 h 147752"/>
                <a:gd name="connsiteX29" fmla="*/ 8039 w 41508"/>
                <a:gd name="connsiteY29" fmla="*/ 146705 h 147752"/>
                <a:gd name="connsiteX30" fmla="*/ 10230 w 41508"/>
                <a:gd name="connsiteY30" fmla="*/ 146609 h 147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1508" h="147752">
                  <a:moveTo>
                    <a:pt x="10230" y="146609"/>
                  </a:moveTo>
                  <a:cubicBezTo>
                    <a:pt x="10992" y="133846"/>
                    <a:pt x="8515" y="121368"/>
                    <a:pt x="7086" y="108795"/>
                  </a:cubicBezTo>
                  <a:cubicBezTo>
                    <a:pt x="5562" y="95746"/>
                    <a:pt x="4991" y="82506"/>
                    <a:pt x="4515" y="69362"/>
                  </a:cubicBezTo>
                  <a:cubicBezTo>
                    <a:pt x="4038" y="56598"/>
                    <a:pt x="3657" y="43835"/>
                    <a:pt x="3467" y="31071"/>
                  </a:cubicBezTo>
                  <a:cubicBezTo>
                    <a:pt x="3372" y="24499"/>
                    <a:pt x="3276" y="17927"/>
                    <a:pt x="3276" y="11354"/>
                  </a:cubicBezTo>
                  <a:cubicBezTo>
                    <a:pt x="3276" y="8497"/>
                    <a:pt x="4515" y="4592"/>
                    <a:pt x="1752" y="2877"/>
                  </a:cubicBezTo>
                  <a:cubicBezTo>
                    <a:pt x="1562" y="3544"/>
                    <a:pt x="1371" y="4211"/>
                    <a:pt x="1181" y="4877"/>
                  </a:cubicBezTo>
                  <a:cubicBezTo>
                    <a:pt x="8610" y="4115"/>
                    <a:pt x="16040" y="3449"/>
                    <a:pt x="23469" y="2782"/>
                  </a:cubicBezTo>
                  <a:cubicBezTo>
                    <a:pt x="24612" y="2687"/>
                    <a:pt x="28327" y="1639"/>
                    <a:pt x="29375" y="2210"/>
                  </a:cubicBezTo>
                  <a:cubicBezTo>
                    <a:pt x="31375" y="3449"/>
                    <a:pt x="30708" y="4211"/>
                    <a:pt x="30518" y="6497"/>
                  </a:cubicBezTo>
                  <a:cubicBezTo>
                    <a:pt x="30327" y="9830"/>
                    <a:pt x="30423" y="13259"/>
                    <a:pt x="30613" y="16593"/>
                  </a:cubicBezTo>
                  <a:cubicBezTo>
                    <a:pt x="31566" y="31262"/>
                    <a:pt x="33566" y="45644"/>
                    <a:pt x="33566" y="60408"/>
                  </a:cubicBezTo>
                  <a:cubicBezTo>
                    <a:pt x="33566" y="88602"/>
                    <a:pt x="31470" y="116987"/>
                    <a:pt x="39376" y="144419"/>
                  </a:cubicBezTo>
                  <a:cubicBezTo>
                    <a:pt x="39757" y="143942"/>
                    <a:pt x="40043" y="143466"/>
                    <a:pt x="40424" y="143085"/>
                  </a:cubicBezTo>
                  <a:cubicBezTo>
                    <a:pt x="29946" y="144133"/>
                    <a:pt x="19564" y="144990"/>
                    <a:pt x="9087" y="145562"/>
                  </a:cubicBezTo>
                  <a:cubicBezTo>
                    <a:pt x="7753" y="145657"/>
                    <a:pt x="7658" y="147752"/>
                    <a:pt x="9087" y="147752"/>
                  </a:cubicBezTo>
                  <a:cubicBezTo>
                    <a:pt x="19564" y="147181"/>
                    <a:pt x="30042" y="146324"/>
                    <a:pt x="40424" y="145276"/>
                  </a:cubicBezTo>
                  <a:cubicBezTo>
                    <a:pt x="41091" y="145181"/>
                    <a:pt x="41662" y="144609"/>
                    <a:pt x="41472" y="143942"/>
                  </a:cubicBezTo>
                  <a:cubicBezTo>
                    <a:pt x="32328" y="112605"/>
                    <a:pt x="36614" y="80220"/>
                    <a:pt x="35471" y="48121"/>
                  </a:cubicBezTo>
                  <a:cubicBezTo>
                    <a:pt x="35185" y="40596"/>
                    <a:pt x="34423" y="33167"/>
                    <a:pt x="33566" y="25642"/>
                  </a:cubicBezTo>
                  <a:cubicBezTo>
                    <a:pt x="33090" y="21546"/>
                    <a:pt x="32613" y="17355"/>
                    <a:pt x="32518" y="13259"/>
                  </a:cubicBezTo>
                  <a:cubicBezTo>
                    <a:pt x="32423" y="9926"/>
                    <a:pt x="33471" y="5830"/>
                    <a:pt x="32899" y="2591"/>
                  </a:cubicBezTo>
                  <a:cubicBezTo>
                    <a:pt x="32328" y="-742"/>
                    <a:pt x="29756" y="20"/>
                    <a:pt x="26898" y="210"/>
                  </a:cubicBezTo>
                  <a:cubicBezTo>
                    <a:pt x="18326" y="972"/>
                    <a:pt x="9658" y="1829"/>
                    <a:pt x="1086" y="2687"/>
                  </a:cubicBezTo>
                  <a:cubicBezTo>
                    <a:pt x="38" y="2782"/>
                    <a:pt x="-438" y="4115"/>
                    <a:pt x="514" y="4687"/>
                  </a:cubicBezTo>
                  <a:cubicBezTo>
                    <a:pt x="2419" y="5735"/>
                    <a:pt x="1086" y="18117"/>
                    <a:pt x="1086" y="20594"/>
                  </a:cubicBezTo>
                  <a:cubicBezTo>
                    <a:pt x="1181" y="26785"/>
                    <a:pt x="1276" y="32976"/>
                    <a:pt x="1371" y="39167"/>
                  </a:cubicBezTo>
                  <a:cubicBezTo>
                    <a:pt x="1657" y="51169"/>
                    <a:pt x="2038" y="63170"/>
                    <a:pt x="2514" y="75172"/>
                  </a:cubicBezTo>
                  <a:cubicBezTo>
                    <a:pt x="3086" y="87173"/>
                    <a:pt x="3657" y="99175"/>
                    <a:pt x="5181" y="111176"/>
                  </a:cubicBezTo>
                  <a:cubicBezTo>
                    <a:pt x="6610" y="122987"/>
                    <a:pt x="8706" y="134703"/>
                    <a:pt x="8039" y="146705"/>
                  </a:cubicBezTo>
                  <a:cubicBezTo>
                    <a:pt x="8039" y="148038"/>
                    <a:pt x="10134" y="148038"/>
                    <a:pt x="10230" y="146609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37E9A17C-6848-2820-5DF7-7A66A7463B9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8001 w 39338"/>
                <a:gd name="connsiteY0" fmla="*/ 192292 h 192292"/>
                <a:gd name="connsiteX1" fmla="*/ 5143 w 39338"/>
                <a:gd name="connsiteY1" fmla="*/ 145429 h 192292"/>
                <a:gd name="connsiteX2" fmla="*/ 2762 w 39338"/>
                <a:gd name="connsiteY2" fmla="*/ 102472 h 192292"/>
                <a:gd name="connsiteX3" fmla="*/ 953 w 39338"/>
                <a:gd name="connsiteY3" fmla="*/ 4459 h 192292"/>
                <a:gd name="connsiteX4" fmla="*/ 0 w 39338"/>
                <a:gd name="connsiteY4" fmla="*/ 3602 h 192292"/>
                <a:gd name="connsiteX5" fmla="*/ 28194 w 39338"/>
                <a:gd name="connsiteY5" fmla="*/ 78 h 192292"/>
                <a:gd name="connsiteX6" fmla="*/ 30290 w 39338"/>
                <a:gd name="connsiteY6" fmla="*/ 364 h 192292"/>
                <a:gd name="connsiteX7" fmla="*/ 30861 w 39338"/>
                <a:gd name="connsiteY7" fmla="*/ 2840 h 192292"/>
                <a:gd name="connsiteX8" fmla="*/ 32480 w 39338"/>
                <a:gd name="connsiteY8" fmla="*/ 44369 h 192292"/>
                <a:gd name="connsiteX9" fmla="*/ 39338 w 39338"/>
                <a:gd name="connsiteY9" fmla="*/ 189054 h 192292"/>
                <a:gd name="connsiteX10" fmla="*/ 8001 w 39338"/>
                <a:gd name="connsiteY10" fmla="*/ 192292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8001" y="192292"/>
                  </a:moveTo>
                  <a:cubicBezTo>
                    <a:pt x="8858" y="176671"/>
                    <a:pt x="6572" y="161050"/>
                    <a:pt x="5143" y="145429"/>
                  </a:cubicBezTo>
                  <a:cubicBezTo>
                    <a:pt x="3810" y="131142"/>
                    <a:pt x="3239" y="116854"/>
                    <a:pt x="2762" y="102472"/>
                  </a:cubicBezTo>
                  <a:cubicBezTo>
                    <a:pt x="1524" y="69801"/>
                    <a:pt x="953" y="37130"/>
                    <a:pt x="953" y="4459"/>
                  </a:cubicBezTo>
                  <a:lnTo>
                    <a:pt x="0" y="3602"/>
                  </a:lnTo>
                  <a:cubicBezTo>
                    <a:pt x="9430" y="2459"/>
                    <a:pt x="18764" y="1221"/>
                    <a:pt x="28194" y="78"/>
                  </a:cubicBezTo>
                  <a:cubicBezTo>
                    <a:pt x="28956" y="-17"/>
                    <a:pt x="29718" y="-113"/>
                    <a:pt x="30290" y="364"/>
                  </a:cubicBezTo>
                  <a:cubicBezTo>
                    <a:pt x="30956" y="935"/>
                    <a:pt x="30861" y="1983"/>
                    <a:pt x="30861" y="2840"/>
                  </a:cubicBezTo>
                  <a:cubicBezTo>
                    <a:pt x="29528" y="16651"/>
                    <a:pt x="31432" y="30558"/>
                    <a:pt x="32480" y="44369"/>
                  </a:cubicBezTo>
                  <a:cubicBezTo>
                    <a:pt x="36004" y="92566"/>
                    <a:pt x="28575" y="141905"/>
                    <a:pt x="39338" y="189054"/>
                  </a:cubicBezTo>
                  <a:cubicBezTo>
                    <a:pt x="28956" y="190483"/>
                    <a:pt x="18479" y="191530"/>
                    <a:pt x="8001" y="19229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441206CB-5C4D-880A-A961-121E1F36CBD2}"/>
                </a:ext>
              </a:extLst>
            </p:cNvPr>
            <p:cNvSpPr/>
            <p:nvPr/>
          </p:nvSpPr>
          <p:spPr>
            <a:xfrm>
              <a:off x="5422984" y="4313598"/>
              <a:ext cx="60581" cy="284324"/>
            </a:xfrm>
            <a:custGeom>
              <a:avLst/>
              <a:gdLst>
                <a:gd name="connsiteX0" fmla="*/ 9954 w 41499"/>
                <a:gd name="connsiteY0" fmla="*/ 193707 h 194766"/>
                <a:gd name="connsiteX1" fmla="*/ 6811 w 41499"/>
                <a:gd name="connsiteY1" fmla="*/ 143415 h 194766"/>
                <a:gd name="connsiteX2" fmla="*/ 4429 w 41499"/>
                <a:gd name="connsiteY2" fmla="*/ 94551 h 194766"/>
                <a:gd name="connsiteX3" fmla="*/ 3286 w 41499"/>
                <a:gd name="connsiteY3" fmla="*/ 45498 h 194766"/>
                <a:gd name="connsiteX4" fmla="*/ 3001 w 41499"/>
                <a:gd name="connsiteY4" fmla="*/ 19780 h 194766"/>
                <a:gd name="connsiteX5" fmla="*/ 3001 w 41499"/>
                <a:gd name="connsiteY5" fmla="*/ 8064 h 194766"/>
                <a:gd name="connsiteX6" fmla="*/ 1762 w 41499"/>
                <a:gd name="connsiteY6" fmla="*/ 4159 h 194766"/>
                <a:gd name="connsiteX7" fmla="*/ 1000 w 41499"/>
                <a:gd name="connsiteY7" fmla="*/ 5969 h 194766"/>
                <a:gd name="connsiteX8" fmla="*/ 17479 w 41499"/>
                <a:gd name="connsiteY8" fmla="*/ 3873 h 194766"/>
                <a:gd name="connsiteX9" fmla="*/ 24527 w 41499"/>
                <a:gd name="connsiteY9" fmla="*/ 3016 h 194766"/>
                <a:gd name="connsiteX10" fmla="*/ 29194 w 41499"/>
                <a:gd name="connsiteY10" fmla="*/ 2445 h 194766"/>
                <a:gd name="connsiteX11" fmla="*/ 30623 w 41499"/>
                <a:gd name="connsiteY11" fmla="*/ 6445 h 194766"/>
                <a:gd name="connsiteX12" fmla="*/ 30528 w 41499"/>
                <a:gd name="connsiteY12" fmla="*/ 21399 h 194766"/>
                <a:gd name="connsiteX13" fmla="*/ 31671 w 41499"/>
                <a:gd name="connsiteY13" fmla="*/ 36449 h 194766"/>
                <a:gd name="connsiteX14" fmla="*/ 33385 w 41499"/>
                <a:gd name="connsiteY14" fmla="*/ 97885 h 194766"/>
                <a:gd name="connsiteX15" fmla="*/ 34624 w 41499"/>
                <a:gd name="connsiteY15" fmla="*/ 159131 h 194766"/>
                <a:gd name="connsiteX16" fmla="*/ 35862 w 41499"/>
                <a:gd name="connsiteY16" fmla="*/ 170656 h 194766"/>
                <a:gd name="connsiteX17" fmla="*/ 38434 w 41499"/>
                <a:gd name="connsiteY17" fmla="*/ 186277 h 194766"/>
                <a:gd name="connsiteX18" fmla="*/ 35957 w 41499"/>
                <a:gd name="connsiteY18" fmla="*/ 189897 h 194766"/>
                <a:gd name="connsiteX19" fmla="*/ 32623 w 41499"/>
                <a:gd name="connsiteY19" fmla="*/ 190278 h 194766"/>
                <a:gd name="connsiteX20" fmla="*/ 24813 w 41499"/>
                <a:gd name="connsiteY20" fmla="*/ 191135 h 194766"/>
                <a:gd name="connsiteX21" fmla="*/ 9097 w 41499"/>
                <a:gd name="connsiteY21" fmla="*/ 192468 h 194766"/>
                <a:gd name="connsiteX22" fmla="*/ 9097 w 41499"/>
                <a:gd name="connsiteY22" fmla="*/ 194659 h 194766"/>
                <a:gd name="connsiteX23" fmla="*/ 40720 w 41499"/>
                <a:gd name="connsiteY23" fmla="*/ 191421 h 194766"/>
                <a:gd name="connsiteX24" fmla="*/ 41482 w 41499"/>
                <a:gd name="connsiteY24" fmla="*/ 190087 h 194766"/>
                <a:gd name="connsiteX25" fmla="*/ 35671 w 41499"/>
                <a:gd name="connsiteY25" fmla="*/ 71787 h 194766"/>
                <a:gd name="connsiteX26" fmla="*/ 32623 w 41499"/>
                <a:gd name="connsiteY26" fmla="*/ 13398 h 194766"/>
                <a:gd name="connsiteX27" fmla="*/ 30433 w 41499"/>
                <a:gd name="connsiteY27" fmla="*/ 254 h 194766"/>
                <a:gd name="connsiteX28" fmla="*/ 17574 w 41499"/>
                <a:gd name="connsiteY28" fmla="*/ 1778 h 194766"/>
                <a:gd name="connsiteX29" fmla="*/ 1096 w 41499"/>
                <a:gd name="connsiteY29" fmla="*/ 3873 h 194766"/>
                <a:gd name="connsiteX30" fmla="*/ 334 w 41499"/>
                <a:gd name="connsiteY30" fmla="*/ 5683 h 194766"/>
                <a:gd name="connsiteX31" fmla="*/ 1000 w 41499"/>
                <a:gd name="connsiteY31" fmla="*/ 15113 h 194766"/>
                <a:gd name="connsiteX32" fmla="*/ 1096 w 41499"/>
                <a:gd name="connsiteY32" fmla="*/ 26829 h 194766"/>
                <a:gd name="connsiteX33" fmla="*/ 1381 w 41499"/>
                <a:gd name="connsiteY33" fmla="*/ 51308 h 194766"/>
                <a:gd name="connsiteX34" fmla="*/ 2620 w 41499"/>
                <a:gd name="connsiteY34" fmla="*/ 99123 h 194766"/>
                <a:gd name="connsiteX35" fmla="*/ 5001 w 41499"/>
                <a:gd name="connsiteY35" fmla="*/ 144462 h 194766"/>
                <a:gd name="connsiteX36" fmla="*/ 8049 w 41499"/>
                <a:gd name="connsiteY36" fmla="*/ 193611 h 194766"/>
                <a:gd name="connsiteX37" fmla="*/ 9954 w 41499"/>
                <a:gd name="connsiteY37" fmla="*/ 193707 h 19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1499" h="194766">
                  <a:moveTo>
                    <a:pt x="9954" y="193707"/>
                  </a:moveTo>
                  <a:cubicBezTo>
                    <a:pt x="10716" y="176847"/>
                    <a:pt x="8239" y="160179"/>
                    <a:pt x="6811" y="143415"/>
                  </a:cubicBezTo>
                  <a:cubicBezTo>
                    <a:pt x="5382" y="127127"/>
                    <a:pt x="4906" y="110839"/>
                    <a:pt x="4429" y="94551"/>
                  </a:cubicBezTo>
                  <a:cubicBezTo>
                    <a:pt x="3858" y="78264"/>
                    <a:pt x="3477" y="61881"/>
                    <a:pt x="3286" y="45498"/>
                  </a:cubicBezTo>
                  <a:cubicBezTo>
                    <a:pt x="3191" y="36925"/>
                    <a:pt x="3096" y="28353"/>
                    <a:pt x="3001" y="19780"/>
                  </a:cubicBezTo>
                  <a:cubicBezTo>
                    <a:pt x="3001" y="15875"/>
                    <a:pt x="3001" y="11970"/>
                    <a:pt x="3001" y="8064"/>
                  </a:cubicBezTo>
                  <a:cubicBezTo>
                    <a:pt x="3001" y="5588"/>
                    <a:pt x="3382" y="5588"/>
                    <a:pt x="1762" y="4159"/>
                  </a:cubicBezTo>
                  <a:cubicBezTo>
                    <a:pt x="1477" y="4731"/>
                    <a:pt x="1286" y="5397"/>
                    <a:pt x="1000" y="5969"/>
                  </a:cubicBezTo>
                  <a:cubicBezTo>
                    <a:pt x="6525" y="5302"/>
                    <a:pt x="11954" y="4635"/>
                    <a:pt x="17479" y="3873"/>
                  </a:cubicBezTo>
                  <a:cubicBezTo>
                    <a:pt x="19860" y="3588"/>
                    <a:pt x="22146" y="3302"/>
                    <a:pt x="24527" y="3016"/>
                  </a:cubicBezTo>
                  <a:cubicBezTo>
                    <a:pt x="26051" y="2826"/>
                    <a:pt x="27670" y="2635"/>
                    <a:pt x="29194" y="2445"/>
                  </a:cubicBezTo>
                  <a:cubicBezTo>
                    <a:pt x="30814" y="3397"/>
                    <a:pt x="31290" y="4731"/>
                    <a:pt x="30623" y="6445"/>
                  </a:cubicBezTo>
                  <a:cubicBezTo>
                    <a:pt x="31290" y="11208"/>
                    <a:pt x="30337" y="16637"/>
                    <a:pt x="30528" y="21399"/>
                  </a:cubicBezTo>
                  <a:cubicBezTo>
                    <a:pt x="30718" y="26448"/>
                    <a:pt x="31195" y="31401"/>
                    <a:pt x="31671" y="36449"/>
                  </a:cubicBezTo>
                  <a:cubicBezTo>
                    <a:pt x="33481" y="56928"/>
                    <a:pt x="33576" y="77406"/>
                    <a:pt x="33385" y="97885"/>
                  </a:cubicBezTo>
                  <a:cubicBezTo>
                    <a:pt x="33100" y="118269"/>
                    <a:pt x="32814" y="138747"/>
                    <a:pt x="34624" y="159131"/>
                  </a:cubicBezTo>
                  <a:cubicBezTo>
                    <a:pt x="35005" y="162941"/>
                    <a:pt x="35386" y="166846"/>
                    <a:pt x="35862" y="170656"/>
                  </a:cubicBezTo>
                  <a:cubicBezTo>
                    <a:pt x="36529" y="175609"/>
                    <a:pt x="38529" y="181229"/>
                    <a:pt x="38434" y="186277"/>
                  </a:cubicBezTo>
                  <a:cubicBezTo>
                    <a:pt x="39672" y="188468"/>
                    <a:pt x="38815" y="189706"/>
                    <a:pt x="35957" y="189897"/>
                  </a:cubicBezTo>
                  <a:cubicBezTo>
                    <a:pt x="34814" y="189992"/>
                    <a:pt x="33766" y="190182"/>
                    <a:pt x="32623" y="190278"/>
                  </a:cubicBezTo>
                  <a:cubicBezTo>
                    <a:pt x="30052" y="190563"/>
                    <a:pt x="27385" y="190849"/>
                    <a:pt x="24813" y="191135"/>
                  </a:cubicBezTo>
                  <a:cubicBezTo>
                    <a:pt x="19574" y="191706"/>
                    <a:pt x="14335" y="192087"/>
                    <a:pt x="9097" y="192468"/>
                  </a:cubicBezTo>
                  <a:cubicBezTo>
                    <a:pt x="7763" y="192564"/>
                    <a:pt x="7668" y="194754"/>
                    <a:pt x="9097" y="194659"/>
                  </a:cubicBezTo>
                  <a:cubicBezTo>
                    <a:pt x="19669" y="193897"/>
                    <a:pt x="30242" y="192754"/>
                    <a:pt x="40720" y="191421"/>
                  </a:cubicBezTo>
                  <a:cubicBezTo>
                    <a:pt x="41291" y="191325"/>
                    <a:pt x="41577" y="190563"/>
                    <a:pt x="41482" y="190087"/>
                  </a:cubicBezTo>
                  <a:cubicBezTo>
                    <a:pt x="32814" y="151130"/>
                    <a:pt x="36148" y="111315"/>
                    <a:pt x="35671" y="71787"/>
                  </a:cubicBezTo>
                  <a:cubicBezTo>
                    <a:pt x="35481" y="52260"/>
                    <a:pt x="32433" y="32829"/>
                    <a:pt x="32623" y="13398"/>
                  </a:cubicBezTo>
                  <a:cubicBezTo>
                    <a:pt x="32623" y="9588"/>
                    <a:pt x="35386" y="1683"/>
                    <a:pt x="30433" y="254"/>
                  </a:cubicBezTo>
                  <a:cubicBezTo>
                    <a:pt x="27099" y="-699"/>
                    <a:pt x="21098" y="1302"/>
                    <a:pt x="17574" y="1778"/>
                  </a:cubicBezTo>
                  <a:cubicBezTo>
                    <a:pt x="12049" y="2445"/>
                    <a:pt x="6620" y="3207"/>
                    <a:pt x="1096" y="3873"/>
                  </a:cubicBezTo>
                  <a:cubicBezTo>
                    <a:pt x="238" y="3969"/>
                    <a:pt x="-428" y="5016"/>
                    <a:pt x="334" y="5683"/>
                  </a:cubicBezTo>
                  <a:cubicBezTo>
                    <a:pt x="2048" y="7207"/>
                    <a:pt x="1000" y="13017"/>
                    <a:pt x="1000" y="15113"/>
                  </a:cubicBezTo>
                  <a:cubicBezTo>
                    <a:pt x="1000" y="19018"/>
                    <a:pt x="1000" y="22923"/>
                    <a:pt x="1096" y="26829"/>
                  </a:cubicBezTo>
                  <a:cubicBezTo>
                    <a:pt x="1191" y="35020"/>
                    <a:pt x="1286" y="43212"/>
                    <a:pt x="1381" y="51308"/>
                  </a:cubicBezTo>
                  <a:cubicBezTo>
                    <a:pt x="1667" y="67215"/>
                    <a:pt x="2048" y="83217"/>
                    <a:pt x="2620" y="99123"/>
                  </a:cubicBezTo>
                  <a:cubicBezTo>
                    <a:pt x="3191" y="114268"/>
                    <a:pt x="3667" y="129413"/>
                    <a:pt x="5001" y="144462"/>
                  </a:cubicBezTo>
                  <a:cubicBezTo>
                    <a:pt x="6430" y="160845"/>
                    <a:pt x="8811" y="177133"/>
                    <a:pt x="8049" y="193611"/>
                  </a:cubicBezTo>
                  <a:cubicBezTo>
                    <a:pt x="7763" y="195135"/>
                    <a:pt x="9954" y="195135"/>
                    <a:pt x="9954" y="19370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5C2C5AA-BE70-C242-1D11-E0DE9FA96894}"/>
                </a:ext>
              </a:extLst>
            </p:cNvPr>
            <p:cNvSpPr/>
            <p:nvPr/>
          </p:nvSpPr>
          <p:spPr>
            <a:xfrm>
              <a:off x="5975214" y="4492278"/>
              <a:ext cx="45885" cy="56902"/>
            </a:xfrm>
            <a:custGeom>
              <a:avLst/>
              <a:gdLst>
                <a:gd name="connsiteX0" fmla="*/ 13526 w 31432"/>
                <a:gd name="connsiteY0" fmla="*/ 633 h 38979"/>
                <a:gd name="connsiteX1" fmla="*/ 6001 w 31432"/>
                <a:gd name="connsiteY1" fmla="*/ 442 h 38979"/>
                <a:gd name="connsiteX2" fmla="*/ 2191 w 31432"/>
                <a:gd name="connsiteY2" fmla="*/ 5967 h 38979"/>
                <a:gd name="connsiteX3" fmla="*/ 477 w 31432"/>
                <a:gd name="connsiteY3" fmla="*/ 23683 h 38979"/>
                <a:gd name="connsiteX4" fmla="*/ 8573 w 31432"/>
                <a:gd name="connsiteY4" fmla="*/ 36542 h 38979"/>
                <a:gd name="connsiteX5" fmla="*/ 22860 w 31432"/>
                <a:gd name="connsiteY5" fmla="*/ 37494 h 38979"/>
                <a:gd name="connsiteX6" fmla="*/ 31433 w 31432"/>
                <a:gd name="connsiteY6" fmla="*/ 23207 h 38979"/>
                <a:gd name="connsiteX7" fmla="*/ 30385 w 31432"/>
                <a:gd name="connsiteY7" fmla="*/ 22159 h 38979"/>
                <a:gd name="connsiteX8" fmla="*/ 19431 w 31432"/>
                <a:gd name="connsiteY8" fmla="*/ 22635 h 38979"/>
                <a:gd name="connsiteX9" fmla="*/ 16479 w 31432"/>
                <a:gd name="connsiteY9" fmla="*/ 22731 h 38979"/>
                <a:gd name="connsiteX10" fmla="*/ 14288 w 31432"/>
                <a:gd name="connsiteY10" fmla="*/ 22826 h 38979"/>
                <a:gd name="connsiteX11" fmla="*/ 13431 w 31432"/>
                <a:gd name="connsiteY11" fmla="*/ 22159 h 38979"/>
                <a:gd name="connsiteX12" fmla="*/ 13431 w 31432"/>
                <a:gd name="connsiteY12" fmla="*/ 20730 h 38979"/>
                <a:gd name="connsiteX13" fmla="*/ 13526 w 31432"/>
                <a:gd name="connsiteY13" fmla="*/ 18254 h 38979"/>
                <a:gd name="connsiteX14" fmla="*/ 15145 w 31432"/>
                <a:gd name="connsiteY14" fmla="*/ 7872 h 38979"/>
                <a:gd name="connsiteX15" fmla="*/ 15050 w 31432"/>
                <a:gd name="connsiteY15" fmla="*/ 918 h 38979"/>
                <a:gd name="connsiteX16" fmla="*/ 13526 w 31432"/>
                <a:gd name="connsiteY16" fmla="*/ 2442 h 38979"/>
                <a:gd name="connsiteX17" fmla="*/ 12954 w 31432"/>
                <a:gd name="connsiteY17" fmla="*/ 7967 h 38979"/>
                <a:gd name="connsiteX18" fmla="*/ 11907 w 31432"/>
                <a:gd name="connsiteY18" fmla="*/ 13491 h 38979"/>
                <a:gd name="connsiteX19" fmla="*/ 11430 w 31432"/>
                <a:gd name="connsiteY19" fmla="*/ 18635 h 38979"/>
                <a:gd name="connsiteX20" fmla="*/ 11526 w 31432"/>
                <a:gd name="connsiteY20" fmla="*/ 23302 h 38979"/>
                <a:gd name="connsiteX21" fmla="*/ 13240 w 31432"/>
                <a:gd name="connsiteY21" fmla="*/ 24921 h 38979"/>
                <a:gd name="connsiteX22" fmla="*/ 18765 w 31432"/>
                <a:gd name="connsiteY22" fmla="*/ 24731 h 38979"/>
                <a:gd name="connsiteX23" fmla="*/ 30385 w 31432"/>
                <a:gd name="connsiteY23" fmla="*/ 24159 h 38979"/>
                <a:gd name="connsiteX24" fmla="*/ 29337 w 31432"/>
                <a:gd name="connsiteY24" fmla="*/ 23112 h 38979"/>
                <a:gd name="connsiteX25" fmla="*/ 20193 w 31432"/>
                <a:gd name="connsiteY25" fmla="*/ 36161 h 38979"/>
                <a:gd name="connsiteX26" fmla="*/ 5620 w 31432"/>
                <a:gd name="connsiteY26" fmla="*/ 30636 h 38979"/>
                <a:gd name="connsiteX27" fmla="*/ 2572 w 31432"/>
                <a:gd name="connsiteY27" fmla="*/ 13301 h 38979"/>
                <a:gd name="connsiteX28" fmla="*/ 4763 w 31432"/>
                <a:gd name="connsiteY28" fmla="*/ 4919 h 38979"/>
                <a:gd name="connsiteX29" fmla="*/ 8382 w 31432"/>
                <a:gd name="connsiteY29" fmla="*/ 2061 h 38979"/>
                <a:gd name="connsiteX30" fmla="*/ 12954 w 31432"/>
                <a:gd name="connsiteY30" fmla="*/ 2538 h 38979"/>
                <a:gd name="connsiteX31" fmla="*/ 13526 w 31432"/>
                <a:gd name="connsiteY31" fmla="*/ 633 h 38979"/>
                <a:gd name="connsiteX32" fmla="*/ 13526 w 31432"/>
                <a:gd name="connsiteY32" fmla="*/ 633 h 3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32" h="38979">
                  <a:moveTo>
                    <a:pt x="13526" y="633"/>
                  </a:moveTo>
                  <a:cubicBezTo>
                    <a:pt x="11145" y="156"/>
                    <a:pt x="8287" y="-415"/>
                    <a:pt x="6001" y="442"/>
                  </a:cubicBezTo>
                  <a:cubicBezTo>
                    <a:pt x="3715" y="1299"/>
                    <a:pt x="2858" y="3871"/>
                    <a:pt x="2191" y="5967"/>
                  </a:cubicBezTo>
                  <a:cubicBezTo>
                    <a:pt x="381" y="11682"/>
                    <a:pt x="-666" y="17778"/>
                    <a:pt x="477" y="23683"/>
                  </a:cubicBezTo>
                  <a:cubicBezTo>
                    <a:pt x="1429" y="28827"/>
                    <a:pt x="4191" y="33589"/>
                    <a:pt x="8573" y="36542"/>
                  </a:cubicBezTo>
                  <a:cubicBezTo>
                    <a:pt x="12859" y="39399"/>
                    <a:pt x="18193" y="39780"/>
                    <a:pt x="22860" y="37494"/>
                  </a:cubicBezTo>
                  <a:cubicBezTo>
                    <a:pt x="28290" y="34827"/>
                    <a:pt x="31338" y="29112"/>
                    <a:pt x="31433" y="23207"/>
                  </a:cubicBezTo>
                  <a:cubicBezTo>
                    <a:pt x="31433" y="22635"/>
                    <a:pt x="30957" y="22064"/>
                    <a:pt x="30385" y="22159"/>
                  </a:cubicBezTo>
                  <a:cubicBezTo>
                    <a:pt x="26766" y="22350"/>
                    <a:pt x="23146" y="22445"/>
                    <a:pt x="19431" y="22635"/>
                  </a:cubicBezTo>
                  <a:cubicBezTo>
                    <a:pt x="18479" y="22635"/>
                    <a:pt x="17526" y="22731"/>
                    <a:pt x="16479" y="22731"/>
                  </a:cubicBezTo>
                  <a:cubicBezTo>
                    <a:pt x="15812" y="22731"/>
                    <a:pt x="14955" y="23016"/>
                    <a:pt x="14288" y="22826"/>
                  </a:cubicBezTo>
                  <a:cubicBezTo>
                    <a:pt x="13621" y="23112"/>
                    <a:pt x="13335" y="22921"/>
                    <a:pt x="13431" y="22159"/>
                  </a:cubicBezTo>
                  <a:cubicBezTo>
                    <a:pt x="13431" y="21683"/>
                    <a:pt x="13431" y="21207"/>
                    <a:pt x="13431" y="20730"/>
                  </a:cubicBezTo>
                  <a:cubicBezTo>
                    <a:pt x="13431" y="19873"/>
                    <a:pt x="13431" y="19111"/>
                    <a:pt x="13526" y="18254"/>
                  </a:cubicBezTo>
                  <a:cubicBezTo>
                    <a:pt x="13716" y="14730"/>
                    <a:pt x="14383" y="11301"/>
                    <a:pt x="15145" y="7872"/>
                  </a:cubicBezTo>
                  <a:cubicBezTo>
                    <a:pt x="15717" y="5490"/>
                    <a:pt x="16669" y="3109"/>
                    <a:pt x="15050" y="918"/>
                  </a:cubicBezTo>
                  <a:cubicBezTo>
                    <a:pt x="14193" y="-129"/>
                    <a:pt x="12669" y="1395"/>
                    <a:pt x="13526" y="2442"/>
                  </a:cubicBezTo>
                  <a:cubicBezTo>
                    <a:pt x="14574" y="3776"/>
                    <a:pt x="13240" y="6538"/>
                    <a:pt x="12954" y="7967"/>
                  </a:cubicBezTo>
                  <a:cubicBezTo>
                    <a:pt x="12573" y="9777"/>
                    <a:pt x="12192" y="11586"/>
                    <a:pt x="11907" y="13491"/>
                  </a:cubicBezTo>
                  <a:cubicBezTo>
                    <a:pt x="11621" y="15206"/>
                    <a:pt x="11430" y="16920"/>
                    <a:pt x="11430" y="18635"/>
                  </a:cubicBezTo>
                  <a:cubicBezTo>
                    <a:pt x="11335" y="20064"/>
                    <a:pt x="11145" y="21873"/>
                    <a:pt x="11526" y="23302"/>
                  </a:cubicBezTo>
                  <a:cubicBezTo>
                    <a:pt x="11811" y="24255"/>
                    <a:pt x="12288" y="24731"/>
                    <a:pt x="13240" y="24921"/>
                  </a:cubicBezTo>
                  <a:cubicBezTo>
                    <a:pt x="14955" y="25207"/>
                    <a:pt x="17050" y="24826"/>
                    <a:pt x="18765" y="24731"/>
                  </a:cubicBezTo>
                  <a:cubicBezTo>
                    <a:pt x="22670" y="24540"/>
                    <a:pt x="26480" y="24350"/>
                    <a:pt x="30385" y="24159"/>
                  </a:cubicBezTo>
                  <a:cubicBezTo>
                    <a:pt x="30004" y="23778"/>
                    <a:pt x="29623" y="23397"/>
                    <a:pt x="29337" y="23112"/>
                  </a:cubicBezTo>
                  <a:cubicBezTo>
                    <a:pt x="29242" y="28922"/>
                    <a:pt x="25908" y="34351"/>
                    <a:pt x="20193" y="36161"/>
                  </a:cubicBezTo>
                  <a:cubicBezTo>
                    <a:pt x="14669" y="37875"/>
                    <a:pt x="8859" y="35208"/>
                    <a:pt x="5620" y="30636"/>
                  </a:cubicBezTo>
                  <a:cubicBezTo>
                    <a:pt x="2096" y="25683"/>
                    <a:pt x="1620" y="19206"/>
                    <a:pt x="2572" y="13301"/>
                  </a:cubicBezTo>
                  <a:cubicBezTo>
                    <a:pt x="3048" y="10443"/>
                    <a:pt x="3810" y="7586"/>
                    <a:pt x="4763" y="4919"/>
                  </a:cubicBezTo>
                  <a:cubicBezTo>
                    <a:pt x="5430" y="3109"/>
                    <a:pt x="6287" y="2061"/>
                    <a:pt x="8382" y="2061"/>
                  </a:cubicBezTo>
                  <a:cubicBezTo>
                    <a:pt x="9906" y="1966"/>
                    <a:pt x="11526" y="2252"/>
                    <a:pt x="12954" y="2538"/>
                  </a:cubicBezTo>
                  <a:cubicBezTo>
                    <a:pt x="14288" y="3014"/>
                    <a:pt x="14955" y="918"/>
                    <a:pt x="13526" y="633"/>
                  </a:cubicBezTo>
                  <a:lnTo>
                    <a:pt x="13526" y="63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568C76FC-1694-DDFA-7CAE-601C03CB6DF9}"/>
                </a:ext>
              </a:extLst>
            </p:cNvPr>
            <p:cNvSpPr/>
            <p:nvPr/>
          </p:nvSpPr>
          <p:spPr>
            <a:xfrm>
              <a:off x="5997853" y="4488829"/>
              <a:ext cx="21392" cy="32303"/>
            </a:xfrm>
            <a:custGeom>
              <a:avLst/>
              <a:gdLst>
                <a:gd name="connsiteX0" fmla="*/ 2208 w 14654"/>
                <a:gd name="connsiteY0" fmla="*/ 3174 h 22128"/>
                <a:gd name="connsiteX1" fmla="*/ 494 w 14654"/>
                <a:gd name="connsiteY1" fmla="*/ 16890 h 22128"/>
                <a:gd name="connsiteX2" fmla="*/ 18 w 14654"/>
                <a:gd name="connsiteY2" fmla="*/ 20224 h 22128"/>
                <a:gd name="connsiteX3" fmla="*/ 1065 w 14654"/>
                <a:gd name="connsiteY3" fmla="*/ 21938 h 22128"/>
                <a:gd name="connsiteX4" fmla="*/ 4304 w 14654"/>
                <a:gd name="connsiteY4" fmla="*/ 22129 h 22128"/>
                <a:gd name="connsiteX5" fmla="*/ 7923 w 14654"/>
                <a:gd name="connsiteY5" fmla="*/ 22034 h 22128"/>
                <a:gd name="connsiteX6" fmla="*/ 11162 w 14654"/>
                <a:gd name="connsiteY6" fmla="*/ 21748 h 22128"/>
                <a:gd name="connsiteX7" fmla="*/ 14019 w 14654"/>
                <a:gd name="connsiteY7" fmla="*/ 20986 h 22128"/>
                <a:gd name="connsiteX8" fmla="*/ 14591 w 14654"/>
                <a:gd name="connsiteY8" fmla="*/ 18509 h 22128"/>
                <a:gd name="connsiteX9" fmla="*/ 14400 w 14654"/>
                <a:gd name="connsiteY9" fmla="*/ 14795 h 22128"/>
                <a:gd name="connsiteX10" fmla="*/ 12019 w 14654"/>
                <a:gd name="connsiteY10" fmla="*/ 2698 h 22128"/>
                <a:gd name="connsiteX11" fmla="*/ 2113 w 14654"/>
                <a:gd name="connsiteY11" fmla="*/ 1079 h 22128"/>
                <a:gd name="connsiteX12" fmla="*/ 3161 w 14654"/>
                <a:gd name="connsiteY12" fmla="*/ 2984 h 22128"/>
                <a:gd name="connsiteX13" fmla="*/ 9543 w 14654"/>
                <a:gd name="connsiteY13" fmla="*/ 3365 h 22128"/>
                <a:gd name="connsiteX14" fmla="*/ 12114 w 14654"/>
                <a:gd name="connsiteY14" fmla="*/ 10985 h 22128"/>
                <a:gd name="connsiteX15" fmla="*/ 12305 w 14654"/>
                <a:gd name="connsiteY15" fmla="*/ 16033 h 22128"/>
                <a:gd name="connsiteX16" fmla="*/ 12400 w 14654"/>
                <a:gd name="connsiteY16" fmla="*/ 18605 h 22128"/>
                <a:gd name="connsiteX17" fmla="*/ 12495 w 14654"/>
                <a:gd name="connsiteY17" fmla="*/ 19557 h 22128"/>
                <a:gd name="connsiteX18" fmla="*/ 11543 w 14654"/>
                <a:gd name="connsiteY18" fmla="*/ 19652 h 22128"/>
                <a:gd name="connsiteX19" fmla="*/ 6399 w 14654"/>
                <a:gd name="connsiteY19" fmla="*/ 20129 h 22128"/>
                <a:gd name="connsiteX20" fmla="*/ 3828 w 14654"/>
                <a:gd name="connsiteY20" fmla="*/ 20129 h 22128"/>
                <a:gd name="connsiteX21" fmla="*/ 2684 w 14654"/>
                <a:gd name="connsiteY21" fmla="*/ 20129 h 22128"/>
                <a:gd name="connsiteX22" fmla="*/ 1541 w 14654"/>
                <a:gd name="connsiteY22" fmla="*/ 20129 h 22128"/>
                <a:gd name="connsiteX23" fmla="*/ 2018 w 14654"/>
                <a:gd name="connsiteY23" fmla="*/ 20795 h 22128"/>
                <a:gd name="connsiteX24" fmla="*/ 2303 w 14654"/>
                <a:gd name="connsiteY24" fmla="*/ 18795 h 22128"/>
                <a:gd name="connsiteX25" fmla="*/ 2684 w 14654"/>
                <a:gd name="connsiteY25" fmla="*/ 16700 h 22128"/>
                <a:gd name="connsiteX26" fmla="*/ 3542 w 14654"/>
                <a:gd name="connsiteY26" fmla="*/ 12318 h 22128"/>
                <a:gd name="connsiteX27" fmla="*/ 4304 w 14654"/>
                <a:gd name="connsiteY27" fmla="*/ 3555 h 22128"/>
                <a:gd name="connsiteX28" fmla="*/ 2208 w 14654"/>
                <a:gd name="connsiteY28" fmla="*/ 3174 h 22128"/>
                <a:gd name="connsiteX29" fmla="*/ 2208 w 14654"/>
                <a:gd name="connsiteY29" fmla="*/ 3174 h 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654" h="22128">
                  <a:moveTo>
                    <a:pt x="2208" y="3174"/>
                  </a:moveTo>
                  <a:cubicBezTo>
                    <a:pt x="2494" y="7841"/>
                    <a:pt x="1351" y="12318"/>
                    <a:pt x="494" y="16890"/>
                  </a:cubicBezTo>
                  <a:cubicBezTo>
                    <a:pt x="303" y="17938"/>
                    <a:pt x="113" y="19081"/>
                    <a:pt x="18" y="20224"/>
                  </a:cubicBezTo>
                  <a:cubicBezTo>
                    <a:pt x="-78" y="21081"/>
                    <a:pt x="208" y="21748"/>
                    <a:pt x="1065" y="21938"/>
                  </a:cubicBezTo>
                  <a:cubicBezTo>
                    <a:pt x="2113" y="22129"/>
                    <a:pt x="3256" y="22034"/>
                    <a:pt x="4304" y="22129"/>
                  </a:cubicBezTo>
                  <a:cubicBezTo>
                    <a:pt x="5542" y="22129"/>
                    <a:pt x="6780" y="22129"/>
                    <a:pt x="7923" y="22034"/>
                  </a:cubicBezTo>
                  <a:cubicBezTo>
                    <a:pt x="9066" y="21938"/>
                    <a:pt x="10114" y="21843"/>
                    <a:pt x="11162" y="21748"/>
                  </a:cubicBezTo>
                  <a:cubicBezTo>
                    <a:pt x="12114" y="21653"/>
                    <a:pt x="13257" y="21653"/>
                    <a:pt x="14019" y="20986"/>
                  </a:cubicBezTo>
                  <a:cubicBezTo>
                    <a:pt x="14781" y="20319"/>
                    <a:pt x="14686" y="19367"/>
                    <a:pt x="14591" y="18509"/>
                  </a:cubicBezTo>
                  <a:cubicBezTo>
                    <a:pt x="14495" y="17271"/>
                    <a:pt x="14495" y="16033"/>
                    <a:pt x="14400" y="14795"/>
                  </a:cubicBezTo>
                  <a:cubicBezTo>
                    <a:pt x="14210" y="10889"/>
                    <a:pt x="14686" y="5936"/>
                    <a:pt x="12019" y="2698"/>
                  </a:cubicBezTo>
                  <a:cubicBezTo>
                    <a:pt x="9638" y="-160"/>
                    <a:pt x="5256" y="-826"/>
                    <a:pt x="2113" y="1079"/>
                  </a:cubicBezTo>
                  <a:cubicBezTo>
                    <a:pt x="875" y="1745"/>
                    <a:pt x="2018" y="3650"/>
                    <a:pt x="3161" y="2984"/>
                  </a:cubicBezTo>
                  <a:cubicBezTo>
                    <a:pt x="5161" y="1841"/>
                    <a:pt x="7733" y="2031"/>
                    <a:pt x="9543" y="3365"/>
                  </a:cubicBezTo>
                  <a:cubicBezTo>
                    <a:pt x="11828" y="5079"/>
                    <a:pt x="11924" y="8318"/>
                    <a:pt x="12114" y="10985"/>
                  </a:cubicBezTo>
                  <a:cubicBezTo>
                    <a:pt x="12209" y="12699"/>
                    <a:pt x="12305" y="14318"/>
                    <a:pt x="12305" y="16033"/>
                  </a:cubicBezTo>
                  <a:cubicBezTo>
                    <a:pt x="12305" y="16890"/>
                    <a:pt x="12400" y="17747"/>
                    <a:pt x="12400" y="18605"/>
                  </a:cubicBezTo>
                  <a:cubicBezTo>
                    <a:pt x="12400" y="18890"/>
                    <a:pt x="12400" y="19557"/>
                    <a:pt x="12495" y="19557"/>
                  </a:cubicBezTo>
                  <a:cubicBezTo>
                    <a:pt x="12591" y="19462"/>
                    <a:pt x="11638" y="19652"/>
                    <a:pt x="11543" y="19652"/>
                  </a:cubicBezTo>
                  <a:cubicBezTo>
                    <a:pt x="9828" y="19938"/>
                    <a:pt x="8114" y="20033"/>
                    <a:pt x="6399" y="20129"/>
                  </a:cubicBezTo>
                  <a:cubicBezTo>
                    <a:pt x="5542" y="20129"/>
                    <a:pt x="4685" y="20129"/>
                    <a:pt x="3828" y="20129"/>
                  </a:cubicBezTo>
                  <a:cubicBezTo>
                    <a:pt x="3447" y="20129"/>
                    <a:pt x="3066" y="20129"/>
                    <a:pt x="2684" y="20129"/>
                  </a:cubicBezTo>
                  <a:cubicBezTo>
                    <a:pt x="2494" y="20129"/>
                    <a:pt x="1637" y="20224"/>
                    <a:pt x="1541" y="20129"/>
                  </a:cubicBezTo>
                  <a:cubicBezTo>
                    <a:pt x="1732" y="20319"/>
                    <a:pt x="1827" y="20605"/>
                    <a:pt x="2018" y="20795"/>
                  </a:cubicBezTo>
                  <a:cubicBezTo>
                    <a:pt x="1827" y="20414"/>
                    <a:pt x="2208" y="19271"/>
                    <a:pt x="2303" y="18795"/>
                  </a:cubicBezTo>
                  <a:cubicBezTo>
                    <a:pt x="2399" y="18128"/>
                    <a:pt x="2589" y="17366"/>
                    <a:pt x="2684" y="16700"/>
                  </a:cubicBezTo>
                  <a:cubicBezTo>
                    <a:pt x="2970" y="15271"/>
                    <a:pt x="3256" y="13747"/>
                    <a:pt x="3542" y="12318"/>
                  </a:cubicBezTo>
                  <a:cubicBezTo>
                    <a:pt x="4113" y="9461"/>
                    <a:pt x="4494" y="6508"/>
                    <a:pt x="4304" y="3555"/>
                  </a:cubicBezTo>
                  <a:cubicBezTo>
                    <a:pt x="4304" y="1745"/>
                    <a:pt x="2113" y="1745"/>
                    <a:pt x="2208" y="3174"/>
                  </a:cubicBezTo>
                  <a:lnTo>
                    <a:pt x="2208" y="317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CA68565F-1760-D44D-243F-FB52FD15FD0E}"/>
                </a:ext>
              </a:extLst>
            </p:cNvPr>
            <p:cNvSpPr/>
            <p:nvPr/>
          </p:nvSpPr>
          <p:spPr>
            <a:xfrm>
              <a:off x="5986065" y="4554661"/>
              <a:ext cx="48002" cy="8917"/>
            </a:xfrm>
            <a:custGeom>
              <a:avLst/>
              <a:gdLst>
                <a:gd name="connsiteX0" fmla="*/ 1330 w 32882"/>
                <a:gd name="connsiteY0" fmla="*/ 6096 h 6108"/>
                <a:gd name="connsiteX1" fmla="*/ 16570 w 32882"/>
                <a:gd name="connsiteY1" fmla="*/ 3143 h 6108"/>
                <a:gd name="connsiteX2" fmla="*/ 31810 w 32882"/>
                <a:gd name="connsiteY2" fmla="*/ 2191 h 6108"/>
                <a:gd name="connsiteX3" fmla="*/ 31810 w 32882"/>
                <a:gd name="connsiteY3" fmla="*/ 0 h 6108"/>
                <a:gd name="connsiteX4" fmla="*/ 15999 w 32882"/>
                <a:gd name="connsiteY4" fmla="*/ 953 h 6108"/>
                <a:gd name="connsiteX5" fmla="*/ 759 w 32882"/>
                <a:gd name="connsiteY5" fmla="*/ 3905 h 6108"/>
                <a:gd name="connsiteX6" fmla="*/ 1330 w 32882"/>
                <a:gd name="connsiteY6" fmla="*/ 6096 h 6108"/>
                <a:gd name="connsiteX7" fmla="*/ 1330 w 32882"/>
                <a:gd name="connsiteY7" fmla="*/ 6096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82" h="6108">
                  <a:moveTo>
                    <a:pt x="1330" y="6096"/>
                  </a:moveTo>
                  <a:cubicBezTo>
                    <a:pt x="6474" y="5239"/>
                    <a:pt x="11427" y="3715"/>
                    <a:pt x="16570" y="3143"/>
                  </a:cubicBezTo>
                  <a:cubicBezTo>
                    <a:pt x="21619" y="2572"/>
                    <a:pt x="26762" y="2381"/>
                    <a:pt x="31810" y="2191"/>
                  </a:cubicBezTo>
                  <a:cubicBezTo>
                    <a:pt x="33239" y="2191"/>
                    <a:pt x="33239" y="0"/>
                    <a:pt x="31810" y="0"/>
                  </a:cubicBezTo>
                  <a:cubicBezTo>
                    <a:pt x="26572" y="191"/>
                    <a:pt x="21238" y="381"/>
                    <a:pt x="15999" y="953"/>
                  </a:cubicBezTo>
                  <a:cubicBezTo>
                    <a:pt x="10855" y="1619"/>
                    <a:pt x="5902" y="3048"/>
                    <a:pt x="759" y="3905"/>
                  </a:cubicBezTo>
                  <a:cubicBezTo>
                    <a:pt x="-575" y="4286"/>
                    <a:pt x="-3" y="6287"/>
                    <a:pt x="1330" y="6096"/>
                  </a:cubicBezTo>
                  <a:lnTo>
                    <a:pt x="1330" y="609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607029FF-C9B2-6AF9-9698-CF7970433BFD}"/>
                </a:ext>
              </a:extLst>
            </p:cNvPr>
            <p:cNvSpPr/>
            <p:nvPr/>
          </p:nvSpPr>
          <p:spPr>
            <a:xfrm>
              <a:off x="5990108" y="4567017"/>
              <a:ext cx="46419" cy="8934"/>
            </a:xfrm>
            <a:custGeom>
              <a:avLst/>
              <a:gdLst>
                <a:gd name="connsiteX0" fmla="*/ 1036 w 31798"/>
                <a:gd name="connsiteY0" fmla="*/ 6109 h 6120"/>
                <a:gd name="connsiteX1" fmla="*/ 31040 w 31798"/>
                <a:gd name="connsiteY1" fmla="*/ 2108 h 6120"/>
                <a:gd name="connsiteX2" fmla="*/ 30468 w 31798"/>
                <a:gd name="connsiteY2" fmla="*/ 13 h 6120"/>
                <a:gd name="connsiteX3" fmla="*/ 1036 w 31798"/>
                <a:gd name="connsiteY3" fmla="*/ 4013 h 6120"/>
                <a:gd name="connsiteX4" fmla="*/ 1036 w 31798"/>
                <a:gd name="connsiteY4" fmla="*/ 6109 h 6120"/>
                <a:gd name="connsiteX5" fmla="*/ 1036 w 31798"/>
                <a:gd name="connsiteY5" fmla="*/ 6109 h 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98" h="6120">
                  <a:moveTo>
                    <a:pt x="1036" y="6109"/>
                  </a:moveTo>
                  <a:cubicBezTo>
                    <a:pt x="11133" y="5156"/>
                    <a:pt x="21134" y="3823"/>
                    <a:pt x="31040" y="2108"/>
                  </a:cubicBezTo>
                  <a:cubicBezTo>
                    <a:pt x="32373" y="1823"/>
                    <a:pt x="31802" y="-178"/>
                    <a:pt x="30468" y="13"/>
                  </a:cubicBezTo>
                  <a:cubicBezTo>
                    <a:pt x="20753" y="1727"/>
                    <a:pt x="10847" y="3061"/>
                    <a:pt x="1036" y="4013"/>
                  </a:cubicBezTo>
                  <a:cubicBezTo>
                    <a:pt x="-297" y="4109"/>
                    <a:pt x="-393" y="6299"/>
                    <a:pt x="1036" y="6109"/>
                  </a:cubicBezTo>
                  <a:lnTo>
                    <a:pt x="1036" y="6109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4C415627-D39F-0B3C-E691-033D6CA4374D}"/>
                </a:ext>
              </a:extLst>
            </p:cNvPr>
            <p:cNvSpPr/>
            <p:nvPr/>
          </p:nvSpPr>
          <p:spPr>
            <a:xfrm>
              <a:off x="5991970" y="4576195"/>
              <a:ext cx="47202" cy="9490"/>
            </a:xfrm>
            <a:custGeom>
              <a:avLst/>
              <a:gdLst>
                <a:gd name="connsiteX0" fmla="*/ 1000 w 32334"/>
                <a:gd name="connsiteY0" fmla="*/ 6490 h 6501"/>
                <a:gd name="connsiteX1" fmla="*/ 31575 w 32334"/>
                <a:gd name="connsiteY1" fmla="*/ 2108 h 6501"/>
                <a:gd name="connsiteX2" fmla="*/ 31004 w 32334"/>
                <a:gd name="connsiteY2" fmla="*/ 13 h 6501"/>
                <a:gd name="connsiteX3" fmla="*/ 1000 w 32334"/>
                <a:gd name="connsiteY3" fmla="*/ 4299 h 6501"/>
                <a:gd name="connsiteX4" fmla="*/ 1000 w 32334"/>
                <a:gd name="connsiteY4" fmla="*/ 6490 h 6501"/>
                <a:gd name="connsiteX5" fmla="*/ 1000 w 32334"/>
                <a:gd name="connsiteY5" fmla="*/ 649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34" h="6501">
                  <a:moveTo>
                    <a:pt x="1000" y="6490"/>
                  </a:moveTo>
                  <a:cubicBezTo>
                    <a:pt x="11287" y="5442"/>
                    <a:pt x="21479" y="3918"/>
                    <a:pt x="31575" y="2108"/>
                  </a:cubicBezTo>
                  <a:cubicBezTo>
                    <a:pt x="32909" y="1823"/>
                    <a:pt x="32337" y="-178"/>
                    <a:pt x="31004" y="13"/>
                  </a:cubicBezTo>
                  <a:cubicBezTo>
                    <a:pt x="21003" y="1823"/>
                    <a:pt x="11001" y="3251"/>
                    <a:pt x="1000" y="4299"/>
                  </a:cubicBezTo>
                  <a:cubicBezTo>
                    <a:pt x="-333" y="4490"/>
                    <a:pt x="-333" y="6680"/>
                    <a:pt x="1000" y="6490"/>
                  </a:cubicBezTo>
                  <a:lnTo>
                    <a:pt x="1000" y="649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8B29C36-B52C-5219-2DE8-94B09DC060C1}"/>
                </a:ext>
              </a:extLst>
            </p:cNvPr>
            <p:cNvGrpSpPr/>
            <p:nvPr/>
          </p:nvGrpSpPr>
          <p:grpSpPr>
            <a:xfrm>
              <a:off x="5361193" y="4832073"/>
              <a:ext cx="259428" cy="603527"/>
              <a:chOff x="5243718" y="4765398"/>
              <a:chExt cx="259428" cy="603527"/>
            </a:xfrm>
          </p:grpSpPr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08E10A59-4F1B-772C-30B5-88967267B2EB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CA8D437C-A160-AAAD-611E-751AA2ACF58D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D528B035-1C1D-66A3-5660-D93B9A1F3FF9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DF1F1091-5DB5-26E3-8982-33B9A9B8ECE4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B7555B3A-90BB-CDD5-E6FB-DA3E5BF75849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1716ABF7-7157-B2D4-4857-FC5A109F29EF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B3E0D61C-44D3-DA46-3F1D-296C8CA4A0B5}"/>
                </a:ext>
              </a:extLst>
            </p:cNvPr>
            <p:cNvGrpSpPr/>
            <p:nvPr/>
          </p:nvGrpSpPr>
          <p:grpSpPr>
            <a:xfrm flipH="1">
              <a:off x="5653293" y="4838423"/>
              <a:ext cx="259428" cy="603527"/>
              <a:chOff x="5243718" y="4765398"/>
              <a:chExt cx="259428" cy="603527"/>
            </a:xfrm>
          </p:grpSpPr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2F994235-AE3A-FBB2-CE04-7EE6401897D9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C0CEEC5-0A74-9863-61E3-356DCFCD64DC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179F7AFA-1CC0-7124-AFFA-5EE7E6302E24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365B17BD-F722-578A-B78B-0A2E8D4B6BD7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EA504253-0BFB-29CA-6FFC-946A509FDC03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05E31A32-D7E2-EFF1-3EAB-AA06DFF5D581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62BA5F2-D638-6E70-4CCF-B6DAF77252FD}"/>
              </a:ext>
            </a:extLst>
          </p:cNvPr>
          <p:cNvGrpSpPr/>
          <p:nvPr/>
        </p:nvGrpSpPr>
        <p:grpSpPr>
          <a:xfrm>
            <a:off x="5236374" y="3102796"/>
            <a:ext cx="1719252" cy="1713198"/>
            <a:chOff x="3004491" y="3690053"/>
            <a:chExt cx="2625652" cy="2616409"/>
          </a:xfrm>
        </p:grpSpPr>
        <p:sp>
          <p:nvSpPr>
            <p:cNvPr id="37" name="Graphic 9">
              <a:extLst>
                <a:ext uri="{FF2B5EF4-FFF2-40B4-BE49-F238E27FC236}">
                  <a16:creationId xmlns:a16="http://schemas.microsoft.com/office/drawing/2014/main" id="{B1E1D969-F191-9A0B-28A3-969107BD9C70}"/>
                </a:ext>
              </a:extLst>
            </p:cNvPr>
            <p:cNvSpPr/>
            <p:nvPr/>
          </p:nvSpPr>
          <p:spPr>
            <a:xfrm>
              <a:off x="3004491" y="3690053"/>
              <a:ext cx="2625652" cy="2616409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>
                <a:alpha val="58000"/>
              </a:schemeClr>
            </a:solidFill>
            <a:ln w="28575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Graphic 9">
              <a:extLst>
                <a:ext uri="{FF2B5EF4-FFF2-40B4-BE49-F238E27FC236}">
                  <a16:creationId xmlns:a16="http://schemas.microsoft.com/office/drawing/2014/main" id="{A65DB564-9002-FAEF-2EAD-FDF7840BED8A}"/>
                </a:ext>
              </a:extLst>
            </p:cNvPr>
            <p:cNvSpPr/>
            <p:nvPr/>
          </p:nvSpPr>
          <p:spPr>
            <a:xfrm>
              <a:off x="3145278" y="3830346"/>
              <a:ext cx="2344078" cy="2335826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/>
            </a:solidFill>
            <a:ln w="5213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9" name="Group 99">
            <a:extLst>
              <a:ext uri="{FF2B5EF4-FFF2-40B4-BE49-F238E27FC236}">
                <a16:creationId xmlns:a16="http://schemas.microsoft.com/office/drawing/2014/main" id="{D884FDB9-3005-C719-7B78-7230FF8363CA}"/>
              </a:ext>
            </a:extLst>
          </p:cNvPr>
          <p:cNvGrpSpPr/>
          <p:nvPr/>
        </p:nvGrpSpPr>
        <p:grpSpPr>
          <a:xfrm>
            <a:off x="5692129" y="3318236"/>
            <a:ext cx="903388" cy="1285328"/>
            <a:chOff x="1812950" y="1639609"/>
            <a:chExt cx="3101338" cy="4273873"/>
          </a:xfrm>
        </p:grpSpPr>
        <p:grpSp>
          <p:nvGrpSpPr>
            <p:cNvPr id="505" name="Group 91">
              <a:extLst>
                <a:ext uri="{FF2B5EF4-FFF2-40B4-BE49-F238E27FC236}">
                  <a16:creationId xmlns:a16="http://schemas.microsoft.com/office/drawing/2014/main" id="{7E34548B-17F6-41B8-CB54-37F2B832997F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71" name="Freeform: Shape 56">
                <a:extLst>
                  <a:ext uri="{FF2B5EF4-FFF2-40B4-BE49-F238E27FC236}">
                    <a16:creationId xmlns:a16="http://schemas.microsoft.com/office/drawing/2014/main" id="{00CF67B9-4562-244B-183C-3B39DA8DF5D0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112" fmla="*/ 1202733 w 1739754"/>
                  <a:gd name="connsiteY112" fmla="*/ 10864 h 2666451"/>
                  <a:gd name="connsiteX113" fmla="*/ 1202733 w 1739754"/>
                  <a:gd name="connsiteY113" fmla="*/ 10864 h 2666451"/>
                  <a:gd name="connsiteX114" fmla="*/ 1202733 w 1739754"/>
                  <a:gd name="connsiteY114" fmla="*/ 10864 h 2666451"/>
                  <a:gd name="connsiteX115" fmla="*/ 1202733 w 1739754"/>
                  <a:gd name="connsiteY115" fmla="*/ 10864 h 2666451"/>
                  <a:gd name="connsiteX116" fmla="*/ 1202733 w 1739754"/>
                  <a:gd name="connsiteY116" fmla="*/ 10864 h 2666451"/>
                  <a:gd name="connsiteX117" fmla="*/ 1202733 w 1739754"/>
                  <a:gd name="connsiteY117" fmla="*/ 10864 h 2666451"/>
                  <a:gd name="connsiteX118" fmla="*/ 1202733 w 1739754"/>
                  <a:gd name="connsiteY118" fmla="*/ 10864 h 2666451"/>
                  <a:gd name="connsiteX119" fmla="*/ 1202733 w 1739754"/>
                  <a:gd name="connsiteY119" fmla="*/ 10864 h 2666451"/>
                  <a:gd name="connsiteX120" fmla="*/ 1202733 w 1739754"/>
                  <a:gd name="connsiteY120" fmla="*/ 10864 h 2666451"/>
                  <a:gd name="connsiteX121" fmla="*/ 1202733 w 1739754"/>
                  <a:gd name="connsiteY121" fmla="*/ 10864 h 2673102"/>
                  <a:gd name="connsiteX122" fmla="*/ 1202733 w 1739754"/>
                  <a:gd name="connsiteY122" fmla="*/ 10864 h 2673102"/>
                  <a:gd name="connsiteX123" fmla="*/ 1202733 w 1739754"/>
                  <a:gd name="connsiteY123" fmla="*/ 10864 h 2673102"/>
                  <a:gd name="connsiteX124" fmla="*/ 1202733 w 1739754"/>
                  <a:gd name="connsiteY124" fmla="*/ 10864 h 2673102"/>
                  <a:gd name="connsiteX125" fmla="*/ 1202733 w 1739754"/>
                  <a:gd name="connsiteY125" fmla="*/ 10864 h 2673102"/>
                  <a:gd name="connsiteX126" fmla="*/ 1202733 w 1739754"/>
                  <a:gd name="connsiteY126" fmla="*/ 10864 h 2673102"/>
                  <a:gd name="connsiteX127" fmla="*/ 1202733 w 1739754"/>
                  <a:gd name="connsiteY127" fmla="*/ 10864 h 2673102"/>
                  <a:gd name="connsiteX128" fmla="*/ 1202733 w 1739754"/>
                  <a:gd name="connsiteY128" fmla="*/ 10864 h 2673102"/>
                  <a:gd name="connsiteX129" fmla="*/ 1202733 w 1739754"/>
                  <a:gd name="connsiteY129" fmla="*/ 10864 h 2673102"/>
                  <a:gd name="connsiteX130" fmla="*/ 1202733 w 1739754"/>
                  <a:gd name="connsiteY130" fmla="*/ 10864 h 2673102"/>
                  <a:gd name="connsiteX131" fmla="*/ 1202733 w 1739754"/>
                  <a:gd name="connsiteY131" fmla="*/ 10864 h 2673102"/>
                  <a:gd name="connsiteX132" fmla="*/ 1202733 w 1739754"/>
                  <a:gd name="connsiteY132" fmla="*/ 10864 h 2673102"/>
                  <a:gd name="connsiteX133" fmla="*/ 1202733 w 1739754"/>
                  <a:gd name="connsiteY133" fmla="*/ 10864 h 2673102"/>
                  <a:gd name="connsiteX134" fmla="*/ 1202733 w 1739754"/>
                  <a:gd name="connsiteY134" fmla="*/ 10864 h 2673102"/>
                  <a:gd name="connsiteX135" fmla="*/ 1202733 w 1739754"/>
                  <a:gd name="connsiteY135" fmla="*/ 10864 h 2673102"/>
                  <a:gd name="connsiteX136" fmla="*/ 1202733 w 1739754"/>
                  <a:gd name="connsiteY136" fmla="*/ 10864 h 2673102"/>
                  <a:gd name="connsiteX137" fmla="*/ 1202733 w 1739754"/>
                  <a:gd name="connsiteY137" fmla="*/ 10864 h 2673102"/>
                  <a:gd name="connsiteX138" fmla="*/ 1202733 w 1739754"/>
                  <a:gd name="connsiteY138" fmla="*/ 10864 h 2673102"/>
                  <a:gd name="connsiteX139" fmla="*/ 1202733 w 1739754"/>
                  <a:gd name="connsiteY139" fmla="*/ 10864 h 2673102"/>
                  <a:gd name="connsiteX140" fmla="*/ 1202733 w 1739754"/>
                  <a:gd name="connsiteY140" fmla="*/ 10864 h 2673102"/>
                  <a:gd name="connsiteX141" fmla="*/ 1202733 w 1739754"/>
                  <a:gd name="connsiteY141" fmla="*/ 10864 h 2673102"/>
                  <a:gd name="connsiteX142" fmla="*/ 1202733 w 1739754"/>
                  <a:gd name="connsiteY142" fmla="*/ 10864 h 2673102"/>
                  <a:gd name="connsiteX143" fmla="*/ 1202733 w 1739754"/>
                  <a:gd name="connsiteY143" fmla="*/ 10864 h 2673102"/>
                  <a:gd name="connsiteX144" fmla="*/ 1202733 w 1739754"/>
                  <a:gd name="connsiteY144" fmla="*/ 10864 h 2673102"/>
                  <a:gd name="connsiteX145" fmla="*/ 1202733 w 1739754"/>
                  <a:gd name="connsiteY145" fmla="*/ 10864 h 2673102"/>
                  <a:gd name="connsiteX146" fmla="*/ 1202733 w 1739754"/>
                  <a:gd name="connsiteY146" fmla="*/ 10864 h 2673102"/>
                  <a:gd name="connsiteX147" fmla="*/ 1202733 w 1739754"/>
                  <a:gd name="connsiteY147" fmla="*/ 10864 h 2673102"/>
                  <a:gd name="connsiteX148" fmla="*/ 1202733 w 1739754"/>
                  <a:gd name="connsiteY148" fmla="*/ 10864 h 2673102"/>
                  <a:gd name="connsiteX149" fmla="*/ 1202733 w 1739754"/>
                  <a:gd name="connsiteY149" fmla="*/ 10864 h 2673102"/>
                  <a:gd name="connsiteX150" fmla="*/ 1202733 w 1739754"/>
                  <a:gd name="connsiteY150" fmla="*/ 10864 h 2673102"/>
                  <a:gd name="connsiteX151" fmla="*/ 1202733 w 1739754"/>
                  <a:gd name="connsiteY151" fmla="*/ 10864 h 2673102"/>
                  <a:gd name="connsiteX152" fmla="*/ 1202733 w 1739754"/>
                  <a:gd name="connsiteY152" fmla="*/ 10864 h 2673102"/>
                  <a:gd name="connsiteX153" fmla="*/ 1202733 w 1739754"/>
                  <a:gd name="connsiteY153" fmla="*/ 10864 h 2673102"/>
                  <a:gd name="connsiteX154" fmla="*/ 1202733 w 1739754"/>
                  <a:gd name="connsiteY154" fmla="*/ 10864 h 2673102"/>
                  <a:gd name="connsiteX155" fmla="*/ 1202733 w 1739754"/>
                  <a:gd name="connsiteY155" fmla="*/ 10864 h 2673102"/>
                  <a:gd name="connsiteX156" fmla="*/ 1202733 w 1739754"/>
                  <a:gd name="connsiteY156" fmla="*/ 10864 h 2673102"/>
                  <a:gd name="connsiteX157" fmla="*/ 1202733 w 1739754"/>
                  <a:gd name="connsiteY157" fmla="*/ 10864 h 2673102"/>
                  <a:gd name="connsiteX158" fmla="*/ 1202733 w 1739754"/>
                  <a:gd name="connsiteY158" fmla="*/ 10864 h 2673102"/>
                  <a:gd name="connsiteX159" fmla="*/ 1202733 w 1739754"/>
                  <a:gd name="connsiteY159" fmla="*/ 10864 h 2673102"/>
                  <a:gd name="connsiteX160" fmla="*/ 1202733 w 1739754"/>
                  <a:gd name="connsiteY160" fmla="*/ 10864 h 2673102"/>
                  <a:gd name="connsiteX161" fmla="*/ 1202733 w 1739754"/>
                  <a:gd name="connsiteY161" fmla="*/ 10864 h 2673102"/>
                  <a:gd name="connsiteX162" fmla="*/ 1202733 w 1739754"/>
                  <a:gd name="connsiteY162" fmla="*/ 10864 h 2673102"/>
                  <a:gd name="connsiteX163" fmla="*/ 1202733 w 1739754"/>
                  <a:gd name="connsiteY163" fmla="*/ 10864 h 2673102"/>
                  <a:gd name="connsiteX164" fmla="*/ 1202733 w 1739754"/>
                  <a:gd name="connsiteY164" fmla="*/ 10864 h 2673102"/>
                  <a:gd name="connsiteX165" fmla="*/ 1202733 w 1739754"/>
                  <a:gd name="connsiteY165" fmla="*/ 10864 h 2673102"/>
                  <a:gd name="connsiteX166" fmla="*/ 1202733 w 1739754"/>
                  <a:gd name="connsiteY166" fmla="*/ 10864 h 2673102"/>
                  <a:gd name="connsiteX167" fmla="*/ 1202733 w 1739754"/>
                  <a:gd name="connsiteY167" fmla="*/ 10864 h 2673102"/>
                  <a:gd name="connsiteX168" fmla="*/ 1202733 w 1708284"/>
                  <a:gd name="connsiteY168" fmla="*/ 10864 h 2673102"/>
                  <a:gd name="connsiteX169" fmla="*/ 1202733 w 1712321"/>
                  <a:gd name="connsiteY169" fmla="*/ 10864 h 2673102"/>
                  <a:gd name="connsiteX170" fmla="*/ 1202733 w 1712321"/>
                  <a:gd name="connsiteY170" fmla="*/ 10864 h 2673102"/>
                  <a:gd name="connsiteX171" fmla="*/ 1195674 w 1705262"/>
                  <a:gd name="connsiteY171" fmla="*/ 10864 h 2673102"/>
                  <a:gd name="connsiteX172" fmla="*/ 1195494 w 1705082"/>
                  <a:gd name="connsiteY172" fmla="*/ 10864 h 2673102"/>
                  <a:gd name="connsiteX173" fmla="*/ 1195494 w 1705082"/>
                  <a:gd name="connsiteY173" fmla="*/ 10864 h 2673102"/>
                  <a:gd name="connsiteX174" fmla="*/ 1195494 w 1705082"/>
                  <a:gd name="connsiteY174" fmla="*/ 10864 h 2673102"/>
                  <a:gd name="connsiteX175" fmla="*/ 1195494 w 1705082"/>
                  <a:gd name="connsiteY175" fmla="*/ 10864 h 2673102"/>
                  <a:gd name="connsiteX176" fmla="*/ 1195494 w 1705082"/>
                  <a:gd name="connsiteY176" fmla="*/ 10864 h 2673102"/>
                  <a:gd name="connsiteX177" fmla="*/ 1195494 w 1705082"/>
                  <a:gd name="connsiteY177" fmla="*/ 10864 h 2673102"/>
                  <a:gd name="connsiteX178" fmla="*/ 1195494 w 1705082"/>
                  <a:gd name="connsiteY178" fmla="*/ 10864 h 2673102"/>
                  <a:gd name="connsiteX179" fmla="*/ 1195494 w 1705082"/>
                  <a:gd name="connsiteY179" fmla="*/ 10864 h 2673102"/>
                  <a:gd name="connsiteX180" fmla="*/ 1195494 w 1705082"/>
                  <a:gd name="connsiteY180" fmla="*/ 10864 h 2673102"/>
                  <a:gd name="connsiteX181" fmla="*/ 1195494 w 1705082"/>
                  <a:gd name="connsiteY181" fmla="*/ 10864 h 2673102"/>
                  <a:gd name="connsiteX182" fmla="*/ 1195494 w 1705082"/>
                  <a:gd name="connsiteY182" fmla="*/ 10864 h 2673102"/>
                  <a:gd name="connsiteX183" fmla="*/ 1195494 w 1705082"/>
                  <a:gd name="connsiteY183" fmla="*/ 10864 h 2673102"/>
                  <a:gd name="connsiteX184" fmla="*/ 1195494 w 1705082"/>
                  <a:gd name="connsiteY184" fmla="*/ 10864 h 2673102"/>
                  <a:gd name="connsiteX185" fmla="*/ 1195494 w 1705082"/>
                  <a:gd name="connsiteY185" fmla="*/ 10864 h 2673102"/>
                  <a:gd name="connsiteX186" fmla="*/ 1195494 w 1705082"/>
                  <a:gd name="connsiteY186" fmla="*/ 10864 h 2673102"/>
                  <a:gd name="connsiteX187" fmla="*/ 1195494 w 1705082"/>
                  <a:gd name="connsiteY187" fmla="*/ 10864 h 2673102"/>
                  <a:gd name="connsiteX188" fmla="*/ 1195494 w 1705082"/>
                  <a:gd name="connsiteY188" fmla="*/ 10864 h 2673102"/>
                  <a:gd name="connsiteX189" fmla="*/ 1195494 w 1705082"/>
                  <a:gd name="connsiteY189" fmla="*/ 10864 h 2673102"/>
                  <a:gd name="connsiteX190" fmla="*/ 1195494 w 1705082"/>
                  <a:gd name="connsiteY190" fmla="*/ 10864 h 2673102"/>
                  <a:gd name="connsiteX191" fmla="*/ 1195494 w 1705082"/>
                  <a:gd name="connsiteY191" fmla="*/ 10864 h 2673102"/>
                  <a:gd name="connsiteX192" fmla="*/ 1195494 w 1705082"/>
                  <a:gd name="connsiteY192" fmla="*/ 10864 h 2673102"/>
                  <a:gd name="connsiteX193" fmla="*/ 1195494 w 1705082"/>
                  <a:gd name="connsiteY193" fmla="*/ 10864 h 2673102"/>
                  <a:gd name="connsiteX194" fmla="*/ 1195494 w 1705082"/>
                  <a:gd name="connsiteY194" fmla="*/ 10864 h 2673102"/>
                  <a:gd name="connsiteX195" fmla="*/ 1195494 w 1705082"/>
                  <a:gd name="connsiteY195" fmla="*/ 10864 h 2673102"/>
                  <a:gd name="connsiteX196" fmla="*/ 1195494 w 1705082"/>
                  <a:gd name="connsiteY196" fmla="*/ 790 h 2663028"/>
                  <a:gd name="connsiteX197" fmla="*/ 1195494 w 1705082"/>
                  <a:gd name="connsiteY197" fmla="*/ 790 h 2663028"/>
                  <a:gd name="connsiteX198" fmla="*/ 1195494 w 1705082"/>
                  <a:gd name="connsiteY198" fmla="*/ 790 h 2663028"/>
                  <a:gd name="connsiteX199" fmla="*/ 1195494 w 1705082"/>
                  <a:gd name="connsiteY199" fmla="*/ 790 h 2663028"/>
                  <a:gd name="connsiteX200" fmla="*/ 1195494 w 1705082"/>
                  <a:gd name="connsiteY200" fmla="*/ 790 h 2663028"/>
                  <a:gd name="connsiteX201" fmla="*/ 1195494 w 1705082"/>
                  <a:gd name="connsiteY201" fmla="*/ 790 h 2663028"/>
                  <a:gd name="connsiteX202" fmla="*/ 1195494 w 1705082"/>
                  <a:gd name="connsiteY202" fmla="*/ 790 h 266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3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/>
              </a:p>
            </p:txBody>
          </p:sp>
          <p:sp>
            <p:nvSpPr>
              <p:cNvPr id="72" name="Freeform: Shape 57">
                <a:extLst>
                  <a:ext uri="{FF2B5EF4-FFF2-40B4-BE49-F238E27FC236}">
                    <a16:creationId xmlns:a16="http://schemas.microsoft.com/office/drawing/2014/main" id="{2D3CC09B-F8CC-F4C2-7062-52B491ABC4EF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154" fmla="*/ 1395413 w 1602771"/>
                  <a:gd name="connsiteY154" fmla="*/ 1352 h 2249252"/>
                  <a:gd name="connsiteX155" fmla="*/ 1395413 w 1602771"/>
                  <a:gd name="connsiteY155" fmla="*/ 1352 h 2249252"/>
                  <a:gd name="connsiteX156" fmla="*/ 1395413 w 1602771"/>
                  <a:gd name="connsiteY156" fmla="*/ 1352 h 2249252"/>
                  <a:gd name="connsiteX157" fmla="*/ 1395413 w 1602771"/>
                  <a:gd name="connsiteY157" fmla="*/ 1352 h 2249252"/>
                  <a:gd name="connsiteX158" fmla="*/ 1395413 w 1602771"/>
                  <a:gd name="connsiteY158" fmla="*/ 1352 h 2249252"/>
                  <a:gd name="connsiteX159" fmla="*/ 1395413 w 1602771"/>
                  <a:gd name="connsiteY159" fmla="*/ 1352 h 2249252"/>
                  <a:gd name="connsiteX160" fmla="*/ 1395413 w 1602771"/>
                  <a:gd name="connsiteY160" fmla="*/ 1352 h 2249252"/>
                  <a:gd name="connsiteX161" fmla="*/ 1395413 w 1602771"/>
                  <a:gd name="connsiteY161" fmla="*/ 1352 h 2249252"/>
                  <a:gd name="connsiteX162" fmla="*/ 1395413 w 1602771"/>
                  <a:gd name="connsiteY162" fmla="*/ 1352 h 2249252"/>
                  <a:gd name="connsiteX163" fmla="*/ 1395413 w 1602771"/>
                  <a:gd name="connsiteY163" fmla="*/ 1352 h 2249252"/>
                  <a:gd name="connsiteX164" fmla="*/ 1395413 w 1602771"/>
                  <a:gd name="connsiteY164" fmla="*/ 1352 h 2249252"/>
                  <a:gd name="connsiteX165" fmla="*/ 1395413 w 1602771"/>
                  <a:gd name="connsiteY165" fmla="*/ 1352 h 2249252"/>
                  <a:gd name="connsiteX166" fmla="*/ 1395413 w 1602771"/>
                  <a:gd name="connsiteY166" fmla="*/ 1352 h 2249252"/>
                  <a:gd name="connsiteX167" fmla="*/ 1395413 w 1602771"/>
                  <a:gd name="connsiteY167" fmla="*/ 1352 h 2249252"/>
                  <a:gd name="connsiteX168" fmla="*/ 1395413 w 1602771"/>
                  <a:gd name="connsiteY168" fmla="*/ 1352 h 2249252"/>
                  <a:gd name="connsiteX169" fmla="*/ 1395413 w 1602771"/>
                  <a:gd name="connsiteY169" fmla="*/ 1352 h 2249252"/>
                  <a:gd name="connsiteX170" fmla="*/ 1395413 w 1602771"/>
                  <a:gd name="connsiteY170" fmla="*/ 1352 h 2249252"/>
                  <a:gd name="connsiteX171" fmla="*/ 1395413 w 1602771"/>
                  <a:gd name="connsiteY171" fmla="*/ 1352 h 2249252"/>
                  <a:gd name="connsiteX172" fmla="*/ 1395413 w 1602771"/>
                  <a:gd name="connsiteY172" fmla="*/ 1352 h 2249252"/>
                  <a:gd name="connsiteX173" fmla="*/ 1395413 w 1602771"/>
                  <a:gd name="connsiteY173" fmla="*/ 1352 h 2249252"/>
                  <a:gd name="connsiteX174" fmla="*/ 1395413 w 1602771"/>
                  <a:gd name="connsiteY174" fmla="*/ 1352 h 2249252"/>
                  <a:gd name="connsiteX175" fmla="*/ 1395413 w 1602771"/>
                  <a:gd name="connsiteY175" fmla="*/ 1352 h 2249252"/>
                  <a:gd name="connsiteX176" fmla="*/ 1395413 w 1602771"/>
                  <a:gd name="connsiteY176" fmla="*/ 1352 h 2249252"/>
                  <a:gd name="connsiteX177" fmla="*/ 1395413 w 1602771"/>
                  <a:gd name="connsiteY177" fmla="*/ 1352 h 2249252"/>
                  <a:gd name="connsiteX178" fmla="*/ 1395413 w 1602771"/>
                  <a:gd name="connsiteY178" fmla="*/ 1352 h 2249252"/>
                  <a:gd name="connsiteX179" fmla="*/ 1395413 w 1602771"/>
                  <a:gd name="connsiteY179" fmla="*/ 1352 h 2249252"/>
                  <a:gd name="connsiteX180" fmla="*/ 1395413 w 1602771"/>
                  <a:gd name="connsiteY180" fmla="*/ 1352 h 2249252"/>
                  <a:gd name="connsiteX181" fmla="*/ 1395413 w 1602771"/>
                  <a:gd name="connsiteY181" fmla="*/ 1352 h 2249252"/>
                  <a:gd name="connsiteX182" fmla="*/ 1395413 w 1602771"/>
                  <a:gd name="connsiteY182" fmla="*/ 1352 h 2249252"/>
                  <a:gd name="connsiteX183" fmla="*/ 1395413 w 1602771"/>
                  <a:gd name="connsiteY183" fmla="*/ 1352 h 2249252"/>
                  <a:gd name="connsiteX184" fmla="*/ 1395413 w 1602771"/>
                  <a:gd name="connsiteY184" fmla="*/ 1352 h 2249252"/>
                  <a:gd name="connsiteX185" fmla="*/ 1395413 w 1602771"/>
                  <a:gd name="connsiteY185" fmla="*/ 1352 h 224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/>
              </a:p>
            </p:txBody>
          </p:sp>
          <p:sp>
            <p:nvSpPr>
              <p:cNvPr id="73" name="Freeform: Shape 40">
                <a:extLst>
                  <a:ext uri="{FF2B5EF4-FFF2-40B4-BE49-F238E27FC236}">
                    <a16:creationId xmlns:a16="http://schemas.microsoft.com/office/drawing/2014/main" id="{87C56983-0C3B-0F79-3EF6-E2F6B8A1FD3E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  <a:gd name="connsiteX43" fmla="*/ 2371621 w 3142643"/>
                  <a:gd name="connsiteY43" fmla="*/ 190500 h 3131365"/>
                  <a:gd name="connsiteX44" fmla="*/ 2371621 w 3142643"/>
                  <a:gd name="connsiteY44" fmla="*/ 190500 h 3131365"/>
                  <a:gd name="connsiteX45" fmla="*/ 2371621 w 3142643"/>
                  <a:gd name="connsiteY45" fmla="*/ 190500 h 3131365"/>
                  <a:gd name="connsiteX46" fmla="*/ 2371621 w 3142643"/>
                  <a:gd name="connsiteY46" fmla="*/ 190500 h 3131365"/>
                  <a:gd name="connsiteX47" fmla="*/ 2371621 w 3142643"/>
                  <a:gd name="connsiteY47" fmla="*/ 190500 h 3131365"/>
                  <a:gd name="connsiteX48" fmla="*/ 2371621 w 3141752"/>
                  <a:gd name="connsiteY48" fmla="*/ 190500 h 3131365"/>
                  <a:gd name="connsiteX49" fmla="*/ 2371621 w 3141752"/>
                  <a:gd name="connsiteY49" fmla="*/ 190500 h 3131365"/>
                  <a:gd name="connsiteX50" fmla="*/ 2371621 w 3141752"/>
                  <a:gd name="connsiteY50" fmla="*/ 190500 h 3131365"/>
                  <a:gd name="connsiteX51" fmla="*/ 2371621 w 3141752"/>
                  <a:gd name="connsiteY51" fmla="*/ 190500 h 3131365"/>
                  <a:gd name="connsiteX52" fmla="*/ 2371621 w 3141752"/>
                  <a:gd name="connsiteY52" fmla="*/ 190500 h 3131365"/>
                  <a:gd name="connsiteX53" fmla="*/ 2371621 w 3141752"/>
                  <a:gd name="connsiteY53" fmla="*/ 190500 h 3131365"/>
                  <a:gd name="connsiteX54" fmla="*/ 2371621 w 3141752"/>
                  <a:gd name="connsiteY54" fmla="*/ 190500 h 3131365"/>
                  <a:gd name="connsiteX55" fmla="*/ 2371621 w 3141752"/>
                  <a:gd name="connsiteY55" fmla="*/ 190500 h 3131365"/>
                  <a:gd name="connsiteX56" fmla="*/ 2371621 w 3141752"/>
                  <a:gd name="connsiteY56" fmla="*/ 190500 h 3147261"/>
                  <a:gd name="connsiteX57" fmla="*/ 2371621 w 3141752"/>
                  <a:gd name="connsiteY57" fmla="*/ 190500 h 3147261"/>
                  <a:gd name="connsiteX58" fmla="*/ 2371621 w 3141752"/>
                  <a:gd name="connsiteY58" fmla="*/ 190500 h 3147261"/>
                  <a:gd name="connsiteX59" fmla="*/ 2371621 w 3141752"/>
                  <a:gd name="connsiteY59" fmla="*/ 190500 h 3147261"/>
                  <a:gd name="connsiteX60" fmla="*/ 2371621 w 3141752"/>
                  <a:gd name="connsiteY60" fmla="*/ 190500 h 3147261"/>
                  <a:gd name="connsiteX61" fmla="*/ 2371621 w 3141752"/>
                  <a:gd name="connsiteY61" fmla="*/ 190500 h 3147261"/>
                  <a:gd name="connsiteX62" fmla="*/ 2371621 w 3141752"/>
                  <a:gd name="connsiteY62" fmla="*/ 190500 h 3147261"/>
                  <a:gd name="connsiteX63" fmla="*/ 2370829 w 3140960"/>
                  <a:gd name="connsiteY63" fmla="*/ 190500 h 3147261"/>
                  <a:gd name="connsiteX64" fmla="*/ 2370829 w 3140960"/>
                  <a:gd name="connsiteY64" fmla="*/ 190500 h 3147261"/>
                  <a:gd name="connsiteX65" fmla="*/ 2370829 w 3140960"/>
                  <a:gd name="connsiteY65" fmla="*/ 190500 h 3147261"/>
                  <a:gd name="connsiteX66" fmla="*/ 2370829 w 3140960"/>
                  <a:gd name="connsiteY66" fmla="*/ 190500 h 3147261"/>
                  <a:gd name="connsiteX67" fmla="*/ 2370829 w 3140960"/>
                  <a:gd name="connsiteY67" fmla="*/ 190500 h 3147261"/>
                  <a:gd name="connsiteX68" fmla="*/ 2370829 w 3140960"/>
                  <a:gd name="connsiteY68" fmla="*/ 190500 h 3147261"/>
                  <a:gd name="connsiteX69" fmla="*/ 2370829 w 3140960"/>
                  <a:gd name="connsiteY69" fmla="*/ 190500 h 3147261"/>
                  <a:gd name="connsiteX70" fmla="*/ 2370829 w 3140960"/>
                  <a:gd name="connsiteY70" fmla="*/ 190500 h 3147261"/>
                  <a:gd name="connsiteX71" fmla="*/ 2370829 w 3140960"/>
                  <a:gd name="connsiteY71" fmla="*/ 190500 h 3147261"/>
                  <a:gd name="connsiteX72" fmla="*/ 2370829 w 3140960"/>
                  <a:gd name="connsiteY72" fmla="*/ 190500 h 3147261"/>
                  <a:gd name="connsiteX73" fmla="*/ 2370829 w 3140960"/>
                  <a:gd name="connsiteY73" fmla="*/ 190500 h 3147261"/>
                  <a:gd name="connsiteX74" fmla="*/ 2370829 w 3140960"/>
                  <a:gd name="connsiteY74" fmla="*/ 190500 h 3147261"/>
                  <a:gd name="connsiteX75" fmla="*/ 2370829 w 3140960"/>
                  <a:gd name="connsiteY75" fmla="*/ 190500 h 3147261"/>
                  <a:gd name="connsiteX76" fmla="*/ 2370829 w 3140960"/>
                  <a:gd name="connsiteY76" fmla="*/ 190500 h 3147261"/>
                  <a:gd name="connsiteX77" fmla="*/ 2370829 w 3140960"/>
                  <a:gd name="connsiteY77" fmla="*/ 190500 h 3147261"/>
                  <a:gd name="connsiteX78" fmla="*/ 2370829 w 3140960"/>
                  <a:gd name="connsiteY78" fmla="*/ 190500 h 3147261"/>
                  <a:gd name="connsiteX79" fmla="*/ 2370829 w 3140960"/>
                  <a:gd name="connsiteY79" fmla="*/ 190500 h 3147261"/>
                  <a:gd name="connsiteX80" fmla="*/ 2370829 w 3140960"/>
                  <a:gd name="connsiteY80" fmla="*/ 190500 h 3147261"/>
                  <a:gd name="connsiteX81" fmla="*/ 2370829 w 3140960"/>
                  <a:gd name="connsiteY81" fmla="*/ 190500 h 3147261"/>
                  <a:gd name="connsiteX82" fmla="*/ 2370829 w 3140960"/>
                  <a:gd name="connsiteY82" fmla="*/ 190500 h 3147261"/>
                  <a:gd name="connsiteX83" fmla="*/ 2370829 w 3148171"/>
                  <a:gd name="connsiteY83" fmla="*/ 190500 h 3147261"/>
                  <a:gd name="connsiteX84" fmla="*/ 2370829 w 3148171"/>
                  <a:gd name="connsiteY84" fmla="*/ 190500 h 3147261"/>
                  <a:gd name="connsiteX85" fmla="*/ 2370829 w 3148171"/>
                  <a:gd name="connsiteY85" fmla="*/ 190500 h 3147261"/>
                  <a:gd name="connsiteX86" fmla="*/ 2370829 w 3148171"/>
                  <a:gd name="connsiteY86" fmla="*/ 190500 h 3147261"/>
                  <a:gd name="connsiteX87" fmla="*/ 2370829 w 3148171"/>
                  <a:gd name="connsiteY87" fmla="*/ 190500 h 3147261"/>
                  <a:gd name="connsiteX88" fmla="*/ 2370829 w 3148171"/>
                  <a:gd name="connsiteY88" fmla="*/ 190500 h 3147261"/>
                  <a:gd name="connsiteX89" fmla="*/ 2370829 w 3148171"/>
                  <a:gd name="connsiteY89" fmla="*/ 190500 h 3147261"/>
                  <a:gd name="connsiteX90" fmla="*/ 2370829 w 3148171"/>
                  <a:gd name="connsiteY90" fmla="*/ 190500 h 3147261"/>
                  <a:gd name="connsiteX91" fmla="*/ 2370829 w 3148171"/>
                  <a:gd name="connsiteY91" fmla="*/ 190500 h 3147261"/>
                  <a:gd name="connsiteX92" fmla="*/ 2370829 w 3148171"/>
                  <a:gd name="connsiteY92" fmla="*/ 190500 h 3147261"/>
                  <a:gd name="connsiteX93" fmla="*/ 2370829 w 3148171"/>
                  <a:gd name="connsiteY93" fmla="*/ 19050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98" fmla="*/ 2447029 w 3148171"/>
                  <a:gd name="connsiteY98" fmla="*/ 266700 h 3147261"/>
                  <a:gd name="connsiteX99" fmla="*/ 2447029 w 3148171"/>
                  <a:gd name="connsiteY99" fmla="*/ 266700 h 3147261"/>
                  <a:gd name="connsiteX100" fmla="*/ 2447029 w 3148171"/>
                  <a:gd name="connsiteY100" fmla="*/ 266700 h 3147261"/>
                  <a:gd name="connsiteX101" fmla="*/ 2447029 w 3148171"/>
                  <a:gd name="connsiteY101" fmla="*/ 266700 h 3147261"/>
                  <a:gd name="connsiteX102" fmla="*/ 2447029 w 3148171"/>
                  <a:gd name="connsiteY102" fmla="*/ 266700 h 3147261"/>
                  <a:gd name="connsiteX103" fmla="*/ 2447029 w 3148171"/>
                  <a:gd name="connsiteY103" fmla="*/ 266700 h 3147261"/>
                  <a:gd name="connsiteX104" fmla="*/ 2447029 w 3148171"/>
                  <a:gd name="connsiteY104" fmla="*/ 266700 h 3147261"/>
                  <a:gd name="connsiteX105" fmla="*/ 2447029 w 3148171"/>
                  <a:gd name="connsiteY105" fmla="*/ 266700 h 3147261"/>
                  <a:gd name="connsiteX106" fmla="*/ 2447029 w 3148171"/>
                  <a:gd name="connsiteY106" fmla="*/ 266700 h 3147261"/>
                  <a:gd name="connsiteX107" fmla="*/ 2447029 w 3148171"/>
                  <a:gd name="connsiteY107" fmla="*/ 266700 h 3147261"/>
                  <a:gd name="connsiteX108" fmla="*/ 2448781 w 3149923"/>
                  <a:gd name="connsiteY108" fmla="*/ 266700 h 3147261"/>
                  <a:gd name="connsiteX109" fmla="*/ 2446137 w 3147279"/>
                  <a:gd name="connsiteY109" fmla="*/ 266700 h 3147261"/>
                  <a:gd name="connsiteX110" fmla="*/ 2446137 w 3147279"/>
                  <a:gd name="connsiteY110" fmla="*/ 266700 h 3147261"/>
                  <a:gd name="connsiteX111" fmla="*/ 2446137 w 3147279"/>
                  <a:gd name="connsiteY111" fmla="*/ 266700 h 3147261"/>
                  <a:gd name="connsiteX112" fmla="*/ 2446137 w 3147279"/>
                  <a:gd name="connsiteY112" fmla="*/ 266700 h 3147261"/>
                  <a:gd name="connsiteX113" fmla="*/ 2446137 w 3147279"/>
                  <a:gd name="connsiteY113" fmla="*/ 266700 h 3147261"/>
                  <a:gd name="connsiteX114" fmla="*/ 2446137 w 3147279"/>
                  <a:gd name="connsiteY114" fmla="*/ 266700 h 3147261"/>
                  <a:gd name="connsiteX115" fmla="*/ 2446137 w 3147279"/>
                  <a:gd name="connsiteY115" fmla="*/ 266700 h 3147261"/>
                  <a:gd name="connsiteX116" fmla="*/ 2446137 w 3147279"/>
                  <a:gd name="connsiteY116" fmla="*/ 266700 h 3147261"/>
                  <a:gd name="connsiteX117" fmla="*/ 2446137 w 3147279"/>
                  <a:gd name="connsiteY117" fmla="*/ 266700 h 3147261"/>
                  <a:gd name="connsiteX118" fmla="*/ 2446137 w 3147279"/>
                  <a:gd name="connsiteY118" fmla="*/ 266700 h 3147261"/>
                  <a:gd name="connsiteX119" fmla="*/ 2446137 w 3147279"/>
                  <a:gd name="connsiteY119" fmla="*/ 266700 h 3147261"/>
                  <a:gd name="connsiteX120" fmla="*/ 2446137 w 3147279"/>
                  <a:gd name="connsiteY120" fmla="*/ 266700 h 3147261"/>
                  <a:gd name="connsiteX121" fmla="*/ 2446137 w 3147279"/>
                  <a:gd name="connsiteY121" fmla="*/ 266700 h 3147261"/>
                  <a:gd name="connsiteX122" fmla="*/ 2446137 w 3147279"/>
                  <a:gd name="connsiteY122" fmla="*/ 266700 h 3147261"/>
                  <a:gd name="connsiteX123" fmla="*/ 2446137 w 3147279"/>
                  <a:gd name="connsiteY123" fmla="*/ 266700 h 3147261"/>
                  <a:gd name="connsiteX124" fmla="*/ 2446137 w 3147279"/>
                  <a:gd name="connsiteY124" fmla="*/ 266700 h 3147060"/>
                  <a:gd name="connsiteX125" fmla="*/ 2446137 w 3147279"/>
                  <a:gd name="connsiteY125" fmla="*/ 266700 h 3158149"/>
                  <a:gd name="connsiteX126" fmla="*/ 2446137 w 3147279"/>
                  <a:gd name="connsiteY126" fmla="*/ 266700 h 3147060"/>
                  <a:gd name="connsiteX127" fmla="*/ 2446137 w 3147279"/>
                  <a:gd name="connsiteY127" fmla="*/ 266700 h 3147060"/>
                  <a:gd name="connsiteX128" fmla="*/ 2446137 w 3147279"/>
                  <a:gd name="connsiteY128" fmla="*/ 266700 h 3147060"/>
                  <a:gd name="connsiteX129" fmla="*/ 2446137 w 3147279"/>
                  <a:gd name="connsiteY129" fmla="*/ 266700 h 3147060"/>
                  <a:gd name="connsiteX130" fmla="*/ 2446137 w 3147279"/>
                  <a:gd name="connsiteY130" fmla="*/ 266700 h 3147060"/>
                  <a:gd name="connsiteX131" fmla="*/ 2446137 w 3147279"/>
                  <a:gd name="connsiteY131" fmla="*/ 266700 h 3147060"/>
                  <a:gd name="connsiteX132" fmla="*/ 2446137 w 3147279"/>
                  <a:gd name="connsiteY132" fmla="*/ 266700 h 3147060"/>
                  <a:gd name="connsiteX133" fmla="*/ 2446137 w 3147279"/>
                  <a:gd name="connsiteY133" fmla="*/ 266700 h 3147060"/>
                  <a:gd name="connsiteX134" fmla="*/ 2446137 w 3147279"/>
                  <a:gd name="connsiteY134" fmla="*/ 266700 h 3147060"/>
                  <a:gd name="connsiteX135" fmla="*/ 2446137 w 3147279"/>
                  <a:gd name="connsiteY135" fmla="*/ 266700 h 3147060"/>
                  <a:gd name="connsiteX136" fmla="*/ 2446137 w 3147279"/>
                  <a:gd name="connsiteY136" fmla="*/ 266700 h 314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Freeform: Shape 41">
                <a:extLst>
                  <a:ext uri="{FF2B5EF4-FFF2-40B4-BE49-F238E27FC236}">
                    <a16:creationId xmlns:a16="http://schemas.microsoft.com/office/drawing/2014/main" id="{A553759F-37B4-D742-F259-5D8CE81057E5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  <a:gd name="connsiteX15" fmla="*/ 2056448 w 2056448"/>
                  <a:gd name="connsiteY15" fmla="*/ 822008 h 917172"/>
                  <a:gd name="connsiteX16" fmla="*/ 2056448 w 2056448"/>
                  <a:gd name="connsiteY16" fmla="*/ 822008 h 917172"/>
                  <a:gd name="connsiteX17" fmla="*/ 2056448 w 2056448"/>
                  <a:gd name="connsiteY17" fmla="*/ 822008 h 917172"/>
                  <a:gd name="connsiteX18" fmla="*/ 2056448 w 2056448"/>
                  <a:gd name="connsiteY18" fmla="*/ 822008 h 906780"/>
                  <a:gd name="connsiteX19" fmla="*/ 2056448 w 2056448"/>
                  <a:gd name="connsiteY19" fmla="*/ 822008 h 906780"/>
                  <a:gd name="connsiteX20" fmla="*/ 2056448 w 2056448"/>
                  <a:gd name="connsiteY20" fmla="*/ 822008 h 906780"/>
                  <a:gd name="connsiteX21" fmla="*/ 2056448 w 2056448"/>
                  <a:gd name="connsiteY21" fmla="*/ 822008 h 906780"/>
                  <a:gd name="connsiteX22" fmla="*/ 2056448 w 2056448"/>
                  <a:gd name="connsiteY22" fmla="*/ 822008 h 906780"/>
                  <a:gd name="connsiteX23" fmla="*/ 2056448 w 2056448"/>
                  <a:gd name="connsiteY23" fmla="*/ 822008 h 906780"/>
                  <a:gd name="connsiteX24" fmla="*/ 2056448 w 2056448"/>
                  <a:gd name="connsiteY24" fmla="*/ 822008 h 906780"/>
                  <a:gd name="connsiteX25" fmla="*/ 2056448 w 2056448"/>
                  <a:gd name="connsiteY25" fmla="*/ 822008 h 906780"/>
                  <a:gd name="connsiteX26" fmla="*/ 2080260 w 2080260"/>
                  <a:gd name="connsiteY26" fmla="*/ 845820 h 906780"/>
                  <a:gd name="connsiteX27" fmla="*/ 2080260 w 2080260"/>
                  <a:gd name="connsiteY27" fmla="*/ 845820 h 932460"/>
                  <a:gd name="connsiteX28" fmla="*/ 2080260 w 2080260"/>
                  <a:gd name="connsiteY28" fmla="*/ 845820 h 932460"/>
                  <a:gd name="connsiteX29" fmla="*/ 2080260 w 2080260"/>
                  <a:gd name="connsiteY29" fmla="*/ 845820 h 932460"/>
                  <a:gd name="connsiteX30" fmla="*/ 2080260 w 2080260"/>
                  <a:gd name="connsiteY30" fmla="*/ 845820 h 932460"/>
                  <a:gd name="connsiteX31" fmla="*/ 2080260 w 2080260"/>
                  <a:gd name="connsiteY31" fmla="*/ 845820 h 932460"/>
                  <a:gd name="connsiteX32" fmla="*/ 2080260 w 2080260"/>
                  <a:gd name="connsiteY32" fmla="*/ 845820 h 932460"/>
                  <a:gd name="connsiteX33" fmla="*/ 2080260 w 2080260"/>
                  <a:gd name="connsiteY33" fmla="*/ 845820 h 93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: Shape 48">
                <a:extLst>
                  <a:ext uri="{FF2B5EF4-FFF2-40B4-BE49-F238E27FC236}">
                    <a16:creationId xmlns:a16="http://schemas.microsoft.com/office/drawing/2014/main" id="{ACE08297-8F97-BB6D-7BF1-703138B2E785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  <a:gd name="connsiteX24" fmla="*/ 2944177 w 2944177"/>
                  <a:gd name="connsiteY24" fmla="*/ 992505 h 1234440"/>
                  <a:gd name="connsiteX25" fmla="*/ 2956560 w 2956560"/>
                  <a:gd name="connsiteY25" fmla="*/ 998220 h 1234440"/>
                  <a:gd name="connsiteX26" fmla="*/ 2956560 w 2956560"/>
                  <a:gd name="connsiteY26" fmla="*/ 998220 h 1234440"/>
                  <a:gd name="connsiteX27" fmla="*/ 2956560 w 2956560"/>
                  <a:gd name="connsiteY27" fmla="*/ 998220 h 1234440"/>
                  <a:gd name="connsiteX28" fmla="*/ 2956560 w 2956560"/>
                  <a:gd name="connsiteY28" fmla="*/ 998220 h 1234440"/>
                  <a:gd name="connsiteX29" fmla="*/ 2956560 w 2956560"/>
                  <a:gd name="connsiteY29" fmla="*/ 998220 h 1234440"/>
                  <a:gd name="connsiteX30" fmla="*/ 2956560 w 2956560"/>
                  <a:gd name="connsiteY30" fmla="*/ 998220 h 1234440"/>
                  <a:gd name="connsiteX31" fmla="*/ 2956560 w 2956560"/>
                  <a:gd name="connsiteY31" fmla="*/ 998220 h 1234440"/>
                  <a:gd name="connsiteX32" fmla="*/ 2956560 w 2956560"/>
                  <a:gd name="connsiteY32" fmla="*/ 998220 h 1234440"/>
                  <a:gd name="connsiteX33" fmla="*/ 2956560 w 2956560"/>
                  <a:gd name="connsiteY33" fmla="*/ 998220 h 1234440"/>
                  <a:gd name="connsiteX34" fmla="*/ 2956560 w 2956560"/>
                  <a:gd name="connsiteY34" fmla="*/ 998220 h 1234440"/>
                  <a:gd name="connsiteX35" fmla="*/ 2956560 w 2956560"/>
                  <a:gd name="connsiteY35" fmla="*/ 998220 h 1234440"/>
                  <a:gd name="connsiteX36" fmla="*/ 2956560 w 2956560"/>
                  <a:gd name="connsiteY36" fmla="*/ 998220 h 1234440"/>
                  <a:gd name="connsiteX37" fmla="*/ 2956560 w 2956560"/>
                  <a:gd name="connsiteY37" fmla="*/ 998220 h 1234440"/>
                  <a:gd name="connsiteX38" fmla="*/ 2956560 w 2956560"/>
                  <a:gd name="connsiteY38" fmla="*/ 998220 h 1234440"/>
                  <a:gd name="connsiteX39" fmla="*/ 2956560 w 2956560"/>
                  <a:gd name="connsiteY39" fmla="*/ 998220 h 1234440"/>
                  <a:gd name="connsiteX40" fmla="*/ 2956560 w 2956560"/>
                  <a:gd name="connsiteY40" fmla="*/ 998220 h 1234440"/>
                  <a:gd name="connsiteX41" fmla="*/ 2956560 w 2956560"/>
                  <a:gd name="connsiteY41" fmla="*/ 998220 h 1234440"/>
                  <a:gd name="connsiteX42" fmla="*/ 2956560 w 2956560"/>
                  <a:gd name="connsiteY42" fmla="*/ 998220 h 1234440"/>
                  <a:gd name="connsiteX43" fmla="*/ 2956560 w 2956560"/>
                  <a:gd name="connsiteY43" fmla="*/ 998220 h 1249680"/>
                  <a:gd name="connsiteX44" fmla="*/ 2956560 w 2956560"/>
                  <a:gd name="connsiteY44" fmla="*/ 998220 h 1249680"/>
                  <a:gd name="connsiteX45" fmla="*/ 2956560 w 2956560"/>
                  <a:gd name="connsiteY45" fmla="*/ 998220 h 1249680"/>
                  <a:gd name="connsiteX46" fmla="*/ 2956560 w 2956560"/>
                  <a:gd name="connsiteY46" fmla="*/ 998220 h 1249680"/>
                  <a:gd name="connsiteX47" fmla="*/ 2956560 w 2956560"/>
                  <a:gd name="connsiteY47" fmla="*/ 998220 h 1249680"/>
                  <a:gd name="connsiteX48" fmla="*/ 2956560 w 2956560"/>
                  <a:gd name="connsiteY48" fmla="*/ 998220 h 1249680"/>
                  <a:gd name="connsiteX49" fmla="*/ 2956560 w 2956560"/>
                  <a:gd name="connsiteY49" fmla="*/ 998220 h 1249680"/>
                  <a:gd name="connsiteX50" fmla="*/ 2956560 w 2956560"/>
                  <a:gd name="connsiteY50" fmla="*/ 998220 h 1249680"/>
                  <a:gd name="connsiteX51" fmla="*/ 2956560 w 2956560"/>
                  <a:gd name="connsiteY51" fmla="*/ 998220 h 1249680"/>
                  <a:gd name="connsiteX52" fmla="*/ 2956560 w 2956560"/>
                  <a:gd name="connsiteY52" fmla="*/ 998220 h 1249680"/>
                  <a:gd name="connsiteX53" fmla="*/ 2956560 w 2956560"/>
                  <a:gd name="connsiteY53" fmla="*/ 998220 h 1249680"/>
                  <a:gd name="connsiteX54" fmla="*/ 2956560 w 2956560"/>
                  <a:gd name="connsiteY54" fmla="*/ 998220 h 1249680"/>
                  <a:gd name="connsiteX55" fmla="*/ 2956560 w 2956560"/>
                  <a:gd name="connsiteY55" fmla="*/ 998220 h 1249680"/>
                  <a:gd name="connsiteX56" fmla="*/ 2956560 w 2956560"/>
                  <a:gd name="connsiteY56" fmla="*/ 998220 h 1249680"/>
                  <a:gd name="connsiteX57" fmla="*/ 2956560 w 2956560"/>
                  <a:gd name="connsiteY57" fmla="*/ 998220 h 12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317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: Shape 49">
                <a:extLst>
                  <a:ext uri="{FF2B5EF4-FFF2-40B4-BE49-F238E27FC236}">
                    <a16:creationId xmlns:a16="http://schemas.microsoft.com/office/drawing/2014/main" id="{A1FCDD6A-58DD-2FD5-5410-9D10ACC4BBC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  <a:gd name="connsiteX13" fmla="*/ 169060 w 389411"/>
                  <a:gd name="connsiteY13" fmla="*/ 442575 h 450195"/>
                  <a:gd name="connsiteX14" fmla="*/ 169060 w 389411"/>
                  <a:gd name="connsiteY14" fmla="*/ 442575 h 457714"/>
                  <a:gd name="connsiteX15" fmla="*/ 290980 w 389411"/>
                  <a:gd name="connsiteY15" fmla="*/ 541635 h 541635"/>
                  <a:gd name="connsiteX16" fmla="*/ 183823 w 381314"/>
                  <a:gd name="connsiteY16" fmla="*/ 615 h 452239"/>
                  <a:gd name="connsiteX17" fmla="*/ 183823 w 381314"/>
                  <a:gd name="connsiteY17" fmla="*/ 615 h 450195"/>
                  <a:gd name="connsiteX18" fmla="*/ 183823 w 381314"/>
                  <a:gd name="connsiteY18" fmla="*/ 615 h 450195"/>
                  <a:gd name="connsiteX19" fmla="*/ 167640 w 365131"/>
                  <a:gd name="connsiteY19" fmla="*/ 615 h 450195"/>
                  <a:gd name="connsiteX20" fmla="*/ 167640 w 365131"/>
                  <a:gd name="connsiteY20" fmla="*/ 615 h 450195"/>
                  <a:gd name="connsiteX21" fmla="*/ 167640 w 358712"/>
                  <a:gd name="connsiteY21" fmla="*/ 3883 h 453463"/>
                  <a:gd name="connsiteX22" fmla="*/ 167640 w 358317"/>
                  <a:gd name="connsiteY22" fmla="*/ 2549 h 452129"/>
                  <a:gd name="connsiteX23" fmla="*/ 167640 w 358317"/>
                  <a:gd name="connsiteY23" fmla="*/ 2549 h 45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Freeform: Shape 50">
                <a:extLst>
                  <a:ext uri="{FF2B5EF4-FFF2-40B4-BE49-F238E27FC236}">
                    <a16:creationId xmlns:a16="http://schemas.microsoft.com/office/drawing/2014/main" id="{FA37676B-88E1-5955-EB17-BC3B203A12B8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  <a:gd name="connsiteX14" fmla="*/ 124261 w 368674"/>
                  <a:gd name="connsiteY14" fmla="*/ 162 h 368304"/>
                  <a:gd name="connsiteX15" fmla="*/ 124261 w 368101"/>
                  <a:gd name="connsiteY15" fmla="*/ 162 h 368304"/>
                  <a:gd name="connsiteX16" fmla="*/ 124261 w 330001"/>
                  <a:gd name="connsiteY16" fmla="*/ 162 h 368304"/>
                  <a:gd name="connsiteX17" fmla="*/ 124261 w 330001"/>
                  <a:gd name="connsiteY17" fmla="*/ 162 h 368304"/>
                  <a:gd name="connsiteX18" fmla="*/ 116808 w 322548"/>
                  <a:gd name="connsiteY18" fmla="*/ 162 h 365922"/>
                  <a:gd name="connsiteX19" fmla="*/ 106698 w 312438"/>
                  <a:gd name="connsiteY19" fmla="*/ 162 h 365922"/>
                  <a:gd name="connsiteX20" fmla="*/ 114300 w 320040"/>
                  <a:gd name="connsiteY20" fmla="*/ 162 h 365922"/>
                  <a:gd name="connsiteX21" fmla="*/ 114300 w 320040"/>
                  <a:gd name="connsiteY21" fmla="*/ 162 h 365922"/>
                  <a:gd name="connsiteX22" fmla="*/ 114300 w 320040"/>
                  <a:gd name="connsiteY22" fmla="*/ 162 h 365922"/>
                  <a:gd name="connsiteX23" fmla="*/ 114300 w 320040"/>
                  <a:gd name="connsiteY23" fmla="*/ 162 h 365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/>
              </a:p>
            </p:txBody>
          </p:sp>
          <p:sp>
            <p:nvSpPr>
              <p:cNvPr id="81" name="Freeform: Shape 51">
                <a:extLst>
                  <a:ext uri="{FF2B5EF4-FFF2-40B4-BE49-F238E27FC236}">
                    <a16:creationId xmlns:a16="http://schemas.microsoft.com/office/drawing/2014/main" id="{A2D39CF7-578B-2A76-D7BC-79A97C1E6A4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Freeform: Shape 53">
                <a:extLst>
                  <a:ext uri="{FF2B5EF4-FFF2-40B4-BE49-F238E27FC236}">
                    <a16:creationId xmlns:a16="http://schemas.microsoft.com/office/drawing/2014/main" id="{1E6141D6-7030-F267-17C6-C025941F1F93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  <a:gd name="connsiteX37" fmla="*/ 1019537 w 2383532"/>
                  <a:gd name="connsiteY37" fmla="*/ 14605 h 655320"/>
                  <a:gd name="connsiteX38" fmla="*/ 1019537 w 2383532"/>
                  <a:gd name="connsiteY38" fmla="*/ 14605 h 655320"/>
                  <a:gd name="connsiteX39" fmla="*/ 1019537 w 2383532"/>
                  <a:gd name="connsiteY39" fmla="*/ 30480 h 655320"/>
                  <a:gd name="connsiteX40" fmla="*/ 1019537 w 2383532"/>
                  <a:gd name="connsiteY40" fmla="*/ 30480 h 655320"/>
                  <a:gd name="connsiteX41" fmla="*/ 1019537 w 2383532"/>
                  <a:gd name="connsiteY41" fmla="*/ 30480 h 655320"/>
                  <a:gd name="connsiteX42" fmla="*/ 1019537 w 2383532"/>
                  <a:gd name="connsiteY42" fmla="*/ 30480 h 655320"/>
                  <a:gd name="connsiteX43" fmla="*/ 1019537 w 2383532"/>
                  <a:gd name="connsiteY43" fmla="*/ 30480 h 655320"/>
                  <a:gd name="connsiteX44" fmla="*/ 1019537 w 2383532"/>
                  <a:gd name="connsiteY44" fmla="*/ 30480 h 655320"/>
                  <a:gd name="connsiteX45" fmla="*/ 1019537 w 2383532"/>
                  <a:gd name="connsiteY45" fmla="*/ 30480 h 655320"/>
                  <a:gd name="connsiteX46" fmla="*/ 1019537 w 2383532"/>
                  <a:gd name="connsiteY46" fmla="*/ 30480 h 655320"/>
                  <a:gd name="connsiteX47" fmla="*/ 1019537 w 2383532"/>
                  <a:gd name="connsiteY47" fmla="*/ 30480 h 655320"/>
                  <a:gd name="connsiteX48" fmla="*/ 1019537 w 2383532"/>
                  <a:gd name="connsiteY48" fmla="*/ 30480 h 655320"/>
                  <a:gd name="connsiteX49" fmla="*/ 1019537 w 2383532"/>
                  <a:gd name="connsiteY49" fmla="*/ 30480 h 655320"/>
                  <a:gd name="connsiteX50" fmla="*/ 1019537 w 2383532"/>
                  <a:gd name="connsiteY50" fmla="*/ 30480 h 655320"/>
                  <a:gd name="connsiteX51" fmla="*/ 1019537 w 2383532"/>
                  <a:gd name="connsiteY51" fmla="*/ 30480 h 655320"/>
                  <a:gd name="connsiteX52" fmla="*/ 1019537 w 2383532"/>
                  <a:gd name="connsiteY52" fmla="*/ 30480 h 655320"/>
                  <a:gd name="connsiteX53" fmla="*/ 1019537 w 2383532"/>
                  <a:gd name="connsiteY53" fmla="*/ 30480 h 655320"/>
                  <a:gd name="connsiteX54" fmla="*/ 1019537 w 2383532"/>
                  <a:gd name="connsiteY54" fmla="*/ 30480 h 655320"/>
                  <a:gd name="connsiteX55" fmla="*/ 1019537 w 2383532"/>
                  <a:gd name="connsiteY55" fmla="*/ 30480 h 655320"/>
                  <a:gd name="connsiteX56" fmla="*/ 1019537 w 2383532"/>
                  <a:gd name="connsiteY56" fmla="*/ 30480 h 655320"/>
                  <a:gd name="connsiteX57" fmla="*/ 1019537 w 2383532"/>
                  <a:gd name="connsiteY57" fmla="*/ 30480 h 655320"/>
                  <a:gd name="connsiteX58" fmla="*/ 1028711 w 2392706"/>
                  <a:gd name="connsiteY58" fmla="*/ 30480 h 65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Freeform: Shape 54">
                <a:extLst>
                  <a:ext uri="{FF2B5EF4-FFF2-40B4-BE49-F238E27FC236}">
                    <a16:creationId xmlns:a16="http://schemas.microsoft.com/office/drawing/2014/main" id="{C4388A2E-5300-A71E-519F-27EDCC40EAB9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  <a:gd name="connsiteX20" fmla="*/ 2400300 w 2462688"/>
                  <a:gd name="connsiteY20" fmla="*/ 0 h 408436"/>
                  <a:gd name="connsiteX21" fmla="*/ 2400300 w 2461364"/>
                  <a:gd name="connsiteY21" fmla="*/ 0 h 408436"/>
                  <a:gd name="connsiteX22" fmla="*/ 2400300 w 2461364"/>
                  <a:gd name="connsiteY22" fmla="*/ 0 h 408436"/>
                  <a:gd name="connsiteX23" fmla="*/ 2400300 w 2461364"/>
                  <a:gd name="connsiteY23" fmla="*/ 0 h 408436"/>
                  <a:gd name="connsiteX24" fmla="*/ 2400300 w 2461364"/>
                  <a:gd name="connsiteY24" fmla="*/ 0 h 408436"/>
                  <a:gd name="connsiteX25" fmla="*/ 2400300 w 2461364"/>
                  <a:gd name="connsiteY25" fmla="*/ 0 h 419100"/>
                  <a:gd name="connsiteX26" fmla="*/ 2400300 w 2461364"/>
                  <a:gd name="connsiteY26" fmla="*/ 0 h 419100"/>
                  <a:gd name="connsiteX27" fmla="*/ 2400300 w 2461364"/>
                  <a:gd name="connsiteY27" fmla="*/ 0 h 419100"/>
                  <a:gd name="connsiteX28" fmla="*/ 2400300 w 2461364"/>
                  <a:gd name="connsiteY28" fmla="*/ 0 h 419100"/>
                  <a:gd name="connsiteX29" fmla="*/ 2400300 w 2461364"/>
                  <a:gd name="connsiteY29" fmla="*/ 0 h 419100"/>
                  <a:gd name="connsiteX30" fmla="*/ 2400300 w 2461364"/>
                  <a:gd name="connsiteY30" fmla="*/ 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Freeform: Shape 55">
                <a:extLst>
                  <a:ext uri="{FF2B5EF4-FFF2-40B4-BE49-F238E27FC236}">
                    <a16:creationId xmlns:a16="http://schemas.microsoft.com/office/drawing/2014/main" id="{CC31C53B-716A-5B66-6EC8-9DADF39965A1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  <a:gd name="connsiteX18" fmla="*/ 2262188 w 2262188"/>
                  <a:gd name="connsiteY18" fmla="*/ 957263 h 970411"/>
                  <a:gd name="connsiteX19" fmla="*/ 2262188 w 2262188"/>
                  <a:gd name="connsiteY19" fmla="*/ 957263 h 970411"/>
                  <a:gd name="connsiteX20" fmla="*/ 2262188 w 2262188"/>
                  <a:gd name="connsiteY20" fmla="*/ 957263 h 982971"/>
                  <a:gd name="connsiteX21" fmla="*/ 2262188 w 2262188"/>
                  <a:gd name="connsiteY21" fmla="*/ 957263 h 982971"/>
                  <a:gd name="connsiteX22" fmla="*/ 2262188 w 2262188"/>
                  <a:gd name="connsiteY22" fmla="*/ 957263 h 982971"/>
                  <a:gd name="connsiteX23" fmla="*/ 2262188 w 2262188"/>
                  <a:gd name="connsiteY23" fmla="*/ 957263 h 982971"/>
                  <a:gd name="connsiteX24" fmla="*/ 2262188 w 2262188"/>
                  <a:gd name="connsiteY24" fmla="*/ 957263 h 982971"/>
                  <a:gd name="connsiteX25" fmla="*/ 2262188 w 2262188"/>
                  <a:gd name="connsiteY25" fmla="*/ 957263 h 982971"/>
                  <a:gd name="connsiteX26" fmla="*/ 2262188 w 2262188"/>
                  <a:gd name="connsiteY26" fmla="*/ 957263 h 982971"/>
                  <a:gd name="connsiteX27" fmla="*/ 2262188 w 2262188"/>
                  <a:gd name="connsiteY27" fmla="*/ 957263 h 982971"/>
                  <a:gd name="connsiteX28" fmla="*/ 2262188 w 2262188"/>
                  <a:gd name="connsiteY28" fmla="*/ 957263 h 982971"/>
                  <a:gd name="connsiteX29" fmla="*/ 2262188 w 2262188"/>
                  <a:gd name="connsiteY29" fmla="*/ 957263 h 982971"/>
                  <a:gd name="connsiteX30" fmla="*/ 2262188 w 2262188"/>
                  <a:gd name="connsiteY30" fmla="*/ 957263 h 982971"/>
                  <a:gd name="connsiteX31" fmla="*/ 2262188 w 2262188"/>
                  <a:gd name="connsiteY31" fmla="*/ 957263 h 982971"/>
                  <a:gd name="connsiteX32" fmla="*/ 2262188 w 2262188"/>
                  <a:gd name="connsiteY32" fmla="*/ 957263 h 982971"/>
                  <a:gd name="connsiteX33" fmla="*/ 2262188 w 2262188"/>
                  <a:gd name="connsiteY33" fmla="*/ 957263 h 982971"/>
                  <a:gd name="connsiteX34" fmla="*/ 2262188 w 2262188"/>
                  <a:gd name="connsiteY34" fmla="*/ 957263 h 982971"/>
                  <a:gd name="connsiteX35" fmla="*/ 2262188 w 2262188"/>
                  <a:gd name="connsiteY35" fmla="*/ 957263 h 982971"/>
                  <a:gd name="connsiteX36" fmla="*/ 2262188 w 2262188"/>
                  <a:gd name="connsiteY36" fmla="*/ 957263 h 982971"/>
                  <a:gd name="connsiteX37" fmla="*/ 2262188 w 2262188"/>
                  <a:gd name="connsiteY37" fmla="*/ 957263 h 982971"/>
                  <a:gd name="connsiteX38" fmla="*/ 2262188 w 2262188"/>
                  <a:gd name="connsiteY38" fmla="*/ 957263 h 982971"/>
                  <a:gd name="connsiteX39" fmla="*/ 2262188 w 2262188"/>
                  <a:gd name="connsiteY39" fmla="*/ 957263 h 98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: Shape 90">
                <a:extLst>
                  <a:ext uri="{FF2B5EF4-FFF2-40B4-BE49-F238E27FC236}">
                    <a16:creationId xmlns:a16="http://schemas.microsoft.com/office/drawing/2014/main" id="{D73B5389-6939-511F-3977-9CB4F170B19F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84" fmla="*/ 1811655 w 3008034"/>
                  <a:gd name="connsiteY84" fmla="*/ 107633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Freeform: Shape 52">
                <a:extLst>
                  <a:ext uri="{FF2B5EF4-FFF2-40B4-BE49-F238E27FC236}">
                    <a16:creationId xmlns:a16="http://schemas.microsoft.com/office/drawing/2014/main" id="{E05DC29F-CF99-6C22-62FC-4084BF7662FB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  <a:gd name="connsiteX11" fmla="*/ 310146 w 370435"/>
                  <a:gd name="connsiteY11" fmla="*/ 0 h 751205"/>
                  <a:gd name="connsiteX12" fmla="*/ 310146 w 375245"/>
                  <a:gd name="connsiteY12" fmla="*/ 0 h 751205"/>
                  <a:gd name="connsiteX13" fmla="*/ 297446 w 378064"/>
                  <a:gd name="connsiteY13" fmla="*/ 0 h 754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6" name="Freeform: Shape 93">
              <a:extLst>
                <a:ext uri="{FF2B5EF4-FFF2-40B4-BE49-F238E27FC236}">
                  <a16:creationId xmlns:a16="http://schemas.microsoft.com/office/drawing/2014/main" id="{3B2B7405-EF02-FB68-C519-B7CB9E4ED9CC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  <a:gd name="connsiteX13" fmla="*/ 1169223 w 1169223"/>
                <a:gd name="connsiteY13" fmla="*/ 0 h 2381250"/>
                <a:gd name="connsiteX14" fmla="*/ 1169223 w 1169223"/>
                <a:gd name="connsiteY14" fmla="*/ 0 h 2381250"/>
                <a:gd name="connsiteX15" fmla="*/ 1169223 w 1169223"/>
                <a:gd name="connsiteY15" fmla="*/ 0 h 2381250"/>
                <a:gd name="connsiteX16" fmla="*/ 1169223 w 1169223"/>
                <a:gd name="connsiteY16" fmla="*/ 0 h 2381250"/>
                <a:gd name="connsiteX17" fmla="*/ 1169223 w 1169223"/>
                <a:gd name="connsiteY17" fmla="*/ 0 h 2381250"/>
                <a:gd name="connsiteX18" fmla="*/ 1169223 w 1169223"/>
                <a:gd name="connsiteY18" fmla="*/ 0 h 2381250"/>
                <a:gd name="connsiteX19" fmla="*/ 1169223 w 1169223"/>
                <a:gd name="connsiteY19" fmla="*/ 0 h 2381250"/>
                <a:gd name="connsiteX20" fmla="*/ 1169223 w 1169223"/>
                <a:gd name="connsiteY20" fmla="*/ 0 h 2381250"/>
                <a:gd name="connsiteX21" fmla="*/ 1169223 w 1169223"/>
                <a:gd name="connsiteY21" fmla="*/ 0 h 2381250"/>
                <a:gd name="connsiteX22" fmla="*/ 1169223 w 1169223"/>
                <a:gd name="connsiteY22" fmla="*/ 0 h 2381250"/>
                <a:gd name="connsiteX23" fmla="*/ 1169223 w 1169223"/>
                <a:gd name="connsiteY23" fmla="*/ 0 h 2381250"/>
                <a:gd name="connsiteX24" fmla="*/ 1169223 w 1169223"/>
                <a:gd name="connsiteY24" fmla="*/ 0 h 2381250"/>
                <a:gd name="connsiteX25" fmla="*/ 1169223 w 1169223"/>
                <a:gd name="connsiteY25" fmla="*/ 0 h 2381250"/>
                <a:gd name="connsiteX26" fmla="*/ 1169223 w 1169223"/>
                <a:gd name="connsiteY26" fmla="*/ 0 h 2381250"/>
                <a:gd name="connsiteX27" fmla="*/ 1169223 w 1169223"/>
                <a:gd name="connsiteY27" fmla="*/ 0 h 2381250"/>
                <a:gd name="connsiteX28" fmla="*/ 1169223 w 1169223"/>
                <a:gd name="connsiteY28" fmla="*/ 0 h 2381250"/>
                <a:gd name="connsiteX29" fmla="*/ 1169223 w 1169223"/>
                <a:gd name="connsiteY29" fmla="*/ 0 h 2381250"/>
                <a:gd name="connsiteX30" fmla="*/ 1166710 w 1166710"/>
                <a:gd name="connsiteY30" fmla="*/ 0 h 2381250"/>
                <a:gd name="connsiteX31" fmla="*/ 1166710 w 1166710"/>
                <a:gd name="connsiteY31" fmla="*/ 0 h 2381250"/>
                <a:gd name="connsiteX32" fmla="*/ 1166710 w 1166710"/>
                <a:gd name="connsiteY32" fmla="*/ 0 h 2381250"/>
                <a:gd name="connsiteX33" fmla="*/ 1165326 w 1165326"/>
                <a:gd name="connsiteY33" fmla="*/ 0 h 2381250"/>
                <a:gd name="connsiteX34" fmla="*/ 1164642 w 1164642"/>
                <a:gd name="connsiteY34" fmla="*/ 0 h 2381250"/>
                <a:gd name="connsiteX35" fmla="*/ 1163966 w 1163966"/>
                <a:gd name="connsiteY35" fmla="*/ 0 h 2381250"/>
                <a:gd name="connsiteX36" fmla="*/ 1162050 w 1162050"/>
                <a:gd name="connsiteY36" fmla="*/ 0 h 2381250"/>
                <a:gd name="connsiteX37" fmla="*/ 1162050 w 1162050"/>
                <a:gd name="connsiteY37" fmla="*/ 0 h 2381250"/>
                <a:gd name="connsiteX38" fmla="*/ 1162050 w 1162050"/>
                <a:gd name="connsiteY38" fmla="*/ 0 h 2381250"/>
                <a:gd name="connsiteX39" fmla="*/ 1162050 w 1162050"/>
                <a:gd name="connsiteY39" fmla="*/ 0 h 2381250"/>
                <a:gd name="connsiteX40" fmla="*/ 1162050 w 1162050"/>
                <a:gd name="connsiteY40" fmla="*/ 0 h 238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68" name="Freeform: Shape 96">
              <a:extLst>
                <a:ext uri="{FF2B5EF4-FFF2-40B4-BE49-F238E27FC236}">
                  <a16:creationId xmlns:a16="http://schemas.microsoft.com/office/drawing/2014/main" id="{728FAF53-BB9C-28B9-4E3B-D728FD7EA127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  <a:gd name="connsiteX10" fmla="*/ 0 w 1381125"/>
                <a:gd name="connsiteY10" fmla="*/ 2276475 h 2276475"/>
                <a:gd name="connsiteX11" fmla="*/ 0 w 1381125"/>
                <a:gd name="connsiteY11" fmla="*/ 2276475 h 2277341"/>
                <a:gd name="connsiteX12" fmla="*/ 0 w 1381125"/>
                <a:gd name="connsiteY12" fmla="*/ 2276475 h 2277341"/>
                <a:gd name="connsiteX13" fmla="*/ 0 w 1381125"/>
                <a:gd name="connsiteY13" fmla="*/ 2276475 h 2277341"/>
                <a:gd name="connsiteX14" fmla="*/ 0 w 1381125"/>
                <a:gd name="connsiteY14" fmla="*/ 2276475 h 2277341"/>
                <a:gd name="connsiteX15" fmla="*/ 0 w 1381125"/>
                <a:gd name="connsiteY15" fmla="*/ 2276475 h 2277341"/>
                <a:gd name="connsiteX16" fmla="*/ 0 w 1381125"/>
                <a:gd name="connsiteY16" fmla="*/ 2276475 h 2277341"/>
                <a:gd name="connsiteX17" fmla="*/ 0 w 1381125"/>
                <a:gd name="connsiteY17" fmla="*/ 2276475 h 2277341"/>
                <a:gd name="connsiteX18" fmla="*/ 0 w 1381125"/>
                <a:gd name="connsiteY18" fmla="*/ 2276475 h 2277341"/>
                <a:gd name="connsiteX19" fmla="*/ 0 w 1381125"/>
                <a:gd name="connsiteY19" fmla="*/ 2276475 h 2277341"/>
                <a:gd name="connsiteX20" fmla="*/ 0 w 1381125"/>
                <a:gd name="connsiteY20" fmla="*/ 2276475 h 2277341"/>
                <a:gd name="connsiteX21" fmla="*/ 0 w 1381125"/>
                <a:gd name="connsiteY21" fmla="*/ 2276475 h 2277341"/>
                <a:gd name="connsiteX22" fmla="*/ 0 w 1381125"/>
                <a:gd name="connsiteY22" fmla="*/ 2276475 h 2277341"/>
                <a:gd name="connsiteX23" fmla="*/ 0 w 1381125"/>
                <a:gd name="connsiteY23" fmla="*/ 2276475 h 2277341"/>
                <a:gd name="connsiteX24" fmla="*/ 0 w 1381125"/>
                <a:gd name="connsiteY24" fmla="*/ 2276475 h 2277341"/>
                <a:gd name="connsiteX25" fmla="*/ 0 w 1381125"/>
                <a:gd name="connsiteY25" fmla="*/ 2276475 h 2277341"/>
                <a:gd name="connsiteX26" fmla="*/ 0 w 1381125"/>
                <a:gd name="connsiteY26" fmla="*/ 2276475 h 2277341"/>
                <a:gd name="connsiteX27" fmla="*/ 0 w 1381125"/>
                <a:gd name="connsiteY27" fmla="*/ 2276475 h 2277341"/>
                <a:gd name="connsiteX28" fmla="*/ 0 w 1381125"/>
                <a:gd name="connsiteY28" fmla="*/ 2276475 h 2277341"/>
                <a:gd name="connsiteX29" fmla="*/ 0 w 1381125"/>
                <a:gd name="connsiteY29" fmla="*/ 2276475 h 2277341"/>
                <a:gd name="connsiteX30" fmla="*/ 0 w 1381125"/>
                <a:gd name="connsiteY30" fmla="*/ 2276475 h 2277341"/>
                <a:gd name="connsiteX31" fmla="*/ 0 w 1381125"/>
                <a:gd name="connsiteY31" fmla="*/ 2276475 h 2277341"/>
                <a:gd name="connsiteX32" fmla="*/ 0 w 1381125"/>
                <a:gd name="connsiteY32" fmla="*/ 2276475 h 2277341"/>
                <a:gd name="connsiteX33" fmla="*/ 0 w 1381125"/>
                <a:gd name="connsiteY33" fmla="*/ 2276475 h 2277341"/>
                <a:gd name="connsiteX34" fmla="*/ 0 w 1381125"/>
                <a:gd name="connsiteY34" fmla="*/ 2276475 h 2277341"/>
                <a:gd name="connsiteX35" fmla="*/ 0 w 1381125"/>
                <a:gd name="connsiteY35" fmla="*/ 2276475 h 2277341"/>
                <a:gd name="connsiteX36" fmla="*/ 0 w 1381125"/>
                <a:gd name="connsiteY36" fmla="*/ 2276475 h 2277341"/>
                <a:gd name="connsiteX37" fmla="*/ 0 w 1381125"/>
                <a:gd name="connsiteY37" fmla="*/ 2276475 h 2277341"/>
                <a:gd name="connsiteX38" fmla="*/ 0 w 1381125"/>
                <a:gd name="connsiteY38" fmla="*/ 2276475 h 2277341"/>
                <a:gd name="connsiteX39" fmla="*/ 0 w 1381125"/>
                <a:gd name="connsiteY39" fmla="*/ 2276475 h 2277341"/>
                <a:gd name="connsiteX40" fmla="*/ 0 w 1381125"/>
                <a:gd name="connsiteY40" fmla="*/ 2276475 h 2277341"/>
                <a:gd name="connsiteX41" fmla="*/ 0 w 1381125"/>
                <a:gd name="connsiteY41" fmla="*/ 2276475 h 2277341"/>
                <a:gd name="connsiteX42" fmla="*/ 0 w 1381125"/>
                <a:gd name="connsiteY42" fmla="*/ 2276475 h 227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70" name="Freeform: Shape 98">
              <a:extLst>
                <a:ext uri="{FF2B5EF4-FFF2-40B4-BE49-F238E27FC236}">
                  <a16:creationId xmlns:a16="http://schemas.microsoft.com/office/drawing/2014/main" id="{128B3FAF-E7A5-8293-239C-B1380866AE80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  <a:gd name="connsiteX7" fmla="*/ 794302 w 794302"/>
                <a:gd name="connsiteY7" fmla="*/ 359520 h 416902"/>
                <a:gd name="connsiteX8" fmla="*/ 807724 w 807724"/>
                <a:gd name="connsiteY8" fmla="*/ 359168 h 416321"/>
                <a:gd name="connsiteX9" fmla="*/ 807724 w 807724"/>
                <a:gd name="connsiteY9" fmla="*/ 359168 h 416318"/>
                <a:gd name="connsiteX10" fmla="*/ 807724 w 807724"/>
                <a:gd name="connsiteY10" fmla="*/ 359168 h 416318"/>
                <a:gd name="connsiteX11" fmla="*/ 801274 w 801274"/>
                <a:gd name="connsiteY11" fmla="*/ 359168 h 416318"/>
                <a:gd name="connsiteX12" fmla="*/ 801274 w 801274"/>
                <a:gd name="connsiteY12" fmla="*/ 359168 h 416318"/>
                <a:gd name="connsiteX13" fmla="*/ 801274 w 801274"/>
                <a:gd name="connsiteY13" fmla="*/ 359168 h 416318"/>
                <a:gd name="connsiteX14" fmla="*/ 806044 w 806044"/>
                <a:gd name="connsiteY14" fmla="*/ 359168 h 416318"/>
                <a:gd name="connsiteX15" fmla="*/ 806044 w 806044"/>
                <a:gd name="connsiteY15" fmla="*/ 35242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</a:endParaRPr>
            </a:p>
          </p:txBody>
        </p:sp>
      </p:grpSp>
      <p:sp>
        <p:nvSpPr>
          <p:cNvPr id="3" name="Rektangel: afrundede hjørner 19">
            <a:extLst>
              <a:ext uri="{FF2B5EF4-FFF2-40B4-BE49-F238E27FC236}">
                <a16:creationId xmlns:a16="http://schemas.microsoft.com/office/drawing/2014/main" id="{7FF6EB37-700E-BEA1-0A27-8B33283BDBD8}"/>
              </a:ext>
            </a:extLst>
          </p:cNvPr>
          <p:cNvSpPr/>
          <p:nvPr/>
        </p:nvSpPr>
        <p:spPr>
          <a:xfrm>
            <a:off x="367576" y="1721302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 fælles, meningsfuld ramme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5A58D0A-DD1D-528D-C216-939AF3654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2159668"/>
            <a:ext cx="3149318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sartede definitioner </a:t>
            </a: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g målepunkter sikrer sammenlignelighed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indsker forvirring om ESG-krav og giver et fælles fundament for sektoren, som giver mening for o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 stedet for at hver boligorganisation udvikler egne metoder, kan vi fokusere på implementering og reel hand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000">
                <a:latin typeface="Verdana" panose="020B0604030504040204" pitchFamily="34" charset="0"/>
                <a:ea typeface="Verdana" panose="020B0604030504040204" pitchFamily="34" charset="0"/>
              </a:rPr>
              <a:t>Det fælles sprog g</a:t>
            </a: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ør det muligt at benchmarke på tværs af boligorganisationer og lære af hinandens erfaringer</a:t>
            </a:r>
          </a:p>
        </p:txBody>
      </p:sp>
      <p:sp>
        <p:nvSpPr>
          <p:cNvPr id="13" name="Rektangel: afrundede hjørner 19">
            <a:extLst>
              <a:ext uri="{FF2B5EF4-FFF2-40B4-BE49-F238E27FC236}">
                <a16:creationId xmlns:a16="http://schemas.microsoft.com/office/drawing/2014/main" id="{6801F5AA-E184-2349-D830-3DA1999447FF}"/>
              </a:ext>
            </a:extLst>
          </p:cNvPr>
          <p:cNvSpPr/>
          <p:nvPr/>
        </p:nvSpPr>
        <p:spPr>
          <a:xfrm>
            <a:off x="367576" y="4350741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konomiske fordele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F6A17442-BAE4-D8CF-D18C-9CF04ED9F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4800258"/>
            <a:ext cx="3149318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En fælles </a:t>
            </a:r>
            <a:r>
              <a:rPr lang="da-DK" altLang="da-DK" sz="1000">
                <a:latin typeface="Verdana"/>
                <a:ea typeface="Verdana"/>
              </a:rPr>
              <a:t>ESG-ramme</a:t>
            </a:r>
            <a:r>
              <a:rPr kumimoji="0" lang="da-DK" altLang="da-DK" sz="10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 kan lette adgang til grønne lå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Boligorganisationerne kan stå stærkere i forhandlinger med fonde og kommuner om støtte til bæredygtige initiativ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t fælles datasæt gør det lettere at påvirke lovgivning og rammevilkår til fordel for sektoren</a:t>
            </a:r>
          </a:p>
        </p:txBody>
      </p:sp>
      <p:sp>
        <p:nvSpPr>
          <p:cNvPr id="15" name="Rektangel: afrundede hjørner 19">
            <a:extLst>
              <a:ext uri="{FF2B5EF4-FFF2-40B4-BE49-F238E27FC236}">
                <a16:creationId xmlns:a16="http://schemas.microsoft.com/office/drawing/2014/main" id="{C1B99DE6-E339-378E-D454-88E4C3DF53EB}"/>
              </a:ext>
            </a:extLst>
          </p:cNvPr>
          <p:cNvSpPr/>
          <p:nvPr/>
        </p:nvSpPr>
        <p:spPr>
          <a:xfrm>
            <a:off x="8594917" y="1721302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Datadrevet beslutningstagning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FA3EDFDC-D980-2EFA-FFF5-91A15C353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2159668"/>
            <a:ext cx="3244657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 får et ensartet datagrundlag via Landsbyggefonden, så beslutninger baseres på fakta og sikrer troværdig om datakvalitete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Klare ESG-målepunkter gør det lettere få bæredygtighed på dagsordenen i bestyrelseslokalerne og prioritere, hvad der er vigtigst at gøre noget ve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Understøtter </a:t>
            </a:r>
            <a:r>
              <a:rPr kumimoji="0" lang="da-DK" altLang="da-DK" sz="10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overnance</a:t>
            </a: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og risikostyring i boligorganisationern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000">
                <a:latin typeface="Verdana" panose="020B0604030504040204" pitchFamily="34" charset="0"/>
                <a:ea typeface="Verdana" panose="020B0604030504040204" pitchFamily="34" charset="0"/>
              </a:rPr>
              <a:t>Sikrer et godt fundament til effektfuld handling!</a:t>
            </a:r>
            <a:endParaRPr kumimoji="0" lang="da-DK" altLang="da-DK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Rektangel: afrundede hjørner 19">
            <a:extLst>
              <a:ext uri="{FF2B5EF4-FFF2-40B4-BE49-F238E27FC236}">
                <a16:creationId xmlns:a16="http://schemas.microsoft.com/office/drawing/2014/main" id="{AABE7B92-9A6B-4B83-50F8-7E828F051AF7}"/>
              </a:ext>
            </a:extLst>
          </p:cNvPr>
          <p:cNvSpPr/>
          <p:nvPr/>
        </p:nvSpPr>
        <p:spPr>
          <a:xfrm>
            <a:off x="8594917" y="4350741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ket kommunikation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2A8B1954-6C29-4F8E-9E7F-0B3D599A9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4800258"/>
            <a:ext cx="3244657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ed et fælles datagrundlag kan boligorganisationerne dokumentere deres bæredygtighedsarbejde korrekt og lovligt uden risiko for </a:t>
            </a:r>
            <a:r>
              <a:rPr kumimoji="0" lang="da-DK" altLang="da-DK" sz="10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reenwashing</a:t>
            </a:r>
            <a:endParaRPr kumimoji="0" lang="da-DK" altLang="da-DK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5890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6832F-0604-886B-CB34-5D6712EF7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: Rounded Corners 1049">
            <a:extLst>
              <a:ext uri="{FF2B5EF4-FFF2-40B4-BE49-F238E27FC236}">
                <a16:creationId xmlns:a16="http://schemas.microsoft.com/office/drawing/2014/main" id="{7DD34062-FF0E-1850-37BA-DDAD533F9A80}"/>
              </a:ext>
            </a:extLst>
          </p:cNvPr>
          <p:cNvSpPr>
            <a:spLocks/>
          </p:cNvSpPr>
          <p:nvPr/>
        </p:nvSpPr>
        <p:spPr>
          <a:xfrm>
            <a:off x="3564136" y="1824760"/>
            <a:ext cx="5063724" cy="4240518"/>
          </a:xfrm>
          <a:custGeom>
            <a:avLst/>
            <a:gdLst>
              <a:gd name="connsiteX0" fmla="*/ 0 w 5063724"/>
              <a:gd name="connsiteY0" fmla="*/ 261174 h 4240518"/>
              <a:gd name="connsiteX1" fmla="*/ 261174 w 5063724"/>
              <a:gd name="connsiteY1" fmla="*/ 0 h 4240518"/>
              <a:gd name="connsiteX2" fmla="*/ 864528 w 5063724"/>
              <a:gd name="connsiteY2" fmla="*/ 0 h 4240518"/>
              <a:gd name="connsiteX3" fmla="*/ 1422469 w 5063724"/>
              <a:gd name="connsiteY3" fmla="*/ 0 h 4240518"/>
              <a:gd name="connsiteX4" fmla="*/ 2116650 w 5063724"/>
              <a:gd name="connsiteY4" fmla="*/ 0 h 4240518"/>
              <a:gd name="connsiteX5" fmla="*/ 2674591 w 5063724"/>
              <a:gd name="connsiteY5" fmla="*/ 0 h 4240518"/>
              <a:gd name="connsiteX6" fmla="*/ 3187118 w 5063724"/>
              <a:gd name="connsiteY6" fmla="*/ 0 h 4240518"/>
              <a:gd name="connsiteX7" fmla="*/ 3745058 w 5063724"/>
              <a:gd name="connsiteY7" fmla="*/ 0 h 4240518"/>
              <a:gd name="connsiteX8" fmla="*/ 4802550 w 5063724"/>
              <a:gd name="connsiteY8" fmla="*/ 0 h 4240518"/>
              <a:gd name="connsiteX9" fmla="*/ 5063724 w 5063724"/>
              <a:gd name="connsiteY9" fmla="*/ 261174 h 4240518"/>
              <a:gd name="connsiteX10" fmla="*/ 5063724 w 5063724"/>
              <a:gd name="connsiteY10" fmla="*/ 769324 h 4240518"/>
              <a:gd name="connsiteX11" fmla="*/ 5063724 w 5063724"/>
              <a:gd name="connsiteY11" fmla="*/ 1389019 h 4240518"/>
              <a:gd name="connsiteX12" fmla="*/ 5063724 w 5063724"/>
              <a:gd name="connsiteY12" fmla="*/ 2083077 h 4240518"/>
              <a:gd name="connsiteX13" fmla="*/ 5063724 w 5063724"/>
              <a:gd name="connsiteY13" fmla="*/ 2739954 h 4240518"/>
              <a:gd name="connsiteX14" fmla="*/ 5063724 w 5063724"/>
              <a:gd name="connsiteY14" fmla="*/ 3322467 h 4240518"/>
              <a:gd name="connsiteX15" fmla="*/ 5063724 w 5063724"/>
              <a:gd name="connsiteY15" fmla="*/ 3979344 h 4240518"/>
              <a:gd name="connsiteX16" fmla="*/ 4802550 w 5063724"/>
              <a:gd name="connsiteY16" fmla="*/ 4240518 h 4240518"/>
              <a:gd name="connsiteX17" fmla="*/ 4153782 w 5063724"/>
              <a:gd name="connsiteY17" fmla="*/ 4240518 h 4240518"/>
              <a:gd name="connsiteX18" fmla="*/ 3414186 w 5063724"/>
              <a:gd name="connsiteY18" fmla="*/ 4240518 h 4240518"/>
              <a:gd name="connsiteX19" fmla="*/ 2765418 w 5063724"/>
              <a:gd name="connsiteY19" fmla="*/ 4240518 h 4240518"/>
              <a:gd name="connsiteX20" fmla="*/ 2025823 w 5063724"/>
              <a:gd name="connsiteY20" fmla="*/ 4240518 h 4240518"/>
              <a:gd name="connsiteX21" fmla="*/ 1422469 w 5063724"/>
              <a:gd name="connsiteY21" fmla="*/ 4240518 h 4240518"/>
              <a:gd name="connsiteX22" fmla="*/ 864528 w 5063724"/>
              <a:gd name="connsiteY22" fmla="*/ 4240518 h 4240518"/>
              <a:gd name="connsiteX23" fmla="*/ 261174 w 5063724"/>
              <a:gd name="connsiteY23" fmla="*/ 4240518 h 4240518"/>
              <a:gd name="connsiteX24" fmla="*/ 0 w 5063724"/>
              <a:gd name="connsiteY24" fmla="*/ 3979344 h 4240518"/>
              <a:gd name="connsiteX25" fmla="*/ 0 w 5063724"/>
              <a:gd name="connsiteY25" fmla="*/ 3359649 h 4240518"/>
              <a:gd name="connsiteX26" fmla="*/ 0 w 5063724"/>
              <a:gd name="connsiteY26" fmla="*/ 2665591 h 4240518"/>
              <a:gd name="connsiteX27" fmla="*/ 0 w 5063724"/>
              <a:gd name="connsiteY27" fmla="*/ 2008714 h 4240518"/>
              <a:gd name="connsiteX28" fmla="*/ 0 w 5063724"/>
              <a:gd name="connsiteY28" fmla="*/ 1463382 h 4240518"/>
              <a:gd name="connsiteX29" fmla="*/ 0 w 5063724"/>
              <a:gd name="connsiteY29" fmla="*/ 806506 h 4240518"/>
              <a:gd name="connsiteX30" fmla="*/ 0 w 5063724"/>
              <a:gd name="connsiteY30" fmla="*/ 261174 h 4240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063724" h="4240518" fill="none" extrusionOk="0">
                <a:moveTo>
                  <a:pt x="0" y="261174"/>
                </a:moveTo>
                <a:cubicBezTo>
                  <a:pt x="14931" y="91010"/>
                  <a:pt x="94990" y="-8411"/>
                  <a:pt x="261174" y="0"/>
                </a:cubicBezTo>
                <a:cubicBezTo>
                  <a:pt x="434275" y="555"/>
                  <a:pt x="716146" y="13720"/>
                  <a:pt x="864528" y="0"/>
                </a:cubicBezTo>
                <a:cubicBezTo>
                  <a:pt x="1012910" y="-13720"/>
                  <a:pt x="1304855" y="15200"/>
                  <a:pt x="1422469" y="0"/>
                </a:cubicBezTo>
                <a:cubicBezTo>
                  <a:pt x="1540083" y="-15200"/>
                  <a:pt x="1779985" y="19313"/>
                  <a:pt x="2116650" y="0"/>
                </a:cubicBezTo>
                <a:cubicBezTo>
                  <a:pt x="2453315" y="-19313"/>
                  <a:pt x="2535882" y="9924"/>
                  <a:pt x="2674591" y="0"/>
                </a:cubicBezTo>
                <a:cubicBezTo>
                  <a:pt x="2813300" y="-9924"/>
                  <a:pt x="2990978" y="15805"/>
                  <a:pt x="3187118" y="0"/>
                </a:cubicBezTo>
                <a:cubicBezTo>
                  <a:pt x="3383258" y="-15805"/>
                  <a:pt x="3492912" y="-26175"/>
                  <a:pt x="3745058" y="0"/>
                </a:cubicBezTo>
                <a:cubicBezTo>
                  <a:pt x="3997204" y="26175"/>
                  <a:pt x="4496547" y="-14882"/>
                  <a:pt x="4802550" y="0"/>
                </a:cubicBezTo>
                <a:cubicBezTo>
                  <a:pt x="4931726" y="1806"/>
                  <a:pt x="5083381" y="137578"/>
                  <a:pt x="5063724" y="261174"/>
                </a:cubicBezTo>
                <a:cubicBezTo>
                  <a:pt x="5087172" y="438851"/>
                  <a:pt x="5047861" y="634062"/>
                  <a:pt x="5063724" y="769324"/>
                </a:cubicBezTo>
                <a:cubicBezTo>
                  <a:pt x="5079588" y="904586"/>
                  <a:pt x="5064167" y="1251430"/>
                  <a:pt x="5063724" y="1389019"/>
                </a:cubicBezTo>
                <a:cubicBezTo>
                  <a:pt x="5063281" y="1526608"/>
                  <a:pt x="5087123" y="1838677"/>
                  <a:pt x="5063724" y="2083077"/>
                </a:cubicBezTo>
                <a:cubicBezTo>
                  <a:pt x="5040325" y="2327477"/>
                  <a:pt x="5090038" y="2414239"/>
                  <a:pt x="5063724" y="2739954"/>
                </a:cubicBezTo>
                <a:cubicBezTo>
                  <a:pt x="5037410" y="3065669"/>
                  <a:pt x="5045773" y="3146605"/>
                  <a:pt x="5063724" y="3322467"/>
                </a:cubicBezTo>
                <a:cubicBezTo>
                  <a:pt x="5081675" y="3498329"/>
                  <a:pt x="5095822" y="3802603"/>
                  <a:pt x="5063724" y="3979344"/>
                </a:cubicBezTo>
                <a:cubicBezTo>
                  <a:pt x="5063919" y="4132459"/>
                  <a:pt x="4960039" y="4228631"/>
                  <a:pt x="4802550" y="4240518"/>
                </a:cubicBezTo>
                <a:cubicBezTo>
                  <a:pt x="4660679" y="4247272"/>
                  <a:pt x="4342558" y="4258691"/>
                  <a:pt x="4153782" y="4240518"/>
                </a:cubicBezTo>
                <a:cubicBezTo>
                  <a:pt x="3965006" y="4222345"/>
                  <a:pt x="3705660" y="4254282"/>
                  <a:pt x="3414186" y="4240518"/>
                </a:cubicBezTo>
                <a:cubicBezTo>
                  <a:pt x="3122712" y="4226754"/>
                  <a:pt x="3087750" y="4208487"/>
                  <a:pt x="2765418" y="4240518"/>
                </a:cubicBezTo>
                <a:cubicBezTo>
                  <a:pt x="2443086" y="4272549"/>
                  <a:pt x="2328344" y="4232024"/>
                  <a:pt x="2025823" y="4240518"/>
                </a:cubicBezTo>
                <a:cubicBezTo>
                  <a:pt x="1723302" y="4249012"/>
                  <a:pt x="1553467" y="4226174"/>
                  <a:pt x="1422469" y="4240518"/>
                </a:cubicBezTo>
                <a:cubicBezTo>
                  <a:pt x="1291471" y="4254862"/>
                  <a:pt x="1001612" y="4243466"/>
                  <a:pt x="864528" y="4240518"/>
                </a:cubicBezTo>
                <a:cubicBezTo>
                  <a:pt x="727444" y="4237570"/>
                  <a:pt x="474671" y="4259565"/>
                  <a:pt x="261174" y="4240518"/>
                </a:cubicBezTo>
                <a:cubicBezTo>
                  <a:pt x="97726" y="4247255"/>
                  <a:pt x="-600" y="4093627"/>
                  <a:pt x="0" y="3979344"/>
                </a:cubicBezTo>
                <a:cubicBezTo>
                  <a:pt x="-15754" y="3700184"/>
                  <a:pt x="5752" y="3494281"/>
                  <a:pt x="0" y="3359649"/>
                </a:cubicBezTo>
                <a:cubicBezTo>
                  <a:pt x="-5752" y="3225018"/>
                  <a:pt x="21935" y="3000648"/>
                  <a:pt x="0" y="2665591"/>
                </a:cubicBezTo>
                <a:cubicBezTo>
                  <a:pt x="-21935" y="2330534"/>
                  <a:pt x="-11806" y="2305035"/>
                  <a:pt x="0" y="2008714"/>
                </a:cubicBezTo>
                <a:cubicBezTo>
                  <a:pt x="11806" y="1712393"/>
                  <a:pt x="25401" y="1721786"/>
                  <a:pt x="0" y="1463382"/>
                </a:cubicBezTo>
                <a:cubicBezTo>
                  <a:pt x="-25401" y="1204978"/>
                  <a:pt x="-29106" y="1056378"/>
                  <a:pt x="0" y="806506"/>
                </a:cubicBezTo>
                <a:cubicBezTo>
                  <a:pt x="29106" y="556634"/>
                  <a:pt x="-6742" y="443101"/>
                  <a:pt x="0" y="261174"/>
                </a:cubicBezTo>
                <a:close/>
              </a:path>
              <a:path w="5063724" h="4240518" stroke="0" extrusionOk="0">
                <a:moveTo>
                  <a:pt x="0" y="261174"/>
                </a:moveTo>
                <a:cubicBezTo>
                  <a:pt x="-24439" y="101857"/>
                  <a:pt x="97299" y="7368"/>
                  <a:pt x="261174" y="0"/>
                </a:cubicBezTo>
                <a:cubicBezTo>
                  <a:pt x="434863" y="2994"/>
                  <a:pt x="736280" y="19936"/>
                  <a:pt x="1000770" y="0"/>
                </a:cubicBezTo>
                <a:cubicBezTo>
                  <a:pt x="1265260" y="-19936"/>
                  <a:pt x="1472832" y="-12252"/>
                  <a:pt x="1604124" y="0"/>
                </a:cubicBezTo>
                <a:cubicBezTo>
                  <a:pt x="1735416" y="12252"/>
                  <a:pt x="2027778" y="-16327"/>
                  <a:pt x="2162064" y="0"/>
                </a:cubicBezTo>
                <a:cubicBezTo>
                  <a:pt x="2296350" y="16327"/>
                  <a:pt x="2673638" y="-13547"/>
                  <a:pt x="2856246" y="0"/>
                </a:cubicBezTo>
                <a:cubicBezTo>
                  <a:pt x="3038854" y="13547"/>
                  <a:pt x="3283668" y="7012"/>
                  <a:pt x="3459600" y="0"/>
                </a:cubicBezTo>
                <a:cubicBezTo>
                  <a:pt x="3635532" y="-7012"/>
                  <a:pt x="3854617" y="-12806"/>
                  <a:pt x="4199196" y="0"/>
                </a:cubicBezTo>
                <a:cubicBezTo>
                  <a:pt x="4543775" y="12806"/>
                  <a:pt x="4672628" y="-983"/>
                  <a:pt x="4802550" y="0"/>
                </a:cubicBezTo>
                <a:cubicBezTo>
                  <a:pt x="4935211" y="19157"/>
                  <a:pt x="5049700" y="100666"/>
                  <a:pt x="5063724" y="261174"/>
                </a:cubicBezTo>
                <a:cubicBezTo>
                  <a:pt x="5073308" y="532347"/>
                  <a:pt x="5053651" y="574773"/>
                  <a:pt x="5063724" y="806506"/>
                </a:cubicBezTo>
                <a:cubicBezTo>
                  <a:pt x="5073797" y="1038239"/>
                  <a:pt x="5060994" y="1119704"/>
                  <a:pt x="5063724" y="1426201"/>
                </a:cubicBezTo>
                <a:cubicBezTo>
                  <a:pt x="5066454" y="1732699"/>
                  <a:pt x="5073195" y="1812661"/>
                  <a:pt x="5063724" y="2008714"/>
                </a:cubicBezTo>
                <a:cubicBezTo>
                  <a:pt x="5054253" y="2204767"/>
                  <a:pt x="5069482" y="2459108"/>
                  <a:pt x="5063724" y="2702772"/>
                </a:cubicBezTo>
                <a:cubicBezTo>
                  <a:pt x="5057966" y="2946436"/>
                  <a:pt x="5061789" y="3157923"/>
                  <a:pt x="5063724" y="3396831"/>
                </a:cubicBezTo>
                <a:cubicBezTo>
                  <a:pt x="5065659" y="3635739"/>
                  <a:pt x="5047951" y="3781131"/>
                  <a:pt x="5063724" y="3979344"/>
                </a:cubicBezTo>
                <a:cubicBezTo>
                  <a:pt x="5051388" y="4111964"/>
                  <a:pt x="4928602" y="4213326"/>
                  <a:pt x="4802550" y="4240518"/>
                </a:cubicBezTo>
                <a:cubicBezTo>
                  <a:pt x="4641718" y="4218912"/>
                  <a:pt x="4436267" y="4230270"/>
                  <a:pt x="4108368" y="4240518"/>
                </a:cubicBezTo>
                <a:cubicBezTo>
                  <a:pt x="3780469" y="4250766"/>
                  <a:pt x="3766609" y="4216414"/>
                  <a:pt x="3595842" y="4240518"/>
                </a:cubicBezTo>
                <a:cubicBezTo>
                  <a:pt x="3425075" y="4264622"/>
                  <a:pt x="3280096" y="4258114"/>
                  <a:pt x="3037901" y="4240518"/>
                </a:cubicBezTo>
                <a:cubicBezTo>
                  <a:pt x="2795706" y="4222922"/>
                  <a:pt x="2605235" y="4250547"/>
                  <a:pt x="2298306" y="4240518"/>
                </a:cubicBezTo>
                <a:cubicBezTo>
                  <a:pt x="1991378" y="4230489"/>
                  <a:pt x="1899044" y="4257441"/>
                  <a:pt x="1649538" y="4240518"/>
                </a:cubicBezTo>
                <a:cubicBezTo>
                  <a:pt x="1400032" y="4223595"/>
                  <a:pt x="1224578" y="4224353"/>
                  <a:pt x="1091597" y="4240518"/>
                </a:cubicBezTo>
                <a:cubicBezTo>
                  <a:pt x="958616" y="4256683"/>
                  <a:pt x="643107" y="4219573"/>
                  <a:pt x="261174" y="4240518"/>
                </a:cubicBezTo>
                <a:cubicBezTo>
                  <a:pt x="88198" y="4238892"/>
                  <a:pt x="4852" y="4127763"/>
                  <a:pt x="0" y="3979344"/>
                </a:cubicBezTo>
                <a:cubicBezTo>
                  <a:pt x="8746" y="3836616"/>
                  <a:pt x="12897" y="3524371"/>
                  <a:pt x="0" y="3359649"/>
                </a:cubicBezTo>
                <a:cubicBezTo>
                  <a:pt x="-12897" y="3194928"/>
                  <a:pt x="-7664" y="2946221"/>
                  <a:pt x="0" y="2814317"/>
                </a:cubicBezTo>
                <a:cubicBezTo>
                  <a:pt x="7664" y="2682413"/>
                  <a:pt x="18488" y="2313767"/>
                  <a:pt x="0" y="2157441"/>
                </a:cubicBezTo>
                <a:cubicBezTo>
                  <a:pt x="-18488" y="2001115"/>
                  <a:pt x="17731" y="1799737"/>
                  <a:pt x="0" y="1612109"/>
                </a:cubicBezTo>
                <a:cubicBezTo>
                  <a:pt x="-17731" y="1424481"/>
                  <a:pt x="27717" y="1239273"/>
                  <a:pt x="0" y="955232"/>
                </a:cubicBezTo>
                <a:cubicBezTo>
                  <a:pt x="-27717" y="671191"/>
                  <a:pt x="2138" y="572312"/>
                  <a:pt x="0" y="261174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chemeClr val="accent1">
                <a:lumMod val="90000"/>
                <a:lumOff val="10000"/>
              </a:schemeClr>
            </a:solidFill>
            <a:prstDash val="solid"/>
            <a:round/>
            <a:headEnd type="oval"/>
            <a:tailEnd type="oval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159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C190A43-D52C-E859-3E03-E1DD21FE0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90A43-D52C-E859-3E03-E1DD21FE0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CAA56B-221B-A1DE-A7B9-7BCD9CC9D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2" y="371471"/>
            <a:ext cx="11472000" cy="1030292"/>
          </a:xfrm>
        </p:spPr>
        <p:txBody>
          <a:bodyPr vert="horz"/>
          <a:lstStyle/>
          <a:p>
            <a:r>
              <a:rPr lang="da-DK">
                <a:latin typeface="DM Sans 18pt 18pt ExtraBold"/>
              </a:rPr>
              <a:t>Hvordan: ESG-landskabet i den almene sek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3B049-E94D-5019-527E-754BF984C1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34F238-8383-FA19-1CC0-109B6AC2C1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5AC56-3B0A-F413-D769-1D216E9AE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2" y="956253"/>
            <a:ext cx="11487150" cy="445510"/>
          </a:xfrm>
        </p:spPr>
        <p:txBody>
          <a:bodyPr/>
          <a:lstStyle/>
          <a:p>
            <a:r>
              <a:rPr lang="da-DK"/>
              <a:t>Vores standard har et bredt fokus i et komplekst interessentlandskab og styringskæde med mange interesser og roller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60C6E6-E3E4-2E83-915B-17A29E1C7BBB}"/>
              </a:ext>
            </a:extLst>
          </p:cNvPr>
          <p:cNvSpPr>
            <a:spLocks/>
          </p:cNvSpPr>
          <p:nvPr/>
        </p:nvSpPr>
        <p:spPr>
          <a:xfrm>
            <a:off x="284502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dsbyggefonden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, støtte, mv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DBEB14-2AA3-3B39-6897-BF997D83C398}"/>
              </a:ext>
            </a:extLst>
          </p:cNvPr>
          <p:cNvSpPr/>
          <p:nvPr/>
        </p:nvSpPr>
        <p:spPr>
          <a:xfrm>
            <a:off x="284502" y="2854637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nk og fonde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røn finansiering,  kapitalforvaltning mv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A4F302-F2B4-2DE5-F8D3-D138A9E5B266}"/>
              </a:ext>
            </a:extLst>
          </p:cNvPr>
          <p:cNvSpPr/>
          <p:nvPr/>
        </p:nvSpPr>
        <p:spPr>
          <a:xfrm>
            <a:off x="284502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vgiver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regulering, sektorkrav, compliance mv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111D0F-F906-BED3-CE95-5C7D4A1E6B14}"/>
              </a:ext>
            </a:extLst>
          </p:cNvPr>
          <p:cNvSpPr/>
          <p:nvPr/>
        </p:nvSpPr>
        <p:spPr>
          <a:xfrm>
            <a:off x="284502" y="5096589"/>
            <a:ext cx="1237836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mune(r)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yudvikling, byg, transformering, lokalplaner, udlejningsaftaler mv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EF157C-E1A7-3636-42BE-08752E761398}"/>
              </a:ext>
            </a:extLst>
          </p:cNvPr>
          <p:cNvSpPr>
            <a:spLocks/>
          </p:cNvSpPr>
          <p:nvPr/>
        </p:nvSpPr>
        <p:spPr>
          <a:xfrm>
            <a:off x="10702955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L og foreninger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dannelse, politisk interesse-varetagelse mv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EDD6C7-BCBC-A41A-36A9-3CDF4ABBDA3D}"/>
              </a:ext>
            </a:extLst>
          </p:cNvPr>
          <p:cNvSpPr>
            <a:spLocks/>
          </p:cNvSpPr>
          <p:nvPr/>
        </p:nvSpPr>
        <p:spPr>
          <a:xfrm>
            <a:off x="10702954" y="2854553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/>
                <a:ea typeface="Verdana"/>
              </a:rPr>
              <a:t>Leverandører</a:t>
            </a:r>
            <a:endParaRPr lang="en-US">
              <a:solidFill>
                <a:schemeClr val="tx1"/>
              </a:solidFill>
              <a:latin typeface="Verdana"/>
              <a:ea typeface="Verdana"/>
            </a:endParaRP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/>
                <a:ea typeface="Verdana"/>
              </a:rPr>
              <a:t>Varer, services, udbud, forsyning, rådgivning mv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08CCA5-F7B5-F41C-A6D8-EAEF306EBC89}"/>
              </a:ext>
            </a:extLst>
          </p:cNvPr>
          <p:cNvSpPr>
            <a:spLocks/>
          </p:cNvSpPr>
          <p:nvPr/>
        </p:nvSpPr>
        <p:spPr>
          <a:xfrm>
            <a:off x="10702954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verden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lejning, rekruttering, markedsføring, kommunikation mv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2BD69F-7879-A94D-B29A-A64C5B1E24F8}"/>
              </a:ext>
            </a:extLst>
          </p:cNvPr>
          <p:cNvSpPr>
            <a:spLocks/>
          </p:cNvSpPr>
          <p:nvPr/>
        </p:nvSpPr>
        <p:spPr>
          <a:xfrm>
            <a:off x="10671915" y="5092159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9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kalsamfund</a:t>
            </a:r>
          </a:p>
          <a:p>
            <a:pPr>
              <a:spcAft>
                <a:spcPts val="300"/>
              </a:spcAft>
            </a:pPr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ivillighed, helhedsplaner, samarbejde, partnerskaber</a:t>
            </a:r>
          </a:p>
        </p:txBody>
      </p:sp>
      <p:sp>
        <p:nvSpPr>
          <p:cNvPr id="113" name="Rektangel: afrundede hjørner 19">
            <a:extLst>
              <a:ext uri="{FF2B5EF4-FFF2-40B4-BE49-F238E27FC236}">
                <a16:creationId xmlns:a16="http://schemas.microsoft.com/office/drawing/2014/main" id="{16F45FC5-1836-DF95-3757-A862F53A6C09}"/>
              </a:ext>
            </a:extLst>
          </p:cNvPr>
          <p:cNvSpPr/>
          <p:nvPr/>
        </p:nvSpPr>
        <p:spPr>
          <a:xfrm>
            <a:off x="4324326" y="4910475"/>
            <a:ext cx="3558502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ntegration i interne processer og praksis ek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defRPr/>
            </a:pP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 Strategi og organisering  </a:t>
            </a:r>
          </a:p>
          <a:p>
            <a:pPr algn="ctr">
              <a:defRPr/>
            </a:pP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Risikostyring </a:t>
            </a:r>
            <a:endParaRPr lang="da-DK" sz="1000">
              <a:solidFill>
                <a:schemeClr val="tx1"/>
              </a:solidFill>
              <a:latin typeface="Verdana"/>
              <a:ea typeface="Verdana"/>
            </a:endParaRPr>
          </a:p>
          <a:p>
            <a:pPr marR="0" lvl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Handlingsplan</a:t>
            </a:r>
            <a:endParaRPr lang="da-DK">
              <a:solidFill>
                <a:schemeClr val="tx1"/>
              </a:solidFill>
              <a:latin typeface="Verdana"/>
              <a:ea typeface="Verdana"/>
            </a:endParaRPr>
          </a:p>
        </p:txBody>
      </p:sp>
      <p:sp>
        <p:nvSpPr>
          <p:cNvPr id="114" name="Rektangel: afrundede hjørner 19">
            <a:extLst>
              <a:ext uri="{FF2B5EF4-FFF2-40B4-BE49-F238E27FC236}">
                <a16:creationId xmlns:a16="http://schemas.microsoft.com/office/drawing/2014/main" id="{067449DE-6B99-FE23-FBF2-B67C773D590C}"/>
              </a:ext>
            </a:extLst>
          </p:cNvPr>
          <p:cNvSpPr/>
          <p:nvPr/>
        </p:nvSpPr>
        <p:spPr>
          <a:xfrm>
            <a:off x="1974260" y="5607347"/>
            <a:ext cx="1622055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styringsdialog</a:t>
            </a:r>
          </a:p>
        </p:txBody>
      </p:sp>
      <p:sp>
        <p:nvSpPr>
          <p:cNvPr id="115" name="Rektangel: afrundede hjørner 19">
            <a:extLst>
              <a:ext uri="{FF2B5EF4-FFF2-40B4-BE49-F238E27FC236}">
                <a16:creationId xmlns:a16="http://schemas.microsoft.com/office/drawing/2014/main" id="{D682BD1C-307C-DED2-C701-C30D7B69AFFB}"/>
              </a:ext>
            </a:extLst>
          </p:cNvPr>
          <p:cNvSpPr/>
          <p:nvPr/>
        </p:nvSpPr>
        <p:spPr>
          <a:xfrm>
            <a:off x="2056258" y="4523957"/>
            <a:ext cx="1452027" cy="415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egenkontrol og forvaltningsrevision mv</a:t>
            </a:r>
          </a:p>
        </p:txBody>
      </p:sp>
      <p:sp>
        <p:nvSpPr>
          <p:cNvPr id="116" name="Rektangel: afrundede hjørner 19">
            <a:extLst>
              <a:ext uri="{FF2B5EF4-FFF2-40B4-BE49-F238E27FC236}">
                <a16:creationId xmlns:a16="http://schemas.microsoft.com/office/drawing/2014/main" id="{E60E9722-EED3-41F5-1CD8-089D3AAA9323}"/>
              </a:ext>
            </a:extLst>
          </p:cNvPr>
          <p:cNvSpPr/>
          <p:nvPr/>
        </p:nvSpPr>
        <p:spPr>
          <a:xfrm>
            <a:off x="2079817" y="2330396"/>
            <a:ext cx="141563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varehus, Dashboard</a:t>
            </a:r>
          </a:p>
        </p:txBody>
      </p:sp>
      <p:sp>
        <p:nvSpPr>
          <p:cNvPr id="117" name="Rektangel: afrundede hjørner 19">
            <a:extLst>
              <a:ext uri="{FF2B5EF4-FFF2-40B4-BE49-F238E27FC236}">
                <a16:creationId xmlns:a16="http://schemas.microsoft.com/office/drawing/2014/main" id="{4971D8BE-0208-0DAE-D58E-A5774AE39573}"/>
              </a:ext>
            </a:extLst>
          </p:cNvPr>
          <p:cNvSpPr/>
          <p:nvPr/>
        </p:nvSpPr>
        <p:spPr>
          <a:xfrm>
            <a:off x="2377267" y="3471957"/>
            <a:ext cx="82073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nøgletal</a:t>
            </a:r>
          </a:p>
        </p:txBody>
      </p:sp>
      <p:sp>
        <p:nvSpPr>
          <p:cNvPr id="37" name="Rektangel: afrundede hjørner 19">
            <a:extLst>
              <a:ext uri="{FF2B5EF4-FFF2-40B4-BE49-F238E27FC236}">
                <a16:creationId xmlns:a16="http://schemas.microsoft.com/office/drawing/2014/main" id="{BBED7BBF-FF23-9F56-56DC-FCA717DDC3D3}"/>
              </a:ext>
            </a:extLst>
          </p:cNvPr>
          <p:cNvSpPr/>
          <p:nvPr/>
        </p:nvSpPr>
        <p:spPr>
          <a:xfrm>
            <a:off x="4742367" y="4404794"/>
            <a:ext cx="2710778" cy="51077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</a:bodyPr>
          <a:lstStyle/>
          <a:p>
            <a:pPr algn="ctr" defTabSz="914218">
              <a:defRPr/>
            </a:pPr>
            <a:r>
              <a:rPr lang="da-DK" sz="12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ligorganisation m/u egen administration</a:t>
            </a:r>
          </a:p>
        </p:txBody>
      </p:sp>
      <p:sp>
        <p:nvSpPr>
          <p:cNvPr id="1030" name="Rektangel: afrundede hjørner 19">
            <a:extLst>
              <a:ext uri="{FF2B5EF4-FFF2-40B4-BE49-F238E27FC236}">
                <a16:creationId xmlns:a16="http://schemas.microsoft.com/office/drawing/2014/main" id="{73A7C026-F131-B002-38E5-671F0F452019}"/>
              </a:ext>
            </a:extLst>
          </p:cNvPr>
          <p:cNvSpPr/>
          <p:nvPr/>
        </p:nvSpPr>
        <p:spPr>
          <a:xfrm>
            <a:off x="8948169" y="5608814"/>
            <a:ext cx="1005083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æsentationer</a:t>
            </a:r>
          </a:p>
        </p:txBody>
      </p:sp>
      <p:sp>
        <p:nvSpPr>
          <p:cNvPr id="1031" name="Rektangel: afrundede hjørner 19">
            <a:extLst>
              <a:ext uri="{FF2B5EF4-FFF2-40B4-BE49-F238E27FC236}">
                <a16:creationId xmlns:a16="http://schemas.microsoft.com/office/drawing/2014/main" id="{4F2C8F8F-BD68-5330-40DF-621F7CBE37B3}"/>
              </a:ext>
            </a:extLst>
          </p:cNvPr>
          <p:cNvSpPr/>
          <p:nvPr/>
        </p:nvSpPr>
        <p:spPr>
          <a:xfrm>
            <a:off x="8974517" y="3497894"/>
            <a:ext cx="97500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rav og politikker</a:t>
            </a:r>
          </a:p>
        </p:txBody>
      </p:sp>
      <p:sp>
        <p:nvSpPr>
          <p:cNvPr id="1032" name="Rektangel: afrundede hjørner 19">
            <a:extLst>
              <a:ext uri="{FF2B5EF4-FFF2-40B4-BE49-F238E27FC236}">
                <a16:creationId xmlns:a16="http://schemas.microsoft.com/office/drawing/2014/main" id="{D6A01EA3-FA38-13A3-0C20-D535BDA8EAB7}"/>
              </a:ext>
            </a:extLst>
          </p:cNvPr>
          <p:cNvSpPr/>
          <p:nvPr/>
        </p:nvSpPr>
        <p:spPr>
          <a:xfrm>
            <a:off x="8892033" y="4475183"/>
            <a:ext cx="111408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rapportering</a:t>
            </a:r>
          </a:p>
        </p:txBody>
      </p:sp>
      <p:sp>
        <p:nvSpPr>
          <p:cNvPr id="1033" name="Rektangel: afrundede hjørner 19">
            <a:extLst>
              <a:ext uri="{FF2B5EF4-FFF2-40B4-BE49-F238E27FC236}">
                <a16:creationId xmlns:a16="http://schemas.microsoft.com/office/drawing/2014/main" id="{17A2884B-4449-1F1D-1AF9-2D397F585E27}"/>
              </a:ext>
            </a:extLst>
          </p:cNvPr>
          <p:cNvSpPr/>
          <p:nvPr/>
        </p:nvSpPr>
        <p:spPr>
          <a:xfrm>
            <a:off x="9073888" y="2336081"/>
            <a:ext cx="713337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urser</a:t>
            </a:r>
          </a:p>
        </p:txBody>
      </p:sp>
      <p:sp>
        <p:nvSpPr>
          <p:cNvPr id="1034" name="Rektangel: afrundede hjørner 19">
            <a:extLst>
              <a:ext uri="{FF2B5EF4-FFF2-40B4-BE49-F238E27FC236}">
                <a16:creationId xmlns:a16="http://schemas.microsoft.com/office/drawing/2014/main" id="{AE57E905-3AD9-CDFD-4CCB-E92C16AD1B97}"/>
              </a:ext>
            </a:extLst>
          </p:cNvPr>
          <p:cNvSpPr/>
          <p:nvPr/>
        </p:nvSpPr>
        <p:spPr>
          <a:xfrm>
            <a:off x="9036920" y="2468896"/>
            <a:ext cx="835164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densdeling</a:t>
            </a:r>
          </a:p>
        </p:txBody>
      </p:sp>
      <p:pic>
        <p:nvPicPr>
          <p:cNvPr id="3" name="Billede 52">
            <a:extLst>
              <a:ext uri="{FF2B5EF4-FFF2-40B4-BE49-F238E27FC236}">
                <a16:creationId xmlns:a16="http://schemas.microsoft.com/office/drawing/2014/main" id="{7DC8C6F5-1AF0-1014-6B98-AD52DD8C00F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87" r="6122"/>
          <a:stretch/>
        </p:blipFill>
        <p:spPr>
          <a:xfrm>
            <a:off x="1513890" y="1933488"/>
            <a:ext cx="400215" cy="558181"/>
          </a:xfrm>
          <a:prstGeom prst="rect">
            <a:avLst/>
          </a:prstGeom>
        </p:spPr>
      </p:pic>
      <p:pic>
        <p:nvPicPr>
          <p:cNvPr id="5" name="Graphic 1023">
            <a:extLst>
              <a:ext uri="{FF2B5EF4-FFF2-40B4-BE49-F238E27FC236}">
                <a16:creationId xmlns:a16="http://schemas.microsoft.com/office/drawing/2014/main" id="{418A7ADC-0F9E-999A-ACBD-C77B47705E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88932" y="2955685"/>
            <a:ext cx="641466" cy="642831"/>
          </a:xfrm>
          <a:prstGeom prst="rect">
            <a:avLst/>
          </a:prstGeom>
        </p:spPr>
      </p:pic>
      <p:pic>
        <p:nvPicPr>
          <p:cNvPr id="7" name="Graphic 1027">
            <a:extLst>
              <a:ext uri="{FF2B5EF4-FFF2-40B4-BE49-F238E27FC236}">
                <a16:creationId xmlns:a16="http://schemas.microsoft.com/office/drawing/2014/main" id="{25C5549A-03E4-568C-69BC-78D23E09E0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25550" y="4163981"/>
            <a:ext cx="783669" cy="622785"/>
          </a:xfrm>
          <a:prstGeom prst="rect">
            <a:avLst/>
          </a:prstGeom>
        </p:spPr>
      </p:pic>
      <p:pic>
        <p:nvPicPr>
          <p:cNvPr id="8" name="Graphic 1044">
            <a:extLst>
              <a:ext uri="{FF2B5EF4-FFF2-40B4-BE49-F238E27FC236}">
                <a16:creationId xmlns:a16="http://schemas.microsoft.com/office/drawing/2014/main" id="{AD4BD55D-57C6-FE77-FEFD-CDAAB4FF6D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09288" y="5235537"/>
            <a:ext cx="923475" cy="644153"/>
          </a:xfrm>
          <a:prstGeom prst="rect">
            <a:avLst/>
          </a:prstGeom>
        </p:spPr>
      </p:pic>
      <p:pic>
        <p:nvPicPr>
          <p:cNvPr id="9" name="Graphic 1032">
            <a:extLst>
              <a:ext uri="{FF2B5EF4-FFF2-40B4-BE49-F238E27FC236}">
                <a16:creationId xmlns:a16="http://schemas.microsoft.com/office/drawing/2014/main" id="{7A48E199-73A4-53EC-43C8-89E83CB57A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67859" y="1836881"/>
            <a:ext cx="855785" cy="722689"/>
          </a:xfrm>
          <a:prstGeom prst="rect">
            <a:avLst/>
          </a:prstGeom>
        </p:spPr>
      </p:pic>
      <p:pic>
        <p:nvPicPr>
          <p:cNvPr id="21" name="Graphic 1028">
            <a:extLst>
              <a:ext uri="{FF2B5EF4-FFF2-40B4-BE49-F238E27FC236}">
                <a16:creationId xmlns:a16="http://schemas.microsoft.com/office/drawing/2014/main" id="{FD915B59-7B81-8622-E996-27426D189C7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95548" y="3189927"/>
            <a:ext cx="485291" cy="403961"/>
          </a:xfrm>
          <a:prstGeom prst="rect">
            <a:avLst/>
          </a:prstGeom>
        </p:spPr>
      </p:pic>
      <p:grpSp>
        <p:nvGrpSpPr>
          <p:cNvPr id="22" name="Group 99">
            <a:extLst>
              <a:ext uri="{FF2B5EF4-FFF2-40B4-BE49-F238E27FC236}">
                <a16:creationId xmlns:a16="http://schemas.microsoft.com/office/drawing/2014/main" id="{2DD97B76-AB74-D85E-E54A-497CBD3DE1B7}"/>
              </a:ext>
            </a:extLst>
          </p:cNvPr>
          <p:cNvGrpSpPr/>
          <p:nvPr/>
        </p:nvGrpSpPr>
        <p:grpSpPr>
          <a:xfrm>
            <a:off x="10241864" y="4148127"/>
            <a:ext cx="437458" cy="585363"/>
            <a:chOff x="1812950" y="1639609"/>
            <a:chExt cx="3101338" cy="4273873"/>
          </a:xfrm>
        </p:grpSpPr>
        <p:grpSp>
          <p:nvGrpSpPr>
            <p:cNvPr id="23" name="Group 91">
              <a:extLst>
                <a:ext uri="{FF2B5EF4-FFF2-40B4-BE49-F238E27FC236}">
                  <a16:creationId xmlns:a16="http://schemas.microsoft.com/office/drawing/2014/main" id="{00E5C265-5DEA-5ACC-CCE9-786675CC9510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39" name="Freeform: Shape 56">
                <a:extLst>
                  <a:ext uri="{FF2B5EF4-FFF2-40B4-BE49-F238E27FC236}">
                    <a16:creationId xmlns:a16="http://schemas.microsoft.com/office/drawing/2014/main" id="{CA6E9BE9-2F9D-BA3A-5CB1-96CF0343D138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00219 w 1705082"/>
                  <a:gd name="connsiteY195" fmla="*/ 119853 h 2663028"/>
                  <a:gd name="connsiteX196" fmla="*/ 976419 w 1705082"/>
                  <a:gd name="connsiteY196" fmla="*/ 100803 h 2663028"/>
                  <a:gd name="connsiteX197" fmla="*/ 1019282 w 1705082"/>
                  <a:gd name="connsiteY197" fmla="*/ 81753 h 2663028"/>
                  <a:gd name="connsiteX198" fmla="*/ 1057382 w 1705082"/>
                  <a:gd name="connsiteY198" fmla="*/ 67465 h 2663028"/>
                  <a:gd name="connsiteX199" fmla="*/ 1100244 w 1705082"/>
                  <a:gd name="connsiteY199" fmla="*/ 38890 h 2663028"/>
                  <a:gd name="connsiteX200" fmla="*/ 1133582 w 1705082"/>
                  <a:gd name="connsiteY200" fmla="*/ 29365 h 2663028"/>
                  <a:gd name="connsiteX201" fmla="*/ 1152632 w 1705082"/>
                  <a:gd name="connsiteY201" fmla="*/ 24603 h 2663028"/>
                  <a:gd name="connsiteX202" fmla="*/ 1195494 w 1705082"/>
                  <a:gd name="connsiteY202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76419 w 1705082"/>
                  <a:gd name="connsiteY195" fmla="*/ 100803 h 2663028"/>
                  <a:gd name="connsiteX196" fmla="*/ 1019282 w 1705082"/>
                  <a:gd name="connsiteY196" fmla="*/ 81753 h 2663028"/>
                  <a:gd name="connsiteX197" fmla="*/ 1057382 w 1705082"/>
                  <a:gd name="connsiteY197" fmla="*/ 67465 h 2663028"/>
                  <a:gd name="connsiteX198" fmla="*/ 1100244 w 1705082"/>
                  <a:gd name="connsiteY198" fmla="*/ 38890 h 2663028"/>
                  <a:gd name="connsiteX199" fmla="*/ 1133582 w 1705082"/>
                  <a:gd name="connsiteY199" fmla="*/ 29365 h 2663028"/>
                  <a:gd name="connsiteX200" fmla="*/ 1152632 w 1705082"/>
                  <a:gd name="connsiteY200" fmla="*/ 24603 h 2663028"/>
                  <a:gd name="connsiteX201" fmla="*/ 1195494 w 1705082"/>
                  <a:gd name="connsiteY201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19282 w 1705082"/>
                  <a:gd name="connsiteY195" fmla="*/ 81753 h 2663028"/>
                  <a:gd name="connsiteX196" fmla="*/ 1057382 w 1705082"/>
                  <a:gd name="connsiteY196" fmla="*/ 67465 h 2663028"/>
                  <a:gd name="connsiteX197" fmla="*/ 1100244 w 1705082"/>
                  <a:gd name="connsiteY197" fmla="*/ 38890 h 2663028"/>
                  <a:gd name="connsiteX198" fmla="*/ 1133582 w 1705082"/>
                  <a:gd name="connsiteY198" fmla="*/ 29365 h 2663028"/>
                  <a:gd name="connsiteX199" fmla="*/ 1152632 w 1705082"/>
                  <a:gd name="connsiteY199" fmla="*/ 24603 h 2663028"/>
                  <a:gd name="connsiteX200" fmla="*/ 1195494 w 1705082"/>
                  <a:gd name="connsiteY200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57382 w 1705082"/>
                  <a:gd name="connsiteY195" fmla="*/ 67465 h 2663028"/>
                  <a:gd name="connsiteX196" fmla="*/ 1100244 w 1705082"/>
                  <a:gd name="connsiteY196" fmla="*/ 38890 h 2663028"/>
                  <a:gd name="connsiteX197" fmla="*/ 1133582 w 1705082"/>
                  <a:gd name="connsiteY197" fmla="*/ 29365 h 2663028"/>
                  <a:gd name="connsiteX198" fmla="*/ 1152632 w 1705082"/>
                  <a:gd name="connsiteY198" fmla="*/ 24603 h 2663028"/>
                  <a:gd name="connsiteX199" fmla="*/ 1195494 w 1705082"/>
                  <a:gd name="connsiteY199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1057382 w 1705082"/>
                  <a:gd name="connsiteY194" fmla="*/ 67465 h 2663028"/>
                  <a:gd name="connsiteX195" fmla="*/ 1100244 w 1705082"/>
                  <a:gd name="connsiteY195" fmla="*/ 38890 h 2663028"/>
                  <a:gd name="connsiteX196" fmla="*/ 1133582 w 1705082"/>
                  <a:gd name="connsiteY196" fmla="*/ 29365 h 2663028"/>
                  <a:gd name="connsiteX197" fmla="*/ 1152632 w 1705082"/>
                  <a:gd name="connsiteY197" fmla="*/ 24603 h 2663028"/>
                  <a:gd name="connsiteX198" fmla="*/ 1195494 w 1705082"/>
                  <a:gd name="connsiteY198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00244 w 1705082"/>
                  <a:gd name="connsiteY194" fmla="*/ 38890 h 2663028"/>
                  <a:gd name="connsiteX195" fmla="*/ 1133582 w 1705082"/>
                  <a:gd name="connsiteY195" fmla="*/ 29365 h 2663028"/>
                  <a:gd name="connsiteX196" fmla="*/ 1152632 w 1705082"/>
                  <a:gd name="connsiteY196" fmla="*/ 24603 h 2663028"/>
                  <a:gd name="connsiteX197" fmla="*/ 1195494 w 1705082"/>
                  <a:gd name="connsiteY197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33582 w 1705082"/>
                  <a:gd name="connsiteY194" fmla="*/ 29365 h 2663028"/>
                  <a:gd name="connsiteX195" fmla="*/ 1152632 w 1705082"/>
                  <a:gd name="connsiteY195" fmla="*/ 24603 h 2663028"/>
                  <a:gd name="connsiteX196" fmla="*/ 1195494 w 1705082"/>
                  <a:gd name="connsiteY196" fmla="*/ 790 h 2663028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1057382 w 1705082"/>
                  <a:gd name="connsiteY193" fmla="*/ 67703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981182 w 1705082"/>
                  <a:gd name="connsiteY193" fmla="*/ 53415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695432 w 1705082"/>
                  <a:gd name="connsiteY191" fmla="*/ 201364 h 2673102"/>
                  <a:gd name="connsiteX192" fmla="*/ 733532 w 1705082"/>
                  <a:gd name="connsiteY192" fmla="*/ 182314 h 2673102"/>
                  <a:gd name="connsiteX193" fmla="*/ 981182 w 1705082"/>
                  <a:gd name="connsiteY193" fmla="*/ 63251 h 2673102"/>
                  <a:gd name="connsiteX194" fmla="*/ 1152632 w 1705082"/>
                  <a:gd name="connsiteY194" fmla="*/ 6102 h 2673102"/>
                  <a:gd name="connsiteX195" fmla="*/ 1195494 w 1705082"/>
                  <a:gd name="connsiteY19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733532 w 1705082"/>
                  <a:gd name="connsiteY191" fmla="*/ 182314 h 2673102"/>
                  <a:gd name="connsiteX192" fmla="*/ 981182 w 1705082"/>
                  <a:gd name="connsiteY192" fmla="*/ 63251 h 2673102"/>
                  <a:gd name="connsiteX193" fmla="*/ 1152632 w 1705082"/>
                  <a:gd name="connsiteY193" fmla="*/ 6102 h 2673102"/>
                  <a:gd name="connsiteX194" fmla="*/ 1195494 w 1705082"/>
                  <a:gd name="connsiteY19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733532 w 1705082"/>
                  <a:gd name="connsiteY190" fmla="*/ 182314 h 2673102"/>
                  <a:gd name="connsiteX191" fmla="*/ 981182 w 1705082"/>
                  <a:gd name="connsiteY191" fmla="*/ 63251 h 2673102"/>
                  <a:gd name="connsiteX192" fmla="*/ 1152632 w 1705082"/>
                  <a:gd name="connsiteY192" fmla="*/ 6102 h 2673102"/>
                  <a:gd name="connsiteX193" fmla="*/ 1195494 w 1705082"/>
                  <a:gd name="connsiteY19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733532 w 1705082"/>
                  <a:gd name="connsiteY189" fmla="*/ 182314 h 2673102"/>
                  <a:gd name="connsiteX190" fmla="*/ 981182 w 1705082"/>
                  <a:gd name="connsiteY190" fmla="*/ 63251 h 2673102"/>
                  <a:gd name="connsiteX191" fmla="*/ 1152632 w 1705082"/>
                  <a:gd name="connsiteY191" fmla="*/ 6102 h 2673102"/>
                  <a:gd name="connsiteX192" fmla="*/ 1195494 w 1705082"/>
                  <a:gd name="connsiteY19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85894 w 1705082"/>
                  <a:gd name="connsiteY185" fmla="*/ 277564 h 2673102"/>
                  <a:gd name="connsiteX186" fmla="*/ 600182 w 1705082"/>
                  <a:gd name="connsiteY186" fmla="*/ 263277 h 2673102"/>
                  <a:gd name="connsiteX187" fmla="*/ 633519 w 1705082"/>
                  <a:gd name="connsiteY187" fmla="*/ 229939 h 2673102"/>
                  <a:gd name="connsiteX188" fmla="*/ 733532 w 1705082"/>
                  <a:gd name="connsiteY188" fmla="*/ 182314 h 2673102"/>
                  <a:gd name="connsiteX189" fmla="*/ 981182 w 1705082"/>
                  <a:gd name="connsiteY189" fmla="*/ 63251 h 2673102"/>
                  <a:gd name="connsiteX190" fmla="*/ 1152632 w 1705082"/>
                  <a:gd name="connsiteY190" fmla="*/ 6102 h 2673102"/>
                  <a:gd name="connsiteX191" fmla="*/ 1195494 w 1705082"/>
                  <a:gd name="connsiteY19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504932 w 1705082"/>
                  <a:gd name="connsiteY183" fmla="*/ 344239 h 2673102"/>
                  <a:gd name="connsiteX184" fmla="*/ 585894 w 1705082"/>
                  <a:gd name="connsiteY184" fmla="*/ 277564 h 2673102"/>
                  <a:gd name="connsiteX185" fmla="*/ 600182 w 1705082"/>
                  <a:gd name="connsiteY185" fmla="*/ 263277 h 2673102"/>
                  <a:gd name="connsiteX186" fmla="*/ 633519 w 1705082"/>
                  <a:gd name="connsiteY186" fmla="*/ 229939 h 2673102"/>
                  <a:gd name="connsiteX187" fmla="*/ 733532 w 1705082"/>
                  <a:gd name="connsiteY187" fmla="*/ 182314 h 2673102"/>
                  <a:gd name="connsiteX188" fmla="*/ 981182 w 1705082"/>
                  <a:gd name="connsiteY188" fmla="*/ 63251 h 2673102"/>
                  <a:gd name="connsiteX189" fmla="*/ 1152632 w 1705082"/>
                  <a:gd name="connsiteY189" fmla="*/ 6102 h 2673102"/>
                  <a:gd name="connsiteX190" fmla="*/ 1195494 w 1705082"/>
                  <a:gd name="connsiteY19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81107 w 1705082"/>
                  <a:gd name="connsiteY179" fmla="*/ 439489 h 2673102"/>
                  <a:gd name="connsiteX180" fmla="*/ 385869 w 1705082"/>
                  <a:gd name="connsiteY180" fmla="*/ 425202 h 2673102"/>
                  <a:gd name="connsiteX181" fmla="*/ 404919 w 1705082"/>
                  <a:gd name="connsiteY181" fmla="*/ 406152 h 2673102"/>
                  <a:gd name="connsiteX182" fmla="*/ 504932 w 1705082"/>
                  <a:gd name="connsiteY182" fmla="*/ 344239 h 2673102"/>
                  <a:gd name="connsiteX183" fmla="*/ 585894 w 1705082"/>
                  <a:gd name="connsiteY183" fmla="*/ 277564 h 2673102"/>
                  <a:gd name="connsiteX184" fmla="*/ 600182 w 1705082"/>
                  <a:gd name="connsiteY184" fmla="*/ 263277 h 2673102"/>
                  <a:gd name="connsiteX185" fmla="*/ 633519 w 1705082"/>
                  <a:gd name="connsiteY185" fmla="*/ 229939 h 2673102"/>
                  <a:gd name="connsiteX186" fmla="*/ 733532 w 1705082"/>
                  <a:gd name="connsiteY186" fmla="*/ 182314 h 2673102"/>
                  <a:gd name="connsiteX187" fmla="*/ 981182 w 1705082"/>
                  <a:gd name="connsiteY187" fmla="*/ 63251 h 2673102"/>
                  <a:gd name="connsiteX188" fmla="*/ 1152632 w 1705082"/>
                  <a:gd name="connsiteY188" fmla="*/ 6102 h 2673102"/>
                  <a:gd name="connsiteX189" fmla="*/ 1195494 w 1705082"/>
                  <a:gd name="connsiteY18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62057 w 1705082"/>
                  <a:gd name="connsiteY177" fmla="*/ 482352 h 2673102"/>
                  <a:gd name="connsiteX178" fmla="*/ 381107 w 1705082"/>
                  <a:gd name="connsiteY178" fmla="*/ 439489 h 2673102"/>
                  <a:gd name="connsiteX179" fmla="*/ 385869 w 1705082"/>
                  <a:gd name="connsiteY179" fmla="*/ 425202 h 2673102"/>
                  <a:gd name="connsiteX180" fmla="*/ 404919 w 1705082"/>
                  <a:gd name="connsiteY180" fmla="*/ 406152 h 2673102"/>
                  <a:gd name="connsiteX181" fmla="*/ 504932 w 1705082"/>
                  <a:gd name="connsiteY181" fmla="*/ 344239 h 2673102"/>
                  <a:gd name="connsiteX182" fmla="*/ 585894 w 1705082"/>
                  <a:gd name="connsiteY182" fmla="*/ 277564 h 2673102"/>
                  <a:gd name="connsiteX183" fmla="*/ 600182 w 1705082"/>
                  <a:gd name="connsiteY183" fmla="*/ 263277 h 2673102"/>
                  <a:gd name="connsiteX184" fmla="*/ 633519 w 1705082"/>
                  <a:gd name="connsiteY184" fmla="*/ 229939 h 2673102"/>
                  <a:gd name="connsiteX185" fmla="*/ 733532 w 1705082"/>
                  <a:gd name="connsiteY185" fmla="*/ 182314 h 2673102"/>
                  <a:gd name="connsiteX186" fmla="*/ 981182 w 1705082"/>
                  <a:gd name="connsiteY186" fmla="*/ 63251 h 2673102"/>
                  <a:gd name="connsiteX187" fmla="*/ 1152632 w 1705082"/>
                  <a:gd name="connsiteY187" fmla="*/ 6102 h 2673102"/>
                  <a:gd name="connsiteX188" fmla="*/ 1195494 w 1705082"/>
                  <a:gd name="connsiteY18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81107 w 1705082"/>
                  <a:gd name="connsiteY177" fmla="*/ 439489 h 2673102"/>
                  <a:gd name="connsiteX178" fmla="*/ 385869 w 1705082"/>
                  <a:gd name="connsiteY178" fmla="*/ 425202 h 2673102"/>
                  <a:gd name="connsiteX179" fmla="*/ 404919 w 1705082"/>
                  <a:gd name="connsiteY179" fmla="*/ 406152 h 2673102"/>
                  <a:gd name="connsiteX180" fmla="*/ 504932 w 1705082"/>
                  <a:gd name="connsiteY180" fmla="*/ 344239 h 2673102"/>
                  <a:gd name="connsiteX181" fmla="*/ 585894 w 1705082"/>
                  <a:gd name="connsiteY181" fmla="*/ 277564 h 2673102"/>
                  <a:gd name="connsiteX182" fmla="*/ 600182 w 1705082"/>
                  <a:gd name="connsiteY182" fmla="*/ 263277 h 2673102"/>
                  <a:gd name="connsiteX183" fmla="*/ 633519 w 1705082"/>
                  <a:gd name="connsiteY183" fmla="*/ 229939 h 2673102"/>
                  <a:gd name="connsiteX184" fmla="*/ 733532 w 1705082"/>
                  <a:gd name="connsiteY184" fmla="*/ 182314 h 2673102"/>
                  <a:gd name="connsiteX185" fmla="*/ 981182 w 1705082"/>
                  <a:gd name="connsiteY185" fmla="*/ 63251 h 2673102"/>
                  <a:gd name="connsiteX186" fmla="*/ 1152632 w 1705082"/>
                  <a:gd name="connsiteY186" fmla="*/ 6102 h 2673102"/>
                  <a:gd name="connsiteX187" fmla="*/ 1195494 w 1705082"/>
                  <a:gd name="connsiteY18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385869 w 1705082"/>
                  <a:gd name="connsiteY177" fmla="*/ 425202 h 2673102"/>
                  <a:gd name="connsiteX178" fmla="*/ 404919 w 1705082"/>
                  <a:gd name="connsiteY178" fmla="*/ 406152 h 2673102"/>
                  <a:gd name="connsiteX179" fmla="*/ 504932 w 1705082"/>
                  <a:gd name="connsiteY179" fmla="*/ 344239 h 2673102"/>
                  <a:gd name="connsiteX180" fmla="*/ 585894 w 1705082"/>
                  <a:gd name="connsiteY180" fmla="*/ 277564 h 2673102"/>
                  <a:gd name="connsiteX181" fmla="*/ 600182 w 1705082"/>
                  <a:gd name="connsiteY181" fmla="*/ 263277 h 2673102"/>
                  <a:gd name="connsiteX182" fmla="*/ 633519 w 1705082"/>
                  <a:gd name="connsiteY182" fmla="*/ 229939 h 2673102"/>
                  <a:gd name="connsiteX183" fmla="*/ 733532 w 1705082"/>
                  <a:gd name="connsiteY183" fmla="*/ 182314 h 2673102"/>
                  <a:gd name="connsiteX184" fmla="*/ 981182 w 1705082"/>
                  <a:gd name="connsiteY184" fmla="*/ 63251 h 2673102"/>
                  <a:gd name="connsiteX185" fmla="*/ 1152632 w 1705082"/>
                  <a:gd name="connsiteY185" fmla="*/ 6102 h 2673102"/>
                  <a:gd name="connsiteX186" fmla="*/ 1195494 w 1705082"/>
                  <a:gd name="connsiteY18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404919 w 1705082"/>
                  <a:gd name="connsiteY177" fmla="*/ 406152 h 2673102"/>
                  <a:gd name="connsiteX178" fmla="*/ 504932 w 1705082"/>
                  <a:gd name="connsiteY178" fmla="*/ 344239 h 2673102"/>
                  <a:gd name="connsiteX179" fmla="*/ 585894 w 1705082"/>
                  <a:gd name="connsiteY179" fmla="*/ 277564 h 2673102"/>
                  <a:gd name="connsiteX180" fmla="*/ 600182 w 1705082"/>
                  <a:gd name="connsiteY180" fmla="*/ 263277 h 2673102"/>
                  <a:gd name="connsiteX181" fmla="*/ 633519 w 1705082"/>
                  <a:gd name="connsiteY181" fmla="*/ 229939 h 2673102"/>
                  <a:gd name="connsiteX182" fmla="*/ 733532 w 1705082"/>
                  <a:gd name="connsiteY182" fmla="*/ 182314 h 2673102"/>
                  <a:gd name="connsiteX183" fmla="*/ 981182 w 1705082"/>
                  <a:gd name="connsiteY183" fmla="*/ 63251 h 2673102"/>
                  <a:gd name="connsiteX184" fmla="*/ 1152632 w 1705082"/>
                  <a:gd name="connsiteY184" fmla="*/ 6102 h 2673102"/>
                  <a:gd name="connsiteX185" fmla="*/ 1195494 w 1705082"/>
                  <a:gd name="connsiteY18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52507 w 1705082"/>
                  <a:gd name="connsiteY169" fmla="*/ 687139 h 2673102"/>
                  <a:gd name="connsiteX170" fmla="*/ 162032 w 1705082"/>
                  <a:gd name="connsiteY170" fmla="*/ 672852 h 2673102"/>
                  <a:gd name="connsiteX171" fmla="*/ 195369 w 1705082"/>
                  <a:gd name="connsiteY171" fmla="*/ 629989 h 2673102"/>
                  <a:gd name="connsiteX172" fmla="*/ 214419 w 1705082"/>
                  <a:gd name="connsiteY172" fmla="*/ 601414 h 2673102"/>
                  <a:gd name="connsiteX173" fmla="*/ 266807 w 1705082"/>
                  <a:gd name="connsiteY173" fmla="*/ 544264 h 2673102"/>
                  <a:gd name="connsiteX174" fmla="*/ 281094 w 1705082"/>
                  <a:gd name="connsiteY174" fmla="*/ 529977 h 2673102"/>
                  <a:gd name="connsiteX175" fmla="*/ 381107 w 1705082"/>
                  <a:gd name="connsiteY175" fmla="*/ 439489 h 2673102"/>
                  <a:gd name="connsiteX176" fmla="*/ 404919 w 1705082"/>
                  <a:gd name="connsiteY176" fmla="*/ 406152 h 2673102"/>
                  <a:gd name="connsiteX177" fmla="*/ 504932 w 1705082"/>
                  <a:gd name="connsiteY177" fmla="*/ 344239 h 2673102"/>
                  <a:gd name="connsiteX178" fmla="*/ 585894 w 1705082"/>
                  <a:gd name="connsiteY178" fmla="*/ 277564 h 2673102"/>
                  <a:gd name="connsiteX179" fmla="*/ 600182 w 1705082"/>
                  <a:gd name="connsiteY179" fmla="*/ 263277 h 2673102"/>
                  <a:gd name="connsiteX180" fmla="*/ 633519 w 1705082"/>
                  <a:gd name="connsiteY180" fmla="*/ 229939 h 2673102"/>
                  <a:gd name="connsiteX181" fmla="*/ 733532 w 1705082"/>
                  <a:gd name="connsiteY181" fmla="*/ 182314 h 2673102"/>
                  <a:gd name="connsiteX182" fmla="*/ 981182 w 1705082"/>
                  <a:gd name="connsiteY182" fmla="*/ 63251 h 2673102"/>
                  <a:gd name="connsiteX183" fmla="*/ 1152632 w 1705082"/>
                  <a:gd name="connsiteY183" fmla="*/ 6102 h 2673102"/>
                  <a:gd name="connsiteX184" fmla="*/ 1195494 w 1705082"/>
                  <a:gd name="connsiteY18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82389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00119 w 1705082"/>
                  <a:gd name="connsiteY165" fmla="*/ 782389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38219 w 1705082"/>
                  <a:gd name="connsiteY165" fmla="*/ 720477 h 2673102"/>
                  <a:gd name="connsiteX166" fmla="*/ 152507 w 1705082"/>
                  <a:gd name="connsiteY166" fmla="*/ 687139 h 2673102"/>
                  <a:gd name="connsiteX167" fmla="*/ 162032 w 1705082"/>
                  <a:gd name="connsiteY167" fmla="*/ 672852 h 2673102"/>
                  <a:gd name="connsiteX168" fmla="*/ 195369 w 1705082"/>
                  <a:gd name="connsiteY168" fmla="*/ 629989 h 2673102"/>
                  <a:gd name="connsiteX169" fmla="*/ 214419 w 1705082"/>
                  <a:gd name="connsiteY169" fmla="*/ 601414 h 2673102"/>
                  <a:gd name="connsiteX170" fmla="*/ 266807 w 1705082"/>
                  <a:gd name="connsiteY170" fmla="*/ 544264 h 2673102"/>
                  <a:gd name="connsiteX171" fmla="*/ 281094 w 1705082"/>
                  <a:gd name="connsiteY171" fmla="*/ 529977 h 2673102"/>
                  <a:gd name="connsiteX172" fmla="*/ 381107 w 1705082"/>
                  <a:gd name="connsiteY172" fmla="*/ 439489 h 2673102"/>
                  <a:gd name="connsiteX173" fmla="*/ 404919 w 1705082"/>
                  <a:gd name="connsiteY173" fmla="*/ 406152 h 2673102"/>
                  <a:gd name="connsiteX174" fmla="*/ 504932 w 1705082"/>
                  <a:gd name="connsiteY174" fmla="*/ 344239 h 2673102"/>
                  <a:gd name="connsiteX175" fmla="*/ 585894 w 1705082"/>
                  <a:gd name="connsiteY175" fmla="*/ 277564 h 2673102"/>
                  <a:gd name="connsiteX176" fmla="*/ 600182 w 1705082"/>
                  <a:gd name="connsiteY176" fmla="*/ 263277 h 2673102"/>
                  <a:gd name="connsiteX177" fmla="*/ 633519 w 1705082"/>
                  <a:gd name="connsiteY177" fmla="*/ 229939 h 2673102"/>
                  <a:gd name="connsiteX178" fmla="*/ 733532 w 1705082"/>
                  <a:gd name="connsiteY178" fmla="*/ 182314 h 2673102"/>
                  <a:gd name="connsiteX179" fmla="*/ 981182 w 1705082"/>
                  <a:gd name="connsiteY179" fmla="*/ 63251 h 2673102"/>
                  <a:gd name="connsiteX180" fmla="*/ 1152632 w 1705082"/>
                  <a:gd name="connsiteY180" fmla="*/ 6102 h 2673102"/>
                  <a:gd name="connsiteX181" fmla="*/ 1195494 w 1705082"/>
                  <a:gd name="connsiteY18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138219 w 1705082"/>
                  <a:gd name="connsiteY164" fmla="*/ 720477 h 2673102"/>
                  <a:gd name="connsiteX165" fmla="*/ 152507 w 1705082"/>
                  <a:gd name="connsiteY165" fmla="*/ 687139 h 2673102"/>
                  <a:gd name="connsiteX166" fmla="*/ 162032 w 1705082"/>
                  <a:gd name="connsiteY166" fmla="*/ 672852 h 2673102"/>
                  <a:gd name="connsiteX167" fmla="*/ 195369 w 1705082"/>
                  <a:gd name="connsiteY167" fmla="*/ 629989 h 2673102"/>
                  <a:gd name="connsiteX168" fmla="*/ 214419 w 1705082"/>
                  <a:gd name="connsiteY168" fmla="*/ 601414 h 2673102"/>
                  <a:gd name="connsiteX169" fmla="*/ 266807 w 1705082"/>
                  <a:gd name="connsiteY169" fmla="*/ 544264 h 2673102"/>
                  <a:gd name="connsiteX170" fmla="*/ 281094 w 1705082"/>
                  <a:gd name="connsiteY170" fmla="*/ 529977 h 2673102"/>
                  <a:gd name="connsiteX171" fmla="*/ 381107 w 1705082"/>
                  <a:gd name="connsiteY171" fmla="*/ 439489 h 2673102"/>
                  <a:gd name="connsiteX172" fmla="*/ 404919 w 1705082"/>
                  <a:gd name="connsiteY172" fmla="*/ 406152 h 2673102"/>
                  <a:gd name="connsiteX173" fmla="*/ 504932 w 1705082"/>
                  <a:gd name="connsiteY173" fmla="*/ 344239 h 2673102"/>
                  <a:gd name="connsiteX174" fmla="*/ 585894 w 1705082"/>
                  <a:gd name="connsiteY174" fmla="*/ 277564 h 2673102"/>
                  <a:gd name="connsiteX175" fmla="*/ 600182 w 1705082"/>
                  <a:gd name="connsiteY175" fmla="*/ 263277 h 2673102"/>
                  <a:gd name="connsiteX176" fmla="*/ 633519 w 1705082"/>
                  <a:gd name="connsiteY176" fmla="*/ 229939 h 2673102"/>
                  <a:gd name="connsiteX177" fmla="*/ 733532 w 1705082"/>
                  <a:gd name="connsiteY177" fmla="*/ 182314 h 2673102"/>
                  <a:gd name="connsiteX178" fmla="*/ 981182 w 1705082"/>
                  <a:gd name="connsiteY178" fmla="*/ 63251 h 2673102"/>
                  <a:gd name="connsiteX179" fmla="*/ 1152632 w 1705082"/>
                  <a:gd name="connsiteY179" fmla="*/ 6102 h 2673102"/>
                  <a:gd name="connsiteX180" fmla="*/ 1195494 w 1705082"/>
                  <a:gd name="connsiteY18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04932 w 1705082"/>
                  <a:gd name="connsiteY171" fmla="*/ 344239 h 2673102"/>
                  <a:gd name="connsiteX172" fmla="*/ 585894 w 1705082"/>
                  <a:gd name="connsiteY172" fmla="*/ 277564 h 2673102"/>
                  <a:gd name="connsiteX173" fmla="*/ 600182 w 1705082"/>
                  <a:gd name="connsiteY173" fmla="*/ 263277 h 2673102"/>
                  <a:gd name="connsiteX174" fmla="*/ 633519 w 1705082"/>
                  <a:gd name="connsiteY174" fmla="*/ 229939 h 2673102"/>
                  <a:gd name="connsiteX175" fmla="*/ 733532 w 1705082"/>
                  <a:gd name="connsiteY175" fmla="*/ 182314 h 2673102"/>
                  <a:gd name="connsiteX176" fmla="*/ 981182 w 1705082"/>
                  <a:gd name="connsiteY176" fmla="*/ 63251 h 2673102"/>
                  <a:gd name="connsiteX177" fmla="*/ 1152632 w 1705082"/>
                  <a:gd name="connsiteY177" fmla="*/ 6102 h 2673102"/>
                  <a:gd name="connsiteX178" fmla="*/ 1195494 w 1705082"/>
                  <a:gd name="connsiteY17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00182 w 1705082"/>
                  <a:gd name="connsiteY172" fmla="*/ 263277 h 2673102"/>
                  <a:gd name="connsiteX173" fmla="*/ 633519 w 1705082"/>
                  <a:gd name="connsiteY173" fmla="*/ 229939 h 2673102"/>
                  <a:gd name="connsiteX174" fmla="*/ 733532 w 1705082"/>
                  <a:gd name="connsiteY174" fmla="*/ 182314 h 2673102"/>
                  <a:gd name="connsiteX175" fmla="*/ 981182 w 1705082"/>
                  <a:gd name="connsiteY175" fmla="*/ 63251 h 2673102"/>
                  <a:gd name="connsiteX176" fmla="*/ 1152632 w 1705082"/>
                  <a:gd name="connsiteY176" fmla="*/ 6102 h 2673102"/>
                  <a:gd name="connsiteX177" fmla="*/ 1195494 w 1705082"/>
                  <a:gd name="connsiteY17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26389 w 1705082"/>
                  <a:gd name="connsiteY173" fmla="*/ 168026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29977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15689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62032 w 1705082"/>
                  <a:gd name="connsiteY164" fmla="*/ 672852 h 2673102"/>
                  <a:gd name="connsiteX165" fmla="*/ 195369 w 1705082"/>
                  <a:gd name="connsiteY165" fmla="*/ 629989 h 2673102"/>
                  <a:gd name="connsiteX166" fmla="*/ 214419 w 1705082"/>
                  <a:gd name="connsiteY166" fmla="*/ 601414 h 2673102"/>
                  <a:gd name="connsiteX167" fmla="*/ 281094 w 1705082"/>
                  <a:gd name="connsiteY167" fmla="*/ 515689 h 2673102"/>
                  <a:gd name="connsiteX168" fmla="*/ 404919 w 1705082"/>
                  <a:gd name="connsiteY168" fmla="*/ 406152 h 2673102"/>
                  <a:gd name="connsiteX169" fmla="*/ 528744 w 1705082"/>
                  <a:gd name="connsiteY169" fmla="*/ 291851 h 2673102"/>
                  <a:gd name="connsiteX170" fmla="*/ 633519 w 1705082"/>
                  <a:gd name="connsiteY170" fmla="*/ 229939 h 2673102"/>
                  <a:gd name="connsiteX171" fmla="*/ 726389 w 1705082"/>
                  <a:gd name="connsiteY171" fmla="*/ 168026 h 2673102"/>
                  <a:gd name="connsiteX172" fmla="*/ 971657 w 1705082"/>
                  <a:gd name="connsiteY172" fmla="*/ 63251 h 2673102"/>
                  <a:gd name="connsiteX173" fmla="*/ 1152632 w 1705082"/>
                  <a:gd name="connsiteY173" fmla="*/ 6102 h 2673102"/>
                  <a:gd name="connsiteX174" fmla="*/ 1195494 w 1705082"/>
                  <a:gd name="connsiteY17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62032 w 1705082"/>
                  <a:gd name="connsiteY163" fmla="*/ 672852 h 2673102"/>
                  <a:gd name="connsiteX164" fmla="*/ 195369 w 1705082"/>
                  <a:gd name="connsiteY164" fmla="*/ 629989 h 2673102"/>
                  <a:gd name="connsiteX165" fmla="*/ 214419 w 1705082"/>
                  <a:gd name="connsiteY165" fmla="*/ 601414 h 2673102"/>
                  <a:gd name="connsiteX166" fmla="*/ 281094 w 1705082"/>
                  <a:gd name="connsiteY166" fmla="*/ 515689 h 2673102"/>
                  <a:gd name="connsiteX167" fmla="*/ 404919 w 1705082"/>
                  <a:gd name="connsiteY167" fmla="*/ 406152 h 2673102"/>
                  <a:gd name="connsiteX168" fmla="*/ 528744 w 1705082"/>
                  <a:gd name="connsiteY168" fmla="*/ 291851 h 2673102"/>
                  <a:gd name="connsiteX169" fmla="*/ 633519 w 1705082"/>
                  <a:gd name="connsiteY169" fmla="*/ 229939 h 2673102"/>
                  <a:gd name="connsiteX170" fmla="*/ 726389 w 1705082"/>
                  <a:gd name="connsiteY170" fmla="*/ 168026 h 2673102"/>
                  <a:gd name="connsiteX171" fmla="*/ 971657 w 1705082"/>
                  <a:gd name="connsiteY171" fmla="*/ 63251 h 2673102"/>
                  <a:gd name="connsiteX172" fmla="*/ 1152632 w 1705082"/>
                  <a:gd name="connsiteY172" fmla="*/ 6102 h 2673102"/>
                  <a:gd name="connsiteX173" fmla="*/ 1195494 w 1705082"/>
                  <a:gd name="connsiteY17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95369 w 1705082"/>
                  <a:gd name="connsiteY163" fmla="*/ 629989 h 2673102"/>
                  <a:gd name="connsiteX164" fmla="*/ 214419 w 1705082"/>
                  <a:gd name="connsiteY164" fmla="*/ 601414 h 2673102"/>
                  <a:gd name="connsiteX165" fmla="*/ 281094 w 1705082"/>
                  <a:gd name="connsiteY165" fmla="*/ 515689 h 2673102"/>
                  <a:gd name="connsiteX166" fmla="*/ 404919 w 1705082"/>
                  <a:gd name="connsiteY166" fmla="*/ 406152 h 2673102"/>
                  <a:gd name="connsiteX167" fmla="*/ 528744 w 1705082"/>
                  <a:gd name="connsiteY167" fmla="*/ 291851 h 2673102"/>
                  <a:gd name="connsiteX168" fmla="*/ 633519 w 1705082"/>
                  <a:gd name="connsiteY168" fmla="*/ 229939 h 2673102"/>
                  <a:gd name="connsiteX169" fmla="*/ 726389 w 1705082"/>
                  <a:gd name="connsiteY169" fmla="*/ 168026 h 2673102"/>
                  <a:gd name="connsiteX170" fmla="*/ 971657 w 1705082"/>
                  <a:gd name="connsiteY170" fmla="*/ 63251 h 2673102"/>
                  <a:gd name="connsiteX171" fmla="*/ 1152632 w 1705082"/>
                  <a:gd name="connsiteY171" fmla="*/ 6102 h 2673102"/>
                  <a:gd name="connsiteX172" fmla="*/ 1195494 w 1705082"/>
                  <a:gd name="connsiteY17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214419 w 1705082"/>
                  <a:gd name="connsiteY163" fmla="*/ 601414 h 2673102"/>
                  <a:gd name="connsiteX164" fmla="*/ 281094 w 1705082"/>
                  <a:gd name="connsiteY164" fmla="*/ 515689 h 2673102"/>
                  <a:gd name="connsiteX165" fmla="*/ 404919 w 1705082"/>
                  <a:gd name="connsiteY165" fmla="*/ 406152 h 2673102"/>
                  <a:gd name="connsiteX166" fmla="*/ 528744 w 1705082"/>
                  <a:gd name="connsiteY166" fmla="*/ 291851 h 2673102"/>
                  <a:gd name="connsiteX167" fmla="*/ 633519 w 1705082"/>
                  <a:gd name="connsiteY167" fmla="*/ 229939 h 2673102"/>
                  <a:gd name="connsiteX168" fmla="*/ 726389 w 1705082"/>
                  <a:gd name="connsiteY168" fmla="*/ 168026 h 2673102"/>
                  <a:gd name="connsiteX169" fmla="*/ 971657 w 1705082"/>
                  <a:gd name="connsiteY169" fmla="*/ 63251 h 2673102"/>
                  <a:gd name="connsiteX170" fmla="*/ 1152632 w 1705082"/>
                  <a:gd name="connsiteY170" fmla="*/ 6102 h 2673102"/>
                  <a:gd name="connsiteX171" fmla="*/ 1195494 w 1705082"/>
                  <a:gd name="connsiteY171" fmla="*/ 10864 h 2673102"/>
                  <a:gd name="connsiteX0" fmla="*/ 1195674 w 1705262"/>
                  <a:gd name="connsiteY0" fmla="*/ 10864 h 2673102"/>
                  <a:gd name="connsiteX1" fmla="*/ 1190912 w 1705262"/>
                  <a:gd name="connsiteY1" fmla="*/ 68014 h 2673102"/>
                  <a:gd name="connsiteX2" fmla="*/ 1167099 w 1705262"/>
                  <a:gd name="connsiteY2" fmla="*/ 110877 h 2673102"/>
                  <a:gd name="connsiteX3" fmla="*/ 1157574 w 1705262"/>
                  <a:gd name="connsiteY3" fmla="*/ 129927 h 2673102"/>
                  <a:gd name="connsiteX4" fmla="*/ 1157574 w 1705262"/>
                  <a:gd name="connsiteY4" fmla="*/ 206127 h 2673102"/>
                  <a:gd name="connsiteX5" fmla="*/ 1176624 w 1705262"/>
                  <a:gd name="connsiteY5" fmla="*/ 225177 h 2673102"/>
                  <a:gd name="connsiteX6" fmla="*/ 1195674 w 1705262"/>
                  <a:gd name="connsiteY6" fmla="*/ 258514 h 2673102"/>
                  <a:gd name="connsiteX7" fmla="*/ 1214724 w 1705262"/>
                  <a:gd name="connsiteY7" fmla="*/ 268039 h 2673102"/>
                  <a:gd name="connsiteX8" fmla="*/ 1224249 w 1705262"/>
                  <a:gd name="connsiteY8" fmla="*/ 282327 h 2673102"/>
                  <a:gd name="connsiteX9" fmla="*/ 1238537 w 1705262"/>
                  <a:gd name="connsiteY9" fmla="*/ 296614 h 2673102"/>
                  <a:gd name="connsiteX10" fmla="*/ 1248062 w 1705262"/>
                  <a:gd name="connsiteY10" fmla="*/ 315664 h 2673102"/>
                  <a:gd name="connsiteX11" fmla="*/ 1243299 w 1705262"/>
                  <a:gd name="connsiteY11" fmla="*/ 344239 h 2673102"/>
                  <a:gd name="connsiteX12" fmla="*/ 1238537 w 1705262"/>
                  <a:gd name="connsiteY12" fmla="*/ 363289 h 2673102"/>
                  <a:gd name="connsiteX13" fmla="*/ 1243299 w 1705262"/>
                  <a:gd name="connsiteY13" fmla="*/ 425202 h 2673102"/>
                  <a:gd name="connsiteX14" fmla="*/ 1262349 w 1705262"/>
                  <a:gd name="connsiteY14" fmla="*/ 463302 h 2673102"/>
                  <a:gd name="connsiteX15" fmla="*/ 1271874 w 1705262"/>
                  <a:gd name="connsiteY15" fmla="*/ 477589 h 2673102"/>
                  <a:gd name="connsiteX16" fmla="*/ 1286162 w 1705262"/>
                  <a:gd name="connsiteY16" fmla="*/ 487114 h 2673102"/>
                  <a:gd name="connsiteX17" fmla="*/ 1343312 w 1705262"/>
                  <a:gd name="connsiteY17" fmla="*/ 510927 h 2673102"/>
                  <a:gd name="connsiteX18" fmla="*/ 1371887 w 1705262"/>
                  <a:gd name="connsiteY18" fmla="*/ 520452 h 2673102"/>
                  <a:gd name="connsiteX19" fmla="*/ 1400462 w 1705262"/>
                  <a:gd name="connsiteY19" fmla="*/ 539502 h 2673102"/>
                  <a:gd name="connsiteX20" fmla="*/ 1462374 w 1705262"/>
                  <a:gd name="connsiteY20" fmla="*/ 568077 h 2673102"/>
                  <a:gd name="connsiteX21" fmla="*/ 1514762 w 1705262"/>
                  <a:gd name="connsiteY21" fmla="*/ 587127 h 2673102"/>
                  <a:gd name="connsiteX22" fmla="*/ 1533812 w 1705262"/>
                  <a:gd name="connsiteY22" fmla="*/ 596652 h 2673102"/>
                  <a:gd name="connsiteX23" fmla="*/ 1552862 w 1705262"/>
                  <a:gd name="connsiteY23" fmla="*/ 601414 h 2673102"/>
                  <a:gd name="connsiteX24" fmla="*/ 1600487 w 1705262"/>
                  <a:gd name="connsiteY24" fmla="*/ 639514 h 2673102"/>
                  <a:gd name="connsiteX25" fmla="*/ 1629062 w 1705262"/>
                  <a:gd name="connsiteY25" fmla="*/ 672852 h 2673102"/>
                  <a:gd name="connsiteX26" fmla="*/ 1643349 w 1705262"/>
                  <a:gd name="connsiteY26" fmla="*/ 687139 h 2673102"/>
                  <a:gd name="connsiteX27" fmla="*/ 1662399 w 1705262"/>
                  <a:gd name="connsiteY27" fmla="*/ 696664 h 2673102"/>
                  <a:gd name="connsiteX28" fmla="*/ 1676687 w 1705262"/>
                  <a:gd name="connsiteY28" fmla="*/ 706189 h 2673102"/>
                  <a:gd name="connsiteX29" fmla="*/ 1690974 w 1705262"/>
                  <a:gd name="connsiteY29" fmla="*/ 744289 h 2673102"/>
                  <a:gd name="connsiteX30" fmla="*/ 1700499 w 1705262"/>
                  <a:gd name="connsiteY30" fmla="*/ 768102 h 2673102"/>
                  <a:gd name="connsiteX31" fmla="*/ 1705262 w 1705262"/>
                  <a:gd name="connsiteY31" fmla="*/ 782389 h 2673102"/>
                  <a:gd name="connsiteX32" fmla="*/ 1695737 w 1705262"/>
                  <a:gd name="connsiteY32" fmla="*/ 853827 h 2673102"/>
                  <a:gd name="connsiteX33" fmla="*/ 1657637 w 1705262"/>
                  <a:gd name="connsiteY33" fmla="*/ 887164 h 2673102"/>
                  <a:gd name="connsiteX34" fmla="*/ 1643349 w 1705262"/>
                  <a:gd name="connsiteY34" fmla="*/ 901452 h 2673102"/>
                  <a:gd name="connsiteX35" fmla="*/ 1590962 w 1705262"/>
                  <a:gd name="connsiteY35" fmla="*/ 906214 h 2673102"/>
                  <a:gd name="connsiteX36" fmla="*/ 1548099 w 1705262"/>
                  <a:gd name="connsiteY36" fmla="*/ 925264 h 2673102"/>
                  <a:gd name="connsiteX37" fmla="*/ 1524287 w 1705262"/>
                  <a:gd name="connsiteY37" fmla="*/ 939552 h 2673102"/>
                  <a:gd name="connsiteX38" fmla="*/ 1490949 w 1705262"/>
                  <a:gd name="connsiteY38" fmla="*/ 987177 h 2673102"/>
                  <a:gd name="connsiteX39" fmla="*/ 1471899 w 1705262"/>
                  <a:gd name="connsiteY39" fmla="*/ 1006227 h 2673102"/>
                  <a:gd name="connsiteX40" fmla="*/ 1338549 w 1705262"/>
                  <a:gd name="connsiteY40" fmla="*/ 1030039 h 2673102"/>
                  <a:gd name="connsiteX41" fmla="*/ 1290924 w 1705262"/>
                  <a:gd name="connsiteY41" fmla="*/ 1053852 h 2673102"/>
                  <a:gd name="connsiteX42" fmla="*/ 1224249 w 1705262"/>
                  <a:gd name="connsiteY42" fmla="*/ 1082427 h 2673102"/>
                  <a:gd name="connsiteX43" fmla="*/ 1119474 w 1705262"/>
                  <a:gd name="connsiteY43" fmla="*/ 1096714 h 2673102"/>
                  <a:gd name="connsiteX44" fmla="*/ 1095662 w 1705262"/>
                  <a:gd name="connsiteY44" fmla="*/ 1101477 h 2673102"/>
                  <a:gd name="connsiteX45" fmla="*/ 1071849 w 1705262"/>
                  <a:gd name="connsiteY45" fmla="*/ 1111002 h 2673102"/>
                  <a:gd name="connsiteX46" fmla="*/ 957549 w 1705262"/>
                  <a:gd name="connsiteY46" fmla="*/ 1106239 h 2673102"/>
                  <a:gd name="connsiteX47" fmla="*/ 852774 w 1705262"/>
                  <a:gd name="connsiteY47" fmla="*/ 1058614 h 2673102"/>
                  <a:gd name="connsiteX48" fmla="*/ 805149 w 1705262"/>
                  <a:gd name="connsiteY48" fmla="*/ 1034802 h 2673102"/>
                  <a:gd name="connsiteX49" fmla="*/ 781337 w 1705262"/>
                  <a:gd name="connsiteY49" fmla="*/ 1020514 h 2673102"/>
                  <a:gd name="connsiteX50" fmla="*/ 762287 w 1705262"/>
                  <a:gd name="connsiteY50" fmla="*/ 1006227 h 2673102"/>
                  <a:gd name="connsiteX51" fmla="*/ 671799 w 1705262"/>
                  <a:gd name="connsiteY51" fmla="*/ 958602 h 2673102"/>
                  <a:gd name="connsiteX52" fmla="*/ 638462 w 1705262"/>
                  <a:gd name="connsiteY52" fmla="*/ 939552 h 2673102"/>
                  <a:gd name="connsiteX53" fmla="*/ 519399 w 1705262"/>
                  <a:gd name="connsiteY53" fmla="*/ 910977 h 2673102"/>
                  <a:gd name="connsiteX54" fmla="*/ 476537 w 1705262"/>
                  <a:gd name="connsiteY54" fmla="*/ 891927 h 2673102"/>
                  <a:gd name="connsiteX55" fmla="*/ 414624 w 1705262"/>
                  <a:gd name="connsiteY55" fmla="*/ 882402 h 2673102"/>
                  <a:gd name="connsiteX56" fmla="*/ 314612 w 1705262"/>
                  <a:gd name="connsiteY56" fmla="*/ 896689 h 2673102"/>
                  <a:gd name="connsiteX57" fmla="*/ 300324 w 1705262"/>
                  <a:gd name="connsiteY57" fmla="*/ 910977 h 2673102"/>
                  <a:gd name="connsiteX58" fmla="*/ 276512 w 1705262"/>
                  <a:gd name="connsiteY58" fmla="*/ 949077 h 2673102"/>
                  <a:gd name="connsiteX59" fmla="*/ 262224 w 1705262"/>
                  <a:gd name="connsiteY59" fmla="*/ 987177 h 2673102"/>
                  <a:gd name="connsiteX60" fmla="*/ 257462 w 1705262"/>
                  <a:gd name="connsiteY60" fmla="*/ 1039564 h 2673102"/>
                  <a:gd name="connsiteX61" fmla="*/ 257462 w 1705262"/>
                  <a:gd name="connsiteY61" fmla="*/ 1120527 h 2673102"/>
                  <a:gd name="connsiteX62" fmla="*/ 290799 w 1705262"/>
                  <a:gd name="connsiteY62" fmla="*/ 1153864 h 2673102"/>
                  <a:gd name="connsiteX63" fmla="*/ 319374 w 1705262"/>
                  <a:gd name="connsiteY63" fmla="*/ 1163389 h 2673102"/>
                  <a:gd name="connsiteX64" fmla="*/ 319374 w 1705262"/>
                  <a:gd name="connsiteY64" fmla="*/ 1244352 h 2673102"/>
                  <a:gd name="connsiteX65" fmla="*/ 305087 w 1705262"/>
                  <a:gd name="connsiteY65" fmla="*/ 1258639 h 2673102"/>
                  <a:gd name="connsiteX66" fmla="*/ 252699 w 1705262"/>
                  <a:gd name="connsiteY66" fmla="*/ 1296739 h 2673102"/>
                  <a:gd name="connsiteX67" fmla="*/ 233649 w 1705262"/>
                  <a:gd name="connsiteY67" fmla="*/ 1325314 h 2673102"/>
                  <a:gd name="connsiteX68" fmla="*/ 243174 w 1705262"/>
                  <a:gd name="connsiteY68" fmla="*/ 1425327 h 2673102"/>
                  <a:gd name="connsiteX69" fmla="*/ 271749 w 1705262"/>
                  <a:gd name="connsiteY69" fmla="*/ 1472952 h 2673102"/>
                  <a:gd name="connsiteX70" fmla="*/ 286037 w 1705262"/>
                  <a:gd name="connsiteY70" fmla="*/ 1492002 h 2673102"/>
                  <a:gd name="connsiteX71" fmla="*/ 376524 w 1705262"/>
                  <a:gd name="connsiteY71" fmla="*/ 1525339 h 2673102"/>
                  <a:gd name="connsiteX72" fmla="*/ 400337 w 1705262"/>
                  <a:gd name="connsiteY72" fmla="*/ 1492002 h 2673102"/>
                  <a:gd name="connsiteX73" fmla="*/ 405099 w 1705262"/>
                  <a:gd name="connsiteY73" fmla="*/ 1468189 h 2673102"/>
                  <a:gd name="connsiteX74" fmla="*/ 409862 w 1705262"/>
                  <a:gd name="connsiteY74" fmla="*/ 1449139 h 2673102"/>
                  <a:gd name="connsiteX75" fmla="*/ 438437 w 1705262"/>
                  <a:gd name="connsiteY75" fmla="*/ 1439614 h 2673102"/>
                  <a:gd name="connsiteX76" fmla="*/ 538449 w 1705262"/>
                  <a:gd name="connsiteY76" fmla="*/ 1458664 h 2673102"/>
                  <a:gd name="connsiteX77" fmla="*/ 547974 w 1705262"/>
                  <a:gd name="connsiteY77" fmla="*/ 1482477 h 2673102"/>
                  <a:gd name="connsiteX78" fmla="*/ 557499 w 1705262"/>
                  <a:gd name="connsiteY78" fmla="*/ 1515814 h 2673102"/>
                  <a:gd name="connsiteX79" fmla="*/ 543212 w 1705262"/>
                  <a:gd name="connsiteY79" fmla="*/ 1534864 h 2673102"/>
                  <a:gd name="connsiteX80" fmla="*/ 543212 w 1705262"/>
                  <a:gd name="connsiteY80" fmla="*/ 1601539 h 2673102"/>
                  <a:gd name="connsiteX81" fmla="*/ 552737 w 1705262"/>
                  <a:gd name="connsiteY81" fmla="*/ 1620589 h 2673102"/>
                  <a:gd name="connsiteX82" fmla="*/ 619412 w 1705262"/>
                  <a:gd name="connsiteY82" fmla="*/ 1639639 h 2673102"/>
                  <a:gd name="connsiteX83" fmla="*/ 638462 w 1705262"/>
                  <a:gd name="connsiteY83" fmla="*/ 1592014 h 2673102"/>
                  <a:gd name="connsiteX84" fmla="*/ 695612 w 1705262"/>
                  <a:gd name="connsiteY84" fmla="*/ 1620589 h 2673102"/>
                  <a:gd name="connsiteX85" fmla="*/ 724187 w 1705262"/>
                  <a:gd name="connsiteY85" fmla="*/ 1630114 h 2673102"/>
                  <a:gd name="connsiteX86" fmla="*/ 776574 w 1705262"/>
                  <a:gd name="connsiteY86" fmla="*/ 1663452 h 2673102"/>
                  <a:gd name="connsiteX87" fmla="*/ 852774 w 1705262"/>
                  <a:gd name="connsiteY87" fmla="*/ 1687264 h 2673102"/>
                  <a:gd name="connsiteX88" fmla="*/ 871824 w 1705262"/>
                  <a:gd name="connsiteY88" fmla="*/ 1701552 h 2673102"/>
                  <a:gd name="connsiteX89" fmla="*/ 881349 w 1705262"/>
                  <a:gd name="connsiteY89" fmla="*/ 1739652 h 2673102"/>
                  <a:gd name="connsiteX90" fmla="*/ 890874 w 1705262"/>
                  <a:gd name="connsiteY90" fmla="*/ 1782514 h 2673102"/>
                  <a:gd name="connsiteX91" fmla="*/ 933737 w 1705262"/>
                  <a:gd name="connsiteY91" fmla="*/ 1892052 h 2673102"/>
                  <a:gd name="connsiteX92" fmla="*/ 943262 w 1705262"/>
                  <a:gd name="connsiteY92" fmla="*/ 1906339 h 2673102"/>
                  <a:gd name="connsiteX93" fmla="*/ 952787 w 1705262"/>
                  <a:gd name="connsiteY93" fmla="*/ 1939677 h 2673102"/>
                  <a:gd name="connsiteX94" fmla="*/ 967074 w 1705262"/>
                  <a:gd name="connsiteY94" fmla="*/ 1977777 h 2673102"/>
                  <a:gd name="connsiteX95" fmla="*/ 957549 w 1705262"/>
                  <a:gd name="connsiteY95" fmla="*/ 2082552 h 2673102"/>
                  <a:gd name="connsiteX96" fmla="*/ 948024 w 1705262"/>
                  <a:gd name="connsiteY96" fmla="*/ 2101602 h 2673102"/>
                  <a:gd name="connsiteX97" fmla="*/ 919449 w 1705262"/>
                  <a:gd name="connsiteY97" fmla="*/ 2144464 h 2673102"/>
                  <a:gd name="connsiteX98" fmla="*/ 900399 w 1705262"/>
                  <a:gd name="connsiteY98" fmla="*/ 2192089 h 2673102"/>
                  <a:gd name="connsiteX99" fmla="*/ 895637 w 1705262"/>
                  <a:gd name="connsiteY99" fmla="*/ 2211139 h 2673102"/>
                  <a:gd name="connsiteX100" fmla="*/ 886112 w 1705262"/>
                  <a:gd name="connsiteY100" fmla="*/ 2239714 h 2673102"/>
                  <a:gd name="connsiteX101" fmla="*/ 890874 w 1705262"/>
                  <a:gd name="connsiteY101" fmla="*/ 2287339 h 2673102"/>
                  <a:gd name="connsiteX102" fmla="*/ 886112 w 1705262"/>
                  <a:gd name="connsiteY102" fmla="*/ 2396877 h 2673102"/>
                  <a:gd name="connsiteX103" fmla="*/ 681324 w 1705262"/>
                  <a:gd name="connsiteY103" fmla="*/ 2449264 h 2673102"/>
                  <a:gd name="connsiteX104" fmla="*/ 647987 w 1705262"/>
                  <a:gd name="connsiteY104" fmla="*/ 2473077 h 2673102"/>
                  <a:gd name="connsiteX105" fmla="*/ 600362 w 1705262"/>
                  <a:gd name="connsiteY105" fmla="*/ 2511177 h 2673102"/>
                  <a:gd name="connsiteX106" fmla="*/ 567024 w 1705262"/>
                  <a:gd name="connsiteY106" fmla="*/ 2534989 h 2673102"/>
                  <a:gd name="connsiteX107" fmla="*/ 533687 w 1705262"/>
                  <a:gd name="connsiteY107" fmla="*/ 2554039 h 2673102"/>
                  <a:gd name="connsiteX108" fmla="*/ 490824 w 1705262"/>
                  <a:gd name="connsiteY108" fmla="*/ 2587377 h 2673102"/>
                  <a:gd name="connsiteX109" fmla="*/ 476537 w 1705262"/>
                  <a:gd name="connsiteY109" fmla="*/ 2601664 h 2673102"/>
                  <a:gd name="connsiteX110" fmla="*/ 452724 w 1705262"/>
                  <a:gd name="connsiteY110" fmla="*/ 2620714 h 2673102"/>
                  <a:gd name="connsiteX111" fmla="*/ 443199 w 1705262"/>
                  <a:gd name="connsiteY111" fmla="*/ 2635002 h 2673102"/>
                  <a:gd name="connsiteX112" fmla="*/ 409862 w 1705262"/>
                  <a:gd name="connsiteY112" fmla="*/ 2654052 h 2673102"/>
                  <a:gd name="connsiteX113" fmla="*/ 366999 w 1705262"/>
                  <a:gd name="connsiteY113" fmla="*/ 2673102 h 2673102"/>
                  <a:gd name="connsiteX114" fmla="*/ 352712 w 1705262"/>
                  <a:gd name="connsiteY114" fmla="*/ 2663577 h 2673102"/>
                  <a:gd name="connsiteX115" fmla="*/ 338424 w 1705262"/>
                  <a:gd name="connsiteY115" fmla="*/ 2635002 h 2673102"/>
                  <a:gd name="connsiteX116" fmla="*/ 328899 w 1705262"/>
                  <a:gd name="connsiteY116" fmla="*/ 2620714 h 2673102"/>
                  <a:gd name="connsiteX117" fmla="*/ 290799 w 1705262"/>
                  <a:gd name="connsiteY117" fmla="*/ 2611189 h 2673102"/>
                  <a:gd name="connsiteX118" fmla="*/ 271749 w 1705262"/>
                  <a:gd name="connsiteY118" fmla="*/ 2592139 h 2673102"/>
                  <a:gd name="connsiteX119" fmla="*/ 266987 w 1705262"/>
                  <a:gd name="connsiteY119" fmla="*/ 2573089 h 2673102"/>
                  <a:gd name="connsiteX120" fmla="*/ 228887 w 1705262"/>
                  <a:gd name="connsiteY120" fmla="*/ 2539752 h 2673102"/>
                  <a:gd name="connsiteX121" fmla="*/ 224124 w 1705262"/>
                  <a:gd name="connsiteY121" fmla="*/ 2525464 h 2673102"/>
                  <a:gd name="connsiteX122" fmla="*/ 219362 w 1705262"/>
                  <a:gd name="connsiteY122" fmla="*/ 2506414 h 2673102"/>
                  <a:gd name="connsiteX123" fmla="*/ 205074 w 1705262"/>
                  <a:gd name="connsiteY123" fmla="*/ 2492127 h 2673102"/>
                  <a:gd name="connsiteX124" fmla="*/ 147924 w 1705262"/>
                  <a:gd name="connsiteY124" fmla="*/ 2439739 h 2673102"/>
                  <a:gd name="connsiteX125" fmla="*/ 143162 w 1705262"/>
                  <a:gd name="connsiteY125" fmla="*/ 2415927 h 2673102"/>
                  <a:gd name="connsiteX126" fmla="*/ 128874 w 1705262"/>
                  <a:gd name="connsiteY126" fmla="*/ 2358777 h 2673102"/>
                  <a:gd name="connsiteX127" fmla="*/ 114587 w 1705262"/>
                  <a:gd name="connsiteY127" fmla="*/ 2315914 h 2673102"/>
                  <a:gd name="connsiteX128" fmla="*/ 100299 w 1705262"/>
                  <a:gd name="connsiteY128" fmla="*/ 2258764 h 2673102"/>
                  <a:gd name="connsiteX129" fmla="*/ 95537 w 1705262"/>
                  <a:gd name="connsiteY129" fmla="*/ 2234952 h 2673102"/>
                  <a:gd name="connsiteX130" fmla="*/ 86012 w 1705262"/>
                  <a:gd name="connsiteY130" fmla="*/ 2211139 h 2673102"/>
                  <a:gd name="connsiteX131" fmla="*/ 81249 w 1705262"/>
                  <a:gd name="connsiteY131" fmla="*/ 2187327 h 2673102"/>
                  <a:gd name="connsiteX132" fmla="*/ 71724 w 1705262"/>
                  <a:gd name="connsiteY132" fmla="*/ 2111127 h 2673102"/>
                  <a:gd name="connsiteX133" fmla="*/ 90774 w 1705262"/>
                  <a:gd name="connsiteY133" fmla="*/ 1944439 h 2673102"/>
                  <a:gd name="connsiteX134" fmla="*/ 100299 w 1705262"/>
                  <a:gd name="connsiteY134" fmla="*/ 1930152 h 2673102"/>
                  <a:gd name="connsiteX135" fmla="*/ 119349 w 1705262"/>
                  <a:gd name="connsiteY135" fmla="*/ 1901577 h 2673102"/>
                  <a:gd name="connsiteX136" fmla="*/ 128874 w 1705262"/>
                  <a:gd name="connsiteY136" fmla="*/ 1868239 h 2673102"/>
                  <a:gd name="connsiteX137" fmla="*/ 124112 w 1705262"/>
                  <a:gd name="connsiteY137" fmla="*/ 1825377 h 2673102"/>
                  <a:gd name="connsiteX138" fmla="*/ 105062 w 1705262"/>
                  <a:gd name="connsiteY138" fmla="*/ 1820614 h 2673102"/>
                  <a:gd name="connsiteX139" fmla="*/ 95537 w 1705262"/>
                  <a:gd name="connsiteY139" fmla="*/ 1806327 h 2673102"/>
                  <a:gd name="connsiteX140" fmla="*/ 138399 w 1705262"/>
                  <a:gd name="connsiteY140" fmla="*/ 1720602 h 2673102"/>
                  <a:gd name="connsiteX141" fmla="*/ 152687 w 1705262"/>
                  <a:gd name="connsiteY141" fmla="*/ 1715839 h 2673102"/>
                  <a:gd name="connsiteX142" fmla="*/ 166974 w 1705262"/>
                  <a:gd name="connsiteY142" fmla="*/ 1696789 h 2673102"/>
                  <a:gd name="connsiteX143" fmla="*/ 181262 w 1705262"/>
                  <a:gd name="connsiteY143" fmla="*/ 1687264 h 2673102"/>
                  <a:gd name="connsiteX144" fmla="*/ 195549 w 1705262"/>
                  <a:gd name="connsiteY144" fmla="*/ 1653927 h 2673102"/>
                  <a:gd name="connsiteX145" fmla="*/ 186024 w 1705262"/>
                  <a:gd name="connsiteY145" fmla="*/ 1606302 h 2673102"/>
                  <a:gd name="connsiteX146" fmla="*/ 157449 w 1705262"/>
                  <a:gd name="connsiteY146" fmla="*/ 1596777 h 2673102"/>
                  <a:gd name="connsiteX147" fmla="*/ 147924 w 1705262"/>
                  <a:gd name="connsiteY147" fmla="*/ 1549152 h 2673102"/>
                  <a:gd name="connsiteX148" fmla="*/ 143162 w 1705262"/>
                  <a:gd name="connsiteY148" fmla="*/ 1411039 h 2673102"/>
                  <a:gd name="connsiteX149" fmla="*/ 133637 w 1705262"/>
                  <a:gd name="connsiteY149" fmla="*/ 1377702 h 2673102"/>
                  <a:gd name="connsiteX150" fmla="*/ 114587 w 1705262"/>
                  <a:gd name="connsiteY150" fmla="*/ 1311027 h 2673102"/>
                  <a:gd name="connsiteX151" fmla="*/ 109824 w 1705262"/>
                  <a:gd name="connsiteY151" fmla="*/ 1258639 h 2673102"/>
                  <a:gd name="connsiteX152" fmla="*/ 100299 w 1705262"/>
                  <a:gd name="connsiteY152" fmla="*/ 1244352 h 2673102"/>
                  <a:gd name="connsiteX153" fmla="*/ 86012 w 1705262"/>
                  <a:gd name="connsiteY153" fmla="*/ 1196727 h 2673102"/>
                  <a:gd name="connsiteX154" fmla="*/ 71724 w 1705262"/>
                  <a:gd name="connsiteY154" fmla="*/ 1177677 h 2673102"/>
                  <a:gd name="connsiteX155" fmla="*/ 52674 w 1705262"/>
                  <a:gd name="connsiteY155" fmla="*/ 1139577 h 2673102"/>
                  <a:gd name="connsiteX156" fmla="*/ 43149 w 1705262"/>
                  <a:gd name="connsiteY156" fmla="*/ 1111002 h 2673102"/>
                  <a:gd name="connsiteX157" fmla="*/ 38387 w 1705262"/>
                  <a:gd name="connsiteY157" fmla="*/ 1096714 h 2673102"/>
                  <a:gd name="connsiteX158" fmla="*/ 14574 w 1705262"/>
                  <a:gd name="connsiteY158" fmla="*/ 1025277 h 2673102"/>
                  <a:gd name="connsiteX159" fmla="*/ 5049 w 1705262"/>
                  <a:gd name="connsiteY159" fmla="*/ 991939 h 2673102"/>
                  <a:gd name="connsiteX160" fmla="*/ 287 w 1705262"/>
                  <a:gd name="connsiteY160" fmla="*/ 977652 h 2673102"/>
                  <a:gd name="connsiteX161" fmla="*/ 7431 w 1705262"/>
                  <a:gd name="connsiteY161" fmla="*/ 930027 h 2673102"/>
                  <a:gd name="connsiteX162" fmla="*/ 62200 w 1705262"/>
                  <a:gd name="connsiteY162" fmla="*/ 810964 h 2673102"/>
                  <a:gd name="connsiteX163" fmla="*/ 214599 w 1705262"/>
                  <a:gd name="connsiteY163" fmla="*/ 601414 h 2673102"/>
                  <a:gd name="connsiteX164" fmla="*/ 281274 w 1705262"/>
                  <a:gd name="connsiteY164" fmla="*/ 515689 h 2673102"/>
                  <a:gd name="connsiteX165" fmla="*/ 405099 w 1705262"/>
                  <a:gd name="connsiteY165" fmla="*/ 406152 h 2673102"/>
                  <a:gd name="connsiteX166" fmla="*/ 528924 w 1705262"/>
                  <a:gd name="connsiteY166" fmla="*/ 291851 h 2673102"/>
                  <a:gd name="connsiteX167" fmla="*/ 633699 w 1705262"/>
                  <a:gd name="connsiteY167" fmla="*/ 229939 h 2673102"/>
                  <a:gd name="connsiteX168" fmla="*/ 726569 w 1705262"/>
                  <a:gd name="connsiteY168" fmla="*/ 168026 h 2673102"/>
                  <a:gd name="connsiteX169" fmla="*/ 971837 w 1705262"/>
                  <a:gd name="connsiteY169" fmla="*/ 63251 h 2673102"/>
                  <a:gd name="connsiteX170" fmla="*/ 1152812 w 1705262"/>
                  <a:gd name="connsiteY170" fmla="*/ 6102 h 2673102"/>
                  <a:gd name="connsiteX171" fmla="*/ 1195674 w 1705262"/>
                  <a:gd name="connsiteY171" fmla="*/ 10864 h 2673102"/>
                  <a:gd name="connsiteX0" fmla="*/ 1193555 w 1703143"/>
                  <a:gd name="connsiteY0" fmla="*/ 10864 h 2673102"/>
                  <a:gd name="connsiteX1" fmla="*/ 1188793 w 1703143"/>
                  <a:gd name="connsiteY1" fmla="*/ 68014 h 2673102"/>
                  <a:gd name="connsiteX2" fmla="*/ 1164980 w 1703143"/>
                  <a:gd name="connsiteY2" fmla="*/ 110877 h 2673102"/>
                  <a:gd name="connsiteX3" fmla="*/ 1155455 w 1703143"/>
                  <a:gd name="connsiteY3" fmla="*/ 129927 h 2673102"/>
                  <a:gd name="connsiteX4" fmla="*/ 1155455 w 1703143"/>
                  <a:gd name="connsiteY4" fmla="*/ 206127 h 2673102"/>
                  <a:gd name="connsiteX5" fmla="*/ 1174505 w 1703143"/>
                  <a:gd name="connsiteY5" fmla="*/ 225177 h 2673102"/>
                  <a:gd name="connsiteX6" fmla="*/ 1193555 w 1703143"/>
                  <a:gd name="connsiteY6" fmla="*/ 258514 h 2673102"/>
                  <a:gd name="connsiteX7" fmla="*/ 1212605 w 1703143"/>
                  <a:gd name="connsiteY7" fmla="*/ 268039 h 2673102"/>
                  <a:gd name="connsiteX8" fmla="*/ 1222130 w 1703143"/>
                  <a:gd name="connsiteY8" fmla="*/ 282327 h 2673102"/>
                  <a:gd name="connsiteX9" fmla="*/ 1236418 w 1703143"/>
                  <a:gd name="connsiteY9" fmla="*/ 296614 h 2673102"/>
                  <a:gd name="connsiteX10" fmla="*/ 1245943 w 1703143"/>
                  <a:gd name="connsiteY10" fmla="*/ 315664 h 2673102"/>
                  <a:gd name="connsiteX11" fmla="*/ 1241180 w 1703143"/>
                  <a:gd name="connsiteY11" fmla="*/ 344239 h 2673102"/>
                  <a:gd name="connsiteX12" fmla="*/ 1236418 w 1703143"/>
                  <a:gd name="connsiteY12" fmla="*/ 363289 h 2673102"/>
                  <a:gd name="connsiteX13" fmla="*/ 1241180 w 1703143"/>
                  <a:gd name="connsiteY13" fmla="*/ 425202 h 2673102"/>
                  <a:gd name="connsiteX14" fmla="*/ 1260230 w 1703143"/>
                  <a:gd name="connsiteY14" fmla="*/ 463302 h 2673102"/>
                  <a:gd name="connsiteX15" fmla="*/ 1269755 w 1703143"/>
                  <a:gd name="connsiteY15" fmla="*/ 477589 h 2673102"/>
                  <a:gd name="connsiteX16" fmla="*/ 1284043 w 1703143"/>
                  <a:gd name="connsiteY16" fmla="*/ 487114 h 2673102"/>
                  <a:gd name="connsiteX17" fmla="*/ 1341193 w 1703143"/>
                  <a:gd name="connsiteY17" fmla="*/ 510927 h 2673102"/>
                  <a:gd name="connsiteX18" fmla="*/ 1369768 w 1703143"/>
                  <a:gd name="connsiteY18" fmla="*/ 520452 h 2673102"/>
                  <a:gd name="connsiteX19" fmla="*/ 1398343 w 1703143"/>
                  <a:gd name="connsiteY19" fmla="*/ 539502 h 2673102"/>
                  <a:gd name="connsiteX20" fmla="*/ 1460255 w 1703143"/>
                  <a:gd name="connsiteY20" fmla="*/ 568077 h 2673102"/>
                  <a:gd name="connsiteX21" fmla="*/ 1512643 w 1703143"/>
                  <a:gd name="connsiteY21" fmla="*/ 587127 h 2673102"/>
                  <a:gd name="connsiteX22" fmla="*/ 1531693 w 1703143"/>
                  <a:gd name="connsiteY22" fmla="*/ 596652 h 2673102"/>
                  <a:gd name="connsiteX23" fmla="*/ 1550743 w 1703143"/>
                  <a:gd name="connsiteY23" fmla="*/ 601414 h 2673102"/>
                  <a:gd name="connsiteX24" fmla="*/ 1598368 w 1703143"/>
                  <a:gd name="connsiteY24" fmla="*/ 639514 h 2673102"/>
                  <a:gd name="connsiteX25" fmla="*/ 1626943 w 1703143"/>
                  <a:gd name="connsiteY25" fmla="*/ 672852 h 2673102"/>
                  <a:gd name="connsiteX26" fmla="*/ 1641230 w 1703143"/>
                  <a:gd name="connsiteY26" fmla="*/ 687139 h 2673102"/>
                  <a:gd name="connsiteX27" fmla="*/ 1660280 w 1703143"/>
                  <a:gd name="connsiteY27" fmla="*/ 696664 h 2673102"/>
                  <a:gd name="connsiteX28" fmla="*/ 1674568 w 1703143"/>
                  <a:gd name="connsiteY28" fmla="*/ 706189 h 2673102"/>
                  <a:gd name="connsiteX29" fmla="*/ 1688855 w 1703143"/>
                  <a:gd name="connsiteY29" fmla="*/ 744289 h 2673102"/>
                  <a:gd name="connsiteX30" fmla="*/ 1698380 w 1703143"/>
                  <a:gd name="connsiteY30" fmla="*/ 768102 h 2673102"/>
                  <a:gd name="connsiteX31" fmla="*/ 1703143 w 1703143"/>
                  <a:gd name="connsiteY31" fmla="*/ 782389 h 2673102"/>
                  <a:gd name="connsiteX32" fmla="*/ 1693618 w 1703143"/>
                  <a:gd name="connsiteY32" fmla="*/ 853827 h 2673102"/>
                  <a:gd name="connsiteX33" fmla="*/ 1655518 w 1703143"/>
                  <a:gd name="connsiteY33" fmla="*/ 887164 h 2673102"/>
                  <a:gd name="connsiteX34" fmla="*/ 1641230 w 1703143"/>
                  <a:gd name="connsiteY34" fmla="*/ 901452 h 2673102"/>
                  <a:gd name="connsiteX35" fmla="*/ 1588843 w 1703143"/>
                  <a:gd name="connsiteY35" fmla="*/ 906214 h 2673102"/>
                  <a:gd name="connsiteX36" fmla="*/ 1545980 w 1703143"/>
                  <a:gd name="connsiteY36" fmla="*/ 925264 h 2673102"/>
                  <a:gd name="connsiteX37" fmla="*/ 1522168 w 1703143"/>
                  <a:gd name="connsiteY37" fmla="*/ 939552 h 2673102"/>
                  <a:gd name="connsiteX38" fmla="*/ 1488830 w 1703143"/>
                  <a:gd name="connsiteY38" fmla="*/ 987177 h 2673102"/>
                  <a:gd name="connsiteX39" fmla="*/ 1469780 w 1703143"/>
                  <a:gd name="connsiteY39" fmla="*/ 1006227 h 2673102"/>
                  <a:gd name="connsiteX40" fmla="*/ 1336430 w 1703143"/>
                  <a:gd name="connsiteY40" fmla="*/ 1030039 h 2673102"/>
                  <a:gd name="connsiteX41" fmla="*/ 1288805 w 1703143"/>
                  <a:gd name="connsiteY41" fmla="*/ 1053852 h 2673102"/>
                  <a:gd name="connsiteX42" fmla="*/ 1222130 w 1703143"/>
                  <a:gd name="connsiteY42" fmla="*/ 1082427 h 2673102"/>
                  <a:gd name="connsiteX43" fmla="*/ 1117355 w 1703143"/>
                  <a:gd name="connsiteY43" fmla="*/ 1096714 h 2673102"/>
                  <a:gd name="connsiteX44" fmla="*/ 1093543 w 1703143"/>
                  <a:gd name="connsiteY44" fmla="*/ 1101477 h 2673102"/>
                  <a:gd name="connsiteX45" fmla="*/ 1069730 w 1703143"/>
                  <a:gd name="connsiteY45" fmla="*/ 1111002 h 2673102"/>
                  <a:gd name="connsiteX46" fmla="*/ 955430 w 1703143"/>
                  <a:gd name="connsiteY46" fmla="*/ 1106239 h 2673102"/>
                  <a:gd name="connsiteX47" fmla="*/ 850655 w 1703143"/>
                  <a:gd name="connsiteY47" fmla="*/ 1058614 h 2673102"/>
                  <a:gd name="connsiteX48" fmla="*/ 803030 w 1703143"/>
                  <a:gd name="connsiteY48" fmla="*/ 1034802 h 2673102"/>
                  <a:gd name="connsiteX49" fmla="*/ 779218 w 1703143"/>
                  <a:gd name="connsiteY49" fmla="*/ 1020514 h 2673102"/>
                  <a:gd name="connsiteX50" fmla="*/ 760168 w 1703143"/>
                  <a:gd name="connsiteY50" fmla="*/ 1006227 h 2673102"/>
                  <a:gd name="connsiteX51" fmla="*/ 669680 w 1703143"/>
                  <a:gd name="connsiteY51" fmla="*/ 958602 h 2673102"/>
                  <a:gd name="connsiteX52" fmla="*/ 636343 w 1703143"/>
                  <a:gd name="connsiteY52" fmla="*/ 939552 h 2673102"/>
                  <a:gd name="connsiteX53" fmla="*/ 517280 w 1703143"/>
                  <a:gd name="connsiteY53" fmla="*/ 910977 h 2673102"/>
                  <a:gd name="connsiteX54" fmla="*/ 474418 w 1703143"/>
                  <a:gd name="connsiteY54" fmla="*/ 891927 h 2673102"/>
                  <a:gd name="connsiteX55" fmla="*/ 412505 w 1703143"/>
                  <a:gd name="connsiteY55" fmla="*/ 882402 h 2673102"/>
                  <a:gd name="connsiteX56" fmla="*/ 312493 w 1703143"/>
                  <a:gd name="connsiteY56" fmla="*/ 896689 h 2673102"/>
                  <a:gd name="connsiteX57" fmla="*/ 298205 w 1703143"/>
                  <a:gd name="connsiteY57" fmla="*/ 910977 h 2673102"/>
                  <a:gd name="connsiteX58" fmla="*/ 274393 w 1703143"/>
                  <a:gd name="connsiteY58" fmla="*/ 949077 h 2673102"/>
                  <a:gd name="connsiteX59" fmla="*/ 260105 w 1703143"/>
                  <a:gd name="connsiteY59" fmla="*/ 987177 h 2673102"/>
                  <a:gd name="connsiteX60" fmla="*/ 255343 w 1703143"/>
                  <a:gd name="connsiteY60" fmla="*/ 1039564 h 2673102"/>
                  <a:gd name="connsiteX61" fmla="*/ 255343 w 1703143"/>
                  <a:gd name="connsiteY61" fmla="*/ 1120527 h 2673102"/>
                  <a:gd name="connsiteX62" fmla="*/ 288680 w 1703143"/>
                  <a:gd name="connsiteY62" fmla="*/ 1153864 h 2673102"/>
                  <a:gd name="connsiteX63" fmla="*/ 317255 w 1703143"/>
                  <a:gd name="connsiteY63" fmla="*/ 1163389 h 2673102"/>
                  <a:gd name="connsiteX64" fmla="*/ 317255 w 1703143"/>
                  <a:gd name="connsiteY64" fmla="*/ 1244352 h 2673102"/>
                  <a:gd name="connsiteX65" fmla="*/ 302968 w 1703143"/>
                  <a:gd name="connsiteY65" fmla="*/ 1258639 h 2673102"/>
                  <a:gd name="connsiteX66" fmla="*/ 250580 w 1703143"/>
                  <a:gd name="connsiteY66" fmla="*/ 1296739 h 2673102"/>
                  <a:gd name="connsiteX67" fmla="*/ 231530 w 1703143"/>
                  <a:gd name="connsiteY67" fmla="*/ 1325314 h 2673102"/>
                  <a:gd name="connsiteX68" fmla="*/ 241055 w 1703143"/>
                  <a:gd name="connsiteY68" fmla="*/ 1425327 h 2673102"/>
                  <a:gd name="connsiteX69" fmla="*/ 269630 w 1703143"/>
                  <a:gd name="connsiteY69" fmla="*/ 1472952 h 2673102"/>
                  <a:gd name="connsiteX70" fmla="*/ 283918 w 1703143"/>
                  <a:gd name="connsiteY70" fmla="*/ 1492002 h 2673102"/>
                  <a:gd name="connsiteX71" fmla="*/ 374405 w 1703143"/>
                  <a:gd name="connsiteY71" fmla="*/ 1525339 h 2673102"/>
                  <a:gd name="connsiteX72" fmla="*/ 398218 w 1703143"/>
                  <a:gd name="connsiteY72" fmla="*/ 1492002 h 2673102"/>
                  <a:gd name="connsiteX73" fmla="*/ 402980 w 1703143"/>
                  <a:gd name="connsiteY73" fmla="*/ 1468189 h 2673102"/>
                  <a:gd name="connsiteX74" fmla="*/ 407743 w 1703143"/>
                  <a:gd name="connsiteY74" fmla="*/ 1449139 h 2673102"/>
                  <a:gd name="connsiteX75" fmla="*/ 436318 w 1703143"/>
                  <a:gd name="connsiteY75" fmla="*/ 1439614 h 2673102"/>
                  <a:gd name="connsiteX76" fmla="*/ 536330 w 1703143"/>
                  <a:gd name="connsiteY76" fmla="*/ 1458664 h 2673102"/>
                  <a:gd name="connsiteX77" fmla="*/ 545855 w 1703143"/>
                  <a:gd name="connsiteY77" fmla="*/ 1482477 h 2673102"/>
                  <a:gd name="connsiteX78" fmla="*/ 555380 w 1703143"/>
                  <a:gd name="connsiteY78" fmla="*/ 1515814 h 2673102"/>
                  <a:gd name="connsiteX79" fmla="*/ 541093 w 1703143"/>
                  <a:gd name="connsiteY79" fmla="*/ 1534864 h 2673102"/>
                  <a:gd name="connsiteX80" fmla="*/ 541093 w 1703143"/>
                  <a:gd name="connsiteY80" fmla="*/ 1601539 h 2673102"/>
                  <a:gd name="connsiteX81" fmla="*/ 550618 w 1703143"/>
                  <a:gd name="connsiteY81" fmla="*/ 1620589 h 2673102"/>
                  <a:gd name="connsiteX82" fmla="*/ 617293 w 1703143"/>
                  <a:gd name="connsiteY82" fmla="*/ 1639639 h 2673102"/>
                  <a:gd name="connsiteX83" fmla="*/ 636343 w 1703143"/>
                  <a:gd name="connsiteY83" fmla="*/ 1592014 h 2673102"/>
                  <a:gd name="connsiteX84" fmla="*/ 693493 w 1703143"/>
                  <a:gd name="connsiteY84" fmla="*/ 1620589 h 2673102"/>
                  <a:gd name="connsiteX85" fmla="*/ 722068 w 1703143"/>
                  <a:gd name="connsiteY85" fmla="*/ 1630114 h 2673102"/>
                  <a:gd name="connsiteX86" fmla="*/ 774455 w 1703143"/>
                  <a:gd name="connsiteY86" fmla="*/ 1663452 h 2673102"/>
                  <a:gd name="connsiteX87" fmla="*/ 850655 w 1703143"/>
                  <a:gd name="connsiteY87" fmla="*/ 1687264 h 2673102"/>
                  <a:gd name="connsiteX88" fmla="*/ 869705 w 1703143"/>
                  <a:gd name="connsiteY88" fmla="*/ 1701552 h 2673102"/>
                  <a:gd name="connsiteX89" fmla="*/ 879230 w 1703143"/>
                  <a:gd name="connsiteY89" fmla="*/ 1739652 h 2673102"/>
                  <a:gd name="connsiteX90" fmla="*/ 888755 w 1703143"/>
                  <a:gd name="connsiteY90" fmla="*/ 1782514 h 2673102"/>
                  <a:gd name="connsiteX91" fmla="*/ 931618 w 1703143"/>
                  <a:gd name="connsiteY91" fmla="*/ 1892052 h 2673102"/>
                  <a:gd name="connsiteX92" fmla="*/ 941143 w 1703143"/>
                  <a:gd name="connsiteY92" fmla="*/ 1906339 h 2673102"/>
                  <a:gd name="connsiteX93" fmla="*/ 950668 w 1703143"/>
                  <a:gd name="connsiteY93" fmla="*/ 1939677 h 2673102"/>
                  <a:gd name="connsiteX94" fmla="*/ 964955 w 1703143"/>
                  <a:gd name="connsiteY94" fmla="*/ 1977777 h 2673102"/>
                  <a:gd name="connsiteX95" fmla="*/ 955430 w 1703143"/>
                  <a:gd name="connsiteY95" fmla="*/ 2082552 h 2673102"/>
                  <a:gd name="connsiteX96" fmla="*/ 945905 w 1703143"/>
                  <a:gd name="connsiteY96" fmla="*/ 2101602 h 2673102"/>
                  <a:gd name="connsiteX97" fmla="*/ 917330 w 1703143"/>
                  <a:gd name="connsiteY97" fmla="*/ 2144464 h 2673102"/>
                  <a:gd name="connsiteX98" fmla="*/ 898280 w 1703143"/>
                  <a:gd name="connsiteY98" fmla="*/ 2192089 h 2673102"/>
                  <a:gd name="connsiteX99" fmla="*/ 893518 w 1703143"/>
                  <a:gd name="connsiteY99" fmla="*/ 2211139 h 2673102"/>
                  <a:gd name="connsiteX100" fmla="*/ 883993 w 1703143"/>
                  <a:gd name="connsiteY100" fmla="*/ 2239714 h 2673102"/>
                  <a:gd name="connsiteX101" fmla="*/ 888755 w 1703143"/>
                  <a:gd name="connsiteY101" fmla="*/ 2287339 h 2673102"/>
                  <a:gd name="connsiteX102" fmla="*/ 883993 w 1703143"/>
                  <a:gd name="connsiteY102" fmla="*/ 2396877 h 2673102"/>
                  <a:gd name="connsiteX103" fmla="*/ 679205 w 1703143"/>
                  <a:gd name="connsiteY103" fmla="*/ 2449264 h 2673102"/>
                  <a:gd name="connsiteX104" fmla="*/ 645868 w 1703143"/>
                  <a:gd name="connsiteY104" fmla="*/ 2473077 h 2673102"/>
                  <a:gd name="connsiteX105" fmla="*/ 598243 w 1703143"/>
                  <a:gd name="connsiteY105" fmla="*/ 2511177 h 2673102"/>
                  <a:gd name="connsiteX106" fmla="*/ 564905 w 1703143"/>
                  <a:gd name="connsiteY106" fmla="*/ 2534989 h 2673102"/>
                  <a:gd name="connsiteX107" fmla="*/ 531568 w 1703143"/>
                  <a:gd name="connsiteY107" fmla="*/ 2554039 h 2673102"/>
                  <a:gd name="connsiteX108" fmla="*/ 488705 w 1703143"/>
                  <a:gd name="connsiteY108" fmla="*/ 2587377 h 2673102"/>
                  <a:gd name="connsiteX109" fmla="*/ 474418 w 1703143"/>
                  <a:gd name="connsiteY109" fmla="*/ 2601664 h 2673102"/>
                  <a:gd name="connsiteX110" fmla="*/ 450605 w 1703143"/>
                  <a:gd name="connsiteY110" fmla="*/ 2620714 h 2673102"/>
                  <a:gd name="connsiteX111" fmla="*/ 441080 w 1703143"/>
                  <a:gd name="connsiteY111" fmla="*/ 2635002 h 2673102"/>
                  <a:gd name="connsiteX112" fmla="*/ 407743 w 1703143"/>
                  <a:gd name="connsiteY112" fmla="*/ 2654052 h 2673102"/>
                  <a:gd name="connsiteX113" fmla="*/ 364880 w 1703143"/>
                  <a:gd name="connsiteY113" fmla="*/ 2673102 h 2673102"/>
                  <a:gd name="connsiteX114" fmla="*/ 350593 w 1703143"/>
                  <a:gd name="connsiteY114" fmla="*/ 2663577 h 2673102"/>
                  <a:gd name="connsiteX115" fmla="*/ 336305 w 1703143"/>
                  <a:gd name="connsiteY115" fmla="*/ 2635002 h 2673102"/>
                  <a:gd name="connsiteX116" fmla="*/ 326780 w 1703143"/>
                  <a:gd name="connsiteY116" fmla="*/ 2620714 h 2673102"/>
                  <a:gd name="connsiteX117" fmla="*/ 288680 w 1703143"/>
                  <a:gd name="connsiteY117" fmla="*/ 2611189 h 2673102"/>
                  <a:gd name="connsiteX118" fmla="*/ 269630 w 1703143"/>
                  <a:gd name="connsiteY118" fmla="*/ 2592139 h 2673102"/>
                  <a:gd name="connsiteX119" fmla="*/ 264868 w 1703143"/>
                  <a:gd name="connsiteY119" fmla="*/ 2573089 h 2673102"/>
                  <a:gd name="connsiteX120" fmla="*/ 226768 w 1703143"/>
                  <a:gd name="connsiteY120" fmla="*/ 2539752 h 2673102"/>
                  <a:gd name="connsiteX121" fmla="*/ 222005 w 1703143"/>
                  <a:gd name="connsiteY121" fmla="*/ 2525464 h 2673102"/>
                  <a:gd name="connsiteX122" fmla="*/ 217243 w 1703143"/>
                  <a:gd name="connsiteY122" fmla="*/ 2506414 h 2673102"/>
                  <a:gd name="connsiteX123" fmla="*/ 202955 w 1703143"/>
                  <a:gd name="connsiteY123" fmla="*/ 2492127 h 2673102"/>
                  <a:gd name="connsiteX124" fmla="*/ 145805 w 1703143"/>
                  <a:gd name="connsiteY124" fmla="*/ 2439739 h 2673102"/>
                  <a:gd name="connsiteX125" fmla="*/ 141043 w 1703143"/>
                  <a:gd name="connsiteY125" fmla="*/ 2415927 h 2673102"/>
                  <a:gd name="connsiteX126" fmla="*/ 126755 w 1703143"/>
                  <a:gd name="connsiteY126" fmla="*/ 2358777 h 2673102"/>
                  <a:gd name="connsiteX127" fmla="*/ 112468 w 1703143"/>
                  <a:gd name="connsiteY127" fmla="*/ 2315914 h 2673102"/>
                  <a:gd name="connsiteX128" fmla="*/ 98180 w 1703143"/>
                  <a:gd name="connsiteY128" fmla="*/ 2258764 h 2673102"/>
                  <a:gd name="connsiteX129" fmla="*/ 93418 w 1703143"/>
                  <a:gd name="connsiteY129" fmla="*/ 2234952 h 2673102"/>
                  <a:gd name="connsiteX130" fmla="*/ 83893 w 1703143"/>
                  <a:gd name="connsiteY130" fmla="*/ 2211139 h 2673102"/>
                  <a:gd name="connsiteX131" fmla="*/ 79130 w 1703143"/>
                  <a:gd name="connsiteY131" fmla="*/ 2187327 h 2673102"/>
                  <a:gd name="connsiteX132" fmla="*/ 69605 w 1703143"/>
                  <a:gd name="connsiteY132" fmla="*/ 2111127 h 2673102"/>
                  <a:gd name="connsiteX133" fmla="*/ 88655 w 1703143"/>
                  <a:gd name="connsiteY133" fmla="*/ 1944439 h 2673102"/>
                  <a:gd name="connsiteX134" fmla="*/ 98180 w 1703143"/>
                  <a:gd name="connsiteY134" fmla="*/ 1930152 h 2673102"/>
                  <a:gd name="connsiteX135" fmla="*/ 117230 w 1703143"/>
                  <a:gd name="connsiteY135" fmla="*/ 1901577 h 2673102"/>
                  <a:gd name="connsiteX136" fmla="*/ 126755 w 1703143"/>
                  <a:gd name="connsiteY136" fmla="*/ 1868239 h 2673102"/>
                  <a:gd name="connsiteX137" fmla="*/ 121993 w 1703143"/>
                  <a:gd name="connsiteY137" fmla="*/ 1825377 h 2673102"/>
                  <a:gd name="connsiteX138" fmla="*/ 102943 w 1703143"/>
                  <a:gd name="connsiteY138" fmla="*/ 1820614 h 2673102"/>
                  <a:gd name="connsiteX139" fmla="*/ 93418 w 1703143"/>
                  <a:gd name="connsiteY139" fmla="*/ 1806327 h 2673102"/>
                  <a:gd name="connsiteX140" fmla="*/ 136280 w 1703143"/>
                  <a:gd name="connsiteY140" fmla="*/ 1720602 h 2673102"/>
                  <a:gd name="connsiteX141" fmla="*/ 150568 w 1703143"/>
                  <a:gd name="connsiteY141" fmla="*/ 1715839 h 2673102"/>
                  <a:gd name="connsiteX142" fmla="*/ 164855 w 1703143"/>
                  <a:gd name="connsiteY142" fmla="*/ 1696789 h 2673102"/>
                  <a:gd name="connsiteX143" fmla="*/ 179143 w 1703143"/>
                  <a:gd name="connsiteY143" fmla="*/ 1687264 h 2673102"/>
                  <a:gd name="connsiteX144" fmla="*/ 193430 w 1703143"/>
                  <a:gd name="connsiteY144" fmla="*/ 1653927 h 2673102"/>
                  <a:gd name="connsiteX145" fmla="*/ 183905 w 1703143"/>
                  <a:gd name="connsiteY145" fmla="*/ 1606302 h 2673102"/>
                  <a:gd name="connsiteX146" fmla="*/ 155330 w 1703143"/>
                  <a:gd name="connsiteY146" fmla="*/ 1596777 h 2673102"/>
                  <a:gd name="connsiteX147" fmla="*/ 145805 w 1703143"/>
                  <a:gd name="connsiteY147" fmla="*/ 1549152 h 2673102"/>
                  <a:gd name="connsiteX148" fmla="*/ 141043 w 1703143"/>
                  <a:gd name="connsiteY148" fmla="*/ 1411039 h 2673102"/>
                  <a:gd name="connsiteX149" fmla="*/ 131518 w 1703143"/>
                  <a:gd name="connsiteY149" fmla="*/ 1377702 h 2673102"/>
                  <a:gd name="connsiteX150" fmla="*/ 112468 w 1703143"/>
                  <a:gd name="connsiteY150" fmla="*/ 1311027 h 2673102"/>
                  <a:gd name="connsiteX151" fmla="*/ 107705 w 1703143"/>
                  <a:gd name="connsiteY151" fmla="*/ 1258639 h 2673102"/>
                  <a:gd name="connsiteX152" fmla="*/ 98180 w 1703143"/>
                  <a:gd name="connsiteY152" fmla="*/ 1244352 h 2673102"/>
                  <a:gd name="connsiteX153" fmla="*/ 83893 w 1703143"/>
                  <a:gd name="connsiteY153" fmla="*/ 1196727 h 2673102"/>
                  <a:gd name="connsiteX154" fmla="*/ 69605 w 1703143"/>
                  <a:gd name="connsiteY154" fmla="*/ 1177677 h 2673102"/>
                  <a:gd name="connsiteX155" fmla="*/ 50555 w 1703143"/>
                  <a:gd name="connsiteY155" fmla="*/ 1139577 h 2673102"/>
                  <a:gd name="connsiteX156" fmla="*/ 41030 w 1703143"/>
                  <a:gd name="connsiteY156" fmla="*/ 1111002 h 2673102"/>
                  <a:gd name="connsiteX157" fmla="*/ 36268 w 1703143"/>
                  <a:gd name="connsiteY157" fmla="*/ 1096714 h 2673102"/>
                  <a:gd name="connsiteX158" fmla="*/ 12455 w 1703143"/>
                  <a:gd name="connsiteY158" fmla="*/ 1025277 h 2673102"/>
                  <a:gd name="connsiteX159" fmla="*/ 2930 w 1703143"/>
                  <a:gd name="connsiteY159" fmla="*/ 991939 h 2673102"/>
                  <a:gd name="connsiteX160" fmla="*/ 5312 w 1703143"/>
                  <a:gd name="connsiteY160" fmla="*/ 930027 h 2673102"/>
                  <a:gd name="connsiteX161" fmla="*/ 60081 w 1703143"/>
                  <a:gd name="connsiteY161" fmla="*/ 810964 h 2673102"/>
                  <a:gd name="connsiteX162" fmla="*/ 212480 w 1703143"/>
                  <a:gd name="connsiteY162" fmla="*/ 601414 h 2673102"/>
                  <a:gd name="connsiteX163" fmla="*/ 279155 w 1703143"/>
                  <a:gd name="connsiteY163" fmla="*/ 515689 h 2673102"/>
                  <a:gd name="connsiteX164" fmla="*/ 402980 w 1703143"/>
                  <a:gd name="connsiteY164" fmla="*/ 406152 h 2673102"/>
                  <a:gd name="connsiteX165" fmla="*/ 526805 w 1703143"/>
                  <a:gd name="connsiteY165" fmla="*/ 291851 h 2673102"/>
                  <a:gd name="connsiteX166" fmla="*/ 631580 w 1703143"/>
                  <a:gd name="connsiteY166" fmla="*/ 229939 h 2673102"/>
                  <a:gd name="connsiteX167" fmla="*/ 724450 w 1703143"/>
                  <a:gd name="connsiteY167" fmla="*/ 168026 h 2673102"/>
                  <a:gd name="connsiteX168" fmla="*/ 969718 w 1703143"/>
                  <a:gd name="connsiteY168" fmla="*/ 63251 h 2673102"/>
                  <a:gd name="connsiteX169" fmla="*/ 1150693 w 1703143"/>
                  <a:gd name="connsiteY169" fmla="*/ 6102 h 2673102"/>
                  <a:gd name="connsiteX170" fmla="*/ 1193555 w 1703143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478958 w 1712321"/>
                  <a:gd name="connsiteY39" fmla="*/ 1006227 h 2673102"/>
                  <a:gd name="connsiteX40" fmla="*/ 1345608 w 1712321"/>
                  <a:gd name="connsiteY40" fmla="*/ 1030039 h 2673102"/>
                  <a:gd name="connsiteX41" fmla="*/ 1297983 w 1712321"/>
                  <a:gd name="connsiteY41" fmla="*/ 1053852 h 2673102"/>
                  <a:gd name="connsiteX42" fmla="*/ 1231308 w 1712321"/>
                  <a:gd name="connsiteY42" fmla="*/ 1082427 h 2673102"/>
                  <a:gd name="connsiteX43" fmla="*/ 1126533 w 1712321"/>
                  <a:gd name="connsiteY43" fmla="*/ 1096714 h 2673102"/>
                  <a:gd name="connsiteX44" fmla="*/ 1102721 w 1712321"/>
                  <a:gd name="connsiteY44" fmla="*/ 1101477 h 2673102"/>
                  <a:gd name="connsiteX45" fmla="*/ 1078908 w 1712321"/>
                  <a:gd name="connsiteY45" fmla="*/ 1111002 h 2673102"/>
                  <a:gd name="connsiteX46" fmla="*/ 964608 w 1712321"/>
                  <a:gd name="connsiteY46" fmla="*/ 1106239 h 2673102"/>
                  <a:gd name="connsiteX47" fmla="*/ 859833 w 1712321"/>
                  <a:gd name="connsiteY47" fmla="*/ 1058614 h 2673102"/>
                  <a:gd name="connsiteX48" fmla="*/ 812208 w 1712321"/>
                  <a:gd name="connsiteY48" fmla="*/ 1034802 h 2673102"/>
                  <a:gd name="connsiteX49" fmla="*/ 788396 w 1712321"/>
                  <a:gd name="connsiteY49" fmla="*/ 1020514 h 2673102"/>
                  <a:gd name="connsiteX50" fmla="*/ 769346 w 1712321"/>
                  <a:gd name="connsiteY50" fmla="*/ 1006227 h 2673102"/>
                  <a:gd name="connsiteX51" fmla="*/ 678858 w 1712321"/>
                  <a:gd name="connsiteY51" fmla="*/ 958602 h 2673102"/>
                  <a:gd name="connsiteX52" fmla="*/ 645521 w 1712321"/>
                  <a:gd name="connsiteY52" fmla="*/ 939552 h 2673102"/>
                  <a:gd name="connsiteX53" fmla="*/ 526458 w 1712321"/>
                  <a:gd name="connsiteY53" fmla="*/ 910977 h 2673102"/>
                  <a:gd name="connsiteX54" fmla="*/ 483596 w 1712321"/>
                  <a:gd name="connsiteY54" fmla="*/ 891927 h 2673102"/>
                  <a:gd name="connsiteX55" fmla="*/ 421683 w 1712321"/>
                  <a:gd name="connsiteY55" fmla="*/ 882402 h 2673102"/>
                  <a:gd name="connsiteX56" fmla="*/ 321671 w 1712321"/>
                  <a:gd name="connsiteY56" fmla="*/ 896689 h 2673102"/>
                  <a:gd name="connsiteX57" fmla="*/ 307383 w 1712321"/>
                  <a:gd name="connsiteY57" fmla="*/ 910977 h 2673102"/>
                  <a:gd name="connsiteX58" fmla="*/ 283571 w 1712321"/>
                  <a:gd name="connsiteY58" fmla="*/ 949077 h 2673102"/>
                  <a:gd name="connsiteX59" fmla="*/ 269283 w 1712321"/>
                  <a:gd name="connsiteY59" fmla="*/ 987177 h 2673102"/>
                  <a:gd name="connsiteX60" fmla="*/ 264521 w 1712321"/>
                  <a:gd name="connsiteY60" fmla="*/ 1039564 h 2673102"/>
                  <a:gd name="connsiteX61" fmla="*/ 264521 w 1712321"/>
                  <a:gd name="connsiteY61" fmla="*/ 1120527 h 2673102"/>
                  <a:gd name="connsiteX62" fmla="*/ 297858 w 1712321"/>
                  <a:gd name="connsiteY62" fmla="*/ 1153864 h 2673102"/>
                  <a:gd name="connsiteX63" fmla="*/ 326433 w 1712321"/>
                  <a:gd name="connsiteY63" fmla="*/ 1163389 h 2673102"/>
                  <a:gd name="connsiteX64" fmla="*/ 326433 w 1712321"/>
                  <a:gd name="connsiteY64" fmla="*/ 1244352 h 2673102"/>
                  <a:gd name="connsiteX65" fmla="*/ 312146 w 1712321"/>
                  <a:gd name="connsiteY65" fmla="*/ 1258639 h 2673102"/>
                  <a:gd name="connsiteX66" fmla="*/ 259758 w 1712321"/>
                  <a:gd name="connsiteY66" fmla="*/ 1296739 h 2673102"/>
                  <a:gd name="connsiteX67" fmla="*/ 240708 w 1712321"/>
                  <a:gd name="connsiteY67" fmla="*/ 1325314 h 2673102"/>
                  <a:gd name="connsiteX68" fmla="*/ 250233 w 1712321"/>
                  <a:gd name="connsiteY68" fmla="*/ 1425327 h 2673102"/>
                  <a:gd name="connsiteX69" fmla="*/ 278808 w 1712321"/>
                  <a:gd name="connsiteY69" fmla="*/ 1472952 h 2673102"/>
                  <a:gd name="connsiteX70" fmla="*/ 293096 w 1712321"/>
                  <a:gd name="connsiteY70" fmla="*/ 1492002 h 2673102"/>
                  <a:gd name="connsiteX71" fmla="*/ 383583 w 1712321"/>
                  <a:gd name="connsiteY71" fmla="*/ 1525339 h 2673102"/>
                  <a:gd name="connsiteX72" fmla="*/ 407396 w 1712321"/>
                  <a:gd name="connsiteY72" fmla="*/ 1492002 h 2673102"/>
                  <a:gd name="connsiteX73" fmla="*/ 412158 w 1712321"/>
                  <a:gd name="connsiteY73" fmla="*/ 1468189 h 2673102"/>
                  <a:gd name="connsiteX74" fmla="*/ 416921 w 1712321"/>
                  <a:gd name="connsiteY74" fmla="*/ 1449139 h 2673102"/>
                  <a:gd name="connsiteX75" fmla="*/ 445496 w 1712321"/>
                  <a:gd name="connsiteY75" fmla="*/ 1439614 h 2673102"/>
                  <a:gd name="connsiteX76" fmla="*/ 545508 w 1712321"/>
                  <a:gd name="connsiteY76" fmla="*/ 1458664 h 2673102"/>
                  <a:gd name="connsiteX77" fmla="*/ 555033 w 1712321"/>
                  <a:gd name="connsiteY77" fmla="*/ 1482477 h 2673102"/>
                  <a:gd name="connsiteX78" fmla="*/ 564558 w 1712321"/>
                  <a:gd name="connsiteY78" fmla="*/ 1515814 h 2673102"/>
                  <a:gd name="connsiteX79" fmla="*/ 550271 w 1712321"/>
                  <a:gd name="connsiteY79" fmla="*/ 1534864 h 2673102"/>
                  <a:gd name="connsiteX80" fmla="*/ 550271 w 1712321"/>
                  <a:gd name="connsiteY80" fmla="*/ 1601539 h 2673102"/>
                  <a:gd name="connsiteX81" fmla="*/ 559796 w 1712321"/>
                  <a:gd name="connsiteY81" fmla="*/ 1620589 h 2673102"/>
                  <a:gd name="connsiteX82" fmla="*/ 626471 w 1712321"/>
                  <a:gd name="connsiteY82" fmla="*/ 1639639 h 2673102"/>
                  <a:gd name="connsiteX83" fmla="*/ 645521 w 1712321"/>
                  <a:gd name="connsiteY83" fmla="*/ 1592014 h 2673102"/>
                  <a:gd name="connsiteX84" fmla="*/ 702671 w 1712321"/>
                  <a:gd name="connsiteY84" fmla="*/ 1620589 h 2673102"/>
                  <a:gd name="connsiteX85" fmla="*/ 731246 w 1712321"/>
                  <a:gd name="connsiteY85" fmla="*/ 1630114 h 2673102"/>
                  <a:gd name="connsiteX86" fmla="*/ 783633 w 1712321"/>
                  <a:gd name="connsiteY86" fmla="*/ 1663452 h 2673102"/>
                  <a:gd name="connsiteX87" fmla="*/ 859833 w 1712321"/>
                  <a:gd name="connsiteY87" fmla="*/ 1687264 h 2673102"/>
                  <a:gd name="connsiteX88" fmla="*/ 878883 w 1712321"/>
                  <a:gd name="connsiteY88" fmla="*/ 1701552 h 2673102"/>
                  <a:gd name="connsiteX89" fmla="*/ 888408 w 1712321"/>
                  <a:gd name="connsiteY89" fmla="*/ 1739652 h 2673102"/>
                  <a:gd name="connsiteX90" fmla="*/ 897933 w 1712321"/>
                  <a:gd name="connsiteY90" fmla="*/ 1782514 h 2673102"/>
                  <a:gd name="connsiteX91" fmla="*/ 940796 w 1712321"/>
                  <a:gd name="connsiteY91" fmla="*/ 1892052 h 2673102"/>
                  <a:gd name="connsiteX92" fmla="*/ 950321 w 1712321"/>
                  <a:gd name="connsiteY92" fmla="*/ 1906339 h 2673102"/>
                  <a:gd name="connsiteX93" fmla="*/ 959846 w 1712321"/>
                  <a:gd name="connsiteY93" fmla="*/ 1939677 h 2673102"/>
                  <a:gd name="connsiteX94" fmla="*/ 974133 w 1712321"/>
                  <a:gd name="connsiteY94" fmla="*/ 1977777 h 2673102"/>
                  <a:gd name="connsiteX95" fmla="*/ 964608 w 1712321"/>
                  <a:gd name="connsiteY95" fmla="*/ 2082552 h 2673102"/>
                  <a:gd name="connsiteX96" fmla="*/ 955083 w 1712321"/>
                  <a:gd name="connsiteY96" fmla="*/ 2101602 h 2673102"/>
                  <a:gd name="connsiteX97" fmla="*/ 926508 w 1712321"/>
                  <a:gd name="connsiteY97" fmla="*/ 2144464 h 2673102"/>
                  <a:gd name="connsiteX98" fmla="*/ 907458 w 1712321"/>
                  <a:gd name="connsiteY98" fmla="*/ 2192089 h 2673102"/>
                  <a:gd name="connsiteX99" fmla="*/ 902696 w 1712321"/>
                  <a:gd name="connsiteY99" fmla="*/ 2211139 h 2673102"/>
                  <a:gd name="connsiteX100" fmla="*/ 893171 w 1712321"/>
                  <a:gd name="connsiteY100" fmla="*/ 2239714 h 2673102"/>
                  <a:gd name="connsiteX101" fmla="*/ 897933 w 1712321"/>
                  <a:gd name="connsiteY101" fmla="*/ 2287339 h 2673102"/>
                  <a:gd name="connsiteX102" fmla="*/ 893171 w 1712321"/>
                  <a:gd name="connsiteY102" fmla="*/ 2396877 h 2673102"/>
                  <a:gd name="connsiteX103" fmla="*/ 688383 w 1712321"/>
                  <a:gd name="connsiteY103" fmla="*/ 2449264 h 2673102"/>
                  <a:gd name="connsiteX104" fmla="*/ 655046 w 1712321"/>
                  <a:gd name="connsiteY104" fmla="*/ 2473077 h 2673102"/>
                  <a:gd name="connsiteX105" fmla="*/ 607421 w 1712321"/>
                  <a:gd name="connsiteY105" fmla="*/ 2511177 h 2673102"/>
                  <a:gd name="connsiteX106" fmla="*/ 574083 w 1712321"/>
                  <a:gd name="connsiteY106" fmla="*/ 2534989 h 2673102"/>
                  <a:gd name="connsiteX107" fmla="*/ 540746 w 1712321"/>
                  <a:gd name="connsiteY107" fmla="*/ 2554039 h 2673102"/>
                  <a:gd name="connsiteX108" fmla="*/ 497883 w 1712321"/>
                  <a:gd name="connsiteY108" fmla="*/ 2587377 h 2673102"/>
                  <a:gd name="connsiteX109" fmla="*/ 483596 w 1712321"/>
                  <a:gd name="connsiteY109" fmla="*/ 2601664 h 2673102"/>
                  <a:gd name="connsiteX110" fmla="*/ 459783 w 1712321"/>
                  <a:gd name="connsiteY110" fmla="*/ 2620714 h 2673102"/>
                  <a:gd name="connsiteX111" fmla="*/ 450258 w 1712321"/>
                  <a:gd name="connsiteY111" fmla="*/ 2635002 h 2673102"/>
                  <a:gd name="connsiteX112" fmla="*/ 416921 w 1712321"/>
                  <a:gd name="connsiteY112" fmla="*/ 2654052 h 2673102"/>
                  <a:gd name="connsiteX113" fmla="*/ 374058 w 1712321"/>
                  <a:gd name="connsiteY113" fmla="*/ 2673102 h 2673102"/>
                  <a:gd name="connsiteX114" fmla="*/ 359771 w 1712321"/>
                  <a:gd name="connsiteY114" fmla="*/ 2663577 h 2673102"/>
                  <a:gd name="connsiteX115" fmla="*/ 345483 w 1712321"/>
                  <a:gd name="connsiteY115" fmla="*/ 2635002 h 2673102"/>
                  <a:gd name="connsiteX116" fmla="*/ 335958 w 1712321"/>
                  <a:gd name="connsiteY116" fmla="*/ 2620714 h 2673102"/>
                  <a:gd name="connsiteX117" fmla="*/ 297858 w 1712321"/>
                  <a:gd name="connsiteY117" fmla="*/ 2611189 h 2673102"/>
                  <a:gd name="connsiteX118" fmla="*/ 278808 w 1712321"/>
                  <a:gd name="connsiteY118" fmla="*/ 2592139 h 2673102"/>
                  <a:gd name="connsiteX119" fmla="*/ 274046 w 1712321"/>
                  <a:gd name="connsiteY119" fmla="*/ 2573089 h 2673102"/>
                  <a:gd name="connsiteX120" fmla="*/ 235946 w 1712321"/>
                  <a:gd name="connsiteY120" fmla="*/ 2539752 h 2673102"/>
                  <a:gd name="connsiteX121" fmla="*/ 231183 w 1712321"/>
                  <a:gd name="connsiteY121" fmla="*/ 2525464 h 2673102"/>
                  <a:gd name="connsiteX122" fmla="*/ 226421 w 1712321"/>
                  <a:gd name="connsiteY122" fmla="*/ 2506414 h 2673102"/>
                  <a:gd name="connsiteX123" fmla="*/ 212133 w 1712321"/>
                  <a:gd name="connsiteY123" fmla="*/ 2492127 h 2673102"/>
                  <a:gd name="connsiteX124" fmla="*/ 154983 w 1712321"/>
                  <a:gd name="connsiteY124" fmla="*/ 2439739 h 2673102"/>
                  <a:gd name="connsiteX125" fmla="*/ 150221 w 1712321"/>
                  <a:gd name="connsiteY125" fmla="*/ 2415927 h 2673102"/>
                  <a:gd name="connsiteX126" fmla="*/ 135933 w 1712321"/>
                  <a:gd name="connsiteY126" fmla="*/ 2358777 h 2673102"/>
                  <a:gd name="connsiteX127" fmla="*/ 121646 w 1712321"/>
                  <a:gd name="connsiteY127" fmla="*/ 2315914 h 2673102"/>
                  <a:gd name="connsiteX128" fmla="*/ 107358 w 1712321"/>
                  <a:gd name="connsiteY128" fmla="*/ 2258764 h 2673102"/>
                  <a:gd name="connsiteX129" fmla="*/ 102596 w 1712321"/>
                  <a:gd name="connsiteY129" fmla="*/ 2234952 h 2673102"/>
                  <a:gd name="connsiteX130" fmla="*/ 93071 w 1712321"/>
                  <a:gd name="connsiteY130" fmla="*/ 2211139 h 2673102"/>
                  <a:gd name="connsiteX131" fmla="*/ 88308 w 1712321"/>
                  <a:gd name="connsiteY131" fmla="*/ 2187327 h 2673102"/>
                  <a:gd name="connsiteX132" fmla="*/ 78783 w 1712321"/>
                  <a:gd name="connsiteY132" fmla="*/ 2111127 h 2673102"/>
                  <a:gd name="connsiteX133" fmla="*/ 97833 w 1712321"/>
                  <a:gd name="connsiteY133" fmla="*/ 1944439 h 2673102"/>
                  <a:gd name="connsiteX134" fmla="*/ 107358 w 1712321"/>
                  <a:gd name="connsiteY134" fmla="*/ 1930152 h 2673102"/>
                  <a:gd name="connsiteX135" fmla="*/ 126408 w 1712321"/>
                  <a:gd name="connsiteY135" fmla="*/ 1901577 h 2673102"/>
                  <a:gd name="connsiteX136" fmla="*/ 135933 w 1712321"/>
                  <a:gd name="connsiteY136" fmla="*/ 1868239 h 2673102"/>
                  <a:gd name="connsiteX137" fmla="*/ 131171 w 1712321"/>
                  <a:gd name="connsiteY137" fmla="*/ 1825377 h 2673102"/>
                  <a:gd name="connsiteX138" fmla="*/ 112121 w 1712321"/>
                  <a:gd name="connsiteY138" fmla="*/ 1820614 h 2673102"/>
                  <a:gd name="connsiteX139" fmla="*/ 102596 w 1712321"/>
                  <a:gd name="connsiteY139" fmla="*/ 1806327 h 2673102"/>
                  <a:gd name="connsiteX140" fmla="*/ 145458 w 1712321"/>
                  <a:gd name="connsiteY140" fmla="*/ 1720602 h 2673102"/>
                  <a:gd name="connsiteX141" fmla="*/ 159746 w 1712321"/>
                  <a:gd name="connsiteY141" fmla="*/ 1715839 h 2673102"/>
                  <a:gd name="connsiteX142" fmla="*/ 174033 w 1712321"/>
                  <a:gd name="connsiteY142" fmla="*/ 1696789 h 2673102"/>
                  <a:gd name="connsiteX143" fmla="*/ 188321 w 1712321"/>
                  <a:gd name="connsiteY143" fmla="*/ 1687264 h 2673102"/>
                  <a:gd name="connsiteX144" fmla="*/ 202608 w 1712321"/>
                  <a:gd name="connsiteY144" fmla="*/ 1653927 h 2673102"/>
                  <a:gd name="connsiteX145" fmla="*/ 193083 w 1712321"/>
                  <a:gd name="connsiteY145" fmla="*/ 1606302 h 2673102"/>
                  <a:gd name="connsiteX146" fmla="*/ 164508 w 1712321"/>
                  <a:gd name="connsiteY146" fmla="*/ 1596777 h 2673102"/>
                  <a:gd name="connsiteX147" fmla="*/ 154983 w 1712321"/>
                  <a:gd name="connsiteY147" fmla="*/ 1549152 h 2673102"/>
                  <a:gd name="connsiteX148" fmla="*/ 150221 w 1712321"/>
                  <a:gd name="connsiteY148" fmla="*/ 1411039 h 2673102"/>
                  <a:gd name="connsiteX149" fmla="*/ 140696 w 1712321"/>
                  <a:gd name="connsiteY149" fmla="*/ 1377702 h 2673102"/>
                  <a:gd name="connsiteX150" fmla="*/ 121646 w 1712321"/>
                  <a:gd name="connsiteY150" fmla="*/ 1311027 h 2673102"/>
                  <a:gd name="connsiteX151" fmla="*/ 116883 w 1712321"/>
                  <a:gd name="connsiteY151" fmla="*/ 1258639 h 2673102"/>
                  <a:gd name="connsiteX152" fmla="*/ 107358 w 1712321"/>
                  <a:gd name="connsiteY152" fmla="*/ 1244352 h 2673102"/>
                  <a:gd name="connsiteX153" fmla="*/ 93071 w 1712321"/>
                  <a:gd name="connsiteY153" fmla="*/ 1196727 h 2673102"/>
                  <a:gd name="connsiteX154" fmla="*/ 78783 w 1712321"/>
                  <a:gd name="connsiteY154" fmla="*/ 1177677 h 2673102"/>
                  <a:gd name="connsiteX155" fmla="*/ 59733 w 1712321"/>
                  <a:gd name="connsiteY155" fmla="*/ 1139577 h 2673102"/>
                  <a:gd name="connsiteX156" fmla="*/ 50208 w 1712321"/>
                  <a:gd name="connsiteY156" fmla="*/ 1111002 h 2673102"/>
                  <a:gd name="connsiteX157" fmla="*/ 45446 w 1712321"/>
                  <a:gd name="connsiteY157" fmla="*/ 1096714 h 2673102"/>
                  <a:gd name="connsiteX158" fmla="*/ 21633 w 1712321"/>
                  <a:gd name="connsiteY158" fmla="*/ 1025277 h 2673102"/>
                  <a:gd name="connsiteX159" fmla="*/ 202 w 1712321"/>
                  <a:gd name="connsiteY159" fmla="*/ 980033 h 2673102"/>
                  <a:gd name="connsiteX160" fmla="*/ 14490 w 1712321"/>
                  <a:gd name="connsiteY160" fmla="*/ 930027 h 2673102"/>
                  <a:gd name="connsiteX161" fmla="*/ 69259 w 1712321"/>
                  <a:gd name="connsiteY161" fmla="*/ 810964 h 2673102"/>
                  <a:gd name="connsiteX162" fmla="*/ 221658 w 1712321"/>
                  <a:gd name="connsiteY162" fmla="*/ 601414 h 2673102"/>
                  <a:gd name="connsiteX163" fmla="*/ 288333 w 1712321"/>
                  <a:gd name="connsiteY163" fmla="*/ 515689 h 2673102"/>
                  <a:gd name="connsiteX164" fmla="*/ 412158 w 1712321"/>
                  <a:gd name="connsiteY164" fmla="*/ 406152 h 2673102"/>
                  <a:gd name="connsiteX165" fmla="*/ 535983 w 1712321"/>
                  <a:gd name="connsiteY165" fmla="*/ 291851 h 2673102"/>
                  <a:gd name="connsiteX166" fmla="*/ 640758 w 1712321"/>
                  <a:gd name="connsiteY166" fmla="*/ 229939 h 2673102"/>
                  <a:gd name="connsiteX167" fmla="*/ 733628 w 1712321"/>
                  <a:gd name="connsiteY167" fmla="*/ 168026 h 2673102"/>
                  <a:gd name="connsiteX168" fmla="*/ 978896 w 1712321"/>
                  <a:gd name="connsiteY168" fmla="*/ 63251 h 2673102"/>
                  <a:gd name="connsiteX169" fmla="*/ 1159871 w 1712321"/>
                  <a:gd name="connsiteY169" fmla="*/ 6102 h 2673102"/>
                  <a:gd name="connsiteX170" fmla="*/ 1202733 w 1712321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08284"/>
                  <a:gd name="connsiteY0" fmla="*/ 10864 h 2673102"/>
                  <a:gd name="connsiteX1" fmla="*/ 1197971 w 1708284"/>
                  <a:gd name="connsiteY1" fmla="*/ 68014 h 2673102"/>
                  <a:gd name="connsiteX2" fmla="*/ 1174158 w 1708284"/>
                  <a:gd name="connsiteY2" fmla="*/ 110877 h 2673102"/>
                  <a:gd name="connsiteX3" fmla="*/ 1164633 w 1708284"/>
                  <a:gd name="connsiteY3" fmla="*/ 129927 h 2673102"/>
                  <a:gd name="connsiteX4" fmla="*/ 1164633 w 1708284"/>
                  <a:gd name="connsiteY4" fmla="*/ 206127 h 2673102"/>
                  <a:gd name="connsiteX5" fmla="*/ 1183683 w 1708284"/>
                  <a:gd name="connsiteY5" fmla="*/ 225177 h 2673102"/>
                  <a:gd name="connsiteX6" fmla="*/ 1202733 w 1708284"/>
                  <a:gd name="connsiteY6" fmla="*/ 258514 h 2673102"/>
                  <a:gd name="connsiteX7" fmla="*/ 1221783 w 1708284"/>
                  <a:gd name="connsiteY7" fmla="*/ 268039 h 2673102"/>
                  <a:gd name="connsiteX8" fmla="*/ 1231308 w 1708284"/>
                  <a:gd name="connsiteY8" fmla="*/ 282327 h 2673102"/>
                  <a:gd name="connsiteX9" fmla="*/ 1245596 w 1708284"/>
                  <a:gd name="connsiteY9" fmla="*/ 296614 h 2673102"/>
                  <a:gd name="connsiteX10" fmla="*/ 1255121 w 1708284"/>
                  <a:gd name="connsiteY10" fmla="*/ 315664 h 2673102"/>
                  <a:gd name="connsiteX11" fmla="*/ 1250358 w 1708284"/>
                  <a:gd name="connsiteY11" fmla="*/ 344239 h 2673102"/>
                  <a:gd name="connsiteX12" fmla="*/ 1245596 w 1708284"/>
                  <a:gd name="connsiteY12" fmla="*/ 363289 h 2673102"/>
                  <a:gd name="connsiteX13" fmla="*/ 1250358 w 1708284"/>
                  <a:gd name="connsiteY13" fmla="*/ 425202 h 2673102"/>
                  <a:gd name="connsiteX14" fmla="*/ 1269408 w 1708284"/>
                  <a:gd name="connsiteY14" fmla="*/ 463302 h 2673102"/>
                  <a:gd name="connsiteX15" fmla="*/ 1278933 w 1708284"/>
                  <a:gd name="connsiteY15" fmla="*/ 477589 h 2673102"/>
                  <a:gd name="connsiteX16" fmla="*/ 1293221 w 1708284"/>
                  <a:gd name="connsiteY16" fmla="*/ 487114 h 2673102"/>
                  <a:gd name="connsiteX17" fmla="*/ 1350371 w 1708284"/>
                  <a:gd name="connsiteY17" fmla="*/ 510927 h 2673102"/>
                  <a:gd name="connsiteX18" fmla="*/ 1378946 w 1708284"/>
                  <a:gd name="connsiteY18" fmla="*/ 520452 h 2673102"/>
                  <a:gd name="connsiteX19" fmla="*/ 1407521 w 1708284"/>
                  <a:gd name="connsiteY19" fmla="*/ 539502 h 2673102"/>
                  <a:gd name="connsiteX20" fmla="*/ 1469433 w 1708284"/>
                  <a:gd name="connsiteY20" fmla="*/ 568077 h 2673102"/>
                  <a:gd name="connsiteX21" fmla="*/ 1521821 w 1708284"/>
                  <a:gd name="connsiteY21" fmla="*/ 587127 h 2673102"/>
                  <a:gd name="connsiteX22" fmla="*/ 1540871 w 1708284"/>
                  <a:gd name="connsiteY22" fmla="*/ 596652 h 2673102"/>
                  <a:gd name="connsiteX23" fmla="*/ 1559921 w 1708284"/>
                  <a:gd name="connsiteY23" fmla="*/ 601414 h 2673102"/>
                  <a:gd name="connsiteX24" fmla="*/ 1607546 w 1708284"/>
                  <a:gd name="connsiteY24" fmla="*/ 639514 h 2673102"/>
                  <a:gd name="connsiteX25" fmla="*/ 1636121 w 1708284"/>
                  <a:gd name="connsiteY25" fmla="*/ 672852 h 2673102"/>
                  <a:gd name="connsiteX26" fmla="*/ 1650408 w 1708284"/>
                  <a:gd name="connsiteY26" fmla="*/ 687139 h 2673102"/>
                  <a:gd name="connsiteX27" fmla="*/ 1669458 w 1708284"/>
                  <a:gd name="connsiteY27" fmla="*/ 696664 h 2673102"/>
                  <a:gd name="connsiteX28" fmla="*/ 1683746 w 1708284"/>
                  <a:gd name="connsiteY28" fmla="*/ 706189 h 2673102"/>
                  <a:gd name="connsiteX29" fmla="*/ 1698033 w 1708284"/>
                  <a:gd name="connsiteY29" fmla="*/ 744289 h 2673102"/>
                  <a:gd name="connsiteX30" fmla="*/ 1707558 w 1708284"/>
                  <a:gd name="connsiteY30" fmla="*/ 768102 h 2673102"/>
                  <a:gd name="connsiteX31" fmla="*/ 1702796 w 1708284"/>
                  <a:gd name="connsiteY31" fmla="*/ 853827 h 2673102"/>
                  <a:gd name="connsiteX32" fmla="*/ 1664696 w 1708284"/>
                  <a:gd name="connsiteY32" fmla="*/ 887164 h 2673102"/>
                  <a:gd name="connsiteX33" fmla="*/ 1650408 w 1708284"/>
                  <a:gd name="connsiteY33" fmla="*/ 901452 h 2673102"/>
                  <a:gd name="connsiteX34" fmla="*/ 1598021 w 1708284"/>
                  <a:gd name="connsiteY34" fmla="*/ 906214 h 2673102"/>
                  <a:gd name="connsiteX35" fmla="*/ 1555158 w 1708284"/>
                  <a:gd name="connsiteY35" fmla="*/ 925264 h 2673102"/>
                  <a:gd name="connsiteX36" fmla="*/ 1531346 w 1708284"/>
                  <a:gd name="connsiteY36" fmla="*/ 939552 h 2673102"/>
                  <a:gd name="connsiteX37" fmla="*/ 1498008 w 1708284"/>
                  <a:gd name="connsiteY37" fmla="*/ 987177 h 2673102"/>
                  <a:gd name="connsiteX38" fmla="*/ 1345608 w 1708284"/>
                  <a:gd name="connsiteY38" fmla="*/ 1030039 h 2673102"/>
                  <a:gd name="connsiteX39" fmla="*/ 1297983 w 1708284"/>
                  <a:gd name="connsiteY39" fmla="*/ 1053852 h 2673102"/>
                  <a:gd name="connsiteX40" fmla="*/ 1231308 w 1708284"/>
                  <a:gd name="connsiteY40" fmla="*/ 1082427 h 2673102"/>
                  <a:gd name="connsiteX41" fmla="*/ 1126533 w 1708284"/>
                  <a:gd name="connsiteY41" fmla="*/ 1096714 h 2673102"/>
                  <a:gd name="connsiteX42" fmla="*/ 1102721 w 1708284"/>
                  <a:gd name="connsiteY42" fmla="*/ 1101477 h 2673102"/>
                  <a:gd name="connsiteX43" fmla="*/ 1078908 w 1708284"/>
                  <a:gd name="connsiteY43" fmla="*/ 1111002 h 2673102"/>
                  <a:gd name="connsiteX44" fmla="*/ 964608 w 1708284"/>
                  <a:gd name="connsiteY44" fmla="*/ 1106239 h 2673102"/>
                  <a:gd name="connsiteX45" fmla="*/ 859833 w 1708284"/>
                  <a:gd name="connsiteY45" fmla="*/ 1058614 h 2673102"/>
                  <a:gd name="connsiteX46" fmla="*/ 812208 w 1708284"/>
                  <a:gd name="connsiteY46" fmla="*/ 1034802 h 2673102"/>
                  <a:gd name="connsiteX47" fmla="*/ 788396 w 1708284"/>
                  <a:gd name="connsiteY47" fmla="*/ 1020514 h 2673102"/>
                  <a:gd name="connsiteX48" fmla="*/ 769346 w 1708284"/>
                  <a:gd name="connsiteY48" fmla="*/ 1006227 h 2673102"/>
                  <a:gd name="connsiteX49" fmla="*/ 678858 w 1708284"/>
                  <a:gd name="connsiteY49" fmla="*/ 958602 h 2673102"/>
                  <a:gd name="connsiteX50" fmla="*/ 645521 w 1708284"/>
                  <a:gd name="connsiteY50" fmla="*/ 939552 h 2673102"/>
                  <a:gd name="connsiteX51" fmla="*/ 526458 w 1708284"/>
                  <a:gd name="connsiteY51" fmla="*/ 910977 h 2673102"/>
                  <a:gd name="connsiteX52" fmla="*/ 483596 w 1708284"/>
                  <a:gd name="connsiteY52" fmla="*/ 891927 h 2673102"/>
                  <a:gd name="connsiteX53" fmla="*/ 421683 w 1708284"/>
                  <a:gd name="connsiteY53" fmla="*/ 882402 h 2673102"/>
                  <a:gd name="connsiteX54" fmla="*/ 321671 w 1708284"/>
                  <a:gd name="connsiteY54" fmla="*/ 896689 h 2673102"/>
                  <a:gd name="connsiteX55" fmla="*/ 307383 w 1708284"/>
                  <a:gd name="connsiteY55" fmla="*/ 910977 h 2673102"/>
                  <a:gd name="connsiteX56" fmla="*/ 283571 w 1708284"/>
                  <a:gd name="connsiteY56" fmla="*/ 949077 h 2673102"/>
                  <a:gd name="connsiteX57" fmla="*/ 269283 w 1708284"/>
                  <a:gd name="connsiteY57" fmla="*/ 987177 h 2673102"/>
                  <a:gd name="connsiteX58" fmla="*/ 264521 w 1708284"/>
                  <a:gd name="connsiteY58" fmla="*/ 1039564 h 2673102"/>
                  <a:gd name="connsiteX59" fmla="*/ 264521 w 1708284"/>
                  <a:gd name="connsiteY59" fmla="*/ 1120527 h 2673102"/>
                  <a:gd name="connsiteX60" fmla="*/ 297858 w 1708284"/>
                  <a:gd name="connsiteY60" fmla="*/ 1153864 h 2673102"/>
                  <a:gd name="connsiteX61" fmla="*/ 326433 w 1708284"/>
                  <a:gd name="connsiteY61" fmla="*/ 1163389 h 2673102"/>
                  <a:gd name="connsiteX62" fmla="*/ 326433 w 1708284"/>
                  <a:gd name="connsiteY62" fmla="*/ 1244352 h 2673102"/>
                  <a:gd name="connsiteX63" fmla="*/ 312146 w 1708284"/>
                  <a:gd name="connsiteY63" fmla="*/ 1258639 h 2673102"/>
                  <a:gd name="connsiteX64" fmla="*/ 259758 w 1708284"/>
                  <a:gd name="connsiteY64" fmla="*/ 1296739 h 2673102"/>
                  <a:gd name="connsiteX65" fmla="*/ 240708 w 1708284"/>
                  <a:gd name="connsiteY65" fmla="*/ 1325314 h 2673102"/>
                  <a:gd name="connsiteX66" fmla="*/ 250233 w 1708284"/>
                  <a:gd name="connsiteY66" fmla="*/ 1425327 h 2673102"/>
                  <a:gd name="connsiteX67" fmla="*/ 278808 w 1708284"/>
                  <a:gd name="connsiteY67" fmla="*/ 1472952 h 2673102"/>
                  <a:gd name="connsiteX68" fmla="*/ 293096 w 1708284"/>
                  <a:gd name="connsiteY68" fmla="*/ 1492002 h 2673102"/>
                  <a:gd name="connsiteX69" fmla="*/ 383583 w 1708284"/>
                  <a:gd name="connsiteY69" fmla="*/ 1525339 h 2673102"/>
                  <a:gd name="connsiteX70" fmla="*/ 407396 w 1708284"/>
                  <a:gd name="connsiteY70" fmla="*/ 1492002 h 2673102"/>
                  <a:gd name="connsiteX71" fmla="*/ 412158 w 1708284"/>
                  <a:gd name="connsiteY71" fmla="*/ 1468189 h 2673102"/>
                  <a:gd name="connsiteX72" fmla="*/ 416921 w 1708284"/>
                  <a:gd name="connsiteY72" fmla="*/ 1449139 h 2673102"/>
                  <a:gd name="connsiteX73" fmla="*/ 445496 w 1708284"/>
                  <a:gd name="connsiteY73" fmla="*/ 1439614 h 2673102"/>
                  <a:gd name="connsiteX74" fmla="*/ 545508 w 1708284"/>
                  <a:gd name="connsiteY74" fmla="*/ 1458664 h 2673102"/>
                  <a:gd name="connsiteX75" fmla="*/ 555033 w 1708284"/>
                  <a:gd name="connsiteY75" fmla="*/ 1482477 h 2673102"/>
                  <a:gd name="connsiteX76" fmla="*/ 564558 w 1708284"/>
                  <a:gd name="connsiteY76" fmla="*/ 1515814 h 2673102"/>
                  <a:gd name="connsiteX77" fmla="*/ 550271 w 1708284"/>
                  <a:gd name="connsiteY77" fmla="*/ 1534864 h 2673102"/>
                  <a:gd name="connsiteX78" fmla="*/ 550271 w 1708284"/>
                  <a:gd name="connsiteY78" fmla="*/ 1601539 h 2673102"/>
                  <a:gd name="connsiteX79" fmla="*/ 559796 w 1708284"/>
                  <a:gd name="connsiteY79" fmla="*/ 1620589 h 2673102"/>
                  <a:gd name="connsiteX80" fmla="*/ 626471 w 1708284"/>
                  <a:gd name="connsiteY80" fmla="*/ 1639639 h 2673102"/>
                  <a:gd name="connsiteX81" fmla="*/ 645521 w 1708284"/>
                  <a:gd name="connsiteY81" fmla="*/ 1592014 h 2673102"/>
                  <a:gd name="connsiteX82" fmla="*/ 702671 w 1708284"/>
                  <a:gd name="connsiteY82" fmla="*/ 1620589 h 2673102"/>
                  <a:gd name="connsiteX83" fmla="*/ 731246 w 1708284"/>
                  <a:gd name="connsiteY83" fmla="*/ 1630114 h 2673102"/>
                  <a:gd name="connsiteX84" fmla="*/ 783633 w 1708284"/>
                  <a:gd name="connsiteY84" fmla="*/ 1663452 h 2673102"/>
                  <a:gd name="connsiteX85" fmla="*/ 859833 w 1708284"/>
                  <a:gd name="connsiteY85" fmla="*/ 1687264 h 2673102"/>
                  <a:gd name="connsiteX86" fmla="*/ 878883 w 1708284"/>
                  <a:gd name="connsiteY86" fmla="*/ 1701552 h 2673102"/>
                  <a:gd name="connsiteX87" fmla="*/ 888408 w 1708284"/>
                  <a:gd name="connsiteY87" fmla="*/ 1739652 h 2673102"/>
                  <a:gd name="connsiteX88" fmla="*/ 897933 w 1708284"/>
                  <a:gd name="connsiteY88" fmla="*/ 1782514 h 2673102"/>
                  <a:gd name="connsiteX89" fmla="*/ 940796 w 1708284"/>
                  <a:gd name="connsiteY89" fmla="*/ 1892052 h 2673102"/>
                  <a:gd name="connsiteX90" fmla="*/ 950321 w 1708284"/>
                  <a:gd name="connsiteY90" fmla="*/ 1906339 h 2673102"/>
                  <a:gd name="connsiteX91" fmla="*/ 959846 w 1708284"/>
                  <a:gd name="connsiteY91" fmla="*/ 1939677 h 2673102"/>
                  <a:gd name="connsiteX92" fmla="*/ 974133 w 1708284"/>
                  <a:gd name="connsiteY92" fmla="*/ 1977777 h 2673102"/>
                  <a:gd name="connsiteX93" fmla="*/ 964608 w 1708284"/>
                  <a:gd name="connsiteY93" fmla="*/ 2082552 h 2673102"/>
                  <a:gd name="connsiteX94" fmla="*/ 955083 w 1708284"/>
                  <a:gd name="connsiteY94" fmla="*/ 2101602 h 2673102"/>
                  <a:gd name="connsiteX95" fmla="*/ 926508 w 1708284"/>
                  <a:gd name="connsiteY95" fmla="*/ 2144464 h 2673102"/>
                  <a:gd name="connsiteX96" fmla="*/ 907458 w 1708284"/>
                  <a:gd name="connsiteY96" fmla="*/ 2192089 h 2673102"/>
                  <a:gd name="connsiteX97" fmla="*/ 902696 w 1708284"/>
                  <a:gd name="connsiteY97" fmla="*/ 2211139 h 2673102"/>
                  <a:gd name="connsiteX98" fmla="*/ 893171 w 1708284"/>
                  <a:gd name="connsiteY98" fmla="*/ 2239714 h 2673102"/>
                  <a:gd name="connsiteX99" fmla="*/ 897933 w 1708284"/>
                  <a:gd name="connsiteY99" fmla="*/ 2287339 h 2673102"/>
                  <a:gd name="connsiteX100" fmla="*/ 893171 w 1708284"/>
                  <a:gd name="connsiteY100" fmla="*/ 2396877 h 2673102"/>
                  <a:gd name="connsiteX101" fmla="*/ 688383 w 1708284"/>
                  <a:gd name="connsiteY101" fmla="*/ 2449264 h 2673102"/>
                  <a:gd name="connsiteX102" fmla="*/ 655046 w 1708284"/>
                  <a:gd name="connsiteY102" fmla="*/ 2473077 h 2673102"/>
                  <a:gd name="connsiteX103" fmla="*/ 607421 w 1708284"/>
                  <a:gd name="connsiteY103" fmla="*/ 2511177 h 2673102"/>
                  <a:gd name="connsiteX104" fmla="*/ 574083 w 1708284"/>
                  <a:gd name="connsiteY104" fmla="*/ 2534989 h 2673102"/>
                  <a:gd name="connsiteX105" fmla="*/ 540746 w 1708284"/>
                  <a:gd name="connsiteY105" fmla="*/ 2554039 h 2673102"/>
                  <a:gd name="connsiteX106" fmla="*/ 497883 w 1708284"/>
                  <a:gd name="connsiteY106" fmla="*/ 2587377 h 2673102"/>
                  <a:gd name="connsiteX107" fmla="*/ 483596 w 1708284"/>
                  <a:gd name="connsiteY107" fmla="*/ 2601664 h 2673102"/>
                  <a:gd name="connsiteX108" fmla="*/ 459783 w 1708284"/>
                  <a:gd name="connsiteY108" fmla="*/ 2620714 h 2673102"/>
                  <a:gd name="connsiteX109" fmla="*/ 450258 w 1708284"/>
                  <a:gd name="connsiteY109" fmla="*/ 2635002 h 2673102"/>
                  <a:gd name="connsiteX110" fmla="*/ 416921 w 1708284"/>
                  <a:gd name="connsiteY110" fmla="*/ 2654052 h 2673102"/>
                  <a:gd name="connsiteX111" fmla="*/ 374058 w 1708284"/>
                  <a:gd name="connsiteY111" fmla="*/ 2673102 h 2673102"/>
                  <a:gd name="connsiteX112" fmla="*/ 359771 w 1708284"/>
                  <a:gd name="connsiteY112" fmla="*/ 2663577 h 2673102"/>
                  <a:gd name="connsiteX113" fmla="*/ 345483 w 1708284"/>
                  <a:gd name="connsiteY113" fmla="*/ 2635002 h 2673102"/>
                  <a:gd name="connsiteX114" fmla="*/ 335958 w 1708284"/>
                  <a:gd name="connsiteY114" fmla="*/ 2620714 h 2673102"/>
                  <a:gd name="connsiteX115" fmla="*/ 297858 w 1708284"/>
                  <a:gd name="connsiteY115" fmla="*/ 2611189 h 2673102"/>
                  <a:gd name="connsiteX116" fmla="*/ 278808 w 1708284"/>
                  <a:gd name="connsiteY116" fmla="*/ 2592139 h 2673102"/>
                  <a:gd name="connsiteX117" fmla="*/ 274046 w 1708284"/>
                  <a:gd name="connsiteY117" fmla="*/ 2573089 h 2673102"/>
                  <a:gd name="connsiteX118" fmla="*/ 235946 w 1708284"/>
                  <a:gd name="connsiteY118" fmla="*/ 2539752 h 2673102"/>
                  <a:gd name="connsiteX119" fmla="*/ 231183 w 1708284"/>
                  <a:gd name="connsiteY119" fmla="*/ 2525464 h 2673102"/>
                  <a:gd name="connsiteX120" fmla="*/ 226421 w 1708284"/>
                  <a:gd name="connsiteY120" fmla="*/ 2506414 h 2673102"/>
                  <a:gd name="connsiteX121" fmla="*/ 212133 w 1708284"/>
                  <a:gd name="connsiteY121" fmla="*/ 2492127 h 2673102"/>
                  <a:gd name="connsiteX122" fmla="*/ 154983 w 1708284"/>
                  <a:gd name="connsiteY122" fmla="*/ 2439739 h 2673102"/>
                  <a:gd name="connsiteX123" fmla="*/ 150221 w 1708284"/>
                  <a:gd name="connsiteY123" fmla="*/ 2415927 h 2673102"/>
                  <a:gd name="connsiteX124" fmla="*/ 135933 w 1708284"/>
                  <a:gd name="connsiteY124" fmla="*/ 2358777 h 2673102"/>
                  <a:gd name="connsiteX125" fmla="*/ 121646 w 1708284"/>
                  <a:gd name="connsiteY125" fmla="*/ 2315914 h 2673102"/>
                  <a:gd name="connsiteX126" fmla="*/ 107358 w 1708284"/>
                  <a:gd name="connsiteY126" fmla="*/ 2258764 h 2673102"/>
                  <a:gd name="connsiteX127" fmla="*/ 102596 w 1708284"/>
                  <a:gd name="connsiteY127" fmla="*/ 2234952 h 2673102"/>
                  <a:gd name="connsiteX128" fmla="*/ 93071 w 1708284"/>
                  <a:gd name="connsiteY128" fmla="*/ 2211139 h 2673102"/>
                  <a:gd name="connsiteX129" fmla="*/ 88308 w 1708284"/>
                  <a:gd name="connsiteY129" fmla="*/ 2187327 h 2673102"/>
                  <a:gd name="connsiteX130" fmla="*/ 78783 w 1708284"/>
                  <a:gd name="connsiteY130" fmla="*/ 2111127 h 2673102"/>
                  <a:gd name="connsiteX131" fmla="*/ 97833 w 1708284"/>
                  <a:gd name="connsiteY131" fmla="*/ 1944439 h 2673102"/>
                  <a:gd name="connsiteX132" fmla="*/ 107358 w 1708284"/>
                  <a:gd name="connsiteY132" fmla="*/ 1930152 h 2673102"/>
                  <a:gd name="connsiteX133" fmla="*/ 126408 w 1708284"/>
                  <a:gd name="connsiteY133" fmla="*/ 1901577 h 2673102"/>
                  <a:gd name="connsiteX134" fmla="*/ 135933 w 1708284"/>
                  <a:gd name="connsiteY134" fmla="*/ 1868239 h 2673102"/>
                  <a:gd name="connsiteX135" fmla="*/ 131171 w 1708284"/>
                  <a:gd name="connsiteY135" fmla="*/ 1825377 h 2673102"/>
                  <a:gd name="connsiteX136" fmla="*/ 112121 w 1708284"/>
                  <a:gd name="connsiteY136" fmla="*/ 1820614 h 2673102"/>
                  <a:gd name="connsiteX137" fmla="*/ 102596 w 1708284"/>
                  <a:gd name="connsiteY137" fmla="*/ 1806327 h 2673102"/>
                  <a:gd name="connsiteX138" fmla="*/ 145458 w 1708284"/>
                  <a:gd name="connsiteY138" fmla="*/ 1720602 h 2673102"/>
                  <a:gd name="connsiteX139" fmla="*/ 159746 w 1708284"/>
                  <a:gd name="connsiteY139" fmla="*/ 1715839 h 2673102"/>
                  <a:gd name="connsiteX140" fmla="*/ 174033 w 1708284"/>
                  <a:gd name="connsiteY140" fmla="*/ 1696789 h 2673102"/>
                  <a:gd name="connsiteX141" fmla="*/ 188321 w 1708284"/>
                  <a:gd name="connsiteY141" fmla="*/ 1687264 h 2673102"/>
                  <a:gd name="connsiteX142" fmla="*/ 202608 w 1708284"/>
                  <a:gd name="connsiteY142" fmla="*/ 1653927 h 2673102"/>
                  <a:gd name="connsiteX143" fmla="*/ 193083 w 1708284"/>
                  <a:gd name="connsiteY143" fmla="*/ 1606302 h 2673102"/>
                  <a:gd name="connsiteX144" fmla="*/ 164508 w 1708284"/>
                  <a:gd name="connsiteY144" fmla="*/ 1596777 h 2673102"/>
                  <a:gd name="connsiteX145" fmla="*/ 154983 w 1708284"/>
                  <a:gd name="connsiteY145" fmla="*/ 1549152 h 2673102"/>
                  <a:gd name="connsiteX146" fmla="*/ 150221 w 1708284"/>
                  <a:gd name="connsiteY146" fmla="*/ 1411039 h 2673102"/>
                  <a:gd name="connsiteX147" fmla="*/ 140696 w 1708284"/>
                  <a:gd name="connsiteY147" fmla="*/ 1377702 h 2673102"/>
                  <a:gd name="connsiteX148" fmla="*/ 121646 w 1708284"/>
                  <a:gd name="connsiteY148" fmla="*/ 1311027 h 2673102"/>
                  <a:gd name="connsiteX149" fmla="*/ 116883 w 1708284"/>
                  <a:gd name="connsiteY149" fmla="*/ 1258639 h 2673102"/>
                  <a:gd name="connsiteX150" fmla="*/ 107358 w 1708284"/>
                  <a:gd name="connsiteY150" fmla="*/ 1244352 h 2673102"/>
                  <a:gd name="connsiteX151" fmla="*/ 93071 w 1708284"/>
                  <a:gd name="connsiteY151" fmla="*/ 1196727 h 2673102"/>
                  <a:gd name="connsiteX152" fmla="*/ 78783 w 1708284"/>
                  <a:gd name="connsiteY152" fmla="*/ 1177677 h 2673102"/>
                  <a:gd name="connsiteX153" fmla="*/ 59733 w 1708284"/>
                  <a:gd name="connsiteY153" fmla="*/ 1139577 h 2673102"/>
                  <a:gd name="connsiteX154" fmla="*/ 50208 w 1708284"/>
                  <a:gd name="connsiteY154" fmla="*/ 1111002 h 2673102"/>
                  <a:gd name="connsiteX155" fmla="*/ 45446 w 1708284"/>
                  <a:gd name="connsiteY155" fmla="*/ 1096714 h 2673102"/>
                  <a:gd name="connsiteX156" fmla="*/ 21633 w 1708284"/>
                  <a:gd name="connsiteY156" fmla="*/ 1025277 h 2673102"/>
                  <a:gd name="connsiteX157" fmla="*/ 202 w 1708284"/>
                  <a:gd name="connsiteY157" fmla="*/ 980033 h 2673102"/>
                  <a:gd name="connsiteX158" fmla="*/ 14490 w 1708284"/>
                  <a:gd name="connsiteY158" fmla="*/ 930027 h 2673102"/>
                  <a:gd name="connsiteX159" fmla="*/ 69259 w 1708284"/>
                  <a:gd name="connsiteY159" fmla="*/ 810964 h 2673102"/>
                  <a:gd name="connsiteX160" fmla="*/ 221658 w 1708284"/>
                  <a:gd name="connsiteY160" fmla="*/ 601414 h 2673102"/>
                  <a:gd name="connsiteX161" fmla="*/ 288333 w 1708284"/>
                  <a:gd name="connsiteY161" fmla="*/ 515689 h 2673102"/>
                  <a:gd name="connsiteX162" fmla="*/ 412158 w 1708284"/>
                  <a:gd name="connsiteY162" fmla="*/ 406152 h 2673102"/>
                  <a:gd name="connsiteX163" fmla="*/ 535983 w 1708284"/>
                  <a:gd name="connsiteY163" fmla="*/ 291851 h 2673102"/>
                  <a:gd name="connsiteX164" fmla="*/ 640758 w 1708284"/>
                  <a:gd name="connsiteY164" fmla="*/ 229939 h 2673102"/>
                  <a:gd name="connsiteX165" fmla="*/ 733628 w 1708284"/>
                  <a:gd name="connsiteY165" fmla="*/ 168026 h 2673102"/>
                  <a:gd name="connsiteX166" fmla="*/ 978896 w 1708284"/>
                  <a:gd name="connsiteY166" fmla="*/ 63251 h 2673102"/>
                  <a:gd name="connsiteX167" fmla="*/ 1159871 w 1708284"/>
                  <a:gd name="connsiteY167" fmla="*/ 6102 h 2673102"/>
                  <a:gd name="connsiteX168" fmla="*/ 1202733 w 1708284"/>
                  <a:gd name="connsiteY168" fmla="*/ 10864 h 2673102"/>
                  <a:gd name="connsiteX0" fmla="*/ 1202733 w 1704847"/>
                  <a:gd name="connsiteY0" fmla="*/ 10864 h 2673102"/>
                  <a:gd name="connsiteX1" fmla="*/ 1197971 w 1704847"/>
                  <a:gd name="connsiteY1" fmla="*/ 68014 h 2673102"/>
                  <a:gd name="connsiteX2" fmla="*/ 1174158 w 1704847"/>
                  <a:gd name="connsiteY2" fmla="*/ 110877 h 2673102"/>
                  <a:gd name="connsiteX3" fmla="*/ 1164633 w 1704847"/>
                  <a:gd name="connsiteY3" fmla="*/ 129927 h 2673102"/>
                  <a:gd name="connsiteX4" fmla="*/ 1164633 w 1704847"/>
                  <a:gd name="connsiteY4" fmla="*/ 206127 h 2673102"/>
                  <a:gd name="connsiteX5" fmla="*/ 1183683 w 1704847"/>
                  <a:gd name="connsiteY5" fmla="*/ 225177 h 2673102"/>
                  <a:gd name="connsiteX6" fmla="*/ 1202733 w 1704847"/>
                  <a:gd name="connsiteY6" fmla="*/ 258514 h 2673102"/>
                  <a:gd name="connsiteX7" fmla="*/ 1221783 w 1704847"/>
                  <a:gd name="connsiteY7" fmla="*/ 268039 h 2673102"/>
                  <a:gd name="connsiteX8" fmla="*/ 1231308 w 1704847"/>
                  <a:gd name="connsiteY8" fmla="*/ 282327 h 2673102"/>
                  <a:gd name="connsiteX9" fmla="*/ 1245596 w 1704847"/>
                  <a:gd name="connsiteY9" fmla="*/ 296614 h 2673102"/>
                  <a:gd name="connsiteX10" fmla="*/ 1255121 w 1704847"/>
                  <a:gd name="connsiteY10" fmla="*/ 315664 h 2673102"/>
                  <a:gd name="connsiteX11" fmla="*/ 1250358 w 1704847"/>
                  <a:gd name="connsiteY11" fmla="*/ 344239 h 2673102"/>
                  <a:gd name="connsiteX12" fmla="*/ 1245596 w 1704847"/>
                  <a:gd name="connsiteY12" fmla="*/ 363289 h 2673102"/>
                  <a:gd name="connsiteX13" fmla="*/ 1250358 w 1704847"/>
                  <a:gd name="connsiteY13" fmla="*/ 425202 h 2673102"/>
                  <a:gd name="connsiteX14" fmla="*/ 1269408 w 1704847"/>
                  <a:gd name="connsiteY14" fmla="*/ 463302 h 2673102"/>
                  <a:gd name="connsiteX15" fmla="*/ 1278933 w 1704847"/>
                  <a:gd name="connsiteY15" fmla="*/ 477589 h 2673102"/>
                  <a:gd name="connsiteX16" fmla="*/ 1293221 w 1704847"/>
                  <a:gd name="connsiteY16" fmla="*/ 487114 h 2673102"/>
                  <a:gd name="connsiteX17" fmla="*/ 1350371 w 1704847"/>
                  <a:gd name="connsiteY17" fmla="*/ 510927 h 2673102"/>
                  <a:gd name="connsiteX18" fmla="*/ 1378946 w 1704847"/>
                  <a:gd name="connsiteY18" fmla="*/ 520452 h 2673102"/>
                  <a:gd name="connsiteX19" fmla="*/ 1407521 w 1704847"/>
                  <a:gd name="connsiteY19" fmla="*/ 539502 h 2673102"/>
                  <a:gd name="connsiteX20" fmla="*/ 1469433 w 1704847"/>
                  <a:gd name="connsiteY20" fmla="*/ 568077 h 2673102"/>
                  <a:gd name="connsiteX21" fmla="*/ 1521821 w 1704847"/>
                  <a:gd name="connsiteY21" fmla="*/ 587127 h 2673102"/>
                  <a:gd name="connsiteX22" fmla="*/ 1540871 w 1704847"/>
                  <a:gd name="connsiteY22" fmla="*/ 596652 h 2673102"/>
                  <a:gd name="connsiteX23" fmla="*/ 1559921 w 1704847"/>
                  <a:gd name="connsiteY23" fmla="*/ 601414 h 2673102"/>
                  <a:gd name="connsiteX24" fmla="*/ 1607546 w 1704847"/>
                  <a:gd name="connsiteY24" fmla="*/ 639514 h 2673102"/>
                  <a:gd name="connsiteX25" fmla="*/ 1636121 w 1704847"/>
                  <a:gd name="connsiteY25" fmla="*/ 672852 h 2673102"/>
                  <a:gd name="connsiteX26" fmla="*/ 1650408 w 1704847"/>
                  <a:gd name="connsiteY26" fmla="*/ 687139 h 2673102"/>
                  <a:gd name="connsiteX27" fmla="*/ 1669458 w 1704847"/>
                  <a:gd name="connsiteY27" fmla="*/ 696664 h 2673102"/>
                  <a:gd name="connsiteX28" fmla="*/ 1683746 w 1704847"/>
                  <a:gd name="connsiteY28" fmla="*/ 706189 h 2673102"/>
                  <a:gd name="connsiteX29" fmla="*/ 1698033 w 1704847"/>
                  <a:gd name="connsiteY29" fmla="*/ 744289 h 2673102"/>
                  <a:gd name="connsiteX30" fmla="*/ 1702796 w 1704847"/>
                  <a:gd name="connsiteY30" fmla="*/ 853827 h 2673102"/>
                  <a:gd name="connsiteX31" fmla="*/ 1664696 w 1704847"/>
                  <a:gd name="connsiteY31" fmla="*/ 887164 h 2673102"/>
                  <a:gd name="connsiteX32" fmla="*/ 1650408 w 1704847"/>
                  <a:gd name="connsiteY32" fmla="*/ 901452 h 2673102"/>
                  <a:gd name="connsiteX33" fmla="*/ 1598021 w 1704847"/>
                  <a:gd name="connsiteY33" fmla="*/ 906214 h 2673102"/>
                  <a:gd name="connsiteX34" fmla="*/ 1555158 w 1704847"/>
                  <a:gd name="connsiteY34" fmla="*/ 925264 h 2673102"/>
                  <a:gd name="connsiteX35" fmla="*/ 1531346 w 1704847"/>
                  <a:gd name="connsiteY35" fmla="*/ 939552 h 2673102"/>
                  <a:gd name="connsiteX36" fmla="*/ 1498008 w 1704847"/>
                  <a:gd name="connsiteY36" fmla="*/ 987177 h 2673102"/>
                  <a:gd name="connsiteX37" fmla="*/ 1345608 w 1704847"/>
                  <a:gd name="connsiteY37" fmla="*/ 1030039 h 2673102"/>
                  <a:gd name="connsiteX38" fmla="*/ 1297983 w 1704847"/>
                  <a:gd name="connsiteY38" fmla="*/ 1053852 h 2673102"/>
                  <a:gd name="connsiteX39" fmla="*/ 1231308 w 1704847"/>
                  <a:gd name="connsiteY39" fmla="*/ 1082427 h 2673102"/>
                  <a:gd name="connsiteX40" fmla="*/ 1126533 w 1704847"/>
                  <a:gd name="connsiteY40" fmla="*/ 1096714 h 2673102"/>
                  <a:gd name="connsiteX41" fmla="*/ 1102721 w 1704847"/>
                  <a:gd name="connsiteY41" fmla="*/ 1101477 h 2673102"/>
                  <a:gd name="connsiteX42" fmla="*/ 1078908 w 1704847"/>
                  <a:gd name="connsiteY42" fmla="*/ 1111002 h 2673102"/>
                  <a:gd name="connsiteX43" fmla="*/ 964608 w 1704847"/>
                  <a:gd name="connsiteY43" fmla="*/ 1106239 h 2673102"/>
                  <a:gd name="connsiteX44" fmla="*/ 859833 w 1704847"/>
                  <a:gd name="connsiteY44" fmla="*/ 1058614 h 2673102"/>
                  <a:gd name="connsiteX45" fmla="*/ 812208 w 1704847"/>
                  <a:gd name="connsiteY45" fmla="*/ 1034802 h 2673102"/>
                  <a:gd name="connsiteX46" fmla="*/ 788396 w 1704847"/>
                  <a:gd name="connsiteY46" fmla="*/ 1020514 h 2673102"/>
                  <a:gd name="connsiteX47" fmla="*/ 769346 w 1704847"/>
                  <a:gd name="connsiteY47" fmla="*/ 1006227 h 2673102"/>
                  <a:gd name="connsiteX48" fmla="*/ 678858 w 1704847"/>
                  <a:gd name="connsiteY48" fmla="*/ 958602 h 2673102"/>
                  <a:gd name="connsiteX49" fmla="*/ 645521 w 1704847"/>
                  <a:gd name="connsiteY49" fmla="*/ 939552 h 2673102"/>
                  <a:gd name="connsiteX50" fmla="*/ 526458 w 1704847"/>
                  <a:gd name="connsiteY50" fmla="*/ 910977 h 2673102"/>
                  <a:gd name="connsiteX51" fmla="*/ 483596 w 1704847"/>
                  <a:gd name="connsiteY51" fmla="*/ 891927 h 2673102"/>
                  <a:gd name="connsiteX52" fmla="*/ 421683 w 1704847"/>
                  <a:gd name="connsiteY52" fmla="*/ 882402 h 2673102"/>
                  <a:gd name="connsiteX53" fmla="*/ 321671 w 1704847"/>
                  <a:gd name="connsiteY53" fmla="*/ 896689 h 2673102"/>
                  <a:gd name="connsiteX54" fmla="*/ 307383 w 1704847"/>
                  <a:gd name="connsiteY54" fmla="*/ 910977 h 2673102"/>
                  <a:gd name="connsiteX55" fmla="*/ 283571 w 1704847"/>
                  <a:gd name="connsiteY55" fmla="*/ 949077 h 2673102"/>
                  <a:gd name="connsiteX56" fmla="*/ 269283 w 1704847"/>
                  <a:gd name="connsiteY56" fmla="*/ 987177 h 2673102"/>
                  <a:gd name="connsiteX57" fmla="*/ 264521 w 1704847"/>
                  <a:gd name="connsiteY57" fmla="*/ 1039564 h 2673102"/>
                  <a:gd name="connsiteX58" fmla="*/ 264521 w 1704847"/>
                  <a:gd name="connsiteY58" fmla="*/ 1120527 h 2673102"/>
                  <a:gd name="connsiteX59" fmla="*/ 297858 w 1704847"/>
                  <a:gd name="connsiteY59" fmla="*/ 1153864 h 2673102"/>
                  <a:gd name="connsiteX60" fmla="*/ 326433 w 1704847"/>
                  <a:gd name="connsiteY60" fmla="*/ 1163389 h 2673102"/>
                  <a:gd name="connsiteX61" fmla="*/ 326433 w 1704847"/>
                  <a:gd name="connsiteY61" fmla="*/ 1244352 h 2673102"/>
                  <a:gd name="connsiteX62" fmla="*/ 312146 w 1704847"/>
                  <a:gd name="connsiteY62" fmla="*/ 1258639 h 2673102"/>
                  <a:gd name="connsiteX63" fmla="*/ 259758 w 1704847"/>
                  <a:gd name="connsiteY63" fmla="*/ 1296739 h 2673102"/>
                  <a:gd name="connsiteX64" fmla="*/ 240708 w 1704847"/>
                  <a:gd name="connsiteY64" fmla="*/ 1325314 h 2673102"/>
                  <a:gd name="connsiteX65" fmla="*/ 250233 w 1704847"/>
                  <a:gd name="connsiteY65" fmla="*/ 1425327 h 2673102"/>
                  <a:gd name="connsiteX66" fmla="*/ 278808 w 1704847"/>
                  <a:gd name="connsiteY66" fmla="*/ 1472952 h 2673102"/>
                  <a:gd name="connsiteX67" fmla="*/ 293096 w 1704847"/>
                  <a:gd name="connsiteY67" fmla="*/ 1492002 h 2673102"/>
                  <a:gd name="connsiteX68" fmla="*/ 383583 w 1704847"/>
                  <a:gd name="connsiteY68" fmla="*/ 1525339 h 2673102"/>
                  <a:gd name="connsiteX69" fmla="*/ 407396 w 1704847"/>
                  <a:gd name="connsiteY69" fmla="*/ 1492002 h 2673102"/>
                  <a:gd name="connsiteX70" fmla="*/ 412158 w 1704847"/>
                  <a:gd name="connsiteY70" fmla="*/ 1468189 h 2673102"/>
                  <a:gd name="connsiteX71" fmla="*/ 416921 w 1704847"/>
                  <a:gd name="connsiteY71" fmla="*/ 1449139 h 2673102"/>
                  <a:gd name="connsiteX72" fmla="*/ 445496 w 1704847"/>
                  <a:gd name="connsiteY72" fmla="*/ 1439614 h 2673102"/>
                  <a:gd name="connsiteX73" fmla="*/ 545508 w 1704847"/>
                  <a:gd name="connsiteY73" fmla="*/ 1458664 h 2673102"/>
                  <a:gd name="connsiteX74" fmla="*/ 555033 w 1704847"/>
                  <a:gd name="connsiteY74" fmla="*/ 1482477 h 2673102"/>
                  <a:gd name="connsiteX75" fmla="*/ 564558 w 1704847"/>
                  <a:gd name="connsiteY75" fmla="*/ 1515814 h 2673102"/>
                  <a:gd name="connsiteX76" fmla="*/ 550271 w 1704847"/>
                  <a:gd name="connsiteY76" fmla="*/ 1534864 h 2673102"/>
                  <a:gd name="connsiteX77" fmla="*/ 550271 w 1704847"/>
                  <a:gd name="connsiteY77" fmla="*/ 1601539 h 2673102"/>
                  <a:gd name="connsiteX78" fmla="*/ 559796 w 1704847"/>
                  <a:gd name="connsiteY78" fmla="*/ 1620589 h 2673102"/>
                  <a:gd name="connsiteX79" fmla="*/ 626471 w 1704847"/>
                  <a:gd name="connsiteY79" fmla="*/ 1639639 h 2673102"/>
                  <a:gd name="connsiteX80" fmla="*/ 645521 w 1704847"/>
                  <a:gd name="connsiteY80" fmla="*/ 1592014 h 2673102"/>
                  <a:gd name="connsiteX81" fmla="*/ 702671 w 1704847"/>
                  <a:gd name="connsiteY81" fmla="*/ 1620589 h 2673102"/>
                  <a:gd name="connsiteX82" fmla="*/ 731246 w 1704847"/>
                  <a:gd name="connsiteY82" fmla="*/ 1630114 h 2673102"/>
                  <a:gd name="connsiteX83" fmla="*/ 783633 w 1704847"/>
                  <a:gd name="connsiteY83" fmla="*/ 1663452 h 2673102"/>
                  <a:gd name="connsiteX84" fmla="*/ 859833 w 1704847"/>
                  <a:gd name="connsiteY84" fmla="*/ 1687264 h 2673102"/>
                  <a:gd name="connsiteX85" fmla="*/ 878883 w 1704847"/>
                  <a:gd name="connsiteY85" fmla="*/ 1701552 h 2673102"/>
                  <a:gd name="connsiteX86" fmla="*/ 888408 w 1704847"/>
                  <a:gd name="connsiteY86" fmla="*/ 1739652 h 2673102"/>
                  <a:gd name="connsiteX87" fmla="*/ 897933 w 1704847"/>
                  <a:gd name="connsiteY87" fmla="*/ 1782514 h 2673102"/>
                  <a:gd name="connsiteX88" fmla="*/ 940796 w 1704847"/>
                  <a:gd name="connsiteY88" fmla="*/ 1892052 h 2673102"/>
                  <a:gd name="connsiteX89" fmla="*/ 950321 w 1704847"/>
                  <a:gd name="connsiteY89" fmla="*/ 1906339 h 2673102"/>
                  <a:gd name="connsiteX90" fmla="*/ 959846 w 1704847"/>
                  <a:gd name="connsiteY90" fmla="*/ 1939677 h 2673102"/>
                  <a:gd name="connsiteX91" fmla="*/ 974133 w 1704847"/>
                  <a:gd name="connsiteY91" fmla="*/ 1977777 h 2673102"/>
                  <a:gd name="connsiteX92" fmla="*/ 964608 w 1704847"/>
                  <a:gd name="connsiteY92" fmla="*/ 2082552 h 2673102"/>
                  <a:gd name="connsiteX93" fmla="*/ 955083 w 1704847"/>
                  <a:gd name="connsiteY93" fmla="*/ 2101602 h 2673102"/>
                  <a:gd name="connsiteX94" fmla="*/ 926508 w 1704847"/>
                  <a:gd name="connsiteY94" fmla="*/ 2144464 h 2673102"/>
                  <a:gd name="connsiteX95" fmla="*/ 907458 w 1704847"/>
                  <a:gd name="connsiteY95" fmla="*/ 2192089 h 2673102"/>
                  <a:gd name="connsiteX96" fmla="*/ 902696 w 1704847"/>
                  <a:gd name="connsiteY96" fmla="*/ 2211139 h 2673102"/>
                  <a:gd name="connsiteX97" fmla="*/ 893171 w 1704847"/>
                  <a:gd name="connsiteY97" fmla="*/ 2239714 h 2673102"/>
                  <a:gd name="connsiteX98" fmla="*/ 897933 w 1704847"/>
                  <a:gd name="connsiteY98" fmla="*/ 2287339 h 2673102"/>
                  <a:gd name="connsiteX99" fmla="*/ 893171 w 1704847"/>
                  <a:gd name="connsiteY99" fmla="*/ 2396877 h 2673102"/>
                  <a:gd name="connsiteX100" fmla="*/ 688383 w 1704847"/>
                  <a:gd name="connsiteY100" fmla="*/ 2449264 h 2673102"/>
                  <a:gd name="connsiteX101" fmla="*/ 655046 w 1704847"/>
                  <a:gd name="connsiteY101" fmla="*/ 2473077 h 2673102"/>
                  <a:gd name="connsiteX102" fmla="*/ 607421 w 1704847"/>
                  <a:gd name="connsiteY102" fmla="*/ 2511177 h 2673102"/>
                  <a:gd name="connsiteX103" fmla="*/ 574083 w 1704847"/>
                  <a:gd name="connsiteY103" fmla="*/ 2534989 h 2673102"/>
                  <a:gd name="connsiteX104" fmla="*/ 540746 w 1704847"/>
                  <a:gd name="connsiteY104" fmla="*/ 2554039 h 2673102"/>
                  <a:gd name="connsiteX105" fmla="*/ 497883 w 1704847"/>
                  <a:gd name="connsiteY105" fmla="*/ 2587377 h 2673102"/>
                  <a:gd name="connsiteX106" fmla="*/ 483596 w 1704847"/>
                  <a:gd name="connsiteY106" fmla="*/ 2601664 h 2673102"/>
                  <a:gd name="connsiteX107" fmla="*/ 459783 w 1704847"/>
                  <a:gd name="connsiteY107" fmla="*/ 2620714 h 2673102"/>
                  <a:gd name="connsiteX108" fmla="*/ 450258 w 1704847"/>
                  <a:gd name="connsiteY108" fmla="*/ 2635002 h 2673102"/>
                  <a:gd name="connsiteX109" fmla="*/ 416921 w 1704847"/>
                  <a:gd name="connsiteY109" fmla="*/ 2654052 h 2673102"/>
                  <a:gd name="connsiteX110" fmla="*/ 374058 w 1704847"/>
                  <a:gd name="connsiteY110" fmla="*/ 2673102 h 2673102"/>
                  <a:gd name="connsiteX111" fmla="*/ 359771 w 1704847"/>
                  <a:gd name="connsiteY111" fmla="*/ 2663577 h 2673102"/>
                  <a:gd name="connsiteX112" fmla="*/ 345483 w 1704847"/>
                  <a:gd name="connsiteY112" fmla="*/ 2635002 h 2673102"/>
                  <a:gd name="connsiteX113" fmla="*/ 335958 w 1704847"/>
                  <a:gd name="connsiteY113" fmla="*/ 2620714 h 2673102"/>
                  <a:gd name="connsiteX114" fmla="*/ 297858 w 1704847"/>
                  <a:gd name="connsiteY114" fmla="*/ 2611189 h 2673102"/>
                  <a:gd name="connsiteX115" fmla="*/ 278808 w 1704847"/>
                  <a:gd name="connsiteY115" fmla="*/ 2592139 h 2673102"/>
                  <a:gd name="connsiteX116" fmla="*/ 274046 w 1704847"/>
                  <a:gd name="connsiteY116" fmla="*/ 2573089 h 2673102"/>
                  <a:gd name="connsiteX117" fmla="*/ 235946 w 1704847"/>
                  <a:gd name="connsiteY117" fmla="*/ 2539752 h 2673102"/>
                  <a:gd name="connsiteX118" fmla="*/ 231183 w 1704847"/>
                  <a:gd name="connsiteY118" fmla="*/ 2525464 h 2673102"/>
                  <a:gd name="connsiteX119" fmla="*/ 226421 w 1704847"/>
                  <a:gd name="connsiteY119" fmla="*/ 2506414 h 2673102"/>
                  <a:gd name="connsiteX120" fmla="*/ 212133 w 1704847"/>
                  <a:gd name="connsiteY120" fmla="*/ 2492127 h 2673102"/>
                  <a:gd name="connsiteX121" fmla="*/ 154983 w 1704847"/>
                  <a:gd name="connsiteY121" fmla="*/ 2439739 h 2673102"/>
                  <a:gd name="connsiteX122" fmla="*/ 150221 w 1704847"/>
                  <a:gd name="connsiteY122" fmla="*/ 2415927 h 2673102"/>
                  <a:gd name="connsiteX123" fmla="*/ 135933 w 1704847"/>
                  <a:gd name="connsiteY123" fmla="*/ 2358777 h 2673102"/>
                  <a:gd name="connsiteX124" fmla="*/ 121646 w 1704847"/>
                  <a:gd name="connsiteY124" fmla="*/ 2315914 h 2673102"/>
                  <a:gd name="connsiteX125" fmla="*/ 107358 w 1704847"/>
                  <a:gd name="connsiteY125" fmla="*/ 2258764 h 2673102"/>
                  <a:gd name="connsiteX126" fmla="*/ 102596 w 1704847"/>
                  <a:gd name="connsiteY126" fmla="*/ 2234952 h 2673102"/>
                  <a:gd name="connsiteX127" fmla="*/ 93071 w 1704847"/>
                  <a:gd name="connsiteY127" fmla="*/ 2211139 h 2673102"/>
                  <a:gd name="connsiteX128" fmla="*/ 88308 w 1704847"/>
                  <a:gd name="connsiteY128" fmla="*/ 2187327 h 2673102"/>
                  <a:gd name="connsiteX129" fmla="*/ 78783 w 1704847"/>
                  <a:gd name="connsiteY129" fmla="*/ 2111127 h 2673102"/>
                  <a:gd name="connsiteX130" fmla="*/ 97833 w 1704847"/>
                  <a:gd name="connsiteY130" fmla="*/ 1944439 h 2673102"/>
                  <a:gd name="connsiteX131" fmla="*/ 107358 w 1704847"/>
                  <a:gd name="connsiteY131" fmla="*/ 1930152 h 2673102"/>
                  <a:gd name="connsiteX132" fmla="*/ 126408 w 1704847"/>
                  <a:gd name="connsiteY132" fmla="*/ 1901577 h 2673102"/>
                  <a:gd name="connsiteX133" fmla="*/ 135933 w 1704847"/>
                  <a:gd name="connsiteY133" fmla="*/ 1868239 h 2673102"/>
                  <a:gd name="connsiteX134" fmla="*/ 131171 w 1704847"/>
                  <a:gd name="connsiteY134" fmla="*/ 1825377 h 2673102"/>
                  <a:gd name="connsiteX135" fmla="*/ 112121 w 1704847"/>
                  <a:gd name="connsiteY135" fmla="*/ 1820614 h 2673102"/>
                  <a:gd name="connsiteX136" fmla="*/ 102596 w 1704847"/>
                  <a:gd name="connsiteY136" fmla="*/ 1806327 h 2673102"/>
                  <a:gd name="connsiteX137" fmla="*/ 145458 w 1704847"/>
                  <a:gd name="connsiteY137" fmla="*/ 1720602 h 2673102"/>
                  <a:gd name="connsiteX138" fmla="*/ 159746 w 1704847"/>
                  <a:gd name="connsiteY138" fmla="*/ 1715839 h 2673102"/>
                  <a:gd name="connsiteX139" fmla="*/ 174033 w 1704847"/>
                  <a:gd name="connsiteY139" fmla="*/ 1696789 h 2673102"/>
                  <a:gd name="connsiteX140" fmla="*/ 188321 w 1704847"/>
                  <a:gd name="connsiteY140" fmla="*/ 1687264 h 2673102"/>
                  <a:gd name="connsiteX141" fmla="*/ 202608 w 1704847"/>
                  <a:gd name="connsiteY141" fmla="*/ 1653927 h 2673102"/>
                  <a:gd name="connsiteX142" fmla="*/ 193083 w 1704847"/>
                  <a:gd name="connsiteY142" fmla="*/ 1606302 h 2673102"/>
                  <a:gd name="connsiteX143" fmla="*/ 164508 w 1704847"/>
                  <a:gd name="connsiteY143" fmla="*/ 1596777 h 2673102"/>
                  <a:gd name="connsiteX144" fmla="*/ 154983 w 1704847"/>
                  <a:gd name="connsiteY144" fmla="*/ 1549152 h 2673102"/>
                  <a:gd name="connsiteX145" fmla="*/ 150221 w 1704847"/>
                  <a:gd name="connsiteY145" fmla="*/ 1411039 h 2673102"/>
                  <a:gd name="connsiteX146" fmla="*/ 140696 w 1704847"/>
                  <a:gd name="connsiteY146" fmla="*/ 1377702 h 2673102"/>
                  <a:gd name="connsiteX147" fmla="*/ 121646 w 1704847"/>
                  <a:gd name="connsiteY147" fmla="*/ 1311027 h 2673102"/>
                  <a:gd name="connsiteX148" fmla="*/ 116883 w 1704847"/>
                  <a:gd name="connsiteY148" fmla="*/ 1258639 h 2673102"/>
                  <a:gd name="connsiteX149" fmla="*/ 107358 w 1704847"/>
                  <a:gd name="connsiteY149" fmla="*/ 1244352 h 2673102"/>
                  <a:gd name="connsiteX150" fmla="*/ 93071 w 1704847"/>
                  <a:gd name="connsiteY150" fmla="*/ 1196727 h 2673102"/>
                  <a:gd name="connsiteX151" fmla="*/ 78783 w 1704847"/>
                  <a:gd name="connsiteY151" fmla="*/ 1177677 h 2673102"/>
                  <a:gd name="connsiteX152" fmla="*/ 59733 w 1704847"/>
                  <a:gd name="connsiteY152" fmla="*/ 1139577 h 2673102"/>
                  <a:gd name="connsiteX153" fmla="*/ 50208 w 1704847"/>
                  <a:gd name="connsiteY153" fmla="*/ 1111002 h 2673102"/>
                  <a:gd name="connsiteX154" fmla="*/ 45446 w 1704847"/>
                  <a:gd name="connsiteY154" fmla="*/ 1096714 h 2673102"/>
                  <a:gd name="connsiteX155" fmla="*/ 21633 w 1704847"/>
                  <a:gd name="connsiteY155" fmla="*/ 1025277 h 2673102"/>
                  <a:gd name="connsiteX156" fmla="*/ 202 w 1704847"/>
                  <a:gd name="connsiteY156" fmla="*/ 980033 h 2673102"/>
                  <a:gd name="connsiteX157" fmla="*/ 14490 w 1704847"/>
                  <a:gd name="connsiteY157" fmla="*/ 930027 h 2673102"/>
                  <a:gd name="connsiteX158" fmla="*/ 69259 w 1704847"/>
                  <a:gd name="connsiteY158" fmla="*/ 810964 h 2673102"/>
                  <a:gd name="connsiteX159" fmla="*/ 221658 w 1704847"/>
                  <a:gd name="connsiteY159" fmla="*/ 601414 h 2673102"/>
                  <a:gd name="connsiteX160" fmla="*/ 288333 w 1704847"/>
                  <a:gd name="connsiteY160" fmla="*/ 515689 h 2673102"/>
                  <a:gd name="connsiteX161" fmla="*/ 412158 w 1704847"/>
                  <a:gd name="connsiteY161" fmla="*/ 406152 h 2673102"/>
                  <a:gd name="connsiteX162" fmla="*/ 535983 w 1704847"/>
                  <a:gd name="connsiteY162" fmla="*/ 291851 h 2673102"/>
                  <a:gd name="connsiteX163" fmla="*/ 640758 w 1704847"/>
                  <a:gd name="connsiteY163" fmla="*/ 229939 h 2673102"/>
                  <a:gd name="connsiteX164" fmla="*/ 733628 w 1704847"/>
                  <a:gd name="connsiteY164" fmla="*/ 168026 h 2673102"/>
                  <a:gd name="connsiteX165" fmla="*/ 978896 w 1704847"/>
                  <a:gd name="connsiteY165" fmla="*/ 63251 h 2673102"/>
                  <a:gd name="connsiteX166" fmla="*/ 1159871 w 1704847"/>
                  <a:gd name="connsiteY166" fmla="*/ 6102 h 2673102"/>
                  <a:gd name="connsiteX167" fmla="*/ 1202733 w 1704847"/>
                  <a:gd name="connsiteY167" fmla="*/ 10864 h 2673102"/>
                  <a:gd name="connsiteX0" fmla="*/ 1202733 w 1730673"/>
                  <a:gd name="connsiteY0" fmla="*/ 10864 h 2673102"/>
                  <a:gd name="connsiteX1" fmla="*/ 1197971 w 1730673"/>
                  <a:gd name="connsiteY1" fmla="*/ 68014 h 2673102"/>
                  <a:gd name="connsiteX2" fmla="*/ 1174158 w 1730673"/>
                  <a:gd name="connsiteY2" fmla="*/ 110877 h 2673102"/>
                  <a:gd name="connsiteX3" fmla="*/ 1164633 w 1730673"/>
                  <a:gd name="connsiteY3" fmla="*/ 129927 h 2673102"/>
                  <a:gd name="connsiteX4" fmla="*/ 1164633 w 1730673"/>
                  <a:gd name="connsiteY4" fmla="*/ 206127 h 2673102"/>
                  <a:gd name="connsiteX5" fmla="*/ 1183683 w 1730673"/>
                  <a:gd name="connsiteY5" fmla="*/ 225177 h 2673102"/>
                  <a:gd name="connsiteX6" fmla="*/ 1202733 w 1730673"/>
                  <a:gd name="connsiteY6" fmla="*/ 258514 h 2673102"/>
                  <a:gd name="connsiteX7" fmla="*/ 1221783 w 1730673"/>
                  <a:gd name="connsiteY7" fmla="*/ 268039 h 2673102"/>
                  <a:gd name="connsiteX8" fmla="*/ 1231308 w 1730673"/>
                  <a:gd name="connsiteY8" fmla="*/ 282327 h 2673102"/>
                  <a:gd name="connsiteX9" fmla="*/ 1245596 w 1730673"/>
                  <a:gd name="connsiteY9" fmla="*/ 296614 h 2673102"/>
                  <a:gd name="connsiteX10" fmla="*/ 1255121 w 1730673"/>
                  <a:gd name="connsiteY10" fmla="*/ 315664 h 2673102"/>
                  <a:gd name="connsiteX11" fmla="*/ 1250358 w 1730673"/>
                  <a:gd name="connsiteY11" fmla="*/ 344239 h 2673102"/>
                  <a:gd name="connsiteX12" fmla="*/ 1245596 w 1730673"/>
                  <a:gd name="connsiteY12" fmla="*/ 363289 h 2673102"/>
                  <a:gd name="connsiteX13" fmla="*/ 1250358 w 1730673"/>
                  <a:gd name="connsiteY13" fmla="*/ 425202 h 2673102"/>
                  <a:gd name="connsiteX14" fmla="*/ 1269408 w 1730673"/>
                  <a:gd name="connsiteY14" fmla="*/ 463302 h 2673102"/>
                  <a:gd name="connsiteX15" fmla="*/ 1278933 w 1730673"/>
                  <a:gd name="connsiteY15" fmla="*/ 477589 h 2673102"/>
                  <a:gd name="connsiteX16" fmla="*/ 1293221 w 1730673"/>
                  <a:gd name="connsiteY16" fmla="*/ 487114 h 2673102"/>
                  <a:gd name="connsiteX17" fmla="*/ 1350371 w 1730673"/>
                  <a:gd name="connsiteY17" fmla="*/ 510927 h 2673102"/>
                  <a:gd name="connsiteX18" fmla="*/ 1378946 w 1730673"/>
                  <a:gd name="connsiteY18" fmla="*/ 520452 h 2673102"/>
                  <a:gd name="connsiteX19" fmla="*/ 1407521 w 1730673"/>
                  <a:gd name="connsiteY19" fmla="*/ 539502 h 2673102"/>
                  <a:gd name="connsiteX20" fmla="*/ 1469433 w 1730673"/>
                  <a:gd name="connsiteY20" fmla="*/ 568077 h 2673102"/>
                  <a:gd name="connsiteX21" fmla="*/ 1521821 w 1730673"/>
                  <a:gd name="connsiteY21" fmla="*/ 587127 h 2673102"/>
                  <a:gd name="connsiteX22" fmla="*/ 1540871 w 1730673"/>
                  <a:gd name="connsiteY22" fmla="*/ 596652 h 2673102"/>
                  <a:gd name="connsiteX23" fmla="*/ 1559921 w 1730673"/>
                  <a:gd name="connsiteY23" fmla="*/ 601414 h 2673102"/>
                  <a:gd name="connsiteX24" fmla="*/ 1607546 w 1730673"/>
                  <a:gd name="connsiteY24" fmla="*/ 639514 h 2673102"/>
                  <a:gd name="connsiteX25" fmla="*/ 1636121 w 1730673"/>
                  <a:gd name="connsiteY25" fmla="*/ 672852 h 2673102"/>
                  <a:gd name="connsiteX26" fmla="*/ 1650408 w 1730673"/>
                  <a:gd name="connsiteY26" fmla="*/ 687139 h 2673102"/>
                  <a:gd name="connsiteX27" fmla="*/ 1669458 w 1730673"/>
                  <a:gd name="connsiteY27" fmla="*/ 696664 h 2673102"/>
                  <a:gd name="connsiteX28" fmla="*/ 1683746 w 1730673"/>
                  <a:gd name="connsiteY28" fmla="*/ 706189 h 2673102"/>
                  <a:gd name="connsiteX29" fmla="*/ 1698033 w 1730673"/>
                  <a:gd name="connsiteY29" fmla="*/ 744289 h 2673102"/>
                  <a:gd name="connsiteX30" fmla="*/ 1702796 w 1730673"/>
                  <a:gd name="connsiteY30" fmla="*/ 853827 h 2673102"/>
                  <a:gd name="connsiteX31" fmla="*/ 1664696 w 1730673"/>
                  <a:gd name="connsiteY31" fmla="*/ 887164 h 2673102"/>
                  <a:gd name="connsiteX32" fmla="*/ 1650408 w 1730673"/>
                  <a:gd name="connsiteY32" fmla="*/ 901452 h 2673102"/>
                  <a:gd name="connsiteX33" fmla="*/ 1598021 w 1730673"/>
                  <a:gd name="connsiteY33" fmla="*/ 906214 h 2673102"/>
                  <a:gd name="connsiteX34" fmla="*/ 1555158 w 1730673"/>
                  <a:gd name="connsiteY34" fmla="*/ 925264 h 2673102"/>
                  <a:gd name="connsiteX35" fmla="*/ 1531346 w 1730673"/>
                  <a:gd name="connsiteY35" fmla="*/ 939552 h 2673102"/>
                  <a:gd name="connsiteX36" fmla="*/ 1498008 w 1730673"/>
                  <a:gd name="connsiteY36" fmla="*/ 987177 h 2673102"/>
                  <a:gd name="connsiteX37" fmla="*/ 1345608 w 1730673"/>
                  <a:gd name="connsiteY37" fmla="*/ 1030039 h 2673102"/>
                  <a:gd name="connsiteX38" fmla="*/ 1297983 w 1730673"/>
                  <a:gd name="connsiteY38" fmla="*/ 1053852 h 2673102"/>
                  <a:gd name="connsiteX39" fmla="*/ 1231308 w 1730673"/>
                  <a:gd name="connsiteY39" fmla="*/ 1082427 h 2673102"/>
                  <a:gd name="connsiteX40" fmla="*/ 1126533 w 1730673"/>
                  <a:gd name="connsiteY40" fmla="*/ 1096714 h 2673102"/>
                  <a:gd name="connsiteX41" fmla="*/ 1102721 w 1730673"/>
                  <a:gd name="connsiteY41" fmla="*/ 1101477 h 2673102"/>
                  <a:gd name="connsiteX42" fmla="*/ 1078908 w 1730673"/>
                  <a:gd name="connsiteY42" fmla="*/ 1111002 h 2673102"/>
                  <a:gd name="connsiteX43" fmla="*/ 964608 w 1730673"/>
                  <a:gd name="connsiteY43" fmla="*/ 1106239 h 2673102"/>
                  <a:gd name="connsiteX44" fmla="*/ 859833 w 1730673"/>
                  <a:gd name="connsiteY44" fmla="*/ 1058614 h 2673102"/>
                  <a:gd name="connsiteX45" fmla="*/ 812208 w 1730673"/>
                  <a:gd name="connsiteY45" fmla="*/ 1034802 h 2673102"/>
                  <a:gd name="connsiteX46" fmla="*/ 788396 w 1730673"/>
                  <a:gd name="connsiteY46" fmla="*/ 1020514 h 2673102"/>
                  <a:gd name="connsiteX47" fmla="*/ 769346 w 1730673"/>
                  <a:gd name="connsiteY47" fmla="*/ 1006227 h 2673102"/>
                  <a:gd name="connsiteX48" fmla="*/ 678858 w 1730673"/>
                  <a:gd name="connsiteY48" fmla="*/ 958602 h 2673102"/>
                  <a:gd name="connsiteX49" fmla="*/ 645521 w 1730673"/>
                  <a:gd name="connsiteY49" fmla="*/ 939552 h 2673102"/>
                  <a:gd name="connsiteX50" fmla="*/ 526458 w 1730673"/>
                  <a:gd name="connsiteY50" fmla="*/ 910977 h 2673102"/>
                  <a:gd name="connsiteX51" fmla="*/ 483596 w 1730673"/>
                  <a:gd name="connsiteY51" fmla="*/ 891927 h 2673102"/>
                  <a:gd name="connsiteX52" fmla="*/ 421683 w 1730673"/>
                  <a:gd name="connsiteY52" fmla="*/ 882402 h 2673102"/>
                  <a:gd name="connsiteX53" fmla="*/ 321671 w 1730673"/>
                  <a:gd name="connsiteY53" fmla="*/ 896689 h 2673102"/>
                  <a:gd name="connsiteX54" fmla="*/ 307383 w 1730673"/>
                  <a:gd name="connsiteY54" fmla="*/ 910977 h 2673102"/>
                  <a:gd name="connsiteX55" fmla="*/ 283571 w 1730673"/>
                  <a:gd name="connsiteY55" fmla="*/ 949077 h 2673102"/>
                  <a:gd name="connsiteX56" fmla="*/ 269283 w 1730673"/>
                  <a:gd name="connsiteY56" fmla="*/ 987177 h 2673102"/>
                  <a:gd name="connsiteX57" fmla="*/ 264521 w 1730673"/>
                  <a:gd name="connsiteY57" fmla="*/ 1039564 h 2673102"/>
                  <a:gd name="connsiteX58" fmla="*/ 264521 w 1730673"/>
                  <a:gd name="connsiteY58" fmla="*/ 1120527 h 2673102"/>
                  <a:gd name="connsiteX59" fmla="*/ 297858 w 1730673"/>
                  <a:gd name="connsiteY59" fmla="*/ 1153864 h 2673102"/>
                  <a:gd name="connsiteX60" fmla="*/ 326433 w 1730673"/>
                  <a:gd name="connsiteY60" fmla="*/ 1163389 h 2673102"/>
                  <a:gd name="connsiteX61" fmla="*/ 326433 w 1730673"/>
                  <a:gd name="connsiteY61" fmla="*/ 1244352 h 2673102"/>
                  <a:gd name="connsiteX62" fmla="*/ 312146 w 1730673"/>
                  <a:gd name="connsiteY62" fmla="*/ 1258639 h 2673102"/>
                  <a:gd name="connsiteX63" fmla="*/ 259758 w 1730673"/>
                  <a:gd name="connsiteY63" fmla="*/ 1296739 h 2673102"/>
                  <a:gd name="connsiteX64" fmla="*/ 240708 w 1730673"/>
                  <a:gd name="connsiteY64" fmla="*/ 1325314 h 2673102"/>
                  <a:gd name="connsiteX65" fmla="*/ 250233 w 1730673"/>
                  <a:gd name="connsiteY65" fmla="*/ 1425327 h 2673102"/>
                  <a:gd name="connsiteX66" fmla="*/ 278808 w 1730673"/>
                  <a:gd name="connsiteY66" fmla="*/ 1472952 h 2673102"/>
                  <a:gd name="connsiteX67" fmla="*/ 293096 w 1730673"/>
                  <a:gd name="connsiteY67" fmla="*/ 1492002 h 2673102"/>
                  <a:gd name="connsiteX68" fmla="*/ 383583 w 1730673"/>
                  <a:gd name="connsiteY68" fmla="*/ 1525339 h 2673102"/>
                  <a:gd name="connsiteX69" fmla="*/ 407396 w 1730673"/>
                  <a:gd name="connsiteY69" fmla="*/ 1492002 h 2673102"/>
                  <a:gd name="connsiteX70" fmla="*/ 412158 w 1730673"/>
                  <a:gd name="connsiteY70" fmla="*/ 1468189 h 2673102"/>
                  <a:gd name="connsiteX71" fmla="*/ 416921 w 1730673"/>
                  <a:gd name="connsiteY71" fmla="*/ 1449139 h 2673102"/>
                  <a:gd name="connsiteX72" fmla="*/ 445496 w 1730673"/>
                  <a:gd name="connsiteY72" fmla="*/ 1439614 h 2673102"/>
                  <a:gd name="connsiteX73" fmla="*/ 545508 w 1730673"/>
                  <a:gd name="connsiteY73" fmla="*/ 1458664 h 2673102"/>
                  <a:gd name="connsiteX74" fmla="*/ 555033 w 1730673"/>
                  <a:gd name="connsiteY74" fmla="*/ 1482477 h 2673102"/>
                  <a:gd name="connsiteX75" fmla="*/ 564558 w 1730673"/>
                  <a:gd name="connsiteY75" fmla="*/ 1515814 h 2673102"/>
                  <a:gd name="connsiteX76" fmla="*/ 550271 w 1730673"/>
                  <a:gd name="connsiteY76" fmla="*/ 1534864 h 2673102"/>
                  <a:gd name="connsiteX77" fmla="*/ 550271 w 1730673"/>
                  <a:gd name="connsiteY77" fmla="*/ 1601539 h 2673102"/>
                  <a:gd name="connsiteX78" fmla="*/ 559796 w 1730673"/>
                  <a:gd name="connsiteY78" fmla="*/ 1620589 h 2673102"/>
                  <a:gd name="connsiteX79" fmla="*/ 626471 w 1730673"/>
                  <a:gd name="connsiteY79" fmla="*/ 1639639 h 2673102"/>
                  <a:gd name="connsiteX80" fmla="*/ 645521 w 1730673"/>
                  <a:gd name="connsiteY80" fmla="*/ 1592014 h 2673102"/>
                  <a:gd name="connsiteX81" fmla="*/ 702671 w 1730673"/>
                  <a:gd name="connsiteY81" fmla="*/ 1620589 h 2673102"/>
                  <a:gd name="connsiteX82" fmla="*/ 731246 w 1730673"/>
                  <a:gd name="connsiteY82" fmla="*/ 1630114 h 2673102"/>
                  <a:gd name="connsiteX83" fmla="*/ 783633 w 1730673"/>
                  <a:gd name="connsiteY83" fmla="*/ 1663452 h 2673102"/>
                  <a:gd name="connsiteX84" fmla="*/ 859833 w 1730673"/>
                  <a:gd name="connsiteY84" fmla="*/ 1687264 h 2673102"/>
                  <a:gd name="connsiteX85" fmla="*/ 878883 w 1730673"/>
                  <a:gd name="connsiteY85" fmla="*/ 1701552 h 2673102"/>
                  <a:gd name="connsiteX86" fmla="*/ 888408 w 1730673"/>
                  <a:gd name="connsiteY86" fmla="*/ 1739652 h 2673102"/>
                  <a:gd name="connsiteX87" fmla="*/ 897933 w 1730673"/>
                  <a:gd name="connsiteY87" fmla="*/ 1782514 h 2673102"/>
                  <a:gd name="connsiteX88" fmla="*/ 940796 w 1730673"/>
                  <a:gd name="connsiteY88" fmla="*/ 1892052 h 2673102"/>
                  <a:gd name="connsiteX89" fmla="*/ 950321 w 1730673"/>
                  <a:gd name="connsiteY89" fmla="*/ 1906339 h 2673102"/>
                  <a:gd name="connsiteX90" fmla="*/ 959846 w 1730673"/>
                  <a:gd name="connsiteY90" fmla="*/ 1939677 h 2673102"/>
                  <a:gd name="connsiteX91" fmla="*/ 974133 w 1730673"/>
                  <a:gd name="connsiteY91" fmla="*/ 1977777 h 2673102"/>
                  <a:gd name="connsiteX92" fmla="*/ 964608 w 1730673"/>
                  <a:gd name="connsiteY92" fmla="*/ 2082552 h 2673102"/>
                  <a:gd name="connsiteX93" fmla="*/ 955083 w 1730673"/>
                  <a:gd name="connsiteY93" fmla="*/ 2101602 h 2673102"/>
                  <a:gd name="connsiteX94" fmla="*/ 926508 w 1730673"/>
                  <a:gd name="connsiteY94" fmla="*/ 2144464 h 2673102"/>
                  <a:gd name="connsiteX95" fmla="*/ 907458 w 1730673"/>
                  <a:gd name="connsiteY95" fmla="*/ 2192089 h 2673102"/>
                  <a:gd name="connsiteX96" fmla="*/ 902696 w 1730673"/>
                  <a:gd name="connsiteY96" fmla="*/ 2211139 h 2673102"/>
                  <a:gd name="connsiteX97" fmla="*/ 893171 w 1730673"/>
                  <a:gd name="connsiteY97" fmla="*/ 2239714 h 2673102"/>
                  <a:gd name="connsiteX98" fmla="*/ 897933 w 1730673"/>
                  <a:gd name="connsiteY98" fmla="*/ 2287339 h 2673102"/>
                  <a:gd name="connsiteX99" fmla="*/ 893171 w 1730673"/>
                  <a:gd name="connsiteY99" fmla="*/ 2396877 h 2673102"/>
                  <a:gd name="connsiteX100" fmla="*/ 688383 w 1730673"/>
                  <a:gd name="connsiteY100" fmla="*/ 2449264 h 2673102"/>
                  <a:gd name="connsiteX101" fmla="*/ 655046 w 1730673"/>
                  <a:gd name="connsiteY101" fmla="*/ 2473077 h 2673102"/>
                  <a:gd name="connsiteX102" fmla="*/ 607421 w 1730673"/>
                  <a:gd name="connsiteY102" fmla="*/ 2511177 h 2673102"/>
                  <a:gd name="connsiteX103" fmla="*/ 574083 w 1730673"/>
                  <a:gd name="connsiteY103" fmla="*/ 2534989 h 2673102"/>
                  <a:gd name="connsiteX104" fmla="*/ 540746 w 1730673"/>
                  <a:gd name="connsiteY104" fmla="*/ 2554039 h 2673102"/>
                  <a:gd name="connsiteX105" fmla="*/ 497883 w 1730673"/>
                  <a:gd name="connsiteY105" fmla="*/ 2587377 h 2673102"/>
                  <a:gd name="connsiteX106" fmla="*/ 483596 w 1730673"/>
                  <a:gd name="connsiteY106" fmla="*/ 2601664 h 2673102"/>
                  <a:gd name="connsiteX107" fmla="*/ 459783 w 1730673"/>
                  <a:gd name="connsiteY107" fmla="*/ 2620714 h 2673102"/>
                  <a:gd name="connsiteX108" fmla="*/ 450258 w 1730673"/>
                  <a:gd name="connsiteY108" fmla="*/ 2635002 h 2673102"/>
                  <a:gd name="connsiteX109" fmla="*/ 416921 w 1730673"/>
                  <a:gd name="connsiteY109" fmla="*/ 2654052 h 2673102"/>
                  <a:gd name="connsiteX110" fmla="*/ 374058 w 1730673"/>
                  <a:gd name="connsiteY110" fmla="*/ 2673102 h 2673102"/>
                  <a:gd name="connsiteX111" fmla="*/ 359771 w 1730673"/>
                  <a:gd name="connsiteY111" fmla="*/ 2663577 h 2673102"/>
                  <a:gd name="connsiteX112" fmla="*/ 345483 w 1730673"/>
                  <a:gd name="connsiteY112" fmla="*/ 2635002 h 2673102"/>
                  <a:gd name="connsiteX113" fmla="*/ 335958 w 1730673"/>
                  <a:gd name="connsiteY113" fmla="*/ 2620714 h 2673102"/>
                  <a:gd name="connsiteX114" fmla="*/ 297858 w 1730673"/>
                  <a:gd name="connsiteY114" fmla="*/ 2611189 h 2673102"/>
                  <a:gd name="connsiteX115" fmla="*/ 278808 w 1730673"/>
                  <a:gd name="connsiteY115" fmla="*/ 2592139 h 2673102"/>
                  <a:gd name="connsiteX116" fmla="*/ 274046 w 1730673"/>
                  <a:gd name="connsiteY116" fmla="*/ 2573089 h 2673102"/>
                  <a:gd name="connsiteX117" fmla="*/ 235946 w 1730673"/>
                  <a:gd name="connsiteY117" fmla="*/ 2539752 h 2673102"/>
                  <a:gd name="connsiteX118" fmla="*/ 231183 w 1730673"/>
                  <a:gd name="connsiteY118" fmla="*/ 2525464 h 2673102"/>
                  <a:gd name="connsiteX119" fmla="*/ 226421 w 1730673"/>
                  <a:gd name="connsiteY119" fmla="*/ 2506414 h 2673102"/>
                  <a:gd name="connsiteX120" fmla="*/ 212133 w 1730673"/>
                  <a:gd name="connsiteY120" fmla="*/ 2492127 h 2673102"/>
                  <a:gd name="connsiteX121" fmla="*/ 154983 w 1730673"/>
                  <a:gd name="connsiteY121" fmla="*/ 2439739 h 2673102"/>
                  <a:gd name="connsiteX122" fmla="*/ 150221 w 1730673"/>
                  <a:gd name="connsiteY122" fmla="*/ 2415927 h 2673102"/>
                  <a:gd name="connsiteX123" fmla="*/ 135933 w 1730673"/>
                  <a:gd name="connsiteY123" fmla="*/ 2358777 h 2673102"/>
                  <a:gd name="connsiteX124" fmla="*/ 121646 w 1730673"/>
                  <a:gd name="connsiteY124" fmla="*/ 2315914 h 2673102"/>
                  <a:gd name="connsiteX125" fmla="*/ 107358 w 1730673"/>
                  <a:gd name="connsiteY125" fmla="*/ 2258764 h 2673102"/>
                  <a:gd name="connsiteX126" fmla="*/ 102596 w 1730673"/>
                  <a:gd name="connsiteY126" fmla="*/ 2234952 h 2673102"/>
                  <a:gd name="connsiteX127" fmla="*/ 93071 w 1730673"/>
                  <a:gd name="connsiteY127" fmla="*/ 2211139 h 2673102"/>
                  <a:gd name="connsiteX128" fmla="*/ 88308 w 1730673"/>
                  <a:gd name="connsiteY128" fmla="*/ 2187327 h 2673102"/>
                  <a:gd name="connsiteX129" fmla="*/ 78783 w 1730673"/>
                  <a:gd name="connsiteY129" fmla="*/ 2111127 h 2673102"/>
                  <a:gd name="connsiteX130" fmla="*/ 97833 w 1730673"/>
                  <a:gd name="connsiteY130" fmla="*/ 1944439 h 2673102"/>
                  <a:gd name="connsiteX131" fmla="*/ 107358 w 1730673"/>
                  <a:gd name="connsiteY131" fmla="*/ 1930152 h 2673102"/>
                  <a:gd name="connsiteX132" fmla="*/ 126408 w 1730673"/>
                  <a:gd name="connsiteY132" fmla="*/ 1901577 h 2673102"/>
                  <a:gd name="connsiteX133" fmla="*/ 135933 w 1730673"/>
                  <a:gd name="connsiteY133" fmla="*/ 1868239 h 2673102"/>
                  <a:gd name="connsiteX134" fmla="*/ 131171 w 1730673"/>
                  <a:gd name="connsiteY134" fmla="*/ 1825377 h 2673102"/>
                  <a:gd name="connsiteX135" fmla="*/ 112121 w 1730673"/>
                  <a:gd name="connsiteY135" fmla="*/ 1820614 h 2673102"/>
                  <a:gd name="connsiteX136" fmla="*/ 102596 w 1730673"/>
                  <a:gd name="connsiteY136" fmla="*/ 1806327 h 2673102"/>
                  <a:gd name="connsiteX137" fmla="*/ 145458 w 1730673"/>
                  <a:gd name="connsiteY137" fmla="*/ 1720602 h 2673102"/>
                  <a:gd name="connsiteX138" fmla="*/ 159746 w 1730673"/>
                  <a:gd name="connsiteY138" fmla="*/ 1715839 h 2673102"/>
                  <a:gd name="connsiteX139" fmla="*/ 174033 w 1730673"/>
                  <a:gd name="connsiteY139" fmla="*/ 1696789 h 2673102"/>
                  <a:gd name="connsiteX140" fmla="*/ 188321 w 1730673"/>
                  <a:gd name="connsiteY140" fmla="*/ 1687264 h 2673102"/>
                  <a:gd name="connsiteX141" fmla="*/ 202608 w 1730673"/>
                  <a:gd name="connsiteY141" fmla="*/ 1653927 h 2673102"/>
                  <a:gd name="connsiteX142" fmla="*/ 193083 w 1730673"/>
                  <a:gd name="connsiteY142" fmla="*/ 1606302 h 2673102"/>
                  <a:gd name="connsiteX143" fmla="*/ 164508 w 1730673"/>
                  <a:gd name="connsiteY143" fmla="*/ 1596777 h 2673102"/>
                  <a:gd name="connsiteX144" fmla="*/ 154983 w 1730673"/>
                  <a:gd name="connsiteY144" fmla="*/ 1549152 h 2673102"/>
                  <a:gd name="connsiteX145" fmla="*/ 150221 w 1730673"/>
                  <a:gd name="connsiteY145" fmla="*/ 1411039 h 2673102"/>
                  <a:gd name="connsiteX146" fmla="*/ 140696 w 1730673"/>
                  <a:gd name="connsiteY146" fmla="*/ 1377702 h 2673102"/>
                  <a:gd name="connsiteX147" fmla="*/ 121646 w 1730673"/>
                  <a:gd name="connsiteY147" fmla="*/ 1311027 h 2673102"/>
                  <a:gd name="connsiteX148" fmla="*/ 116883 w 1730673"/>
                  <a:gd name="connsiteY148" fmla="*/ 1258639 h 2673102"/>
                  <a:gd name="connsiteX149" fmla="*/ 107358 w 1730673"/>
                  <a:gd name="connsiteY149" fmla="*/ 1244352 h 2673102"/>
                  <a:gd name="connsiteX150" fmla="*/ 93071 w 1730673"/>
                  <a:gd name="connsiteY150" fmla="*/ 1196727 h 2673102"/>
                  <a:gd name="connsiteX151" fmla="*/ 78783 w 1730673"/>
                  <a:gd name="connsiteY151" fmla="*/ 1177677 h 2673102"/>
                  <a:gd name="connsiteX152" fmla="*/ 59733 w 1730673"/>
                  <a:gd name="connsiteY152" fmla="*/ 1139577 h 2673102"/>
                  <a:gd name="connsiteX153" fmla="*/ 50208 w 1730673"/>
                  <a:gd name="connsiteY153" fmla="*/ 1111002 h 2673102"/>
                  <a:gd name="connsiteX154" fmla="*/ 45446 w 1730673"/>
                  <a:gd name="connsiteY154" fmla="*/ 1096714 h 2673102"/>
                  <a:gd name="connsiteX155" fmla="*/ 21633 w 1730673"/>
                  <a:gd name="connsiteY155" fmla="*/ 1025277 h 2673102"/>
                  <a:gd name="connsiteX156" fmla="*/ 202 w 1730673"/>
                  <a:gd name="connsiteY156" fmla="*/ 980033 h 2673102"/>
                  <a:gd name="connsiteX157" fmla="*/ 14490 w 1730673"/>
                  <a:gd name="connsiteY157" fmla="*/ 930027 h 2673102"/>
                  <a:gd name="connsiteX158" fmla="*/ 69259 w 1730673"/>
                  <a:gd name="connsiteY158" fmla="*/ 810964 h 2673102"/>
                  <a:gd name="connsiteX159" fmla="*/ 221658 w 1730673"/>
                  <a:gd name="connsiteY159" fmla="*/ 601414 h 2673102"/>
                  <a:gd name="connsiteX160" fmla="*/ 288333 w 1730673"/>
                  <a:gd name="connsiteY160" fmla="*/ 515689 h 2673102"/>
                  <a:gd name="connsiteX161" fmla="*/ 412158 w 1730673"/>
                  <a:gd name="connsiteY161" fmla="*/ 406152 h 2673102"/>
                  <a:gd name="connsiteX162" fmla="*/ 535983 w 1730673"/>
                  <a:gd name="connsiteY162" fmla="*/ 291851 h 2673102"/>
                  <a:gd name="connsiteX163" fmla="*/ 640758 w 1730673"/>
                  <a:gd name="connsiteY163" fmla="*/ 229939 h 2673102"/>
                  <a:gd name="connsiteX164" fmla="*/ 733628 w 1730673"/>
                  <a:gd name="connsiteY164" fmla="*/ 168026 h 2673102"/>
                  <a:gd name="connsiteX165" fmla="*/ 978896 w 1730673"/>
                  <a:gd name="connsiteY165" fmla="*/ 63251 h 2673102"/>
                  <a:gd name="connsiteX166" fmla="*/ 1159871 w 1730673"/>
                  <a:gd name="connsiteY166" fmla="*/ 6102 h 2673102"/>
                  <a:gd name="connsiteX167" fmla="*/ 1202733 w 1730673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31308 w 1739754"/>
                  <a:gd name="connsiteY8" fmla="*/ 282327 h 2673102"/>
                  <a:gd name="connsiteX9" fmla="*/ 1245596 w 1739754"/>
                  <a:gd name="connsiteY9" fmla="*/ 296614 h 2673102"/>
                  <a:gd name="connsiteX10" fmla="*/ 1255121 w 1739754"/>
                  <a:gd name="connsiteY10" fmla="*/ 315664 h 2673102"/>
                  <a:gd name="connsiteX11" fmla="*/ 1250358 w 1739754"/>
                  <a:gd name="connsiteY11" fmla="*/ 344239 h 2673102"/>
                  <a:gd name="connsiteX12" fmla="*/ 1245596 w 1739754"/>
                  <a:gd name="connsiteY12" fmla="*/ 363289 h 2673102"/>
                  <a:gd name="connsiteX13" fmla="*/ 1250358 w 1739754"/>
                  <a:gd name="connsiteY13" fmla="*/ 425202 h 2673102"/>
                  <a:gd name="connsiteX14" fmla="*/ 1269408 w 1739754"/>
                  <a:gd name="connsiteY14" fmla="*/ 463302 h 2673102"/>
                  <a:gd name="connsiteX15" fmla="*/ 1278933 w 1739754"/>
                  <a:gd name="connsiteY15" fmla="*/ 477589 h 2673102"/>
                  <a:gd name="connsiteX16" fmla="*/ 1293221 w 1739754"/>
                  <a:gd name="connsiteY16" fmla="*/ 487114 h 2673102"/>
                  <a:gd name="connsiteX17" fmla="*/ 1350371 w 1739754"/>
                  <a:gd name="connsiteY17" fmla="*/ 510927 h 2673102"/>
                  <a:gd name="connsiteX18" fmla="*/ 1378946 w 1739754"/>
                  <a:gd name="connsiteY18" fmla="*/ 520452 h 2673102"/>
                  <a:gd name="connsiteX19" fmla="*/ 1407521 w 1739754"/>
                  <a:gd name="connsiteY19" fmla="*/ 539502 h 2673102"/>
                  <a:gd name="connsiteX20" fmla="*/ 1469433 w 1739754"/>
                  <a:gd name="connsiteY20" fmla="*/ 568077 h 2673102"/>
                  <a:gd name="connsiteX21" fmla="*/ 1521821 w 1739754"/>
                  <a:gd name="connsiteY21" fmla="*/ 587127 h 2673102"/>
                  <a:gd name="connsiteX22" fmla="*/ 1540871 w 1739754"/>
                  <a:gd name="connsiteY22" fmla="*/ 596652 h 2673102"/>
                  <a:gd name="connsiteX23" fmla="*/ 1559921 w 1739754"/>
                  <a:gd name="connsiteY23" fmla="*/ 601414 h 2673102"/>
                  <a:gd name="connsiteX24" fmla="*/ 1607546 w 1739754"/>
                  <a:gd name="connsiteY24" fmla="*/ 639514 h 2673102"/>
                  <a:gd name="connsiteX25" fmla="*/ 1636121 w 1739754"/>
                  <a:gd name="connsiteY25" fmla="*/ 672852 h 2673102"/>
                  <a:gd name="connsiteX26" fmla="*/ 1650408 w 1739754"/>
                  <a:gd name="connsiteY26" fmla="*/ 687139 h 2673102"/>
                  <a:gd name="connsiteX27" fmla="*/ 1669458 w 1739754"/>
                  <a:gd name="connsiteY27" fmla="*/ 696664 h 2673102"/>
                  <a:gd name="connsiteX28" fmla="*/ 1683746 w 1739754"/>
                  <a:gd name="connsiteY28" fmla="*/ 706189 h 2673102"/>
                  <a:gd name="connsiteX29" fmla="*/ 1709940 w 1739754"/>
                  <a:gd name="connsiteY29" fmla="*/ 749052 h 2673102"/>
                  <a:gd name="connsiteX30" fmla="*/ 1702796 w 1739754"/>
                  <a:gd name="connsiteY30" fmla="*/ 853827 h 2673102"/>
                  <a:gd name="connsiteX31" fmla="*/ 1664696 w 1739754"/>
                  <a:gd name="connsiteY31" fmla="*/ 887164 h 2673102"/>
                  <a:gd name="connsiteX32" fmla="*/ 1650408 w 1739754"/>
                  <a:gd name="connsiteY32" fmla="*/ 901452 h 2673102"/>
                  <a:gd name="connsiteX33" fmla="*/ 1598021 w 1739754"/>
                  <a:gd name="connsiteY33" fmla="*/ 906214 h 2673102"/>
                  <a:gd name="connsiteX34" fmla="*/ 1555158 w 1739754"/>
                  <a:gd name="connsiteY34" fmla="*/ 925264 h 2673102"/>
                  <a:gd name="connsiteX35" fmla="*/ 1531346 w 1739754"/>
                  <a:gd name="connsiteY35" fmla="*/ 939552 h 2673102"/>
                  <a:gd name="connsiteX36" fmla="*/ 1498008 w 1739754"/>
                  <a:gd name="connsiteY36" fmla="*/ 987177 h 2673102"/>
                  <a:gd name="connsiteX37" fmla="*/ 1345608 w 1739754"/>
                  <a:gd name="connsiteY37" fmla="*/ 1030039 h 2673102"/>
                  <a:gd name="connsiteX38" fmla="*/ 1297983 w 1739754"/>
                  <a:gd name="connsiteY38" fmla="*/ 1053852 h 2673102"/>
                  <a:gd name="connsiteX39" fmla="*/ 1231308 w 1739754"/>
                  <a:gd name="connsiteY39" fmla="*/ 1082427 h 2673102"/>
                  <a:gd name="connsiteX40" fmla="*/ 1126533 w 1739754"/>
                  <a:gd name="connsiteY40" fmla="*/ 1096714 h 2673102"/>
                  <a:gd name="connsiteX41" fmla="*/ 1102721 w 1739754"/>
                  <a:gd name="connsiteY41" fmla="*/ 1101477 h 2673102"/>
                  <a:gd name="connsiteX42" fmla="*/ 1078908 w 1739754"/>
                  <a:gd name="connsiteY42" fmla="*/ 1111002 h 2673102"/>
                  <a:gd name="connsiteX43" fmla="*/ 964608 w 1739754"/>
                  <a:gd name="connsiteY43" fmla="*/ 1106239 h 2673102"/>
                  <a:gd name="connsiteX44" fmla="*/ 859833 w 1739754"/>
                  <a:gd name="connsiteY44" fmla="*/ 1058614 h 2673102"/>
                  <a:gd name="connsiteX45" fmla="*/ 812208 w 1739754"/>
                  <a:gd name="connsiteY45" fmla="*/ 1034802 h 2673102"/>
                  <a:gd name="connsiteX46" fmla="*/ 788396 w 1739754"/>
                  <a:gd name="connsiteY46" fmla="*/ 1020514 h 2673102"/>
                  <a:gd name="connsiteX47" fmla="*/ 769346 w 1739754"/>
                  <a:gd name="connsiteY47" fmla="*/ 1006227 h 2673102"/>
                  <a:gd name="connsiteX48" fmla="*/ 678858 w 1739754"/>
                  <a:gd name="connsiteY48" fmla="*/ 958602 h 2673102"/>
                  <a:gd name="connsiteX49" fmla="*/ 645521 w 1739754"/>
                  <a:gd name="connsiteY49" fmla="*/ 939552 h 2673102"/>
                  <a:gd name="connsiteX50" fmla="*/ 526458 w 1739754"/>
                  <a:gd name="connsiteY50" fmla="*/ 910977 h 2673102"/>
                  <a:gd name="connsiteX51" fmla="*/ 483596 w 1739754"/>
                  <a:gd name="connsiteY51" fmla="*/ 891927 h 2673102"/>
                  <a:gd name="connsiteX52" fmla="*/ 421683 w 1739754"/>
                  <a:gd name="connsiteY52" fmla="*/ 882402 h 2673102"/>
                  <a:gd name="connsiteX53" fmla="*/ 321671 w 1739754"/>
                  <a:gd name="connsiteY53" fmla="*/ 896689 h 2673102"/>
                  <a:gd name="connsiteX54" fmla="*/ 307383 w 1739754"/>
                  <a:gd name="connsiteY54" fmla="*/ 910977 h 2673102"/>
                  <a:gd name="connsiteX55" fmla="*/ 283571 w 1739754"/>
                  <a:gd name="connsiteY55" fmla="*/ 949077 h 2673102"/>
                  <a:gd name="connsiteX56" fmla="*/ 269283 w 1739754"/>
                  <a:gd name="connsiteY56" fmla="*/ 987177 h 2673102"/>
                  <a:gd name="connsiteX57" fmla="*/ 264521 w 1739754"/>
                  <a:gd name="connsiteY57" fmla="*/ 1039564 h 2673102"/>
                  <a:gd name="connsiteX58" fmla="*/ 264521 w 1739754"/>
                  <a:gd name="connsiteY58" fmla="*/ 1120527 h 2673102"/>
                  <a:gd name="connsiteX59" fmla="*/ 297858 w 1739754"/>
                  <a:gd name="connsiteY59" fmla="*/ 1153864 h 2673102"/>
                  <a:gd name="connsiteX60" fmla="*/ 326433 w 1739754"/>
                  <a:gd name="connsiteY60" fmla="*/ 1163389 h 2673102"/>
                  <a:gd name="connsiteX61" fmla="*/ 326433 w 1739754"/>
                  <a:gd name="connsiteY61" fmla="*/ 1244352 h 2673102"/>
                  <a:gd name="connsiteX62" fmla="*/ 312146 w 1739754"/>
                  <a:gd name="connsiteY62" fmla="*/ 1258639 h 2673102"/>
                  <a:gd name="connsiteX63" fmla="*/ 259758 w 1739754"/>
                  <a:gd name="connsiteY63" fmla="*/ 1296739 h 2673102"/>
                  <a:gd name="connsiteX64" fmla="*/ 240708 w 1739754"/>
                  <a:gd name="connsiteY64" fmla="*/ 1325314 h 2673102"/>
                  <a:gd name="connsiteX65" fmla="*/ 250233 w 1739754"/>
                  <a:gd name="connsiteY65" fmla="*/ 1425327 h 2673102"/>
                  <a:gd name="connsiteX66" fmla="*/ 278808 w 1739754"/>
                  <a:gd name="connsiteY66" fmla="*/ 1472952 h 2673102"/>
                  <a:gd name="connsiteX67" fmla="*/ 293096 w 1739754"/>
                  <a:gd name="connsiteY67" fmla="*/ 1492002 h 2673102"/>
                  <a:gd name="connsiteX68" fmla="*/ 383583 w 1739754"/>
                  <a:gd name="connsiteY68" fmla="*/ 1525339 h 2673102"/>
                  <a:gd name="connsiteX69" fmla="*/ 407396 w 1739754"/>
                  <a:gd name="connsiteY69" fmla="*/ 1492002 h 2673102"/>
                  <a:gd name="connsiteX70" fmla="*/ 412158 w 1739754"/>
                  <a:gd name="connsiteY70" fmla="*/ 1468189 h 2673102"/>
                  <a:gd name="connsiteX71" fmla="*/ 416921 w 1739754"/>
                  <a:gd name="connsiteY71" fmla="*/ 1449139 h 2673102"/>
                  <a:gd name="connsiteX72" fmla="*/ 445496 w 1739754"/>
                  <a:gd name="connsiteY72" fmla="*/ 1439614 h 2673102"/>
                  <a:gd name="connsiteX73" fmla="*/ 545508 w 1739754"/>
                  <a:gd name="connsiteY73" fmla="*/ 1458664 h 2673102"/>
                  <a:gd name="connsiteX74" fmla="*/ 555033 w 1739754"/>
                  <a:gd name="connsiteY74" fmla="*/ 1482477 h 2673102"/>
                  <a:gd name="connsiteX75" fmla="*/ 564558 w 1739754"/>
                  <a:gd name="connsiteY75" fmla="*/ 1515814 h 2673102"/>
                  <a:gd name="connsiteX76" fmla="*/ 550271 w 1739754"/>
                  <a:gd name="connsiteY76" fmla="*/ 1534864 h 2673102"/>
                  <a:gd name="connsiteX77" fmla="*/ 550271 w 1739754"/>
                  <a:gd name="connsiteY77" fmla="*/ 1601539 h 2673102"/>
                  <a:gd name="connsiteX78" fmla="*/ 559796 w 1739754"/>
                  <a:gd name="connsiteY78" fmla="*/ 1620589 h 2673102"/>
                  <a:gd name="connsiteX79" fmla="*/ 626471 w 1739754"/>
                  <a:gd name="connsiteY79" fmla="*/ 1639639 h 2673102"/>
                  <a:gd name="connsiteX80" fmla="*/ 645521 w 1739754"/>
                  <a:gd name="connsiteY80" fmla="*/ 1592014 h 2673102"/>
                  <a:gd name="connsiteX81" fmla="*/ 702671 w 1739754"/>
                  <a:gd name="connsiteY81" fmla="*/ 1620589 h 2673102"/>
                  <a:gd name="connsiteX82" fmla="*/ 731246 w 1739754"/>
                  <a:gd name="connsiteY82" fmla="*/ 1630114 h 2673102"/>
                  <a:gd name="connsiteX83" fmla="*/ 783633 w 1739754"/>
                  <a:gd name="connsiteY83" fmla="*/ 1663452 h 2673102"/>
                  <a:gd name="connsiteX84" fmla="*/ 859833 w 1739754"/>
                  <a:gd name="connsiteY84" fmla="*/ 1687264 h 2673102"/>
                  <a:gd name="connsiteX85" fmla="*/ 878883 w 1739754"/>
                  <a:gd name="connsiteY85" fmla="*/ 1701552 h 2673102"/>
                  <a:gd name="connsiteX86" fmla="*/ 888408 w 1739754"/>
                  <a:gd name="connsiteY86" fmla="*/ 1739652 h 2673102"/>
                  <a:gd name="connsiteX87" fmla="*/ 897933 w 1739754"/>
                  <a:gd name="connsiteY87" fmla="*/ 1782514 h 2673102"/>
                  <a:gd name="connsiteX88" fmla="*/ 940796 w 1739754"/>
                  <a:gd name="connsiteY88" fmla="*/ 1892052 h 2673102"/>
                  <a:gd name="connsiteX89" fmla="*/ 950321 w 1739754"/>
                  <a:gd name="connsiteY89" fmla="*/ 1906339 h 2673102"/>
                  <a:gd name="connsiteX90" fmla="*/ 959846 w 1739754"/>
                  <a:gd name="connsiteY90" fmla="*/ 1939677 h 2673102"/>
                  <a:gd name="connsiteX91" fmla="*/ 974133 w 1739754"/>
                  <a:gd name="connsiteY91" fmla="*/ 1977777 h 2673102"/>
                  <a:gd name="connsiteX92" fmla="*/ 964608 w 1739754"/>
                  <a:gd name="connsiteY92" fmla="*/ 2082552 h 2673102"/>
                  <a:gd name="connsiteX93" fmla="*/ 955083 w 1739754"/>
                  <a:gd name="connsiteY93" fmla="*/ 2101602 h 2673102"/>
                  <a:gd name="connsiteX94" fmla="*/ 926508 w 1739754"/>
                  <a:gd name="connsiteY94" fmla="*/ 2144464 h 2673102"/>
                  <a:gd name="connsiteX95" fmla="*/ 907458 w 1739754"/>
                  <a:gd name="connsiteY95" fmla="*/ 2192089 h 2673102"/>
                  <a:gd name="connsiteX96" fmla="*/ 902696 w 1739754"/>
                  <a:gd name="connsiteY96" fmla="*/ 2211139 h 2673102"/>
                  <a:gd name="connsiteX97" fmla="*/ 893171 w 1739754"/>
                  <a:gd name="connsiteY97" fmla="*/ 2239714 h 2673102"/>
                  <a:gd name="connsiteX98" fmla="*/ 897933 w 1739754"/>
                  <a:gd name="connsiteY98" fmla="*/ 2287339 h 2673102"/>
                  <a:gd name="connsiteX99" fmla="*/ 893171 w 1739754"/>
                  <a:gd name="connsiteY99" fmla="*/ 2396877 h 2673102"/>
                  <a:gd name="connsiteX100" fmla="*/ 688383 w 1739754"/>
                  <a:gd name="connsiteY100" fmla="*/ 2449264 h 2673102"/>
                  <a:gd name="connsiteX101" fmla="*/ 655046 w 1739754"/>
                  <a:gd name="connsiteY101" fmla="*/ 2473077 h 2673102"/>
                  <a:gd name="connsiteX102" fmla="*/ 607421 w 1739754"/>
                  <a:gd name="connsiteY102" fmla="*/ 2511177 h 2673102"/>
                  <a:gd name="connsiteX103" fmla="*/ 574083 w 1739754"/>
                  <a:gd name="connsiteY103" fmla="*/ 2534989 h 2673102"/>
                  <a:gd name="connsiteX104" fmla="*/ 540746 w 1739754"/>
                  <a:gd name="connsiteY104" fmla="*/ 2554039 h 2673102"/>
                  <a:gd name="connsiteX105" fmla="*/ 497883 w 1739754"/>
                  <a:gd name="connsiteY105" fmla="*/ 2587377 h 2673102"/>
                  <a:gd name="connsiteX106" fmla="*/ 483596 w 1739754"/>
                  <a:gd name="connsiteY106" fmla="*/ 2601664 h 2673102"/>
                  <a:gd name="connsiteX107" fmla="*/ 459783 w 1739754"/>
                  <a:gd name="connsiteY107" fmla="*/ 2620714 h 2673102"/>
                  <a:gd name="connsiteX108" fmla="*/ 450258 w 1739754"/>
                  <a:gd name="connsiteY108" fmla="*/ 2635002 h 2673102"/>
                  <a:gd name="connsiteX109" fmla="*/ 416921 w 1739754"/>
                  <a:gd name="connsiteY109" fmla="*/ 2654052 h 2673102"/>
                  <a:gd name="connsiteX110" fmla="*/ 374058 w 1739754"/>
                  <a:gd name="connsiteY110" fmla="*/ 2673102 h 2673102"/>
                  <a:gd name="connsiteX111" fmla="*/ 359771 w 1739754"/>
                  <a:gd name="connsiteY111" fmla="*/ 2663577 h 2673102"/>
                  <a:gd name="connsiteX112" fmla="*/ 345483 w 1739754"/>
                  <a:gd name="connsiteY112" fmla="*/ 2635002 h 2673102"/>
                  <a:gd name="connsiteX113" fmla="*/ 335958 w 1739754"/>
                  <a:gd name="connsiteY113" fmla="*/ 2620714 h 2673102"/>
                  <a:gd name="connsiteX114" fmla="*/ 297858 w 1739754"/>
                  <a:gd name="connsiteY114" fmla="*/ 2611189 h 2673102"/>
                  <a:gd name="connsiteX115" fmla="*/ 278808 w 1739754"/>
                  <a:gd name="connsiteY115" fmla="*/ 2592139 h 2673102"/>
                  <a:gd name="connsiteX116" fmla="*/ 274046 w 1739754"/>
                  <a:gd name="connsiteY116" fmla="*/ 2573089 h 2673102"/>
                  <a:gd name="connsiteX117" fmla="*/ 235946 w 1739754"/>
                  <a:gd name="connsiteY117" fmla="*/ 2539752 h 2673102"/>
                  <a:gd name="connsiteX118" fmla="*/ 231183 w 1739754"/>
                  <a:gd name="connsiteY118" fmla="*/ 2525464 h 2673102"/>
                  <a:gd name="connsiteX119" fmla="*/ 226421 w 1739754"/>
                  <a:gd name="connsiteY119" fmla="*/ 2506414 h 2673102"/>
                  <a:gd name="connsiteX120" fmla="*/ 212133 w 1739754"/>
                  <a:gd name="connsiteY120" fmla="*/ 2492127 h 2673102"/>
                  <a:gd name="connsiteX121" fmla="*/ 154983 w 1739754"/>
                  <a:gd name="connsiteY121" fmla="*/ 2439739 h 2673102"/>
                  <a:gd name="connsiteX122" fmla="*/ 150221 w 1739754"/>
                  <a:gd name="connsiteY122" fmla="*/ 2415927 h 2673102"/>
                  <a:gd name="connsiteX123" fmla="*/ 135933 w 1739754"/>
                  <a:gd name="connsiteY123" fmla="*/ 2358777 h 2673102"/>
                  <a:gd name="connsiteX124" fmla="*/ 121646 w 1739754"/>
                  <a:gd name="connsiteY124" fmla="*/ 2315914 h 2673102"/>
                  <a:gd name="connsiteX125" fmla="*/ 107358 w 1739754"/>
                  <a:gd name="connsiteY125" fmla="*/ 2258764 h 2673102"/>
                  <a:gd name="connsiteX126" fmla="*/ 102596 w 1739754"/>
                  <a:gd name="connsiteY126" fmla="*/ 2234952 h 2673102"/>
                  <a:gd name="connsiteX127" fmla="*/ 93071 w 1739754"/>
                  <a:gd name="connsiteY127" fmla="*/ 2211139 h 2673102"/>
                  <a:gd name="connsiteX128" fmla="*/ 88308 w 1739754"/>
                  <a:gd name="connsiteY128" fmla="*/ 2187327 h 2673102"/>
                  <a:gd name="connsiteX129" fmla="*/ 78783 w 1739754"/>
                  <a:gd name="connsiteY129" fmla="*/ 2111127 h 2673102"/>
                  <a:gd name="connsiteX130" fmla="*/ 97833 w 1739754"/>
                  <a:gd name="connsiteY130" fmla="*/ 1944439 h 2673102"/>
                  <a:gd name="connsiteX131" fmla="*/ 107358 w 1739754"/>
                  <a:gd name="connsiteY131" fmla="*/ 1930152 h 2673102"/>
                  <a:gd name="connsiteX132" fmla="*/ 126408 w 1739754"/>
                  <a:gd name="connsiteY132" fmla="*/ 1901577 h 2673102"/>
                  <a:gd name="connsiteX133" fmla="*/ 135933 w 1739754"/>
                  <a:gd name="connsiteY133" fmla="*/ 1868239 h 2673102"/>
                  <a:gd name="connsiteX134" fmla="*/ 131171 w 1739754"/>
                  <a:gd name="connsiteY134" fmla="*/ 1825377 h 2673102"/>
                  <a:gd name="connsiteX135" fmla="*/ 112121 w 1739754"/>
                  <a:gd name="connsiteY135" fmla="*/ 1820614 h 2673102"/>
                  <a:gd name="connsiteX136" fmla="*/ 102596 w 1739754"/>
                  <a:gd name="connsiteY136" fmla="*/ 1806327 h 2673102"/>
                  <a:gd name="connsiteX137" fmla="*/ 145458 w 1739754"/>
                  <a:gd name="connsiteY137" fmla="*/ 1720602 h 2673102"/>
                  <a:gd name="connsiteX138" fmla="*/ 159746 w 1739754"/>
                  <a:gd name="connsiteY138" fmla="*/ 1715839 h 2673102"/>
                  <a:gd name="connsiteX139" fmla="*/ 174033 w 1739754"/>
                  <a:gd name="connsiteY139" fmla="*/ 1696789 h 2673102"/>
                  <a:gd name="connsiteX140" fmla="*/ 188321 w 1739754"/>
                  <a:gd name="connsiteY140" fmla="*/ 1687264 h 2673102"/>
                  <a:gd name="connsiteX141" fmla="*/ 202608 w 1739754"/>
                  <a:gd name="connsiteY141" fmla="*/ 1653927 h 2673102"/>
                  <a:gd name="connsiteX142" fmla="*/ 193083 w 1739754"/>
                  <a:gd name="connsiteY142" fmla="*/ 1606302 h 2673102"/>
                  <a:gd name="connsiteX143" fmla="*/ 164508 w 1739754"/>
                  <a:gd name="connsiteY143" fmla="*/ 1596777 h 2673102"/>
                  <a:gd name="connsiteX144" fmla="*/ 154983 w 1739754"/>
                  <a:gd name="connsiteY144" fmla="*/ 1549152 h 2673102"/>
                  <a:gd name="connsiteX145" fmla="*/ 150221 w 1739754"/>
                  <a:gd name="connsiteY145" fmla="*/ 1411039 h 2673102"/>
                  <a:gd name="connsiteX146" fmla="*/ 140696 w 1739754"/>
                  <a:gd name="connsiteY146" fmla="*/ 1377702 h 2673102"/>
                  <a:gd name="connsiteX147" fmla="*/ 121646 w 1739754"/>
                  <a:gd name="connsiteY147" fmla="*/ 1311027 h 2673102"/>
                  <a:gd name="connsiteX148" fmla="*/ 116883 w 1739754"/>
                  <a:gd name="connsiteY148" fmla="*/ 1258639 h 2673102"/>
                  <a:gd name="connsiteX149" fmla="*/ 107358 w 1739754"/>
                  <a:gd name="connsiteY149" fmla="*/ 1244352 h 2673102"/>
                  <a:gd name="connsiteX150" fmla="*/ 93071 w 1739754"/>
                  <a:gd name="connsiteY150" fmla="*/ 1196727 h 2673102"/>
                  <a:gd name="connsiteX151" fmla="*/ 78783 w 1739754"/>
                  <a:gd name="connsiteY151" fmla="*/ 1177677 h 2673102"/>
                  <a:gd name="connsiteX152" fmla="*/ 59733 w 1739754"/>
                  <a:gd name="connsiteY152" fmla="*/ 1139577 h 2673102"/>
                  <a:gd name="connsiteX153" fmla="*/ 50208 w 1739754"/>
                  <a:gd name="connsiteY153" fmla="*/ 1111002 h 2673102"/>
                  <a:gd name="connsiteX154" fmla="*/ 45446 w 1739754"/>
                  <a:gd name="connsiteY154" fmla="*/ 1096714 h 2673102"/>
                  <a:gd name="connsiteX155" fmla="*/ 21633 w 1739754"/>
                  <a:gd name="connsiteY155" fmla="*/ 1025277 h 2673102"/>
                  <a:gd name="connsiteX156" fmla="*/ 202 w 1739754"/>
                  <a:gd name="connsiteY156" fmla="*/ 980033 h 2673102"/>
                  <a:gd name="connsiteX157" fmla="*/ 14490 w 1739754"/>
                  <a:gd name="connsiteY157" fmla="*/ 930027 h 2673102"/>
                  <a:gd name="connsiteX158" fmla="*/ 69259 w 1739754"/>
                  <a:gd name="connsiteY158" fmla="*/ 810964 h 2673102"/>
                  <a:gd name="connsiteX159" fmla="*/ 221658 w 1739754"/>
                  <a:gd name="connsiteY159" fmla="*/ 601414 h 2673102"/>
                  <a:gd name="connsiteX160" fmla="*/ 288333 w 1739754"/>
                  <a:gd name="connsiteY160" fmla="*/ 515689 h 2673102"/>
                  <a:gd name="connsiteX161" fmla="*/ 412158 w 1739754"/>
                  <a:gd name="connsiteY161" fmla="*/ 406152 h 2673102"/>
                  <a:gd name="connsiteX162" fmla="*/ 535983 w 1739754"/>
                  <a:gd name="connsiteY162" fmla="*/ 291851 h 2673102"/>
                  <a:gd name="connsiteX163" fmla="*/ 640758 w 1739754"/>
                  <a:gd name="connsiteY163" fmla="*/ 229939 h 2673102"/>
                  <a:gd name="connsiteX164" fmla="*/ 733628 w 1739754"/>
                  <a:gd name="connsiteY164" fmla="*/ 168026 h 2673102"/>
                  <a:gd name="connsiteX165" fmla="*/ 978896 w 1739754"/>
                  <a:gd name="connsiteY165" fmla="*/ 63251 h 2673102"/>
                  <a:gd name="connsiteX166" fmla="*/ 1159871 w 1739754"/>
                  <a:gd name="connsiteY166" fmla="*/ 6102 h 2673102"/>
                  <a:gd name="connsiteX167" fmla="*/ 1202733 w 1739754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45596 w 1739754"/>
                  <a:gd name="connsiteY8" fmla="*/ 296614 h 2673102"/>
                  <a:gd name="connsiteX9" fmla="*/ 1255121 w 1739754"/>
                  <a:gd name="connsiteY9" fmla="*/ 315664 h 2673102"/>
                  <a:gd name="connsiteX10" fmla="*/ 1250358 w 1739754"/>
                  <a:gd name="connsiteY10" fmla="*/ 344239 h 2673102"/>
                  <a:gd name="connsiteX11" fmla="*/ 1245596 w 1739754"/>
                  <a:gd name="connsiteY11" fmla="*/ 363289 h 2673102"/>
                  <a:gd name="connsiteX12" fmla="*/ 1250358 w 1739754"/>
                  <a:gd name="connsiteY12" fmla="*/ 425202 h 2673102"/>
                  <a:gd name="connsiteX13" fmla="*/ 1269408 w 1739754"/>
                  <a:gd name="connsiteY13" fmla="*/ 463302 h 2673102"/>
                  <a:gd name="connsiteX14" fmla="*/ 1278933 w 1739754"/>
                  <a:gd name="connsiteY14" fmla="*/ 477589 h 2673102"/>
                  <a:gd name="connsiteX15" fmla="*/ 1293221 w 1739754"/>
                  <a:gd name="connsiteY15" fmla="*/ 487114 h 2673102"/>
                  <a:gd name="connsiteX16" fmla="*/ 1350371 w 1739754"/>
                  <a:gd name="connsiteY16" fmla="*/ 510927 h 2673102"/>
                  <a:gd name="connsiteX17" fmla="*/ 1378946 w 1739754"/>
                  <a:gd name="connsiteY17" fmla="*/ 520452 h 2673102"/>
                  <a:gd name="connsiteX18" fmla="*/ 1407521 w 1739754"/>
                  <a:gd name="connsiteY18" fmla="*/ 539502 h 2673102"/>
                  <a:gd name="connsiteX19" fmla="*/ 1469433 w 1739754"/>
                  <a:gd name="connsiteY19" fmla="*/ 568077 h 2673102"/>
                  <a:gd name="connsiteX20" fmla="*/ 1521821 w 1739754"/>
                  <a:gd name="connsiteY20" fmla="*/ 587127 h 2673102"/>
                  <a:gd name="connsiteX21" fmla="*/ 1540871 w 1739754"/>
                  <a:gd name="connsiteY21" fmla="*/ 596652 h 2673102"/>
                  <a:gd name="connsiteX22" fmla="*/ 1559921 w 1739754"/>
                  <a:gd name="connsiteY22" fmla="*/ 601414 h 2673102"/>
                  <a:gd name="connsiteX23" fmla="*/ 1607546 w 1739754"/>
                  <a:gd name="connsiteY23" fmla="*/ 639514 h 2673102"/>
                  <a:gd name="connsiteX24" fmla="*/ 1636121 w 1739754"/>
                  <a:gd name="connsiteY24" fmla="*/ 672852 h 2673102"/>
                  <a:gd name="connsiteX25" fmla="*/ 1650408 w 1739754"/>
                  <a:gd name="connsiteY25" fmla="*/ 687139 h 2673102"/>
                  <a:gd name="connsiteX26" fmla="*/ 1669458 w 1739754"/>
                  <a:gd name="connsiteY26" fmla="*/ 696664 h 2673102"/>
                  <a:gd name="connsiteX27" fmla="*/ 1683746 w 1739754"/>
                  <a:gd name="connsiteY27" fmla="*/ 706189 h 2673102"/>
                  <a:gd name="connsiteX28" fmla="*/ 1709940 w 1739754"/>
                  <a:gd name="connsiteY28" fmla="*/ 749052 h 2673102"/>
                  <a:gd name="connsiteX29" fmla="*/ 1702796 w 1739754"/>
                  <a:gd name="connsiteY29" fmla="*/ 853827 h 2673102"/>
                  <a:gd name="connsiteX30" fmla="*/ 1664696 w 1739754"/>
                  <a:gd name="connsiteY30" fmla="*/ 887164 h 2673102"/>
                  <a:gd name="connsiteX31" fmla="*/ 1650408 w 1739754"/>
                  <a:gd name="connsiteY31" fmla="*/ 901452 h 2673102"/>
                  <a:gd name="connsiteX32" fmla="*/ 1598021 w 1739754"/>
                  <a:gd name="connsiteY32" fmla="*/ 906214 h 2673102"/>
                  <a:gd name="connsiteX33" fmla="*/ 1555158 w 1739754"/>
                  <a:gd name="connsiteY33" fmla="*/ 925264 h 2673102"/>
                  <a:gd name="connsiteX34" fmla="*/ 1531346 w 1739754"/>
                  <a:gd name="connsiteY34" fmla="*/ 939552 h 2673102"/>
                  <a:gd name="connsiteX35" fmla="*/ 1498008 w 1739754"/>
                  <a:gd name="connsiteY35" fmla="*/ 987177 h 2673102"/>
                  <a:gd name="connsiteX36" fmla="*/ 1345608 w 1739754"/>
                  <a:gd name="connsiteY36" fmla="*/ 1030039 h 2673102"/>
                  <a:gd name="connsiteX37" fmla="*/ 1297983 w 1739754"/>
                  <a:gd name="connsiteY37" fmla="*/ 1053852 h 2673102"/>
                  <a:gd name="connsiteX38" fmla="*/ 1231308 w 1739754"/>
                  <a:gd name="connsiteY38" fmla="*/ 1082427 h 2673102"/>
                  <a:gd name="connsiteX39" fmla="*/ 1126533 w 1739754"/>
                  <a:gd name="connsiteY39" fmla="*/ 1096714 h 2673102"/>
                  <a:gd name="connsiteX40" fmla="*/ 1102721 w 1739754"/>
                  <a:gd name="connsiteY40" fmla="*/ 1101477 h 2673102"/>
                  <a:gd name="connsiteX41" fmla="*/ 1078908 w 1739754"/>
                  <a:gd name="connsiteY41" fmla="*/ 1111002 h 2673102"/>
                  <a:gd name="connsiteX42" fmla="*/ 964608 w 1739754"/>
                  <a:gd name="connsiteY42" fmla="*/ 1106239 h 2673102"/>
                  <a:gd name="connsiteX43" fmla="*/ 859833 w 1739754"/>
                  <a:gd name="connsiteY43" fmla="*/ 1058614 h 2673102"/>
                  <a:gd name="connsiteX44" fmla="*/ 812208 w 1739754"/>
                  <a:gd name="connsiteY44" fmla="*/ 1034802 h 2673102"/>
                  <a:gd name="connsiteX45" fmla="*/ 788396 w 1739754"/>
                  <a:gd name="connsiteY45" fmla="*/ 1020514 h 2673102"/>
                  <a:gd name="connsiteX46" fmla="*/ 769346 w 1739754"/>
                  <a:gd name="connsiteY46" fmla="*/ 1006227 h 2673102"/>
                  <a:gd name="connsiteX47" fmla="*/ 678858 w 1739754"/>
                  <a:gd name="connsiteY47" fmla="*/ 958602 h 2673102"/>
                  <a:gd name="connsiteX48" fmla="*/ 645521 w 1739754"/>
                  <a:gd name="connsiteY48" fmla="*/ 939552 h 2673102"/>
                  <a:gd name="connsiteX49" fmla="*/ 526458 w 1739754"/>
                  <a:gd name="connsiteY49" fmla="*/ 910977 h 2673102"/>
                  <a:gd name="connsiteX50" fmla="*/ 483596 w 1739754"/>
                  <a:gd name="connsiteY50" fmla="*/ 891927 h 2673102"/>
                  <a:gd name="connsiteX51" fmla="*/ 421683 w 1739754"/>
                  <a:gd name="connsiteY51" fmla="*/ 882402 h 2673102"/>
                  <a:gd name="connsiteX52" fmla="*/ 321671 w 1739754"/>
                  <a:gd name="connsiteY52" fmla="*/ 896689 h 2673102"/>
                  <a:gd name="connsiteX53" fmla="*/ 307383 w 1739754"/>
                  <a:gd name="connsiteY53" fmla="*/ 910977 h 2673102"/>
                  <a:gd name="connsiteX54" fmla="*/ 283571 w 1739754"/>
                  <a:gd name="connsiteY54" fmla="*/ 949077 h 2673102"/>
                  <a:gd name="connsiteX55" fmla="*/ 269283 w 1739754"/>
                  <a:gd name="connsiteY55" fmla="*/ 987177 h 2673102"/>
                  <a:gd name="connsiteX56" fmla="*/ 264521 w 1739754"/>
                  <a:gd name="connsiteY56" fmla="*/ 1039564 h 2673102"/>
                  <a:gd name="connsiteX57" fmla="*/ 264521 w 1739754"/>
                  <a:gd name="connsiteY57" fmla="*/ 1120527 h 2673102"/>
                  <a:gd name="connsiteX58" fmla="*/ 297858 w 1739754"/>
                  <a:gd name="connsiteY58" fmla="*/ 1153864 h 2673102"/>
                  <a:gd name="connsiteX59" fmla="*/ 326433 w 1739754"/>
                  <a:gd name="connsiteY59" fmla="*/ 1163389 h 2673102"/>
                  <a:gd name="connsiteX60" fmla="*/ 326433 w 1739754"/>
                  <a:gd name="connsiteY60" fmla="*/ 1244352 h 2673102"/>
                  <a:gd name="connsiteX61" fmla="*/ 312146 w 1739754"/>
                  <a:gd name="connsiteY61" fmla="*/ 1258639 h 2673102"/>
                  <a:gd name="connsiteX62" fmla="*/ 259758 w 1739754"/>
                  <a:gd name="connsiteY62" fmla="*/ 1296739 h 2673102"/>
                  <a:gd name="connsiteX63" fmla="*/ 240708 w 1739754"/>
                  <a:gd name="connsiteY63" fmla="*/ 1325314 h 2673102"/>
                  <a:gd name="connsiteX64" fmla="*/ 250233 w 1739754"/>
                  <a:gd name="connsiteY64" fmla="*/ 1425327 h 2673102"/>
                  <a:gd name="connsiteX65" fmla="*/ 278808 w 1739754"/>
                  <a:gd name="connsiteY65" fmla="*/ 1472952 h 2673102"/>
                  <a:gd name="connsiteX66" fmla="*/ 293096 w 1739754"/>
                  <a:gd name="connsiteY66" fmla="*/ 1492002 h 2673102"/>
                  <a:gd name="connsiteX67" fmla="*/ 383583 w 1739754"/>
                  <a:gd name="connsiteY67" fmla="*/ 1525339 h 2673102"/>
                  <a:gd name="connsiteX68" fmla="*/ 407396 w 1739754"/>
                  <a:gd name="connsiteY68" fmla="*/ 1492002 h 2673102"/>
                  <a:gd name="connsiteX69" fmla="*/ 412158 w 1739754"/>
                  <a:gd name="connsiteY69" fmla="*/ 1468189 h 2673102"/>
                  <a:gd name="connsiteX70" fmla="*/ 416921 w 1739754"/>
                  <a:gd name="connsiteY70" fmla="*/ 1449139 h 2673102"/>
                  <a:gd name="connsiteX71" fmla="*/ 445496 w 1739754"/>
                  <a:gd name="connsiteY71" fmla="*/ 1439614 h 2673102"/>
                  <a:gd name="connsiteX72" fmla="*/ 545508 w 1739754"/>
                  <a:gd name="connsiteY72" fmla="*/ 1458664 h 2673102"/>
                  <a:gd name="connsiteX73" fmla="*/ 555033 w 1739754"/>
                  <a:gd name="connsiteY73" fmla="*/ 1482477 h 2673102"/>
                  <a:gd name="connsiteX74" fmla="*/ 564558 w 1739754"/>
                  <a:gd name="connsiteY74" fmla="*/ 1515814 h 2673102"/>
                  <a:gd name="connsiteX75" fmla="*/ 550271 w 1739754"/>
                  <a:gd name="connsiteY75" fmla="*/ 1534864 h 2673102"/>
                  <a:gd name="connsiteX76" fmla="*/ 550271 w 1739754"/>
                  <a:gd name="connsiteY76" fmla="*/ 1601539 h 2673102"/>
                  <a:gd name="connsiteX77" fmla="*/ 559796 w 1739754"/>
                  <a:gd name="connsiteY77" fmla="*/ 1620589 h 2673102"/>
                  <a:gd name="connsiteX78" fmla="*/ 626471 w 1739754"/>
                  <a:gd name="connsiteY78" fmla="*/ 1639639 h 2673102"/>
                  <a:gd name="connsiteX79" fmla="*/ 645521 w 1739754"/>
                  <a:gd name="connsiteY79" fmla="*/ 1592014 h 2673102"/>
                  <a:gd name="connsiteX80" fmla="*/ 702671 w 1739754"/>
                  <a:gd name="connsiteY80" fmla="*/ 1620589 h 2673102"/>
                  <a:gd name="connsiteX81" fmla="*/ 731246 w 1739754"/>
                  <a:gd name="connsiteY81" fmla="*/ 1630114 h 2673102"/>
                  <a:gd name="connsiteX82" fmla="*/ 783633 w 1739754"/>
                  <a:gd name="connsiteY82" fmla="*/ 1663452 h 2673102"/>
                  <a:gd name="connsiteX83" fmla="*/ 859833 w 1739754"/>
                  <a:gd name="connsiteY83" fmla="*/ 1687264 h 2673102"/>
                  <a:gd name="connsiteX84" fmla="*/ 878883 w 1739754"/>
                  <a:gd name="connsiteY84" fmla="*/ 1701552 h 2673102"/>
                  <a:gd name="connsiteX85" fmla="*/ 888408 w 1739754"/>
                  <a:gd name="connsiteY85" fmla="*/ 1739652 h 2673102"/>
                  <a:gd name="connsiteX86" fmla="*/ 897933 w 1739754"/>
                  <a:gd name="connsiteY86" fmla="*/ 1782514 h 2673102"/>
                  <a:gd name="connsiteX87" fmla="*/ 940796 w 1739754"/>
                  <a:gd name="connsiteY87" fmla="*/ 1892052 h 2673102"/>
                  <a:gd name="connsiteX88" fmla="*/ 950321 w 1739754"/>
                  <a:gd name="connsiteY88" fmla="*/ 1906339 h 2673102"/>
                  <a:gd name="connsiteX89" fmla="*/ 959846 w 1739754"/>
                  <a:gd name="connsiteY89" fmla="*/ 1939677 h 2673102"/>
                  <a:gd name="connsiteX90" fmla="*/ 974133 w 1739754"/>
                  <a:gd name="connsiteY90" fmla="*/ 1977777 h 2673102"/>
                  <a:gd name="connsiteX91" fmla="*/ 964608 w 1739754"/>
                  <a:gd name="connsiteY91" fmla="*/ 2082552 h 2673102"/>
                  <a:gd name="connsiteX92" fmla="*/ 955083 w 1739754"/>
                  <a:gd name="connsiteY92" fmla="*/ 2101602 h 2673102"/>
                  <a:gd name="connsiteX93" fmla="*/ 926508 w 1739754"/>
                  <a:gd name="connsiteY93" fmla="*/ 2144464 h 2673102"/>
                  <a:gd name="connsiteX94" fmla="*/ 907458 w 1739754"/>
                  <a:gd name="connsiteY94" fmla="*/ 2192089 h 2673102"/>
                  <a:gd name="connsiteX95" fmla="*/ 902696 w 1739754"/>
                  <a:gd name="connsiteY95" fmla="*/ 2211139 h 2673102"/>
                  <a:gd name="connsiteX96" fmla="*/ 893171 w 1739754"/>
                  <a:gd name="connsiteY96" fmla="*/ 2239714 h 2673102"/>
                  <a:gd name="connsiteX97" fmla="*/ 897933 w 1739754"/>
                  <a:gd name="connsiteY97" fmla="*/ 2287339 h 2673102"/>
                  <a:gd name="connsiteX98" fmla="*/ 893171 w 1739754"/>
                  <a:gd name="connsiteY98" fmla="*/ 2396877 h 2673102"/>
                  <a:gd name="connsiteX99" fmla="*/ 688383 w 1739754"/>
                  <a:gd name="connsiteY99" fmla="*/ 2449264 h 2673102"/>
                  <a:gd name="connsiteX100" fmla="*/ 655046 w 1739754"/>
                  <a:gd name="connsiteY100" fmla="*/ 2473077 h 2673102"/>
                  <a:gd name="connsiteX101" fmla="*/ 607421 w 1739754"/>
                  <a:gd name="connsiteY101" fmla="*/ 2511177 h 2673102"/>
                  <a:gd name="connsiteX102" fmla="*/ 574083 w 1739754"/>
                  <a:gd name="connsiteY102" fmla="*/ 2534989 h 2673102"/>
                  <a:gd name="connsiteX103" fmla="*/ 540746 w 1739754"/>
                  <a:gd name="connsiteY103" fmla="*/ 2554039 h 2673102"/>
                  <a:gd name="connsiteX104" fmla="*/ 497883 w 1739754"/>
                  <a:gd name="connsiteY104" fmla="*/ 2587377 h 2673102"/>
                  <a:gd name="connsiteX105" fmla="*/ 483596 w 1739754"/>
                  <a:gd name="connsiteY105" fmla="*/ 2601664 h 2673102"/>
                  <a:gd name="connsiteX106" fmla="*/ 459783 w 1739754"/>
                  <a:gd name="connsiteY106" fmla="*/ 2620714 h 2673102"/>
                  <a:gd name="connsiteX107" fmla="*/ 450258 w 1739754"/>
                  <a:gd name="connsiteY107" fmla="*/ 2635002 h 2673102"/>
                  <a:gd name="connsiteX108" fmla="*/ 416921 w 1739754"/>
                  <a:gd name="connsiteY108" fmla="*/ 2654052 h 2673102"/>
                  <a:gd name="connsiteX109" fmla="*/ 374058 w 1739754"/>
                  <a:gd name="connsiteY109" fmla="*/ 2673102 h 2673102"/>
                  <a:gd name="connsiteX110" fmla="*/ 359771 w 1739754"/>
                  <a:gd name="connsiteY110" fmla="*/ 2663577 h 2673102"/>
                  <a:gd name="connsiteX111" fmla="*/ 345483 w 1739754"/>
                  <a:gd name="connsiteY111" fmla="*/ 2635002 h 2673102"/>
                  <a:gd name="connsiteX112" fmla="*/ 335958 w 1739754"/>
                  <a:gd name="connsiteY112" fmla="*/ 2620714 h 2673102"/>
                  <a:gd name="connsiteX113" fmla="*/ 297858 w 1739754"/>
                  <a:gd name="connsiteY113" fmla="*/ 2611189 h 2673102"/>
                  <a:gd name="connsiteX114" fmla="*/ 278808 w 1739754"/>
                  <a:gd name="connsiteY114" fmla="*/ 2592139 h 2673102"/>
                  <a:gd name="connsiteX115" fmla="*/ 274046 w 1739754"/>
                  <a:gd name="connsiteY115" fmla="*/ 2573089 h 2673102"/>
                  <a:gd name="connsiteX116" fmla="*/ 235946 w 1739754"/>
                  <a:gd name="connsiteY116" fmla="*/ 2539752 h 2673102"/>
                  <a:gd name="connsiteX117" fmla="*/ 231183 w 1739754"/>
                  <a:gd name="connsiteY117" fmla="*/ 2525464 h 2673102"/>
                  <a:gd name="connsiteX118" fmla="*/ 226421 w 1739754"/>
                  <a:gd name="connsiteY118" fmla="*/ 2506414 h 2673102"/>
                  <a:gd name="connsiteX119" fmla="*/ 212133 w 1739754"/>
                  <a:gd name="connsiteY119" fmla="*/ 2492127 h 2673102"/>
                  <a:gd name="connsiteX120" fmla="*/ 154983 w 1739754"/>
                  <a:gd name="connsiteY120" fmla="*/ 2439739 h 2673102"/>
                  <a:gd name="connsiteX121" fmla="*/ 150221 w 1739754"/>
                  <a:gd name="connsiteY121" fmla="*/ 2415927 h 2673102"/>
                  <a:gd name="connsiteX122" fmla="*/ 135933 w 1739754"/>
                  <a:gd name="connsiteY122" fmla="*/ 2358777 h 2673102"/>
                  <a:gd name="connsiteX123" fmla="*/ 121646 w 1739754"/>
                  <a:gd name="connsiteY123" fmla="*/ 2315914 h 2673102"/>
                  <a:gd name="connsiteX124" fmla="*/ 107358 w 1739754"/>
                  <a:gd name="connsiteY124" fmla="*/ 2258764 h 2673102"/>
                  <a:gd name="connsiteX125" fmla="*/ 102596 w 1739754"/>
                  <a:gd name="connsiteY125" fmla="*/ 2234952 h 2673102"/>
                  <a:gd name="connsiteX126" fmla="*/ 93071 w 1739754"/>
                  <a:gd name="connsiteY126" fmla="*/ 2211139 h 2673102"/>
                  <a:gd name="connsiteX127" fmla="*/ 88308 w 1739754"/>
                  <a:gd name="connsiteY127" fmla="*/ 2187327 h 2673102"/>
                  <a:gd name="connsiteX128" fmla="*/ 78783 w 1739754"/>
                  <a:gd name="connsiteY128" fmla="*/ 2111127 h 2673102"/>
                  <a:gd name="connsiteX129" fmla="*/ 97833 w 1739754"/>
                  <a:gd name="connsiteY129" fmla="*/ 1944439 h 2673102"/>
                  <a:gd name="connsiteX130" fmla="*/ 107358 w 1739754"/>
                  <a:gd name="connsiteY130" fmla="*/ 1930152 h 2673102"/>
                  <a:gd name="connsiteX131" fmla="*/ 126408 w 1739754"/>
                  <a:gd name="connsiteY131" fmla="*/ 1901577 h 2673102"/>
                  <a:gd name="connsiteX132" fmla="*/ 135933 w 1739754"/>
                  <a:gd name="connsiteY132" fmla="*/ 1868239 h 2673102"/>
                  <a:gd name="connsiteX133" fmla="*/ 131171 w 1739754"/>
                  <a:gd name="connsiteY133" fmla="*/ 1825377 h 2673102"/>
                  <a:gd name="connsiteX134" fmla="*/ 112121 w 1739754"/>
                  <a:gd name="connsiteY134" fmla="*/ 1820614 h 2673102"/>
                  <a:gd name="connsiteX135" fmla="*/ 102596 w 1739754"/>
                  <a:gd name="connsiteY135" fmla="*/ 1806327 h 2673102"/>
                  <a:gd name="connsiteX136" fmla="*/ 145458 w 1739754"/>
                  <a:gd name="connsiteY136" fmla="*/ 1720602 h 2673102"/>
                  <a:gd name="connsiteX137" fmla="*/ 159746 w 1739754"/>
                  <a:gd name="connsiteY137" fmla="*/ 1715839 h 2673102"/>
                  <a:gd name="connsiteX138" fmla="*/ 174033 w 1739754"/>
                  <a:gd name="connsiteY138" fmla="*/ 1696789 h 2673102"/>
                  <a:gd name="connsiteX139" fmla="*/ 188321 w 1739754"/>
                  <a:gd name="connsiteY139" fmla="*/ 1687264 h 2673102"/>
                  <a:gd name="connsiteX140" fmla="*/ 202608 w 1739754"/>
                  <a:gd name="connsiteY140" fmla="*/ 1653927 h 2673102"/>
                  <a:gd name="connsiteX141" fmla="*/ 193083 w 1739754"/>
                  <a:gd name="connsiteY141" fmla="*/ 1606302 h 2673102"/>
                  <a:gd name="connsiteX142" fmla="*/ 164508 w 1739754"/>
                  <a:gd name="connsiteY142" fmla="*/ 1596777 h 2673102"/>
                  <a:gd name="connsiteX143" fmla="*/ 154983 w 1739754"/>
                  <a:gd name="connsiteY143" fmla="*/ 1549152 h 2673102"/>
                  <a:gd name="connsiteX144" fmla="*/ 150221 w 1739754"/>
                  <a:gd name="connsiteY144" fmla="*/ 1411039 h 2673102"/>
                  <a:gd name="connsiteX145" fmla="*/ 140696 w 1739754"/>
                  <a:gd name="connsiteY145" fmla="*/ 1377702 h 2673102"/>
                  <a:gd name="connsiteX146" fmla="*/ 121646 w 1739754"/>
                  <a:gd name="connsiteY146" fmla="*/ 1311027 h 2673102"/>
                  <a:gd name="connsiteX147" fmla="*/ 116883 w 1739754"/>
                  <a:gd name="connsiteY147" fmla="*/ 1258639 h 2673102"/>
                  <a:gd name="connsiteX148" fmla="*/ 107358 w 1739754"/>
                  <a:gd name="connsiteY148" fmla="*/ 1244352 h 2673102"/>
                  <a:gd name="connsiteX149" fmla="*/ 93071 w 1739754"/>
                  <a:gd name="connsiteY149" fmla="*/ 1196727 h 2673102"/>
                  <a:gd name="connsiteX150" fmla="*/ 78783 w 1739754"/>
                  <a:gd name="connsiteY150" fmla="*/ 1177677 h 2673102"/>
                  <a:gd name="connsiteX151" fmla="*/ 59733 w 1739754"/>
                  <a:gd name="connsiteY151" fmla="*/ 1139577 h 2673102"/>
                  <a:gd name="connsiteX152" fmla="*/ 50208 w 1739754"/>
                  <a:gd name="connsiteY152" fmla="*/ 1111002 h 2673102"/>
                  <a:gd name="connsiteX153" fmla="*/ 45446 w 1739754"/>
                  <a:gd name="connsiteY153" fmla="*/ 1096714 h 2673102"/>
                  <a:gd name="connsiteX154" fmla="*/ 21633 w 1739754"/>
                  <a:gd name="connsiteY154" fmla="*/ 1025277 h 2673102"/>
                  <a:gd name="connsiteX155" fmla="*/ 202 w 1739754"/>
                  <a:gd name="connsiteY155" fmla="*/ 980033 h 2673102"/>
                  <a:gd name="connsiteX156" fmla="*/ 14490 w 1739754"/>
                  <a:gd name="connsiteY156" fmla="*/ 930027 h 2673102"/>
                  <a:gd name="connsiteX157" fmla="*/ 69259 w 1739754"/>
                  <a:gd name="connsiteY157" fmla="*/ 810964 h 2673102"/>
                  <a:gd name="connsiteX158" fmla="*/ 221658 w 1739754"/>
                  <a:gd name="connsiteY158" fmla="*/ 601414 h 2673102"/>
                  <a:gd name="connsiteX159" fmla="*/ 288333 w 1739754"/>
                  <a:gd name="connsiteY159" fmla="*/ 515689 h 2673102"/>
                  <a:gd name="connsiteX160" fmla="*/ 412158 w 1739754"/>
                  <a:gd name="connsiteY160" fmla="*/ 406152 h 2673102"/>
                  <a:gd name="connsiteX161" fmla="*/ 535983 w 1739754"/>
                  <a:gd name="connsiteY161" fmla="*/ 291851 h 2673102"/>
                  <a:gd name="connsiteX162" fmla="*/ 640758 w 1739754"/>
                  <a:gd name="connsiteY162" fmla="*/ 229939 h 2673102"/>
                  <a:gd name="connsiteX163" fmla="*/ 733628 w 1739754"/>
                  <a:gd name="connsiteY163" fmla="*/ 168026 h 2673102"/>
                  <a:gd name="connsiteX164" fmla="*/ 978896 w 1739754"/>
                  <a:gd name="connsiteY164" fmla="*/ 63251 h 2673102"/>
                  <a:gd name="connsiteX165" fmla="*/ 1159871 w 1739754"/>
                  <a:gd name="connsiteY165" fmla="*/ 6102 h 2673102"/>
                  <a:gd name="connsiteX166" fmla="*/ 1202733 w 1739754"/>
                  <a:gd name="connsiteY16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45596 w 1739754"/>
                  <a:gd name="connsiteY7" fmla="*/ 296614 h 2673102"/>
                  <a:gd name="connsiteX8" fmla="*/ 1255121 w 1739754"/>
                  <a:gd name="connsiteY8" fmla="*/ 315664 h 2673102"/>
                  <a:gd name="connsiteX9" fmla="*/ 1250358 w 1739754"/>
                  <a:gd name="connsiteY9" fmla="*/ 344239 h 2673102"/>
                  <a:gd name="connsiteX10" fmla="*/ 1245596 w 1739754"/>
                  <a:gd name="connsiteY10" fmla="*/ 363289 h 2673102"/>
                  <a:gd name="connsiteX11" fmla="*/ 1250358 w 1739754"/>
                  <a:gd name="connsiteY11" fmla="*/ 425202 h 2673102"/>
                  <a:gd name="connsiteX12" fmla="*/ 1269408 w 1739754"/>
                  <a:gd name="connsiteY12" fmla="*/ 463302 h 2673102"/>
                  <a:gd name="connsiteX13" fmla="*/ 1278933 w 1739754"/>
                  <a:gd name="connsiteY13" fmla="*/ 477589 h 2673102"/>
                  <a:gd name="connsiteX14" fmla="*/ 1293221 w 1739754"/>
                  <a:gd name="connsiteY14" fmla="*/ 487114 h 2673102"/>
                  <a:gd name="connsiteX15" fmla="*/ 1350371 w 1739754"/>
                  <a:gd name="connsiteY15" fmla="*/ 510927 h 2673102"/>
                  <a:gd name="connsiteX16" fmla="*/ 1378946 w 1739754"/>
                  <a:gd name="connsiteY16" fmla="*/ 520452 h 2673102"/>
                  <a:gd name="connsiteX17" fmla="*/ 1407521 w 1739754"/>
                  <a:gd name="connsiteY17" fmla="*/ 539502 h 2673102"/>
                  <a:gd name="connsiteX18" fmla="*/ 1469433 w 1739754"/>
                  <a:gd name="connsiteY18" fmla="*/ 568077 h 2673102"/>
                  <a:gd name="connsiteX19" fmla="*/ 1521821 w 1739754"/>
                  <a:gd name="connsiteY19" fmla="*/ 587127 h 2673102"/>
                  <a:gd name="connsiteX20" fmla="*/ 1540871 w 1739754"/>
                  <a:gd name="connsiteY20" fmla="*/ 596652 h 2673102"/>
                  <a:gd name="connsiteX21" fmla="*/ 1559921 w 1739754"/>
                  <a:gd name="connsiteY21" fmla="*/ 601414 h 2673102"/>
                  <a:gd name="connsiteX22" fmla="*/ 1607546 w 1739754"/>
                  <a:gd name="connsiteY22" fmla="*/ 639514 h 2673102"/>
                  <a:gd name="connsiteX23" fmla="*/ 1636121 w 1739754"/>
                  <a:gd name="connsiteY23" fmla="*/ 672852 h 2673102"/>
                  <a:gd name="connsiteX24" fmla="*/ 1650408 w 1739754"/>
                  <a:gd name="connsiteY24" fmla="*/ 687139 h 2673102"/>
                  <a:gd name="connsiteX25" fmla="*/ 1669458 w 1739754"/>
                  <a:gd name="connsiteY25" fmla="*/ 696664 h 2673102"/>
                  <a:gd name="connsiteX26" fmla="*/ 1683746 w 1739754"/>
                  <a:gd name="connsiteY26" fmla="*/ 706189 h 2673102"/>
                  <a:gd name="connsiteX27" fmla="*/ 1709940 w 1739754"/>
                  <a:gd name="connsiteY27" fmla="*/ 749052 h 2673102"/>
                  <a:gd name="connsiteX28" fmla="*/ 1702796 w 1739754"/>
                  <a:gd name="connsiteY28" fmla="*/ 853827 h 2673102"/>
                  <a:gd name="connsiteX29" fmla="*/ 1664696 w 1739754"/>
                  <a:gd name="connsiteY29" fmla="*/ 887164 h 2673102"/>
                  <a:gd name="connsiteX30" fmla="*/ 1650408 w 1739754"/>
                  <a:gd name="connsiteY30" fmla="*/ 901452 h 2673102"/>
                  <a:gd name="connsiteX31" fmla="*/ 1598021 w 1739754"/>
                  <a:gd name="connsiteY31" fmla="*/ 906214 h 2673102"/>
                  <a:gd name="connsiteX32" fmla="*/ 1555158 w 1739754"/>
                  <a:gd name="connsiteY32" fmla="*/ 925264 h 2673102"/>
                  <a:gd name="connsiteX33" fmla="*/ 1531346 w 1739754"/>
                  <a:gd name="connsiteY33" fmla="*/ 939552 h 2673102"/>
                  <a:gd name="connsiteX34" fmla="*/ 1498008 w 1739754"/>
                  <a:gd name="connsiteY34" fmla="*/ 987177 h 2673102"/>
                  <a:gd name="connsiteX35" fmla="*/ 1345608 w 1739754"/>
                  <a:gd name="connsiteY35" fmla="*/ 1030039 h 2673102"/>
                  <a:gd name="connsiteX36" fmla="*/ 1297983 w 1739754"/>
                  <a:gd name="connsiteY36" fmla="*/ 1053852 h 2673102"/>
                  <a:gd name="connsiteX37" fmla="*/ 1231308 w 1739754"/>
                  <a:gd name="connsiteY37" fmla="*/ 1082427 h 2673102"/>
                  <a:gd name="connsiteX38" fmla="*/ 1126533 w 1739754"/>
                  <a:gd name="connsiteY38" fmla="*/ 1096714 h 2673102"/>
                  <a:gd name="connsiteX39" fmla="*/ 1102721 w 1739754"/>
                  <a:gd name="connsiteY39" fmla="*/ 1101477 h 2673102"/>
                  <a:gd name="connsiteX40" fmla="*/ 1078908 w 1739754"/>
                  <a:gd name="connsiteY40" fmla="*/ 1111002 h 2673102"/>
                  <a:gd name="connsiteX41" fmla="*/ 964608 w 1739754"/>
                  <a:gd name="connsiteY41" fmla="*/ 1106239 h 2673102"/>
                  <a:gd name="connsiteX42" fmla="*/ 859833 w 1739754"/>
                  <a:gd name="connsiteY42" fmla="*/ 1058614 h 2673102"/>
                  <a:gd name="connsiteX43" fmla="*/ 812208 w 1739754"/>
                  <a:gd name="connsiteY43" fmla="*/ 1034802 h 2673102"/>
                  <a:gd name="connsiteX44" fmla="*/ 788396 w 1739754"/>
                  <a:gd name="connsiteY44" fmla="*/ 1020514 h 2673102"/>
                  <a:gd name="connsiteX45" fmla="*/ 769346 w 1739754"/>
                  <a:gd name="connsiteY45" fmla="*/ 1006227 h 2673102"/>
                  <a:gd name="connsiteX46" fmla="*/ 678858 w 1739754"/>
                  <a:gd name="connsiteY46" fmla="*/ 958602 h 2673102"/>
                  <a:gd name="connsiteX47" fmla="*/ 645521 w 1739754"/>
                  <a:gd name="connsiteY47" fmla="*/ 939552 h 2673102"/>
                  <a:gd name="connsiteX48" fmla="*/ 526458 w 1739754"/>
                  <a:gd name="connsiteY48" fmla="*/ 910977 h 2673102"/>
                  <a:gd name="connsiteX49" fmla="*/ 483596 w 1739754"/>
                  <a:gd name="connsiteY49" fmla="*/ 891927 h 2673102"/>
                  <a:gd name="connsiteX50" fmla="*/ 421683 w 1739754"/>
                  <a:gd name="connsiteY50" fmla="*/ 882402 h 2673102"/>
                  <a:gd name="connsiteX51" fmla="*/ 321671 w 1739754"/>
                  <a:gd name="connsiteY51" fmla="*/ 896689 h 2673102"/>
                  <a:gd name="connsiteX52" fmla="*/ 307383 w 1739754"/>
                  <a:gd name="connsiteY52" fmla="*/ 910977 h 2673102"/>
                  <a:gd name="connsiteX53" fmla="*/ 283571 w 1739754"/>
                  <a:gd name="connsiteY53" fmla="*/ 949077 h 2673102"/>
                  <a:gd name="connsiteX54" fmla="*/ 269283 w 1739754"/>
                  <a:gd name="connsiteY54" fmla="*/ 987177 h 2673102"/>
                  <a:gd name="connsiteX55" fmla="*/ 264521 w 1739754"/>
                  <a:gd name="connsiteY55" fmla="*/ 1039564 h 2673102"/>
                  <a:gd name="connsiteX56" fmla="*/ 264521 w 1739754"/>
                  <a:gd name="connsiteY56" fmla="*/ 1120527 h 2673102"/>
                  <a:gd name="connsiteX57" fmla="*/ 297858 w 1739754"/>
                  <a:gd name="connsiteY57" fmla="*/ 1153864 h 2673102"/>
                  <a:gd name="connsiteX58" fmla="*/ 326433 w 1739754"/>
                  <a:gd name="connsiteY58" fmla="*/ 1163389 h 2673102"/>
                  <a:gd name="connsiteX59" fmla="*/ 326433 w 1739754"/>
                  <a:gd name="connsiteY59" fmla="*/ 1244352 h 2673102"/>
                  <a:gd name="connsiteX60" fmla="*/ 312146 w 1739754"/>
                  <a:gd name="connsiteY60" fmla="*/ 1258639 h 2673102"/>
                  <a:gd name="connsiteX61" fmla="*/ 259758 w 1739754"/>
                  <a:gd name="connsiteY61" fmla="*/ 1296739 h 2673102"/>
                  <a:gd name="connsiteX62" fmla="*/ 240708 w 1739754"/>
                  <a:gd name="connsiteY62" fmla="*/ 1325314 h 2673102"/>
                  <a:gd name="connsiteX63" fmla="*/ 250233 w 1739754"/>
                  <a:gd name="connsiteY63" fmla="*/ 1425327 h 2673102"/>
                  <a:gd name="connsiteX64" fmla="*/ 278808 w 1739754"/>
                  <a:gd name="connsiteY64" fmla="*/ 1472952 h 2673102"/>
                  <a:gd name="connsiteX65" fmla="*/ 293096 w 1739754"/>
                  <a:gd name="connsiteY65" fmla="*/ 1492002 h 2673102"/>
                  <a:gd name="connsiteX66" fmla="*/ 383583 w 1739754"/>
                  <a:gd name="connsiteY66" fmla="*/ 1525339 h 2673102"/>
                  <a:gd name="connsiteX67" fmla="*/ 407396 w 1739754"/>
                  <a:gd name="connsiteY67" fmla="*/ 1492002 h 2673102"/>
                  <a:gd name="connsiteX68" fmla="*/ 412158 w 1739754"/>
                  <a:gd name="connsiteY68" fmla="*/ 1468189 h 2673102"/>
                  <a:gd name="connsiteX69" fmla="*/ 416921 w 1739754"/>
                  <a:gd name="connsiteY69" fmla="*/ 1449139 h 2673102"/>
                  <a:gd name="connsiteX70" fmla="*/ 445496 w 1739754"/>
                  <a:gd name="connsiteY70" fmla="*/ 1439614 h 2673102"/>
                  <a:gd name="connsiteX71" fmla="*/ 545508 w 1739754"/>
                  <a:gd name="connsiteY71" fmla="*/ 1458664 h 2673102"/>
                  <a:gd name="connsiteX72" fmla="*/ 555033 w 1739754"/>
                  <a:gd name="connsiteY72" fmla="*/ 1482477 h 2673102"/>
                  <a:gd name="connsiteX73" fmla="*/ 564558 w 1739754"/>
                  <a:gd name="connsiteY73" fmla="*/ 1515814 h 2673102"/>
                  <a:gd name="connsiteX74" fmla="*/ 550271 w 1739754"/>
                  <a:gd name="connsiteY74" fmla="*/ 1534864 h 2673102"/>
                  <a:gd name="connsiteX75" fmla="*/ 550271 w 1739754"/>
                  <a:gd name="connsiteY75" fmla="*/ 1601539 h 2673102"/>
                  <a:gd name="connsiteX76" fmla="*/ 559796 w 1739754"/>
                  <a:gd name="connsiteY76" fmla="*/ 1620589 h 2673102"/>
                  <a:gd name="connsiteX77" fmla="*/ 626471 w 1739754"/>
                  <a:gd name="connsiteY77" fmla="*/ 1639639 h 2673102"/>
                  <a:gd name="connsiteX78" fmla="*/ 645521 w 1739754"/>
                  <a:gd name="connsiteY78" fmla="*/ 1592014 h 2673102"/>
                  <a:gd name="connsiteX79" fmla="*/ 702671 w 1739754"/>
                  <a:gd name="connsiteY79" fmla="*/ 1620589 h 2673102"/>
                  <a:gd name="connsiteX80" fmla="*/ 731246 w 1739754"/>
                  <a:gd name="connsiteY80" fmla="*/ 1630114 h 2673102"/>
                  <a:gd name="connsiteX81" fmla="*/ 783633 w 1739754"/>
                  <a:gd name="connsiteY81" fmla="*/ 1663452 h 2673102"/>
                  <a:gd name="connsiteX82" fmla="*/ 859833 w 1739754"/>
                  <a:gd name="connsiteY82" fmla="*/ 1687264 h 2673102"/>
                  <a:gd name="connsiteX83" fmla="*/ 878883 w 1739754"/>
                  <a:gd name="connsiteY83" fmla="*/ 1701552 h 2673102"/>
                  <a:gd name="connsiteX84" fmla="*/ 888408 w 1739754"/>
                  <a:gd name="connsiteY84" fmla="*/ 1739652 h 2673102"/>
                  <a:gd name="connsiteX85" fmla="*/ 897933 w 1739754"/>
                  <a:gd name="connsiteY85" fmla="*/ 1782514 h 2673102"/>
                  <a:gd name="connsiteX86" fmla="*/ 940796 w 1739754"/>
                  <a:gd name="connsiteY86" fmla="*/ 1892052 h 2673102"/>
                  <a:gd name="connsiteX87" fmla="*/ 950321 w 1739754"/>
                  <a:gd name="connsiteY87" fmla="*/ 1906339 h 2673102"/>
                  <a:gd name="connsiteX88" fmla="*/ 959846 w 1739754"/>
                  <a:gd name="connsiteY88" fmla="*/ 1939677 h 2673102"/>
                  <a:gd name="connsiteX89" fmla="*/ 974133 w 1739754"/>
                  <a:gd name="connsiteY89" fmla="*/ 1977777 h 2673102"/>
                  <a:gd name="connsiteX90" fmla="*/ 964608 w 1739754"/>
                  <a:gd name="connsiteY90" fmla="*/ 2082552 h 2673102"/>
                  <a:gd name="connsiteX91" fmla="*/ 955083 w 1739754"/>
                  <a:gd name="connsiteY91" fmla="*/ 2101602 h 2673102"/>
                  <a:gd name="connsiteX92" fmla="*/ 926508 w 1739754"/>
                  <a:gd name="connsiteY92" fmla="*/ 2144464 h 2673102"/>
                  <a:gd name="connsiteX93" fmla="*/ 907458 w 1739754"/>
                  <a:gd name="connsiteY93" fmla="*/ 2192089 h 2673102"/>
                  <a:gd name="connsiteX94" fmla="*/ 902696 w 1739754"/>
                  <a:gd name="connsiteY94" fmla="*/ 2211139 h 2673102"/>
                  <a:gd name="connsiteX95" fmla="*/ 893171 w 1739754"/>
                  <a:gd name="connsiteY95" fmla="*/ 2239714 h 2673102"/>
                  <a:gd name="connsiteX96" fmla="*/ 897933 w 1739754"/>
                  <a:gd name="connsiteY96" fmla="*/ 2287339 h 2673102"/>
                  <a:gd name="connsiteX97" fmla="*/ 893171 w 1739754"/>
                  <a:gd name="connsiteY97" fmla="*/ 2396877 h 2673102"/>
                  <a:gd name="connsiteX98" fmla="*/ 688383 w 1739754"/>
                  <a:gd name="connsiteY98" fmla="*/ 2449264 h 2673102"/>
                  <a:gd name="connsiteX99" fmla="*/ 655046 w 1739754"/>
                  <a:gd name="connsiteY99" fmla="*/ 2473077 h 2673102"/>
                  <a:gd name="connsiteX100" fmla="*/ 607421 w 1739754"/>
                  <a:gd name="connsiteY100" fmla="*/ 2511177 h 2673102"/>
                  <a:gd name="connsiteX101" fmla="*/ 574083 w 1739754"/>
                  <a:gd name="connsiteY101" fmla="*/ 2534989 h 2673102"/>
                  <a:gd name="connsiteX102" fmla="*/ 540746 w 1739754"/>
                  <a:gd name="connsiteY102" fmla="*/ 2554039 h 2673102"/>
                  <a:gd name="connsiteX103" fmla="*/ 497883 w 1739754"/>
                  <a:gd name="connsiteY103" fmla="*/ 2587377 h 2673102"/>
                  <a:gd name="connsiteX104" fmla="*/ 483596 w 1739754"/>
                  <a:gd name="connsiteY104" fmla="*/ 2601664 h 2673102"/>
                  <a:gd name="connsiteX105" fmla="*/ 459783 w 1739754"/>
                  <a:gd name="connsiteY105" fmla="*/ 2620714 h 2673102"/>
                  <a:gd name="connsiteX106" fmla="*/ 450258 w 1739754"/>
                  <a:gd name="connsiteY106" fmla="*/ 2635002 h 2673102"/>
                  <a:gd name="connsiteX107" fmla="*/ 416921 w 1739754"/>
                  <a:gd name="connsiteY107" fmla="*/ 2654052 h 2673102"/>
                  <a:gd name="connsiteX108" fmla="*/ 374058 w 1739754"/>
                  <a:gd name="connsiteY108" fmla="*/ 2673102 h 2673102"/>
                  <a:gd name="connsiteX109" fmla="*/ 359771 w 1739754"/>
                  <a:gd name="connsiteY109" fmla="*/ 2663577 h 2673102"/>
                  <a:gd name="connsiteX110" fmla="*/ 345483 w 1739754"/>
                  <a:gd name="connsiteY110" fmla="*/ 2635002 h 2673102"/>
                  <a:gd name="connsiteX111" fmla="*/ 335958 w 1739754"/>
                  <a:gd name="connsiteY111" fmla="*/ 2620714 h 2673102"/>
                  <a:gd name="connsiteX112" fmla="*/ 297858 w 1739754"/>
                  <a:gd name="connsiteY112" fmla="*/ 2611189 h 2673102"/>
                  <a:gd name="connsiteX113" fmla="*/ 278808 w 1739754"/>
                  <a:gd name="connsiteY113" fmla="*/ 2592139 h 2673102"/>
                  <a:gd name="connsiteX114" fmla="*/ 274046 w 1739754"/>
                  <a:gd name="connsiteY114" fmla="*/ 2573089 h 2673102"/>
                  <a:gd name="connsiteX115" fmla="*/ 235946 w 1739754"/>
                  <a:gd name="connsiteY115" fmla="*/ 2539752 h 2673102"/>
                  <a:gd name="connsiteX116" fmla="*/ 231183 w 1739754"/>
                  <a:gd name="connsiteY116" fmla="*/ 2525464 h 2673102"/>
                  <a:gd name="connsiteX117" fmla="*/ 226421 w 1739754"/>
                  <a:gd name="connsiteY117" fmla="*/ 2506414 h 2673102"/>
                  <a:gd name="connsiteX118" fmla="*/ 212133 w 1739754"/>
                  <a:gd name="connsiteY118" fmla="*/ 2492127 h 2673102"/>
                  <a:gd name="connsiteX119" fmla="*/ 154983 w 1739754"/>
                  <a:gd name="connsiteY119" fmla="*/ 2439739 h 2673102"/>
                  <a:gd name="connsiteX120" fmla="*/ 150221 w 1739754"/>
                  <a:gd name="connsiteY120" fmla="*/ 2415927 h 2673102"/>
                  <a:gd name="connsiteX121" fmla="*/ 135933 w 1739754"/>
                  <a:gd name="connsiteY121" fmla="*/ 2358777 h 2673102"/>
                  <a:gd name="connsiteX122" fmla="*/ 121646 w 1739754"/>
                  <a:gd name="connsiteY122" fmla="*/ 2315914 h 2673102"/>
                  <a:gd name="connsiteX123" fmla="*/ 107358 w 1739754"/>
                  <a:gd name="connsiteY123" fmla="*/ 2258764 h 2673102"/>
                  <a:gd name="connsiteX124" fmla="*/ 102596 w 1739754"/>
                  <a:gd name="connsiteY124" fmla="*/ 2234952 h 2673102"/>
                  <a:gd name="connsiteX125" fmla="*/ 93071 w 1739754"/>
                  <a:gd name="connsiteY125" fmla="*/ 2211139 h 2673102"/>
                  <a:gd name="connsiteX126" fmla="*/ 88308 w 1739754"/>
                  <a:gd name="connsiteY126" fmla="*/ 2187327 h 2673102"/>
                  <a:gd name="connsiteX127" fmla="*/ 78783 w 1739754"/>
                  <a:gd name="connsiteY127" fmla="*/ 2111127 h 2673102"/>
                  <a:gd name="connsiteX128" fmla="*/ 97833 w 1739754"/>
                  <a:gd name="connsiteY128" fmla="*/ 1944439 h 2673102"/>
                  <a:gd name="connsiteX129" fmla="*/ 107358 w 1739754"/>
                  <a:gd name="connsiteY129" fmla="*/ 1930152 h 2673102"/>
                  <a:gd name="connsiteX130" fmla="*/ 126408 w 1739754"/>
                  <a:gd name="connsiteY130" fmla="*/ 1901577 h 2673102"/>
                  <a:gd name="connsiteX131" fmla="*/ 135933 w 1739754"/>
                  <a:gd name="connsiteY131" fmla="*/ 1868239 h 2673102"/>
                  <a:gd name="connsiteX132" fmla="*/ 131171 w 1739754"/>
                  <a:gd name="connsiteY132" fmla="*/ 1825377 h 2673102"/>
                  <a:gd name="connsiteX133" fmla="*/ 112121 w 1739754"/>
                  <a:gd name="connsiteY133" fmla="*/ 1820614 h 2673102"/>
                  <a:gd name="connsiteX134" fmla="*/ 102596 w 1739754"/>
                  <a:gd name="connsiteY134" fmla="*/ 1806327 h 2673102"/>
                  <a:gd name="connsiteX135" fmla="*/ 145458 w 1739754"/>
                  <a:gd name="connsiteY135" fmla="*/ 1720602 h 2673102"/>
                  <a:gd name="connsiteX136" fmla="*/ 159746 w 1739754"/>
                  <a:gd name="connsiteY136" fmla="*/ 1715839 h 2673102"/>
                  <a:gd name="connsiteX137" fmla="*/ 174033 w 1739754"/>
                  <a:gd name="connsiteY137" fmla="*/ 1696789 h 2673102"/>
                  <a:gd name="connsiteX138" fmla="*/ 188321 w 1739754"/>
                  <a:gd name="connsiteY138" fmla="*/ 1687264 h 2673102"/>
                  <a:gd name="connsiteX139" fmla="*/ 202608 w 1739754"/>
                  <a:gd name="connsiteY139" fmla="*/ 1653927 h 2673102"/>
                  <a:gd name="connsiteX140" fmla="*/ 193083 w 1739754"/>
                  <a:gd name="connsiteY140" fmla="*/ 1606302 h 2673102"/>
                  <a:gd name="connsiteX141" fmla="*/ 164508 w 1739754"/>
                  <a:gd name="connsiteY141" fmla="*/ 1596777 h 2673102"/>
                  <a:gd name="connsiteX142" fmla="*/ 154983 w 1739754"/>
                  <a:gd name="connsiteY142" fmla="*/ 1549152 h 2673102"/>
                  <a:gd name="connsiteX143" fmla="*/ 150221 w 1739754"/>
                  <a:gd name="connsiteY143" fmla="*/ 1411039 h 2673102"/>
                  <a:gd name="connsiteX144" fmla="*/ 140696 w 1739754"/>
                  <a:gd name="connsiteY144" fmla="*/ 1377702 h 2673102"/>
                  <a:gd name="connsiteX145" fmla="*/ 121646 w 1739754"/>
                  <a:gd name="connsiteY145" fmla="*/ 1311027 h 2673102"/>
                  <a:gd name="connsiteX146" fmla="*/ 116883 w 1739754"/>
                  <a:gd name="connsiteY146" fmla="*/ 1258639 h 2673102"/>
                  <a:gd name="connsiteX147" fmla="*/ 107358 w 1739754"/>
                  <a:gd name="connsiteY147" fmla="*/ 1244352 h 2673102"/>
                  <a:gd name="connsiteX148" fmla="*/ 93071 w 1739754"/>
                  <a:gd name="connsiteY148" fmla="*/ 1196727 h 2673102"/>
                  <a:gd name="connsiteX149" fmla="*/ 78783 w 1739754"/>
                  <a:gd name="connsiteY149" fmla="*/ 1177677 h 2673102"/>
                  <a:gd name="connsiteX150" fmla="*/ 59733 w 1739754"/>
                  <a:gd name="connsiteY150" fmla="*/ 1139577 h 2673102"/>
                  <a:gd name="connsiteX151" fmla="*/ 50208 w 1739754"/>
                  <a:gd name="connsiteY151" fmla="*/ 1111002 h 2673102"/>
                  <a:gd name="connsiteX152" fmla="*/ 45446 w 1739754"/>
                  <a:gd name="connsiteY152" fmla="*/ 1096714 h 2673102"/>
                  <a:gd name="connsiteX153" fmla="*/ 21633 w 1739754"/>
                  <a:gd name="connsiteY153" fmla="*/ 1025277 h 2673102"/>
                  <a:gd name="connsiteX154" fmla="*/ 202 w 1739754"/>
                  <a:gd name="connsiteY154" fmla="*/ 980033 h 2673102"/>
                  <a:gd name="connsiteX155" fmla="*/ 14490 w 1739754"/>
                  <a:gd name="connsiteY155" fmla="*/ 930027 h 2673102"/>
                  <a:gd name="connsiteX156" fmla="*/ 69259 w 1739754"/>
                  <a:gd name="connsiteY156" fmla="*/ 810964 h 2673102"/>
                  <a:gd name="connsiteX157" fmla="*/ 221658 w 1739754"/>
                  <a:gd name="connsiteY157" fmla="*/ 601414 h 2673102"/>
                  <a:gd name="connsiteX158" fmla="*/ 288333 w 1739754"/>
                  <a:gd name="connsiteY158" fmla="*/ 515689 h 2673102"/>
                  <a:gd name="connsiteX159" fmla="*/ 412158 w 1739754"/>
                  <a:gd name="connsiteY159" fmla="*/ 406152 h 2673102"/>
                  <a:gd name="connsiteX160" fmla="*/ 535983 w 1739754"/>
                  <a:gd name="connsiteY160" fmla="*/ 291851 h 2673102"/>
                  <a:gd name="connsiteX161" fmla="*/ 640758 w 1739754"/>
                  <a:gd name="connsiteY161" fmla="*/ 229939 h 2673102"/>
                  <a:gd name="connsiteX162" fmla="*/ 733628 w 1739754"/>
                  <a:gd name="connsiteY162" fmla="*/ 168026 h 2673102"/>
                  <a:gd name="connsiteX163" fmla="*/ 978896 w 1739754"/>
                  <a:gd name="connsiteY163" fmla="*/ 63251 h 2673102"/>
                  <a:gd name="connsiteX164" fmla="*/ 1159871 w 1739754"/>
                  <a:gd name="connsiteY164" fmla="*/ 6102 h 2673102"/>
                  <a:gd name="connsiteX165" fmla="*/ 1202733 w 1739754"/>
                  <a:gd name="connsiteY16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202733 w 1739754"/>
                  <a:gd name="connsiteY5" fmla="*/ 258514 h 2673102"/>
                  <a:gd name="connsiteX6" fmla="*/ 1245596 w 1739754"/>
                  <a:gd name="connsiteY6" fmla="*/ 296614 h 2673102"/>
                  <a:gd name="connsiteX7" fmla="*/ 1255121 w 1739754"/>
                  <a:gd name="connsiteY7" fmla="*/ 315664 h 2673102"/>
                  <a:gd name="connsiteX8" fmla="*/ 1250358 w 1739754"/>
                  <a:gd name="connsiteY8" fmla="*/ 344239 h 2673102"/>
                  <a:gd name="connsiteX9" fmla="*/ 1245596 w 1739754"/>
                  <a:gd name="connsiteY9" fmla="*/ 363289 h 2673102"/>
                  <a:gd name="connsiteX10" fmla="*/ 1250358 w 1739754"/>
                  <a:gd name="connsiteY10" fmla="*/ 425202 h 2673102"/>
                  <a:gd name="connsiteX11" fmla="*/ 1269408 w 1739754"/>
                  <a:gd name="connsiteY11" fmla="*/ 463302 h 2673102"/>
                  <a:gd name="connsiteX12" fmla="*/ 1278933 w 1739754"/>
                  <a:gd name="connsiteY12" fmla="*/ 477589 h 2673102"/>
                  <a:gd name="connsiteX13" fmla="*/ 1293221 w 1739754"/>
                  <a:gd name="connsiteY13" fmla="*/ 487114 h 2673102"/>
                  <a:gd name="connsiteX14" fmla="*/ 1350371 w 1739754"/>
                  <a:gd name="connsiteY14" fmla="*/ 510927 h 2673102"/>
                  <a:gd name="connsiteX15" fmla="*/ 1378946 w 1739754"/>
                  <a:gd name="connsiteY15" fmla="*/ 520452 h 2673102"/>
                  <a:gd name="connsiteX16" fmla="*/ 1407521 w 1739754"/>
                  <a:gd name="connsiteY16" fmla="*/ 539502 h 2673102"/>
                  <a:gd name="connsiteX17" fmla="*/ 1469433 w 1739754"/>
                  <a:gd name="connsiteY17" fmla="*/ 568077 h 2673102"/>
                  <a:gd name="connsiteX18" fmla="*/ 1521821 w 1739754"/>
                  <a:gd name="connsiteY18" fmla="*/ 587127 h 2673102"/>
                  <a:gd name="connsiteX19" fmla="*/ 1540871 w 1739754"/>
                  <a:gd name="connsiteY19" fmla="*/ 596652 h 2673102"/>
                  <a:gd name="connsiteX20" fmla="*/ 1559921 w 1739754"/>
                  <a:gd name="connsiteY20" fmla="*/ 601414 h 2673102"/>
                  <a:gd name="connsiteX21" fmla="*/ 1607546 w 1739754"/>
                  <a:gd name="connsiteY21" fmla="*/ 639514 h 2673102"/>
                  <a:gd name="connsiteX22" fmla="*/ 1636121 w 1739754"/>
                  <a:gd name="connsiteY22" fmla="*/ 672852 h 2673102"/>
                  <a:gd name="connsiteX23" fmla="*/ 1650408 w 1739754"/>
                  <a:gd name="connsiteY23" fmla="*/ 687139 h 2673102"/>
                  <a:gd name="connsiteX24" fmla="*/ 1669458 w 1739754"/>
                  <a:gd name="connsiteY24" fmla="*/ 696664 h 2673102"/>
                  <a:gd name="connsiteX25" fmla="*/ 1683746 w 1739754"/>
                  <a:gd name="connsiteY25" fmla="*/ 706189 h 2673102"/>
                  <a:gd name="connsiteX26" fmla="*/ 1709940 w 1739754"/>
                  <a:gd name="connsiteY26" fmla="*/ 749052 h 2673102"/>
                  <a:gd name="connsiteX27" fmla="*/ 1702796 w 1739754"/>
                  <a:gd name="connsiteY27" fmla="*/ 853827 h 2673102"/>
                  <a:gd name="connsiteX28" fmla="*/ 1664696 w 1739754"/>
                  <a:gd name="connsiteY28" fmla="*/ 887164 h 2673102"/>
                  <a:gd name="connsiteX29" fmla="*/ 1650408 w 1739754"/>
                  <a:gd name="connsiteY29" fmla="*/ 901452 h 2673102"/>
                  <a:gd name="connsiteX30" fmla="*/ 1598021 w 1739754"/>
                  <a:gd name="connsiteY30" fmla="*/ 906214 h 2673102"/>
                  <a:gd name="connsiteX31" fmla="*/ 1555158 w 1739754"/>
                  <a:gd name="connsiteY31" fmla="*/ 925264 h 2673102"/>
                  <a:gd name="connsiteX32" fmla="*/ 1531346 w 1739754"/>
                  <a:gd name="connsiteY32" fmla="*/ 939552 h 2673102"/>
                  <a:gd name="connsiteX33" fmla="*/ 1498008 w 1739754"/>
                  <a:gd name="connsiteY33" fmla="*/ 987177 h 2673102"/>
                  <a:gd name="connsiteX34" fmla="*/ 1345608 w 1739754"/>
                  <a:gd name="connsiteY34" fmla="*/ 1030039 h 2673102"/>
                  <a:gd name="connsiteX35" fmla="*/ 1297983 w 1739754"/>
                  <a:gd name="connsiteY35" fmla="*/ 1053852 h 2673102"/>
                  <a:gd name="connsiteX36" fmla="*/ 1231308 w 1739754"/>
                  <a:gd name="connsiteY36" fmla="*/ 1082427 h 2673102"/>
                  <a:gd name="connsiteX37" fmla="*/ 1126533 w 1739754"/>
                  <a:gd name="connsiteY37" fmla="*/ 1096714 h 2673102"/>
                  <a:gd name="connsiteX38" fmla="*/ 1102721 w 1739754"/>
                  <a:gd name="connsiteY38" fmla="*/ 1101477 h 2673102"/>
                  <a:gd name="connsiteX39" fmla="*/ 1078908 w 1739754"/>
                  <a:gd name="connsiteY39" fmla="*/ 1111002 h 2673102"/>
                  <a:gd name="connsiteX40" fmla="*/ 964608 w 1739754"/>
                  <a:gd name="connsiteY40" fmla="*/ 1106239 h 2673102"/>
                  <a:gd name="connsiteX41" fmla="*/ 859833 w 1739754"/>
                  <a:gd name="connsiteY41" fmla="*/ 1058614 h 2673102"/>
                  <a:gd name="connsiteX42" fmla="*/ 812208 w 1739754"/>
                  <a:gd name="connsiteY42" fmla="*/ 1034802 h 2673102"/>
                  <a:gd name="connsiteX43" fmla="*/ 788396 w 1739754"/>
                  <a:gd name="connsiteY43" fmla="*/ 1020514 h 2673102"/>
                  <a:gd name="connsiteX44" fmla="*/ 769346 w 1739754"/>
                  <a:gd name="connsiteY44" fmla="*/ 1006227 h 2673102"/>
                  <a:gd name="connsiteX45" fmla="*/ 678858 w 1739754"/>
                  <a:gd name="connsiteY45" fmla="*/ 958602 h 2673102"/>
                  <a:gd name="connsiteX46" fmla="*/ 645521 w 1739754"/>
                  <a:gd name="connsiteY46" fmla="*/ 939552 h 2673102"/>
                  <a:gd name="connsiteX47" fmla="*/ 526458 w 1739754"/>
                  <a:gd name="connsiteY47" fmla="*/ 910977 h 2673102"/>
                  <a:gd name="connsiteX48" fmla="*/ 483596 w 1739754"/>
                  <a:gd name="connsiteY48" fmla="*/ 891927 h 2673102"/>
                  <a:gd name="connsiteX49" fmla="*/ 421683 w 1739754"/>
                  <a:gd name="connsiteY49" fmla="*/ 882402 h 2673102"/>
                  <a:gd name="connsiteX50" fmla="*/ 321671 w 1739754"/>
                  <a:gd name="connsiteY50" fmla="*/ 896689 h 2673102"/>
                  <a:gd name="connsiteX51" fmla="*/ 307383 w 1739754"/>
                  <a:gd name="connsiteY51" fmla="*/ 910977 h 2673102"/>
                  <a:gd name="connsiteX52" fmla="*/ 283571 w 1739754"/>
                  <a:gd name="connsiteY52" fmla="*/ 949077 h 2673102"/>
                  <a:gd name="connsiteX53" fmla="*/ 269283 w 1739754"/>
                  <a:gd name="connsiteY53" fmla="*/ 987177 h 2673102"/>
                  <a:gd name="connsiteX54" fmla="*/ 264521 w 1739754"/>
                  <a:gd name="connsiteY54" fmla="*/ 1039564 h 2673102"/>
                  <a:gd name="connsiteX55" fmla="*/ 264521 w 1739754"/>
                  <a:gd name="connsiteY55" fmla="*/ 1120527 h 2673102"/>
                  <a:gd name="connsiteX56" fmla="*/ 297858 w 1739754"/>
                  <a:gd name="connsiteY56" fmla="*/ 1153864 h 2673102"/>
                  <a:gd name="connsiteX57" fmla="*/ 326433 w 1739754"/>
                  <a:gd name="connsiteY57" fmla="*/ 1163389 h 2673102"/>
                  <a:gd name="connsiteX58" fmla="*/ 326433 w 1739754"/>
                  <a:gd name="connsiteY58" fmla="*/ 1244352 h 2673102"/>
                  <a:gd name="connsiteX59" fmla="*/ 312146 w 1739754"/>
                  <a:gd name="connsiteY59" fmla="*/ 1258639 h 2673102"/>
                  <a:gd name="connsiteX60" fmla="*/ 259758 w 1739754"/>
                  <a:gd name="connsiteY60" fmla="*/ 1296739 h 2673102"/>
                  <a:gd name="connsiteX61" fmla="*/ 240708 w 1739754"/>
                  <a:gd name="connsiteY61" fmla="*/ 1325314 h 2673102"/>
                  <a:gd name="connsiteX62" fmla="*/ 250233 w 1739754"/>
                  <a:gd name="connsiteY62" fmla="*/ 1425327 h 2673102"/>
                  <a:gd name="connsiteX63" fmla="*/ 278808 w 1739754"/>
                  <a:gd name="connsiteY63" fmla="*/ 1472952 h 2673102"/>
                  <a:gd name="connsiteX64" fmla="*/ 293096 w 1739754"/>
                  <a:gd name="connsiteY64" fmla="*/ 1492002 h 2673102"/>
                  <a:gd name="connsiteX65" fmla="*/ 383583 w 1739754"/>
                  <a:gd name="connsiteY65" fmla="*/ 1525339 h 2673102"/>
                  <a:gd name="connsiteX66" fmla="*/ 407396 w 1739754"/>
                  <a:gd name="connsiteY66" fmla="*/ 1492002 h 2673102"/>
                  <a:gd name="connsiteX67" fmla="*/ 412158 w 1739754"/>
                  <a:gd name="connsiteY67" fmla="*/ 1468189 h 2673102"/>
                  <a:gd name="connsiteX68" fmla="*/ 416921 w 1739754"/>
                  <a:gd name="connsiteY68" fmla="*/ 1449139 h 2673102"/>
                  <a:gd name="connsiteX69" fmla="*/ 445496 w 1739754"/>
                  <a:gd name="connsiteY69" fmla="*/ 1439614 h 2673102"/>
                  <a:gd name="connsiteX70" fmla="*/ 545508 w 1739754"/>
                  <a:gd name="connsiteY70" fmla="*/ 1458664 h 2673102"/>
                  <a:gd name="connsiteX71" fmla="*/ 555033 w 1739754"/>
                  <a:gd name="connsiteY71" fmla="*/ 1482477 h 2673102"/>
                  <a:gd name="connsiteX72" fmla="*/ 564558 w 1739754"/>
                  <a:gd name="connsiteY72" fmla="*/ 1515814 h 2673102"/>
                  <a:gd name="connsiteX73" fmla="*/ 550271 w 1739754"/>
                  <a:gd name="connsiteY73" fmla="*/ 1534864 h 2673102"/>
                  <a:gd name="connsiteX74" fmla="*/ 550271 w 1739754"/>
                  <a:gd name="connsiteY74" fmla="*/ 1601539 h 2673102"/>
                  <a:gd name="connsiteX75" fmla="*/ 559796 w 1739754"/>
                  <a:gd name="connsiteY75" fmla="*/ 1620589 h 2673102"/>
                  <a:gd name="connsiteX76" fmla="*/ 626471 w 1739754"/>
                  <a:gd name="connsiteY76" fmla="*/ 1639639 h 2673102"/>
                  <a:gd name="connsiteX77" fmla="*/ 645521 w 1739754"/>
                  <a:gd name="connsiteY77" fmla="*/ 1592014 h 2673102"/>
                  <a:gd name="connsiteX78" fmla="*/ 702671 w 1739754"/>
                  <a:gd name="connsiteY78" fmla="*/ 1620589 h 2673102"/>
                  <a:gd name="connsiteX79" fmla="*/ 731246 w 1739754"/>
                  <a:gd name="connsiteY79" fmla="*/ 1630114 h 2673102"/>
                  <a:gd name="connsiteX80" fmla="*/ 783633 w 1739754"/>
                  <a:gd name="connsiteY80" fmla="*/ 1663452 h 2673102"/>
                  <a:gd name="connsiteX81" fmla="*/ 859833 w 1739754"/>
                  <a:gd name="connsiteY81" fmla="*/ 1687264 h 2673102"/>
                  <a:gd name="connsiteX82" fmla="*/ 878883 w 1739754"/>
                  <a:gd name="connsiteY82" fmla="*/ 1701552 h 2673102"/>
                  <a:gd name="connsiteX83" fmla="*/ 888408 w 1739754"/>
                  <a:gd name="connsiteY83" fmla="*/ 1739652 h 2673102"/>
                  <a:gd name="connsiteX84" fmla="*/ 897933 w 1739754"/>
                  <a:gd name="connsiteY84" fmla="*/ 1782514 h 2673102"/>
                  <a:gd name="connsiteX85" fmla="*/ 940796 w 1739754"/>
                  <a:gd name="connsiteY85" fmla="*/ 1892052 h 2673102"/>
                  <a:gd name="connsiteX86" fmla="*/ 950321 w 1739754"/>
                  <a:gd name="connsiteY86" fmla="*/ 1906339 h 2673102"/>
                  <a:gd name="connsiteX87" fmla="*/ 959846 w 1739754"/>
                  <a:gd name="connsiteY87" fmla="*/ 1939677 h 2673102"/>
                  <a:gd name="connsiteX88" fmla="*/ 974133 w 1739754"/>
                  <a:gd name="connsiteY88" fmla="*/ 1977777 h 2673102"/>
                  <a:gd name="connsiteX89" fmla="*/ 964608 w 1739754"/>
                  <a:gd name="connsiteY89" fmla="*/ 2082552 h 2673102"/>
                  <a:gd name="connsiteX90" fmla="*/ 955083 w 1739754"/>
                  <a:gd name="connsiteY90" fmla="*/ 2101602 h 2673102"/>
                  <a:gd name="connsiteX91" fmla="*/ 926508 w 1739754"/>
                  <a:gd name="connsiteY91" fmla="*/ 2144464 h 2673102"/>
                  <a:gd name="connsiteX92" fmla="*/ 907458 w 1739754"/>
                  <a:gd name="connsiteY92" fmla="*/ 2192089 h 2673102"/>
                  <a:gd name="connsiteX93" fmla="*/ 902696 w 1739754"/>
                  <a:gd name="connsiteY93" fmla="*/ 2211139 h 2673102"/>
                  <a:gd name="connsiteX94" fmla="*/ 893171 w 1739754"/>
                  <a:gd name="connsiteY94" fmla="*/ 2239714 h 2673102"/>
                  <a:gd name="connsiteX95" fmla="*/ 897933 w 1739754"/>
                  <a:gd name="connsiteY95" fmla="*/ 2287339 h 2673102"/>
                  <a:gd name="connsiteX96" fmla="*/ 893171 w 1739754"/>
                  <a:gd name="connsiteY96" fmla="*/ 2396877 h 2673102"/>
                  <a:gd name="connsiteX97" fmla="*/ 688383 w 1739754"/>
                  <a:gd name="connsiteY97" fmla="*/ 2449264 h 2673102"/>
                  <a:gd name="connsiteX98" fmla="*/ 655046 w 1739754"/>
                  <a:gd name="connsiteY98" fmla="*/ 2473077 h 2673102"/>
                  <a:gd name="connsiteX99" fmla="*/ 607421 w 1739754"/>
                  <a:gd name="connsiteY99" fmla="*/ 2511177 h 2673102"/>
                  <a:gd name="connsiteX100" fmla="*/ 574083 w 1739754"/>
                  <a:gd name="connsiteY100" fmla="*/ 2534989 h 2673102"/>
                  <a:gd name="connsiteX101" fmla="*/ 540746 w 1739754"/>
                  <a:gd name="connsiteY101" fmla="*/ 2554039 h 2673102"/>
                  <a:gd name="connsiteX102" fmla="*/ 497883 w 1739754"/>
                  <a:gd name="connsiteY102" fmla="*/ 2587377 h 2673102"/>
                  <a:gd name="connsiteX103" fmla="*/ 483596 w 1739754"/>
                  <a:gd name="connsiteY103" fmla="*/ 2601664 h 2673102"/>
                  <a:gd name="connsiteX104" fmla="*/ 459783 w 1739754"/>
                  <a:gd name="connsiteY104" fmla="*/ 2620714 h 2673102"/>
                  <a:gd name="connsiteX105" fmla="*/ 450258 w 1739754"/>
                  <a:gd name="connsiteY105" fmla="*/ 2635002 h 2673102"/>
                  <a:gd name="connsiteX106" fmla="*/ 416921 w 1739754"/>
                  <a:gd name="connsiteY106" fmla="*/ 2654052 h 2673102"/>
                  <a:gd name="connsiteX107" fmla="*/ 374058 w 1739754"/>
                  <a:gd name="connsiteY107" fmla="*/ 2673102 h 2673102"/>
                  <a:gd name="connsiteX108" fmla="*/ 359771 w 1739754"/>
                  <a:gd name="connsiteY108" fmla="*/ 2663577 h 2673102"/>
                  <a:gd name="connsiteX109" fmla="*/ 345483 w 1739754"/>
                  <a:gd name="connsiteY109" fmla="*/ 2635002 h 2673102"/>
                  <a:gd name="connsiteX110" fmla="*/ 335958 w 1739754"/>
                  <a:gd name="connsiteY110" fmla="*/ 2620714 h 2673102"/>
                  <a:gd name="connsiteX111" fmla="*/ 297858 w 1739754"/>
                  <a:gd name="connsiteY111" fmla="*/ 2611189 h 2673102"/>
                  <a:gd name="connsiteX112" fmla="*/ 278808 w 1739754"/>
                  <a:gd name="connsiteY112" fmla="*/ 2592139 h 2673102"/>
                  <a:gd name="connsiteX113" fmla="*/ 274046 w 1739754"/>
                  <a:gd name="connsiteY113" fmla="*/ 2573089 h 2673102"/>
                  <a:gd name="connsiteX114" fmla="*/ 235946 w 1739754"/>
                  <a:gd name="connsiteY114" fmla="*/ 2539752 h 2673102"/>
                  <a:gd name="connsiteX115" fmla="*/ 231183 w 1739754"/>
                  <a:gd name="connsiteY115" fmla="*/ 2525464 h 2673102"/>
                  <a:gd name="connsiteX116" fmla="*/ 226421 w 1739754"/>
                  <a:gd name="connsiteY116" fmla="*/ 2506414 h 2673102"/>
                  <a:gd name="connsiteX117" fmla="*/ 212133 w 1739754"/>
                  <a:gd name="connsiteY117" fmla="*/ 2492127 h 2673102"/>
                  <a:gd name="connsiteX118" fmla="*/ 154983 w 1739754"/>
                  <a:gd name="connsiteY118" fmla="*/ 2439739 h 2673102"/>
                  <a:gd name="connsiteX119" fmla="*/ 150221 w 1739754"/>
                  <a:gd name="connsiteY119" fmla="*/ 2415927 h 2673102"/>
                  <a:gd name="connsiteX120" fmla="*/ 135933 w 1739754"/>
                  <a:gd name="connsiteY120" fmla="*/ 2358777 h 2673102"/>
                  <a:gd name="connsiteX121" fmla="*/ 121646 w 1739754"/>
                  <a:gd name="connsiteY121" fmla="*/ 2315914 h 2673102"/>
                  <a:gd name="connsiteX122" fmla="*/ 107358 w 1739754"/>
                  <a:gd name="connsiteY122" fmla="*/ 2258764 h 2673102"/>
                  <a:gd name="connsiteX123" fmla="*/ 102596 w 1739754"/>
                  <a:gd name="connsiteY123" fmla="*/ 2234952 h 2673102"/>
                  <a:gd name="connsiteX124" fmla="*/ 93071 w 1739754"/>
                  <a:gd name="connsiteY124" fmla="*/ 2211139 h 2673102"/>
                  <a:gd name="connsiteX125" fmla="*/ 88308 w 1739754"/>
                  <a:gd name="connsiteY125" fmla="*/ 2187327 h 2673102"/>
                  <a:gd name="connsiteX126" fmla="*/ 78783 w 1739754"/>
                  <a:gd name="connsiteY126" fmla="*/ 2111127 h 2673102"/>
                  <a:gd name="connsiteX127" fmla="*/ 97833 w 1739754"/>
                  <a:gd name="connsiteY127" fmla="*/ 1944439 h 2673102"/>
                  <a:gd name="connsiteX128" fmla="*/ 107358 w 1739754"/>
                  <a:gd name="connsiteY128" fmla="*/ 1930152 h 2673102"/>
                  <a:gd name="connsiteX129" fmla="*/ 126408 w 1739754"/>
                  <a:gd name="connsiteY129" fmla="*/ 1901577 h 2673102"/>
                  <a:gd name="connsiteX130" fmla="*/ 135933 w 1739754"/>
                  <a:gd name="connsiteY130" fmla="*/ 1868239 h 2673102"/>
                  <a:gd name="connsiteX131" fmla="*/ 131171 w 1739754"/>
                  <a:gd name="connsiteY131" fmla="*/ 1825377 h 2673102"/>
                  <a:gd name="connsiteX132" fmla="*/ 112121 w 1739754"/>
                  <a:gd name="connsiteY132" fmla="*/ 1820614 h 2673102"/>
                  <a:gd name="connsiteX133" fmla="*/ 102596 w 1739754"/>
                  <a:gd name="connsiteY133" fmla="*/ 1806327 h 2673102"/>
                  <a:gd name="connsiteX134" fmla="*/ 145458 w 1739754"/>
                  <a:gd name="connsiteY134" fmla="*/ 1720602 h 2673102"/>
                  <a:gd name="connsiteX135" fmla="*/ 159746 w 1739754"/>
                  <a:gd name="connsiteY135" fmla="*/ 1715839 h 2673102"/>
                  <a:gd name="connsiteX136" fmla="*/ 174033 w 1739754"/>
                  <a:gd name="connsiteY136" fmla="*/ 1696789 h 2673102"/>
                  <a:gd name="connsiteX137" fmla="*/ 188321 w 1739754"/>
                  <a:gd name="connsiteY137" fmla="*/ 1687264 h 2673102"/>
                  <a:gd name="connsiteX138" fmla="*/ 202608 w 1739754"/>
                  <a:gd name="connsiteY138" fmla="*/ 1653927 h 2673102"/>
                  <a:gd name="connsiteX139" fmla="*/ 193083 w 1739754"/>
                  <a:gd name="connsiteY139" fmla="*/ 1606302 h 2673102"/>
                  <a:gd name="connsiteX140" fmla="*/ 164508 w 1739754"/>
                  <a:gd name="connsiteY140" fmla="*/ 1596777 h 2673102"/>
                  <a:gd name="connsiteX141" fmla="*/ 154983 w 1739754"/>
                  <a:gd name="connsiteY141" fmla="*/ 1549152 h 2673102"/>
                  <a:gd name="connsiteX142" fmla="*/ 150221 w 1739754"/>
                  <a:gd name="connsiteY142" fmla="*/ 1411039 h 2673102"/>
                  <a:gd name="connsiteX143" fmla="*/ 140696 w 1739754"/>
                  <a:gd name="connsiteY143" fmla="*/ 1377702 h 2673102"/>
                  <a:gd name="connsiteX144" fmla="*/ 121646 w 1739754"/>
                  <a:gd name="connsiteY144" fmla="*/ 1311027 h 2673102"/>
                  <a:gd name="connsiteX145" fmla="*/ 116883 w 1739754"/>
                  <a:gd name="connsiteY145" fmla="*/ 1258639 h 2673102"/>
                  <a:gd name="connsiteX146" fmla="*/ 107358 w 1739754"/>
                  <a:gd name="connsiteY146" fmla="*/ 1244352 h 2673102"/>
                  <a:gd name="connsiteX147" fmla="*/ 93071 w 1739754"/>
                  <a:gd name="connsiteY147" fmla="*/ 1196727 h 2673102"/>
                  <a:gd name="connsiteX148" fmla="*/ 78783 w 1739754"/>
                  <a:gd name="connsiteY148" fmla="*/ 1177677 h 2673102"/>
                  <a:gd name="connsiteX149" fmla="*/ 59733 w 1739754"/>
                  <a:gd name="connsiteY149" fmla="*/ 1139577 h 2673102"/>
                  <a:gd name="connsiteX150" fmla="*/ 50208 w 1739754"/>
                  <a:gd name="connsiteY150" fmla="*/ 1111002 h 2673102"/>
                  <a:gd name="connsiteX151" fmla="*/ 45446 w 1739754"/>
                  <a:gd name="connsiteY151" fmla="*/ 1096714 h 2673102"/>
                  <a:gd name="connsiteX152" fmla="*/ 21633 w 1739754"/>
                  <a:gd name="connsiteY152" fmla="*/ 1025277 h 2673102"/>
                  <a:gd name="connsiteX153" fmla="*/ 202 w 1739754"/>
                  <a:gd name="connsiteY153" fmla="*/ 980033 h 2673102"/>
                  <a:gd name="connsiteX154" fmla="*/ 14490 w 1739754"/>
                  <a:gd name="connsiteY154" fmla="*/ 930027 h 2673102"/>
                  <a:gd name="connsiteX155" fmla="*/ 69259 w 1739754"/>
                  <a:gd name="connsiteY155" fmla="*/ 810964 h 2673102"/>
                  <a:gd name="connsiteX156" fmla="*/ 221658 w 1739754"/>
                  <a:gd name="connsiteY156" fmla="*/ 601414 h 2673102"/>
                  <a:gd name="connsiteX157" fmla="*/ 288333 w 1739754"/>
                  <a:gd name="connsiteY157" fmla="*/ 515689 h 2673102"/>
                  <a:gd name="connsiteX158" fmla="*/ 412158 w 1739754"/>
                  <a:gd name="connsiteY158" fmla="*/ 406152 h 2673102"/>
                  <a:gd name="connsiteX159" fmla="*/ 535983 w 1739754"/>
                  <a:gd name="connsiteY159" fmla="*/ 291851 h 2673102"/>
                  <a:gd name="connsiteX160" fmla="*/ 640758 w 1739754"/>
                  <a:gd name="connsiteY160" fmla="*/ 229939 h 2673102"/>
                  <a:gd name="connsiteX161" fmla="*/ 733628 w 1739754"/>
                  <a:gd name="connsiteY161" fmla="*/ 168026 h 2673102"/>
                  <a:gd name="connsiteX162" fmla="*/ 978896 w 1739754"/>
                  <a:gd name="connsiteY162" fmla="*/ 63251 h 2673102"/>
                  <a:gd name="connsiteX163" fmla="*/ 1159871 w 1739754"/>
                  <a:gd name="connsiteY163" fmla="*/ 6102 h 2673102"/>
                  <a:gd name="connsiteX164" fmla="*/ 1202733 w 1739754"/>
                  <a:gd name="connsiteY16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45596 w 1739754"/>
                  <a:gd name="connsiteY8" fmla="*/ 363289 h 2673102"/>
                  <a:gd name="connsiteX9" fmla="*/ 1250358 w 1739754"/>
                  <a:gd name="connsiteY9" fmla="*/ 425202 h 2673102"/>
                  <a:gd name="connsiteX10" fmla="*/ 1269408 w 1739754"/>
                  <a:gd name="connsiteY10" fmla="*/ 463302 h 2673102"/>
                  <a:gd name="connsiteX11" fmla="*/ 1278933 w 1739754"/>
                  <a:gd name="connsiteY11" fmla="*/ 477589 h 2673102"/>
                  <a:gd name="connsiteX12" fmla="*/ 1293221 w 1739754"/>
                  <a:gd name="connsiteY12" fmla="*/ 487114 h 2673102"/>
                  <a:gd name="connsiteX13" fmla="*/ 1350371 w 1739754"/>
                  <a:gd name="connsiteY13" fmla="*/ 510927 h 2673102"/>
                  <a:gd name="connsiteX14" fmla="*/ 1378946 w 1739754"/>
                  <a:gd name="connsiteY14" fmla="*/ 520452 h 2673102"/>
                  <a:gd name="connsiteX15" fmla="*/ 1407521 w 1739754"/>
                  <a:gd name="connsiteY15" fmla="*/ 539502 h 2673102"/>
                  <a:gd name="connsiteX16" fmla="*/ 1469433 w 1739754"/>
                  <a:gd name="connsiteY16" fmla="*/ 568077 h 2673102"/>
                  <a:gd name="connsiteX17" fmla="*/ 1521821 w 1739754"/>
                  <a:gd name="connsiteY17" fmla="*/ 587127 h 2673102"/>
                  <a:gd name="connsiteX18" fmla="*/ 1540871 w 1739754"/>
                  <a:gd name="connsiteY18" fmla="*/ 596652 h 2673102"/>
                  <a:gd name="connsiteX19" fmla="*/ 1559921 w 1739754"/>
                  <a:gd name="connsiteY19" fmla="*/ 601414 h 2673102"/>
                  <a:gd name="connsiteX20" fmla="*/ 1607546 w 1739754"/>
                  <a:gd name="connsiteY20" fmla="*/ 639514 h 2673102"/>
                  <a:gd name="connsiteX21" fmla="*/ 1636121 w 1739754"/>
                  <a:gd name="connsiteY21" fmla="*/ 672852 h 2673102"/>
                  <a:gd name="connsiteX22" fmla="*/ 1650408 w 1739754"/>
                  <a:gd name="connsiteY22" fmla="*/ 687139 h 2673102"/>
                  <a:gd name="connsiteX23" fmla="*/ 1669458 w 1739754"/>
                  <a:gd name="connsiteY23" fmla="*/ 696664 h 2673102"/>
                  <a:gd name="connsiteX24" fmla="*/ 1683746 w 1739754"/>
                  <a:gd name="connsiteY24" fmla="*/ 706189 h 2673102"/>
                  <a:gd name="connsiteX25" fmla="*/ 1709940 w 1739754"/>
                  <a:gd name="connsiteY25" fmla="*/ 749052 h 2673102"/>
                  <a:gd name="connsiteX26" fmla="*/ 1702796 w 1739754"/>
                  <a:gd name="connsiteY26" fmla="*/ 853827 h 2673102"/>
                  <a:gd name="connsiteX27" fmla="*/ 1664696 w 1739754"/>
                  <a:gd name="connsiteY27" fmla="*/ 887164 h 2673102"/>
                  <a:gd name="connsiteX28" fmla="*/ 1650408 w 1739754"/>
                  <a:gd name="connsiteY28" fmla="*/ 901452 h 2673102"/>
                  <a:gd name="connsiteX29" fmla="*/ 1598021 w 1739754"/>
                  <a:gd name="connsiteY29" fmla="*/ 906214 h 2673102"/>
                  <a:gd name="connsiteX30" fmla="*/ 1555158 w 1739754"/>
                  <a:gd name="connsiteY30" fmla="*/ 925264 h 2673102"/>
                  <a:gd name="connsiteX31" fmla="*/ 1531346 w 1739754"/>
                  <a:gd name="connsiteY31" fmla="*/ 939552 h 2673102"/>
                  <a:gd name="connsiteX32" fmla="*/ 1498008 w 1739754"/>
                  <a:gd name="connsiteY32" fmla="*/ 987177 h 2673102"/>
                  <a:gd name="connsiteX33" fmla="*/ 1345608 w 1739754"/>
                  <a:gd name="connsiteY33" fmla="*/ 1030039 h 2673102"/>
                  <a:gd name="connsiteX34" fmla="*/ 1297983 w 1739754"/>
                  <a:gd name="connsiteY34" fmla="*/ 1053852 h 2673102"/>
                  <a:gd name="connsiteX35" fmla="*/ 1231308 w 1739754"/>
                  <a:gd name="connsiteY35" fmla="*/ 1082427 h 2673102"/>
                  <a:gd name="connsiteX36" fmla="*/ 1126533 w 1739754"/>
                  <a:gd name="connsiteY36" fmla="*/ 1096714 h 2673102"/>
                  <a:gd name="connsiteX37" fmla="*/ 1102721 w 1739754"/>
                  <a:gd name="connsiteY37" fmla="*/ 1101477 h 2673102"/>
                  <a:gd name="connsiteX38" fmla="*/ 1078908 w 1739754"/>
                  <a:gd name="connsiteY38" fmla="*/ 1111002 h 2673102"/>
                  <a:gd name="connsiteX39" fmla="*/ 964608 w 1739754"/>
                  <a:gd name="connsiteY39" fmla="*/ 1106239 h 2673102"/>
                  <a:gd name="connsiteX40" fmla="*/ 859833 w 1739754"/>
                  <a:gd name="connsiteY40" fmla="*/ 1058614 h 2673102"/>
                  <a:gd name="connsiteX41" fmla="*/ 812208 w 1739754"/>
                  <a:gd name="connsiteY41" fmla="*/ 1034802 h 2673102"/>
                  <a:gd name="connsiteX42" fmla="*/ 788396 w 1739754"/>
                  <a:gd name="connsiteY42" fmla="*/ 1020514 h 2673102"/>
                  <a:gd name="connsiteX43" fmla="*/ 769346 w 1739754"/>
                  <a:gd name="connsiteY43" fmla="*/ 1006227 h 2673102"/>
                  <a:gd name="connsiteX44" fmla="*/ 678858 w 1739754"/>
                  <a:gd name="connsiteY44" fmla="*/ 958602 h 2673102"/>
                  <a:gd name="connsiteX45" fmla="*/ 645521 w 1739754"/>
                  <a:gd name="connsiteY45" fmla="*/ 939552 h 2673102"/>
                  <a:gd name="connsiteX46" fmla="*/ 526458 w 1739754"/>
                  <a:gd name="connsiteY46" fmla="*/ 910977 h 2673102"/>
                  <a:gd name="connsiteX47" fmla="*/ 483596 w 1739754"/>
                  <a:gd name="connsiteY47" fmla="*/ 891927 h 2673102"/>
                  <a:gd name="connsiteX48" fmla="*/ 421683 w 1739754"/>
                  <a:gd name="connsiteY48" fmla="*/ 882402 h 2673102"/>
                  <a:gd name="connsiteX49" fmla="*/ 321671 w 1739754"/>
                  <a:gd name="connsiteY49" fmla="*/ 896689 h 2673102"/>
                  <a:gd name="connsiteX50" fmla="*/ 307383 w 1739754"/>
                  <a:gd name="connsiteY50" fmla="*/ 910977 h 2673102"/>
                  <a:gd name="connsiteX51" fmla="*/ 283571 w 1739754"/>
                  <a:gd name="connsiteY51" fmla="*/ 949077 h 2673102"/>
                  <a:gd name="connsiteX52" fmla="*/ 269283 w 1739754"/>
                  <a:gd name="connsiteY52" fmla="*/ 987177 h 2673102"/>
                  <a:gd name="connsiteX53" fmla="*/ 264521 w 1739754"/>
                  <a:gd name="connsiteY53" fmla="*/ 1039564 h 2673102"/>
                  <a:gd name="connsiteX54" fmla="*/ 264521 w 1739754"/>
                  <a:gd name="connsiteY54" fmla="*/ 1120527 h 2673102"/>
                  <a:gd name="connsiteX55" fmla="*/ 297858 w 1739754"/>
                  <a:gd name="connsiteY55" fmla="*/ 1153864 h 2673102"/>
                  <a:gd name="connsiteX56" fmla="*/ 326433 w 1739754"/>
                  <a:gd name="connsiteY56" fmla="*/ 1163389 h 2673102"/>
                  <a:gd name="connsiteX57" fmla="*/ 326433 w 1739754"/>
                  <a:gd name="connsiteY57" fmla="*/ 1244352 h 2673102"/>
                  <a:gd name="connsiteX58" fmla="*/ 312146 w 1739754"/>
                  <a:gd name="connsiteY58" fmla="*/ 1258639 h 2673102"/>
                  <a:gd name="connsiteX59" fmla="*/ 259758 w 1739754"/>
                  <a:gd name="connsiteY59" fmla="*/ 1296739 h 2673102"/>
                  <a:gd name="connsiteX60" fmla="*/ 240708 w 1739754"/>
                  <a:gd name="connsiteY60" fmla="*/ 1325314 h 2673102"/>
                  <a:gd name="connsiteX61" fmla="*/ 250233 w 1739754"/>
                  <a:gd name="connsiteY61" fmla="*/ 1425327 h 2673102"/>
                  <a:gd name="connsiteX62" fmla="*/ 278808 w 1739754"/>
                  <a:gd name="connsiteY62" fmla="*/ 1472952 h 2673102"/>
                  <a:gd name="connsiteX63" fmla="*/ 293096 w 1739754"/>
                  <a:gd name="connsiteY63" fmla="*/ 1492002 h 2673102"/>
                  <a:gd name="connsiteX64" fmla="*/ 383583 w 1739754"/>
                  <a:gd name="connsiteY64" fmla="*/ 1525339 h 2673102"/>
                  <a:gd name="connsiteX65" fmla="*/ 407396 w 1739754"/>
                  <a:gd name="connsiteY65" fmla="*/ 1492002 h 2673102"/>
                  <a:gd name="connsiteX66" fmla="*/ 412158 w 1739754"/>
                  <a:gd name="connsiteY66" fmla="*/ 1468189 h 2673102"/>
                  <a:gd name="connsiteX67" fmla="*/ 416921 w 1739754"/>
                  <a:gd name="connsiteY67" fmla="*/ 1449139 h 2673102"/>
                  <a:gd name="connsiteX68" fmla="*/ 445496 w 1739754"/>
                  <a:gd name="connsiteY68" fmla="*/ 1439614 h 2673102"/>
                  <a:gd name="connsiteX69" fmla="*/ 545508 w 1739754"/>
                  <a:gd name="connsiteY69" fmla="*/ 1458664 h 2673102"/>
                  <a:gd name="connsiteX70" fmla="*/ 555033 w 1739754"/>
                  <a:gd name="connsiteY70" fmla="*/ 1482477 h 2673102"/>
                  <a:gd name="connsiteX71" fmla="*/ 564558 w 1739754"/>
                  <a:gd name="connsiteY71" fmla="*/ 1515814 h 2673102"/>
                  <a:gd name="connsiteX72" fmla="*/ 550271 w 1739754"/>
                  <a:gd name="connsiteY72" fmla="*/ 1534864 h 2673102"/>
                  <a:gd name="connsiteX73" fmla="*/ 550271 w 1739754"/>
                  <a:gd name="connsiteY73" fmla="*/ 1601539 h 2673102"/>
                  <a:gd name="connsiteX74" fmla="*/ 559796 w 1739754"/>
                  <a:gd name="connsiteY74" fmla="*/ 1620589 h 2673102"/>
                  <a:gd name="connsiteX75" fmla="*/ 626471 w 1739754"/>
                  <a:gd name="connsiteY75" fmla="*/ 1639639 h 2673102"/>
                  <a:gd name="connsiteX76" fmla="*/ 645521 w 1739754"/>
                  <a:gd name="connsiteY76" fmla="*/ 1592014 h 2673102"/>
                  <a:gd name="connsiteX77" fmla="*/ 702671 w 1739754"/>
                  <a:gd name="connsiteY77" fmla="*/ 1620589 h 2673102"/>
                  <a:gd name="connsiteX78" fmla="*/ 731246 w 1739754"/>
                  <a:gd name="connsiteY78" fmla="*/ 1630114 h 2673102"/>
                  <a:gd name="connsiteX79" fmla="*/ 783633 w 1739754"/>
                  <a:gd name="connsiteY79" fmla="*/ 1663452 h 2673102"/>
                  <a:gd name="connsiteX80" fmla="*/ 859833 w 1739754"/>
                  <a:gd name="connsiteY80" fmla="*/ 1687264 h 2673102"/>
                  <a:gd name="connsiteX81" fmla="*/ 878883 w 1739754"/>
                  <a:gd name="connsiteY81" fmla="*/ 1701552 h 2673102"/>
                  <a:gd name="connsiteX82" fmla="*/ 888408 w 1739754"/>
                  <a:gd name="connsiteY82" fmla="*/ 1739652 h 2673102"/>
                  <a:gd name="connsiteX83" fmla="*/ 897933 w 1739754"/>
                  <a:gd name="connsiteY83" fmla="*/ 1782514 h 2673102"/>
                  <a:gd name="connsiteX84" fmla="*/ 940796 w 1739754"/>
                  <a:gd name="connsiteY84" fmla="*/ 1892052 h 2673102"/>
                  <a:gd name="connsiteX85" fmla="*/ 950321 w 1739754"/>
                  <a:gd name="connsiteY85" fmla="*/ 1906339 h 2673102"/>
                  <a:gd name="connsiteX86" fmla="*/ 959846 w 1739754"/>
                  <a:gd name="connsiteY86" fmla="*/ 1939677 h 2673102"/>
                  <a:gd name="connsiteX87" fmla="*/ 974133 w 1739754"/>
                  <a:gd name="connsiteY87" fmla="*/ 1977777 h 2673102"/>
                  <a:gd name="connsiteX88" fmla="*/ 964608 w 1739754"/>
                  <a:gd name="connsiteY88" fmla="*/ 2082552 h 2673102"/>
                  <a:gd name="connsiteX89" fmla="*/ 955083 w 1739754"/>
                  <a:gd name="connsiteY89" fmla="*/ 2101602 h 2673102"/>
                  <a:gd name="connsiteX90" fmla="*/ 926508 w 1739754"/>
                  <a:gd name="connsiteY90" fmla="*/ 2144464 h 2673102"/>
                  <a:gd name="connsiteX91" fmla="*/ 907458 w 1739754"/>
                  <a:gd name="connsiteY91" fmla="*/ 2192089 h 2673102"/>
                  <a:gd name="connsiteX92" fmla="*/ 902696 w 1739754"/>
                  <a:gd name="connsiteY92" fmla="*/ 2211139 h 2673102"/>
                  <a:gd name="connsiteX93" fmla="*/ 893171 w 1739754"/>
                  <a:gd name="connsiteY93" fmla="*/ 2239714 h 2673102"/>
                  <a:gd name="connsiteX94" fmla="*/ 897933 w 1739754"/>
                  <a:gd name="connsiteY94" fmla="*/ 2287339 h 2673102"/>
                  <a:gd name="connsiteX95" fmla="*/ 893171 w 1739754"/>
                  <a:gd name="connsiteY95" fmla="*/ 2396877 h 2673102"/>
                  <a:gd name="connsiteX96" fmla="*/ 688383 w 1739754"/>
                  <a:gd name="connsiteY96" fmla="*/ 2449264 h 2673102"/>
                  <a:gd name="connsiteX97" fmla="*/ 655046 w 1739754"/>
                  <a:gd name="connsiteY97" fmla="*/ 2473077 h 2673102"/>
                  <a:gd name="connsiteX98" fmla="*/ 607421 w 1739754"/>
                  <a:gd name="connsiteY98" fmla="*/ 2511177 h 2673102"/>
                  <a:gd name="connsiteX99" fmla="*/ 574083 w 1739754"/>
                  <a:gd name="connsiteY99" fmla="*/ 2534989 h 2673102"/>
                  <a:gd name="connsiteX100" fmla="*/ 540746 w 1739754"/>
                  <a:gd name="connsiteY100" fmla="*/ 2554039 h 2673102"/>
                  <a:gd name="connsiteX101" fmla="*/ 497883 w 1739754"/>
                  <a:gd name="connsiteY101" fmla="*/ 2587377 h 2673102"/>
                  <a:gd name="connsiteX102" fmla="*/ 483596 w 1739754"/>
                  <a:gd name="connsiteY102" fmla="*/ 2601664 h 2673102"/>
                  <a:gd name="connsiteX103" fmla="*/ 459783 w 1739754"/>
                  <a:gd name="connsiteY103" fmla="*/ 2620714 h 2673102"/>
                  <a:gd name="connsiteX104" fmla="*/ 450258 w 1739754"/>
                  <a:gd name="connsiteY104" fmla="*/ 2635002 h 2673102"/>
                  <a:gd name="connsiteX105" fmla="*/ 416921 w 1739754"/>
                  <a:gd name="connsiteY105" fmla="*/ 2654052 h 2673102"/>
                  <a:gd name="connsiteX106" fmla="*/ 374058 w 1739754"/>
                  <a:gd name="connsiteY106" fmla="*/ 2673102 h 2673102"/>
                  <a:gd name="connsiteX107" fmla="*/ 359771 w 1739754"/>
                  <a:gd name="connsiteY107" fmla="*/ 2663577 h 2673102"/>
                  <a:gd name="connsiteX108" fmla="*/ 345483 w 1739754"/>
                  <a:gd name="connsiteY108" fmla="*/ 2635002 h 2673102"/>
                  <a:gd name="connsiteX109" fmla="*/ 335958 w 1739754"/>
                  <a:gd name="connsiteY109" fmla="*/ 2620714 h 2673102"/>
                  <a:gd name="connsiteX110" fmla="*/ 297858 w 1739754"/>
                  <a:gd name="connsiteY110" fmla="*/ 2611189 h 2673102"/>
                  <a:gd name="connsiteX111" fmla="*/ 278808 w 1739754"/>
                  <a:gd name="connsiteY111" fmla="*/ 2592139 h 2673102"/>
                  <a:gd name="connsiteX112" fmla="*/ 274046 w 1739754"/>
                  <a:gd name="connsiteY112" fmla="*/ 2573089 h 2673102"/>
                  <a:gd name="connsiteX113" fmla="*/ 235946 w 1739754"/>
                  <a:gd name="connsiteY113" fmla="*/ 2539752 h 2673102"/>
                  <a:gd name="connsiteX114" fmla="*/ 231183 w 1739754"/>
                  <a:gd name="connsiteY114" fmla="*/ 2525464 h 2673102"/>
                  <a:gd name="connsiteX115" fmla="*/ 226421 w 1739754"/>
                  <a:gd name="connsiteY115" fmla="*/ 2506414 h 2673102"/>
                  <a:gd name="connsiteX116" fmla="*/ 212133 w 1739754"/>
                  <a:gd name="connsiteY116" fmla="*/ 2492127 h 2673102"/>
                  <a:gd name="connsiteX117" fmla="*/ 154983 w 1739754"/>
                  <a:gd name="connsiteY117" fmla="*/ 2439739 h 2673102"/>
                  <a:gd name="connsiteX118" fmla="*/ 150221 w 1739754"/>
                  <a:gd name="connsiteY118" fmla="*/ 2415927 h 2673102"/>
                  <a:gd name="connsiteX119" fmla="*/ 135933 w 1739754"/>
                  <a:gd name="connsiteY119" fmla="*/ 2358777 h 2673102"/>
                  <a:gd name="connsiteX120" fmla="*/ 121646 w 1739754"/>
                  <a:gd name="connsiteY120" fmla="*/ 2315914 h 2673102"/>
                  <a:gd name="connsiteX121" fmla="*/ 107358 w 1739754"/>
                  <a:gd name="connsiteY121" fmla="*/ 2258764 h 2673102"/>
                  <a:gd name="connsiteX122" fmla="*/ 102596 w 1739754"/>
                  <a:gd name="connsiteY122" fmla="*/ 2234952 h 2673102"/>
                  <a:gd name="connsiteX123" fmla="*/ 93071 w 1739754"/>
                  <a:gd name="connsiteY123" fmla="*/ 2211139 h 2673102"/>
                  <a:gd name="connsiteX124" fmla="*/ 88308 w 1739754"/>
                  <a:gd name="connsiteY124" fmla="*/ 2187327 h 2673102"/>
                  <a:gd name="connsiteX125" fmla="*/ 78783 w 1739754"/>
                  <a:gd name="connsiteY125" fmla="*/ 2111127 h 2673102"/>
                  <a:gd name="connsiteX126" fmla="*/ 97833 w 1739754"/>
                  <a:gd name="connsiteY126" fmla="*/ 1944439 h 2673102"/>
                  <a:gd name="connsiteX127" fmla="*/ 107358 w 1739754"/>
                  <a:gd name="connsiteY127" fmla="*/ 1930152 h 2673102"/>
                  <a:gd name="connsiteX128" fmla="*/ 126408 w 1739754"/>
                  <a:gd name="connsiteY128" fmla="*/ 1901577 h 2673102"/>
                  <a:gd name="connsiteX129" fmla="*/ 135933 w 1739754"/>
                  <a:gd name="connsiteY129" fmla="*/ 1868239 h 2673102"/>
                  <a:gd name="connsiteX130" fmla="*/ 131171 w 1739754"/>
                  <a:gd name="connsiteY130" fmla="*/ 1825377 h 2673102"/>
                  <a:gd name="connsiteX131" fmla="*/ 112121 w 1739754"/>
                  <a:gd name="connsiteY131" fmla="*/ 1820614 h 2673102"/>
                  <a:gd name="connsiteX132" fmla="*/ 102596 w 1739754"/>
                  <a:gd name="connsiteY132" fmla="*/ 1806327 h 2673102"/>
                  <a:gd name="connsiteX133" fmla="*/ 145458 w 1739754"/>
                  <a:gd name="connsiteY133" fmla="*/ 1720602 h 2673102"/>
                  <a:gd name="connsiteX134" fmla="*/ 159746 w 1739754"/>
                  <a:gd name="connsiteY134" fmla="*/ 1715839 h 2673102"/>
                  <a:gd name="connsiteX135" fmla="*/ 174033 w 1739754"/>
                  <a:gd name="connsiteY135" fmla="*/ 1696789 h 2673102"/>
                  <a:gd name="connsiteX136" fmla="*/ 188321 w 1739754"/>
                  <a:gd name="connsiteY136" fmla="*/ 1687264 h 2673102"/>
                  <a:gd name="connsiteX137" fmla="*/ 202608 w 1739754"/>
                  <a:gd name="connsiteY137" fmla="*/ 1653927 h 2673102"/>
                  <a:gd name="connsiteX138" fmla="*/ 193083 w 1739754"/>
                  <a:gd name="connsiteY138" fmla="*/ 1606302 h 2673102"/>
                  <a:gd name="connsiteX139" fmla="*/ 164508 w 1739754"/>
                  <a:gd name="connsiteY139" fmla="*/ 1596777 h 2673102"/>
                  <a:gd name="connsiteX140" fmla="*/ 154983 w 1739754"/>
                  <a:gd name="connsiteY140" fmla="*/ 1549152 h 2673102"/>
                  <a:gd name="connsiteX141" fmla="*/ 150221 w 1739754"/>
                  <a:gd name="connsiteY141" fmla="*/ 1411039 h 2673102"/>
                  <a:gd name="connsiteX142" fmla="*/ 140696 w 1739754"/>
                  <a:gd name="connsiteY142" fmla="*/ 1377702 h 2673102"/>
                  <a:gd name="connsiteX143" fmla="*/ 121646 w 1739754"/>
                  <a:gd name="connsiteY143" fmla="*/ 1311027 h 2673102"/>
                  <a:gd name="connsiteX144" fmla="*/ 116883 w 1739754"/>
                  <a:gd name="connsiteY144" fmla="*/ 1258639 h 2673102"/>
                  <a:gd name="connsiteX145" fmla="*/ 107358 w 1739754"/>
                  <a:gd name="connsiteY145" fmla="*/ 1244352 h 2673102"/>
                  <a:gd name="connsiteX146" fmla="*/ 93071 w 1739754"/>
                  <a:gd name="connsiteY146" fmla="*/ 1196727 h 2673102"/>
                  <a:gd name="connsiteX147" fmla="*/ 78783 w 1739754"/>
                  <a:gd name="connsiteY147" fmla="*/ 1177677 h 2673102"/>
                  <a:gd name="connsiteX148" fmla="*/ 59733 w 1739754"/>
                  <a:gd name="connsiteY148" fmla="*/ 1139577 h 2673102"/>
                  <a:gd name="connsiteX149" fmla="*/ 50208 w 1739754"/>
                  <a:gd name="connsiteY149" fmla="*/ 1111002 h 2673102"/>
                  <a:gd name="connsiteX150" fmla="*/ 45446 w 1739754"/>
                  <a:gd name="connsiteY150" fmla="*/ 1096714 h 2673102"/>
                  <a:gd name="connsiteX151" fmla="*/ 21633 w 1739754"/>
                  <a:gd name="connsiteY151" fmla="*/ 1025277 h 2673102"/>
                  <a:gd name="connsiteX152" fmla="*/ 202 w 1739754"/>
                  <a:gd name="connsiteY152" fmla="*/ 980033 h 2673102"/>
                  <a:gd name="connsiteX153" fmla="*/ 14490 w 1739754"/>
                  <a:gd name="connsiteY153" fmla="*/ 930027 h 2673102"/>
                  <a:gd name="connsiteX154" fmla="*/ 69259 w 1739754"/>
                  <a:gd name="connsiteY154" fmla="*/ 810964 h 2673102"/>
                  <a:gd name="connsiteX155" fmla="*/ 221658 w 1739754"/>
                  <a:gd name="connsiteY155" fmla="*/ 601414 h 2673102"/>
                  <a:gd name="connsiteX156" fmla="*/ 288333 w 1739754"/>
                  <a:gd name="connsiteY156" fmla="*/ 515689 h 2673102"/>
                  <a:gd name="connsiteX157" fmla="*/ 412158 w 1739754"/>
                  <a:gd name="connsiteY157" fmla="*/ 406152 h 2673102"/>
                  <a:gd name="connsiteX158" fmla="*/ 535983 w 1739754"/>
                  <a:gd name="connsiteY158" fmla="*/ 291851 h 2673102"/>
                  <a:gd name="connsiteX159" fmla="*/ 640758 w 1739754"/>
                  <a:gd name="connsiteY159" fmla="*/ 229939 h 2673102"/>
                  <a:gd name="connsiteX160" fmla="*/ 733628 w 1739754"/>
                  <a:gd name="connsiteY160" fmla="*/ 168026 h 2673102"/>
                  <a:gd name="connsiteX161" fmla="*/ 978896 w 1739754"/>
                  <a:gd name="connsiteY161" fmla="*/ 63251 h 2673102"/>
                  <a:gd name="connsiteX162" fmla="*/ 1159871 w 1739754"/>
                  <a:gd name="connsiteY162" fmla="*/ 6102 h 2673102"/>
                  <a:gd name="connsiteX163" fmla="*/ 1202733 w 1739754"/>
                  <a:gd name="connsiteY16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78933 w 1739754"/>
                  <a:gd name="connsiteY10" fmla="*/ 477589 h 2673102"/>
                  <a:gd name="connsiteX11" fmla="*/ 1293221 w 1739754"/>
                  <a:gd name="connsiteY11" fmla="*/ 487114 h 2673102"/>
                  <a:gd name="connsiteX12" fmla="*/ 1350371 w 1739754"/>
                  <a:gd name="connsiteY12" fmla="*/ 510927 h 2673102"/>
                  <a:gd name="connsiteX13" fmla="*/ 1378946 w 1739754"/>
                  <a:gd name="connsiteY13" fmla="*/ 520452 h 2673102"/>
                  <a:gd name="connsiteX14" fmla="*/ 1407521 w 1739754"/>
                  <a:gd name="connsiteY14" fmla="*/ 539502 h 2673102"/>
                  <a:gd name="connsiteX15" fmla="*/ 1469433 w 1739754"/>
                  <a:gd name="connsiteY15" fmla="*/ 568077 h 2673102"/>
                  <a:gd name="connsiteX16" fmla="*/ 1521821 w 1739754"/>
                  <a:gd name="connsiteY16" fmla="*/ 587127 h 2673102"/>
                  <a:gd name="connsiteX17" fmla="*/ 1540871 w 1739754"/>
                  <a:gd name="connsiteY17" fmla="*/ 596652 h 2673102"/>
                  <a:gd name="connsiteX18" fmla="*/ 1559921 w 1739754"/>
                  <a:gd name="connsiteY18" fmla="*/ 601414 h 2673102"/>
                  <a:gd name="connsiteX19" fmla="*/ 1607546 w 1739754"/>
                  <a:gd name="connsiteY19" fmla="*/ 639514 h 2673102"/>
                  <a:gd name="connsiteX20" fmla="*/ 1636121 w 1739754"/>
                  <a:gd name="connsiteY20" fmla="*/ 672852 h 2673102"/>
                  <a:gd name="connsiteX21" fmla="*/ 1650408 w 1739754"/>
                  <a:gd name="connsiteY21" fmla="*/ 687139 h 2673102"/>
                  <a:gd name="connsiteX22" fmla="*/ 1669458 w 1739754"/>
                  <a:gd name="connsiteY22" fmla="*/ 696664 h 2673102"/>
                  <a:gd name="connsiteX23" fmla="*/ 1683746 w 1739754"/>
                  <a:gd name="connsiteY23" fmla="*/ 706189 h 2673102"/>
                  <a:gd name="connsiteX24" fmla="*/ 1709940 w 1739754"/>
                  <a:gd name="connsiteY24" fmla="*/ 749052 h 2673102"/>
                  <a:gd name="connsiteX25" fmla="*/ 1702796 w 1739754"/>
                  <a:gd name="connsiteY25" fmla="*/ 853827 h 2673102"/>
                  <a:gd name="connsiteX26" fmla="*/ 1664696 w 1739754"/>
                  <a:gd name="connsiteY26" fmla="*/ 887164 h 2673102"/>
                  <a:gd name="connsiteX27" fmla="*/ 1650408 w 1739754"/>
                  <a:gd name="connsiteY27" fmla="*/ 901452 h 2673102"/>
                  <a:gd name="connsiteX28" fmla="*/ 1598021 w 1739754"/>
                  <a:gd name="connsiteY28" fmla="*/ 906214 h 2673102"/>
                  <a:gd name="connsiteX29" fmla="*/ 1555158 w 1739754"/>
                  <a:gd name="connsiteY29" fmla="*/ 925264 h 2673102"/>
                  <a:gd name="connsiteX30" fmla="*/ 1531346 w 1739754"/>
                  <a:gd name="connsiteY30" fmla="*/ 939552 h 2673102"/>
                  <a:gd name="connsiteX31" fmla="*/ 1498008 w 1739754"/>
                  <a:gd name="connsiteY31" fmla="*/ 987177 h 2673102"/>
                  <a:gd name="connsiteX32" fmla="*/ 1345608 w 1739754"/>
                  <a:gd name="connsiteY32" fmla="*/ 1030039 h 2673102"/>
                  <a:gd name="connsiteX33" fmla="*/ 1297983 w 1739754"/>
                  <a:gd name="connsiteY33" fmla="*/ 1053852 h 2673102"/>
                  <a:gd name="connsiteX34" fmla="*/ 1231308 w 1739754"/>
                  <a:gd name="connsiteY34" fmla="*/ 1082427 h 2673102"/>
                  <a:gd name="connsiteX35" fmla="*/ 1126533 w 1739754"/>
                  <a:gd name="connsiteY35" fmla="*/ 1096714 h 2673102"/>
                  <a:gd name="connsiteX36" fmla="*/ 1102721 w 1739754"/>
                  <a:gd name="connsiteY36" fmla="*/ 1101477 h 2673102"/>
                  <a:gd name="connsiteX37" fmla="*/ 1078908 w 1739754"/>
                  <a:gd name="connsiteY37" fmla="*/ 1111002 h 2673102"/>
                  <a:gd name="connsiteX38" fmla="*/ 964608 w 1739754"/>
                  <a:gd name="connsiteY38" fmla="*/ 1106239 h 2673102"/>
                  <a:gd name="connsiteX39" fmla="*/ 859833 w 1739754"/>
                  <a:gd name="connsiteY39" fmla="*/ 1058614 h 2673102"/>
                  <a:gd name="connsiteX40" fmla="*/ 812208 w 1739754"/>
                  <a:gd name="connsiteY40" fmla="*/ 1034802 h 2673102"/>
                  <a:gd name="connsiteX41" fmla="*/ 788396 w 1739754"/>
                  <a:gd name="connsiteY41" fmla="*/ 1020514 h 2673102"/>
                  <a:gd name="connsiteX42" fmla="*/ 769346 w 1739754"/>
                  <a:gd name="connsiteY42" fmla="*/ 1006227 h 2673102"/>
                  <a:gd name="connsiteX43" fmla="*/ 678858 w 1739754"/>
                  <a:gd name="connsiteY43" fmla="*/ 958602 h 2673102"/>
                  <a:gd name="connsiteX44" fmla="*/ 645521 w 1739754"/>
                  <a:gd name="connsiteY44" fmla="*/ 939552 h 2673102"/>
                  <a:gd name="connsiteX45" fmla="*/ 526458 w 1739754"/>
                  <a:gd name="connsiteY45" fmla="*/ 910977 h 2673102"/>
                  <a:gd name="connsiteX46" fmla="*/ 483596 w 1739754"/>
                  <a:gd name="connsiteY46" fmla="*/ 891927 h 2673102"/>
                  <a:gd name="connsiteX47" fmla="*/ 421683 w 1739754"/>
                  <a:gd name="connsiteY47" fmla="*/ 882402 h 2673102"/>
                  <a:gd name="connsiteX48" fmla="*/ 321671 w 1739754"/>
                  <a:gd name="connsiteY48" fmla="*/ 896689 h 2673102"/>
                  <a:gd name="connsiteX49" fmla="*/ 307383 w 1739754"/>
                  <a:gd name="connsiteY49" fmla="*/ 910977 h 2673102"/>
                  <a:gd name="connsiteX50" fmla="*/ 283571 w 1739754"/>
                  <a:gd name="connsiteY50" fmla="*/ 949077 h 2673102"/>
                  <a:gd name="connsiteX51" fmla="*/ 269283 w 1739754"/>
                  <a:gd name="connsiteY51" fmla="*/ 987177 h 2673102"/>
                  <a:gd name="connsiteX52" fmla="*/ 264521 w 1739754"/>
                  <a:gd name="connsiteY52" fmla="*/ 1039564 h 2673102"/>
                  <a:gd name="connsiteX53" fmla="*/ 264521 w 1739754"/>
                  <a:gd name="connsiteY53" fmla="*/ 1120527 h 2673102"/>
                  <a:gd name="connsiteX54" fmla="*/ 297858 w 1739754"/>
                  <a:gd name="connsiteY54" fmla="*/ 1153864 h 2673102"/>
                  <a:gd name="connsiteX55" fmla="*/ 326433 w 1739754"/>
                  <a:gd name="connsiteY55" fmla="*/ 1163389 h 2673102"/>
                  <a:gd name="connsiteX56" fmla="*/ 326433 w 1739754"/>
                  <a:gd name="connsiteY56" fmla="*/ 1244352 h 2673102"/>
                  <a:gd name="connsiteX57" fmla="*/ 312146 w 1739754"/>
                  <a:gd name="connsiteY57" fmla="*/ 1258639 h 2673102"/>
                  <a:gd name="connsiteX58" fmla="*/ 259758 w 1739754"/>
                  <a:gd name="connsiteY58" fmla="*/ 1296739 h 2673102"/>
                  <a:gd name="connsiteX59" fmla="*/ 240708 w 1739754"/>
                  <a:gd name="connsiteY59" fmla="*/ 1325314 h 2673102"/>
                  <a:gd name="connsiteX60" fmla="*/ 250233 w 1739754"/>
                  <a:gd name="connsiteY60" fmla="*/ 1425327 h 2673102"/>
                  <a:gd name="connsiteX61" fmla="*/ 278808 w 1739754"/>
                  <a:gd name="connsiteY61" fmla="*/ 1472952 h 2673102"/>
                  <a:gd name="connsiteX62" fmla="*/ 293096 w 1739754"/>
                  <a:gd name="connsiteY62" fmla="*/ 1492002 h 2673102"/>
                  <a:gd name="connsiteX63" fmla="*/ 383583 w 1739754"/>
                  <a:gd name="connsiteY63" fmla="*/ 1525339 h 2673102"/>
                  <a:gd name="connsiteX64" fmla="*/ 407396 w 1739754"/>
                  <a:gd name="connsiteY64" fmla="*/ 1492002 h 2673102"/>
                  <a:gd name="connsiteX65" fmla="*/ 412158 w 1739754"/>
                  <a:gd name="connsiteY65" fmla="*/ 1468189 h 2673102"/>
                  <a:gd name="connsiteX66" fmla="*/ 416921 w 1739754"/>
                  <a:gd name="connsiteY66" fmla="*/ 1449139 h 2673102"/>
                  <a:gd name="connsiteX67" fmla="*/ 445496 w 1739754"/>
                  <a:gd name="connsiteY67" fmla="*/ 1439614 h 2673102"/>
                  <a:gd name="connsiteX68" fmla="*/ 545508 w 1739754"/>
                  <a:gd name="connsiteY68" fmla="*/ 1458664 h 2673102"/>
                  <a:gd name="connsiteX69" fmla="*/ 555033 w 1739754"/>
                  <a:gd name="connsiteY69" fmla="*/ 1482477 h 2673102"/>
                  <a:gd name="connsiteX70" fmla="*/ 564558 w 1739754"/>
                  <a:gd name="connsiteY70" fmla="*/ 1515814 h 2673102"/>
                  <a:gd name="connsiteX71" fmla="*/ 550271 w 1739754"/>
                  <a:gd name="connsiteY71" fmla="*/ 1534864 h 2673102"/>
                  <a:gd name="connsiteX72" fmla="*/ 550271 w 1739754"/>
                  <a:gd name="connsiteY72" fmla="*/ 1601539 h 2673102"/>
                  <a:gd name="connsiteX73" fmla="*/ 559796 w 1739754"/>
                  <a:gd name="connsiteY73" fmla="*/ 1620589 h 2673102"/>
                  <a:gd name="connsiteX74" fmla="*/ 626471 w 1739754"/>
                  <a:gd name="connsiteY74" fmla="*/ 1639639 h 2673102"/>
                  <a:gd name="connsiteX75" fmla="*/ 645521 w 1739754"/>
                  <a:gd name="connsiteY75" fmla="*/ 1592014 h 2673102"/>
                  <a:gd name="connsiteX76" fmla="*/ 702671 w 1739754"/>
                  <a:gd name="connsiteY76" fmla="*/ 1620589 h 2673102"/>
                  <a:gd name="connsiteX77" fmla="*/ 731246 w 1739754"/>
                  <a:gd name="connsiteY77" fmla="*/ 1630114 h 2673102"/>
                  <a:gd name="connsiteX78" fmla="*/ 783633 w 1739754"/>
                  <a:gd name="connsiteY78" fmla="*/ 1663452 h 2673102"/>
                  <a:gd name="connsiteX79" fmla="*/ 859833 w 1739754"/>
                  <a:gd name="connsiteY79" fmla="*/ 1687264 h 2673102"/>
                  <a:gd name="connsiteX80" fmla="*/ 878883 w 1739754"/>
                  <a:gd name="connsiteY80" fmla="*/ 1701552 h 2673102"/>
                  <a:gd name="connsiteX81" fmla="*/ 888408 w 1739754"/>
                  <a:gd name="connsiteY81" fmla="*/ 1739652 h 2673102"/>
                  <a:gd name="connsiteX82" fmla="*/ 897933 w 1739754"/>
                  <a:gd name="connsiteY82" fmla="*/ 1782514 h 2673102"/>
                  <a:gd name="connsiteX83" fmla="*/ 940796 w 1739754"/>
                  <a:gd name="connsiteY83" fmla="*/ 1892052 h 2673102"/>
                  <a:gd name="connsiteX84" fmla="*/ 950321 w 1739754"/>
                  <a:gd name="connsiteY84" fmla="*/ 1906339 h 2673102"/>
                  <a:gd name="connsiteX85" fmla="*/ 959846 w 1739754"/>
                  <a:gd name="connsiteY85" fmla="*/ 1939677 h 2673102"/>
                  <a:gd name="connsiteX86" fmla="*/ 974133 w 1739754"/>
                  <a:gd name="connsiteY86" fmla="*/ 1977777 h 2673102"/>
                  <a:gd name="connsiteX87" fmla="*/ 964608 w 1739754"/>
                  <a:gd name="connsiteY87" fmla="*/ 2082552 h 2673102"/>
                  <a:gd name="connsiteX88" fmla="*/ 955083 w 1739754"/>
                  <a:gd name="connsiteY88" fmla="*/ 2101602 h 2673102"/>
                  <a:gd name="connsiteX89" fmla="*/ 926508 w 1739754"/>
                  <a:gd name="connsiteY89" fmla="*/ 2144464 h 2673102"/>
                  <a:gd name="connsiteX90" fmla="*/ 907458 w 1739754"/>
                  <a:gd name="connsiteY90" fmla="*/ 2192089 h 2673102"/>
                  <a:gd name="connsiteX91" fmla="*/ 902696 w 1739754"/>
                  <a:gd name="connsiteY91" fmla="*/ 2211139 h 2673102"/>
                  <a:gd name="connsiteX92" fmla="*/ 893171 w 1739754"/>
                  <a:gd name="connsiteY92" fmla="*/ 2239714 h 2673102"/>
                  <a:gd name="connsiteX93" fmla="*/ 897933 w 1739754"/>
                  <a:gd name="connsiteY93" fmla="*/ 2287339 h 2673102"/>
                  <a:gd name="connsiteX94" fmla="*/ 893171 w 1739754"/>
                  <a:gd name="connsiteY94" fmla="*/ 2396877 h 2673102"/>
                  <a:gd name="connsiteX95" fmla="*/ 688383 w 1739754"/>
                  <a:gd name="connsiteY95" fmla="*/ 2449264 h 2673102"/>
                  <a:gd name="connsiteX96" fmla="*/ 655046 w 1739754"/>
                  <a:gd name="connsiteY96" fmla="*/ 2473077 h 2673102"/>
                  <a:gd name="connsiteX97" fmla="*/ 607421 w 1739754"/>
                  <a:gd name="connsiteY97" fmla="*/ 2511177 h 2673102"/>
                  <a:gd name="connsiteX98" fmla="*/ 574083 w 1739754"/>
                  <a:gd name="connsiteY98" fmla="*/ 2534989 h 2673102"/>
                  <a:gd name="connsiteX99" fmla="*/ 540746 w 1739754"/>
                  <a:gd name="connsiteY99" fmla="*/ 2554039 h 2673102"/>
                  <a:gd name="connsiteX100" fmla="*/ 497883 w 1739754"/>
                  <a:gd name="connsiteY100" fmla="*/ 2587377 h 2673102"/>
                  <a:gd name="connsiteX101" fmla="*/ 483596 w 1739754"/>
                  <a:gd name="connsiteY101" fmla="*/ 2601664 h 2673102"/>
                  <a:gd name="connsiteX102" fmla="*/ 459783 w 1739754"/>
                  <a:gd name="connsiteY102" fmla="*/ 2620714 h 2673102"/>
                  <a:gd name="connsiteX103" fmla="*/ 450258 w 1739754"/>
                  <a:gd name="connsiteY103" fmla="*/ 2635002 h 2673102"/>
                  <a:gd name="connsiteX104" fmla="*/ 416921 w 1739754"/>
                  <a:gd name="connsiteY104" fmla="*/ 2654052 h 2673102"/>
                  <a:gd name="connsiteX105" fmla="*/ 374058 w 1739754"/>
                  <a:gd name="connsiteY105" fmla="*/ 2673102 h 2673102"/>
                  <a:gd name="connsiteX106" fmla="*/ 359771 w 1739754"/>
                  <a:gd name="connsiteY106" fmla="*/ 2663577 h 2673102"/>
                  <a:gd name="connsiteX107" fmla="*/ 345483 w 1739754"/>
                  <a:gd name="connsiteY107" fmla="*/ 2635002 h 2673102"/>
                  <a:gd name="connsiteX108" fmla="*/ 335958 w 1739754"/>
                  <a:gd name="connsiteY108" fmla="*/ 2620714 h 2673102"/>
                  <a:gd name="connsiteX109" fmla="*/ 297858 w 1739754"/>
                  <a:gd name="connsiteY109" fmla="*/ 2611189 h 2673102"/>
                  <a:gd name="connsiteX110" fmla="*/ 278808 w 1739754"/>
                  <a:gd name="connsiteY110" fmla="*/ 2592139 h 2673102"/>
                  <a:gd name="connsiteX111" fmla="*/ 274046 w 1739754"/>
                  <a:gd name="connsiteY111" fmla="*/ 2573089 h 2673102"/>
                  <a:gd name="connsiteX112" fmla="*/ 235946 w 1739754"/>
                  <a:gd name="connsiteY112" fmla="*/ 2539752 h 2673102"/>
                  <a:gd name="connsiteX113" fmla="*/ 231183 w 1739754"/>
                  <a:gd name="connsiteY113" fmla="*/ 2525464 h 2673102"/>
                  <a:gd name="connsiteX114" fmla="*/ 226421 w 1739754"/>
                  <a:gd name="connsiteY114" fmla="*/ 2506414 h 2673102"/>
                  <a:gd name="connsiteX115" fmla="*/ 212133 w 1739754"/>
                  <a:gd name="connsiteY115" fmla="*/ 2492127 h 2673102"/>
                  <a:gd name="connsiteX116" fmla="*/ 154983 w 1739754"/>
                  <a:gd name="connsiteY116" fmla="*/ 2439739 h 2673102"/>
                  <a:gd name="connsiteX117" fmla="*/ 150221 w 1739754"/>
                  <a:gd name="connsiteY117" fmla="*/ 2415927 h 2673102"/>
                  <a:gd name="connsiteX118" fmla="*/ 135933 w 1739754"/>
                  <a:gd name="connsiteY118" fmla="*/ 2358777 h 2673102"/>
                  <a:gd name="connsiteX119" fmla="*/ 121646 w 1739754"/>
                  <a:gd name="connsiteY119" fmla="*/ 2315914 h 2673102"/>
                  <a:gd name="connsiteX120" fmla="*/ 107358 w 1739754"/>
                  <a:gd name="connsiteY120" fmla="*/ 2258764 h 2673102"/>
                  <a:gd name="connsiteX121" fmla="*/ 102596 w 1739754"/>
                  <a:gd name="connsiteY121" fmla="*/ 2234952 h 2673102"/>
                  <a:gd name="connsiteX122" fmla="*/ 93071 w 1739754"/>
                  <a:gd name="connsiteY122" fmla="*/ 2211139 h 2673102"/>
                  <a:gd name="connsiteX123" fmla="*/ 88308 w 1739754"/>
                  <a:gd name="connsiteY123" fmla="*/ 2187327 h 2673102"/>
                  <a:gd name="connsiteX124" fmla="*/ 78783 w 1739754"/>
                  <a:gd name="connsiteY124" fmla="*/ 2111127 h 2673102"/>
                  <a:gd name="connsiteX125" fmla="*/ 97833 w 1739754"/>
                  <a:gd name="connsiteY125" fmla="*/ 1944439 h 2673102"/>
                  <a:gd name="connsiteX126" fmla="*/ 107358 w 1739754"/>
                  <a:gd name="connsiteY126" fmla="*/ 1930152 h 2673102"/>
                  <a:gd name="connsiteX127" fmla="*/ 126408 w 1739754"/>
                  <a:gd name="connsiteY127" fmla="*/ 1901577 h 2673102"/>
                  <a:gd name="connsiteX128" fmla="*/ 135933 w 1739754"/>
                  <a:gd name="connsiteY128" fmla="*/ 1868239 h 2673102"/>
                  <a:gd name="connsiteX129" fmla="*/ 131171 w 1739754"/>
                  <a:gd name="connsiteY129" fmla="*/ 1825377 h 2673102"/>
                  <a:gd name="connsiteX130" fmla="*/ 112121 w 1739754"/>
                  <a:gd name="connsiteY130" fmla="*/ 1820614 h 2673102"/>
                  <a:gd name="connsiteX131" fmla="*/ 102596 w 1739754"/>
                  <a:gd name="connsiteY131" fmla="*/ 1806327 h 2673102"/>
                  <a:gd name="connsiteX132" fmla="*/ 145458 w 1739754"/>
                  <a:gd name="connsiteY132" fmla="*/ 1720602 h 2673102"/>
                  <a:gd name="connsiteX133" fmla="*/ 159746 w 1739754"/>
                  <a:gd name="connsiteY133" fmla="*/ 1715839 h 2673102"/>
                  <a:gd name="connsiteX134" fmla="*/ 174033 w 1739754"/>
                  <a:gd name="connsiteY134" fmla="*/ 1696789 h 2673102"/>
                  <a:gd name="connsiteX135" fmla="*/ 188321 w 1739754"/>
                  <a:gd name="connsiteY135" fmla="*/ 1687264 h 2673102"/>
                  <a:gd name="connsiteX136" fmla="*/ 202608 w 1739754"/>
                  <a:gd name="connsiteY136" fmla="*/ 1653927 h 2673102"/>
                  <a:gd name="connsiteX137" fmla="*/ 193083 w 1739754"/>
                  <a:gd name="connsiteY137" fmla="*/ 1606302 h 2673102"/>
                  <a:gd name="connsiteX138" fmla="*/ 164508 w 1739754"/>
                  <a:gd name="connsiteY138" fmla="*/ 1596777 h 2673102"/>
                  <a:gd name="connsiteX139" fmla="*/ 154983 w 1739754"/>
                  <a:gd name="connsiteY139" fmla="*/ 1549152 h 2673102"/>
                  <a:gd name="connsiteX140" fmla="*/ 150221 w 1739754"/>
                  <a:gd name="connsiteY140" fmla="*/ 1411039 h 2673102"/>
                  <a:gd name="connsiteX141" fmla="*/ 140696 w 1739754"/>
                  <a:gd name="connsiteY141" fmla="*/ 1377702 h 2673102"/>
                  <a:gd name="connsiteX142" fmla="*/ 121646 w 1739754"/>
                  <a:gd name="connsiteY142" fmla="*/ 1311027 h 2673102"/>
                  <a:gd name="connsiteX143" fmla="*/ 116883 w 1739754"/>
                  <a:gd name="connsiteY143" fmla="*/ 1258639 h 2673102"/>
                  <a:gd name="connsiteX144" fmla="*/ 107358 w 1739754"/>
                  <a:gd name="connsiteY144" fmla="*/ 1244352 h 2673102"/>
                  <a:gd name="connsiteX145" fmla="*/ 93071 w 1739754"/>
                  <a:gd name="connsiteY145" fmla="*/ 1196727 h 2673102"/>
                  <a:gd name="connsiteX146" fmla="*/ 78783 w 1739754"/>
                  <a:gd name="connsiteY146" fmla="*/ 1177677 h 2673102"/>
                  <a:gd name="connsiteX147" fmla="*/ 59733 w 1739754"/>
                  <a:gd name="connsiteY147" fmla="*/ 1139577 h 2673102"/>
                  <a:gd name="connsiteX148" fmla="*/ 50208 w 1739754"/>
                  <a:gd name="connsiteY148" fmla="*/ 1111002 h 2673102"/>
                  <a:gd name="connsiteX149" fmla="*/ 45446 w 1739754"/>
                  <a:gd name="connsiteY149" fmla="*/ 1096714 h 2673102"/>
                  <a:gd name="connsiteX150" fmla="*/ 21633 w 1739754"/>
                  <a:gd name="connsiteY150" fmla="*/ 1025277 h 2673102"/>
                  <a:gd name="connsiteX151" fmla="*/ 202 w 1739754"/>
                  <a:gd name="connsiteY151" fmla="*/ 980033 h 2673102"/>
                  <a:gd name="connsiteX152" fmla="*/ 14490 w 1739754"/>
                  <a:gd name="connsiteY152" fmla="*/ 930027 h 2673102"/>
                  <a:gd name="connsiteX153" fmla="*/ 69259 w 1739754"/>
                  <a:gd name="connsiteY153" fmla="*/ 810964 h 2673102"/>
                  <a:gd name="connsiteX154" fmla="*/ 221658 w 1739754"/>
                  <a:gd name="connsiteY154" fmla="*/ 601414 h 2673102"/>
                  <a:gd name="connsiteX155" fmla="*/ 288333 w 1739754"/>
                  <a:gd name="connsiteY155" fmla="*/ 515689 h 2673102"/>
                  <a:gd name="connsiteX156" fmla="*/ 412158 w 1739754"/>
                  <a:gd name="connsiteY156" fmla="*/ 406152 h 2673102"/>
                  <a:gd name="connsiteX157" fmla="*/ 535983 w 1739754"/>
                  <a:gd name="connsiteY157" fmla="*/ 291851 h 2673102"/>
                  <a:gd name="connsiteX158" fmla="*/ 640758 w 1739754"/>
                  <a:gd name="connsiteY158" fmla="*/ 229939 h 2673102"/>
                  <a:gd name="connsiteX159" fmla="*/ 733628 w 1739754"/>
                  <a:gd name="connsiteY159" fmla="*/ 168026 h 2673102"/>
                  <a:gd name="connsiteX160" fmla="*/ 978896 w 1739754"/>
                  <a:gd name="connsiteY160" fmla="*/ 63251 h 2673102"/>
                  <a:gd name="connsiteX161" fmla="*/ 1159871 w 1739754"/>
                  <a:gd name="connsiteY161" fmla="*/ 6102 h 2673102"/>
                  <a:gd name="connsiteX162" fmla="*/ 1202733 w 1739754"/>
                  <a:gd name="connsiteY16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93221 w 1739754"/>
                  <a:gd name="connsiteY10" fmla="*/ 487114 h 2673102"/>
                  <a:gd name="connsiteX11" fmla="*/ 1350371 w 1739754"/>
                  <a:gd name="connsiteY11" fmla="*/ 510927 h 2673102"/>
                  <a:gd name="connsiteX12" fmla="*/ 1378946 w 1739754"/>
                  <a:gd name="connsiteY12" fmla="*/ 520452 h 2673102"/>
                  <a:gd name="connsiteX13" fmla="*/ 1407521 w 1739754"/>
                  <a:gd name="connsiteY13" fmla="*/ 539502 h 2673102"/>
                  <a:gd name="connsiteX14" fmla="*/ 1469433 w 1739754"/>
                  <a:gd name="connsiteY14" fmla="*/ 568077 h 2673102"/>
                  <a:gd name="connsiteX15" fmla="*/ 1521821 w 1739754"/>
                  <a:gd name="connsiteY15" fmla="*/ 587127 h 2673102"/>
                  <a:gd name="connsiteX16" fmla="*/ 1540871 w 1739754"/>
                  <a:gd name="connsiteY16" fmla="*/ 596652 h 2673102"/>
                  <a:gd name="connsiteX17" fmla="*/ 1559921 w 1739754"/>
                  <a:gd name="connsiteY17" fmla="*/ 601414 h 2673102"/>
                  <a:gd name="connsiteX18" fmla="*/ 1607546 w 1739754"/>
                  <a:gd name="connsiteY18" fmla="*/ 639514 h 2673102"/>
                  <a:gd name="connsiteX19" fmla="*/ 1636121 w 1739754"/>
                  <a:gd name="connsiteY19" fmla="*/ 672852 h 2673102"/>
                  <a:gd name="connsiteX20" fmla="*/ 1650408 w 1739754"/>
                  <a:gd name="connsiteY20" fmla="*/ 687139 h 2673102"/>
                  <a:gd name="connsiteX21" fmla="*/ 1669458 w 1739754"/>
                  <a:gd name="connsiteY21" fmla="*/ 696664 h 2673102"/>
                  <a:gd name="connsiteX22" fmla="*/ 1683746 w 1739754"/>
                  <a:gd name="connsiteY22" fmla="*/ 706189 h 2673102"/>
                  <a:gd name="connsiteX23" fmla="*/ 1709940 w 1739754"/>
                  <a:gd name="connsiteY23" fmla="*/ 749052 h 2673102"/>
                  <a:gd name="connsiteX24" fmla="*/ 1702796 w 1739754"/>
                  <a:gd name="connsiteY24" fmla="*/ 853827 h 2673102"/>
                  <a:gd name="connsiteX25" fmla="*/ 1664696 w 1739754"/>
                  <a:gd name="connsiteY25" fmla="*/ 887164 h 2673102"/>
                  <a:gd name="connsiteX26" fmla="*/ 1650408 w 1739754"/>
                  <a:gd name="connsiteY26" fmla="*/ 901452 h 2673102"/>
                  <a:gd name="connsiteX27" fmla="*/ 1598021 w 1739754"/>
                  <a:gd name="connsiteY27" fmla="*/ 906214 h 2673102"/>
                  <a:gd name="connsiteX28" fmla="*/ 1555158 w 1739754"/>
                  <a:gd name="connsiteY28" fmla="*/ 925264 h 2673102"/>
                  <a:gd name="connsiteX29" fmla="*/ 1531346 w 1739754"/>
                  <a:gd name="connsiteY29" fmla="*/ 939552 h 2673102"/>
                  <a:gd name="connsiteX30" fmla="*/ 1498008 w 1739754"/>
                  <a:gd name="connsiteY30" fmla="*/ 987177 h 2673102"/>
                  <a:gd name="connsiteX31" fmla="*/ 1345608 w 1739754"/>
                  <a:gd name="connsiteY31" fmla="*/ 1030039 h 2673102"/>
                  <a:gd name="connsiteX32" fmla="*/ 1297983 w 1739754"/>
                  <a:gd name="connsiteY32" fmla="*/ 1053852 h 2673102"/>
                  <a:gd name="connsiteX33" fmla="*/ 1231308 w 1739754"/>
                  <a:gd name="connsiteY33" fmla="*/ 1082427 h 2673102"/>
                  <a:gd name="connsiteX34" fmla="*/ 1126533 w 1739754"/>
                  <a:gd name="connsiteY34" fmla="*/ 1096714 h 2673102"/>
                  <a:gd name="connsiteX35" fmla="*/ 1102721 w 1739754"/>
                  <a:gd name="connsiteY35" fmla="*/ 1101477 h 2673102"/>
                  <a:gd name="connsiteX36" fmla="*/ 1078908 w 1739754"/>
                  <a:gd name="connsiteY36" fmla="*/ 1111002 h 2673102"/>
                  <a:gd name="connsiteX37" fmla="*/ 964608 w 1739754"/>
                  <a:gd name="connsiteY37" fmla="*/ 1106239 h 2673102"/>
                  <a:gd name="connsiteX38" fmla="*/ 859833 w 1739754"/>
                  <a:gd name="connsiteY38" fmla="*/ 1058614 h 2673102"/>
                  <a:gd name="connsiteX39" fmla="*/ 812208 w 1739754"/>
                  <a:gd name="connsiteY39" fmla="*/ 1034802 h 2673102"/>
                  <a:gd name="connsiteX40" fmla="*/ 788396 w 1739754"/>
                  <a:gd name="connsiteY40" fmla="*/ 1020514 h 2673102"/>
                  <a:gd name="connsiteX41" fmla="*/ 769346 w 1739754"/>
                  <a:gd name="connsiteY41" fmla="*/ 1006227 h 2673102"/>
                  <a:gd name="connsiteX42" fmla="*/ 678858 w 1739754"/>
                  <a:gd name="connsiteY42" fmla="*/ 958602 h 2673102"/>
                  <a:gd name="connsiteX43" fmla="*/ 645521 w 1739754"/>
                  <a:gd name="connsiteY43" fmla="*/ 939552 h 2673102"/>
                  <a:gd name="connsiteX44" fmla="*/ 526458 w 1739754"/>
                  <a:gd name="connsiteY44" fmla="*/ 910977 h 2673102"/>
                  <a:gd name="connsiteX45" fmla="*/ 483596 w 1739754"/>
                  <a:gd name="connsiteY45" fmla="*/ 891927 h 2673102"/>
                  <a:gd name="connsiteX46" fmla="*/ 421683 w 1739754"/>
                  <a:gd name="connsiteY46" fmla="*/ 882402 h 2673102"/>
                  <a:gd name="connsiteX47" fmla="*/ 321671 w 1739754"/>
                  <a:gd name="connsiteY47" fmla="*/ 896689 h 2673102"/>
                  <a:gd name="connsiteX48" fmla="*/ 307383 w 1739754"/>
                  <a:gd name="connsiteY48" fmla="*/ 910977 h 2673102"/>
                  <a:gd name="connsiteX49" fmla="*/ 283571 w 1739754"/>
                  <a:gd name="connsiteY49" fmla="*/ 949077 h 2673102"/>
                  <a:gd name="connsiteX50" fmla="*/ 269283 w 1739754"/>
                  <a:gd name="connsiteY50" fmla="*/ 987177 h 2673102"/>
                  <a:gd name="connsiteX51" fmla="*/ 264521 w 1739754"/>
                  <a:gd name="connsiteY51" fmla="*/ 1039564 h 2673102"/>
                  <a:gd name="connsiteX52" fmla="*/ 264521 w 1739754"/>
                  <a:gd name="connsiteY52" fmla="*/ 1120527 h 2673102"/>
                  <a:gd name="connsiteX53" fmla="*/ 297858 w 1739754"/>
                  <a:gd name="connsiteY53" fmla="*/ 1153864 h 2673102"/>
                  <a:gd name="connsiteX54" fmla="*/ 326433 w 1739754"/>
                  <a:gd name="connsiteY54" fmla="*/ 1163389 h 2673102"/>
                  <a:gd name="connsiteX55" fmla="*/ 326433 w 1739754"/>
                  <a:gd name="connsiteY55" fmla="*/ 1244352 h 2673102"/>
                  <a:gd name="connsiteX56" fmla="*/ 312146 w 1739754"/>
                  <a:gd name="connsiteY56" fmla="*/ 1258639 h 2673102"/>
                  <a:gd name="connsiteX57" fmla="*/ 259758 w 1739754"/>
                  <a:gd name="connsiteY57" fmla="*/ 1296739 h 2673102"/>
                  <a:gd name="connsiteX58" fmla="*/ 240708 w 1739754"/>
                  <a:gd name="connsiteY58" fmla="*/ 1325314 h 2673102"/>
                  <a:gd name="connsiteX59" fmla="*/ 250233 w 1739754"/>
                  <a:gd name="connsiteY59" fmla="*/ 1425327 h 2673102"/>
                  <a:gd name="connsiteX60" fmla="*/ 278808 w 1739754"/>
                  <a:gd name="connsiteY60" fmla="*/ 1472952 h 2673102"/>
                  <a:gd name="connsiteX61" fmla="*/ 293096 w 1739754"/>
                  <a:gd name="connsiteY61" fmla="*/ 1492002 h 2673102"/>
                  <a:gd name="connsiteX62" fmla="*/ 383583 w 1739754"/>
                  <a:gd name="connsiteY62" fmla="*/ 1525339 h 2673102"/>
                  <a:gd name="connsiteX63" fmla="*/ 407396 w 1739754"/>
                  <a:gd name="connsiteY63" fmla="*/ 1492002 h 2673102"/>
                  <a:gd name="connsiteX64" fmla="*/ 412158 w 1739754"/>
                  <a:gd name="connsiteY64" fmla="*/ 1468189 h 2673102"/>
                  <a:gd name="connsiteX65" fmla="*/ 416921 w 1739754"/>
                  <a:gd name="connsiteY65" fmla="*/ 1449139 h 2673102"/>
                  <a:gd name="connsiteX66" fmla="*/ 445496 w 1739754"/>
                  <a:gd name="connsiteY66" fmla="*/ 1439614 h 2673102"/>
                  <a:gd name="connsiteX67" fmla="*/ 545508 w 1739754"/>
                  <a:gd name="connsiteY67" fmla="*/ 1458664 h 2673102"/>
                  <a:gd name="connsiteX68" fmla="*/ 555033 w 1739754"/>
                  <a:gd name="connsiteY68" fmla="*/ 1482477 h 2673102"/>
                  <a:gd name="connsiteX69" fmla="*/ 564558 w 1739754"/>
                  <a:gd name="connsiteY69" fmla="*/ 1515814 h 2673102"/>
                  <a:gd name="connsiteX70" fmla="*/ 550271 w 1739754"/>
                  <a:gd name="connsiteY70" fmla="*/ 1534864 h 2673102"/>
                  <a:gd name="connsiteX71" fmla="*/ 550271 w 1739754"/>
                  <a:gd name="connsiteY71" fmla="*/ 1601539 h 2673102"/>
                  <a:gd name="connsiteX72" fmla="*/ 559796 w 1739754"/>
                  <a:gd name="connsiteY72" fmla="*/ 1620589 h 2673102"/>
                  <a:gd name="connsiteX73" fmla="*/ 626471 w 1739754"/>
                  <a:gd name="connsiteY73" fmla="*/ 1639639 h 2673102"/>
                  <a:gd name="connsiteX74" fmla="*/ 645521 w 1739754"/>
                  <a:gd name="connsiteY74" fmla="*/ 1592014 h 2673102"/>
                  <a:gd name="connsiteX75" fmla="*/ 702671 w 1739754"/>
                  <a:gd name="connsiteY75" fmla="*/ 1620589 h 2673102"/>
                  <a:gd name="connsiteX76" fmla="*/ 731246 w 1739754"/>
                  <a:gd name="connsiteY76" fmla="*/ 1630114 h 2673102"/>
                  <a:gd name="connsiteX77" fmla="*/ 783633 w 1739754"/>
                  <a:gd name="connsiteY77" fmla="*/ 1663452 h 2673102"/>
                  <a:gd name="connsiteX78" fmla="*/ 859833 w 1739754"/>
                  <a:gd name="connsiteY78" fmla="*/ 1687264 h 2673102"/>
                  <a:gd name="connsiteX79" fmla="*/ 878883 w 1739754"/>
                  <a:gd name="connsiteY79" fmla="*/ 1701552 h 2673102"/>
                  <a:gd name="connsiteX80" fmla="*/ 888408 w 1739754"/>
                  <a:gd name="connsiteY80" fmla="*/ 1739652 h 2673102"/>
                  <a:gd name="connsiteX81" fmla="*/ 897933 w 1739754"/>
                  <a:gd name="connsiteY81" fmla="*/ 1782514 h 2673102"/>
                  <a:gd name="connsiteX82" fmla="*/ 940796 w 1739754"/>
                  <a:gd name="connsiteY82" fmla="*/ 1892052 h 2673102"/>
                  <a:gd name="connsiteX83" fmla="*/ 950321 w 1739754"/>
                  <a:gd name="connsiteY83" fmla="*/ 1906339 h 2673102"/>
                  <a:gd name="connsiteX84" fmla="*/ 959846 w 1739754"/>
                  <a:gd name="connsiteY84" fmla="*/ 1939677 h 2673102"/>
                  <a:gd name="connsiteX85" fmla="*/ 974133 w 1739754"/>
                  <a:gd name="connsiteY85" fmla="*/ 1977777 h 2673102"/>
                  <a:gd name="connsiteX86" fmla="*/ 964608 w 1739754"/>
                  <a:gd name="connsiteY86" fmla="*/ 2082552 h 2673102"/>
                  <a:gd name="connsiteX87" fmla="*/ 955083 w 1739754"/>
                  <a:gd name="connsiteY87" fmla="*/ 2101602 h 2673102"/>
                  <a:gd name="connsiteX88" fmla="*/ 926508 w 1739754"/>
                  <a:gd name="connsiteY88" fmla="*/ 2144464 h 2673102"/>
                  <a:gd name="connsiteX89" fmla="*/ 907458 w 1739754"/>
                  <a:gd name="connsiteY89" fmla="*/ 2192089 h 2673102"/>
                  <a:gd name="connsiteX90" fmla="*/ 902696 w 1739754"/>
                  <a:gd name="connsiteY90" fmla="*/ 2211139 h 2673102"/>
                  <a:gd name="connsiteX91" fmla="*/ 893171 w 1739754"/>
                  <a:gd name="connsiteY91" fmla="*/ 2239714 h 2673102"/>
                  <a:gd name="connsiteX92" fmla="*/ 897933 w 1739754"/>
                  <a:gd name="connsiteY92" fmla="*/ 2287339 h 2673102"/>
                  <a:gd name="connsiteX93" fmla="*/ 893171 w 1739754"/>
                  <a:gd name="connsiteY93" fmla="*/ 2396877 h 2673102"/>
                  <a:gd name="connsiteX94" fmla="*/ 688383 w 1739754"/>
                  <a:gd name="connsiteY94" fmla="*/ 2449264 h 2673102"/>
                  <a:gd name="connsiteX95" fmla="*/ 655046 w 1739754"/>
                  <a:gd name="connsiteY95" fmla="*/ 2473077 h 2673102"/>
                  <a:gd name="connsiteX96" fmla="*/ 607421 w 1739754"/>
                  <a:gd name="connsiteY96" fmla="*/ 2511177 h 2673102"/>
                  <a:gd name="connsiteX97" fmla="*/ 574083 w 1739754"/>
                  <a:gd name="connsiteY97" fmla="*/ 2534989 h 2673102"/>
                  <a:gd name="connsiteX98" fmla="*/ 540746 w 1739754"/>
                  <a:gd name="connsiteY98" fmla="*/ 2554039 h 2673102"/>
                  <a:gd name="connsiteX99" fmla="*/ 497883 w 1739754"/>
                  <a:gd name="connsiteY99" fmla="*/ 2587377 h 2673102"/>
                  <a:gd name="connsiteX100" fmla="*/ 483596 w 1739754"/>
                  <a:gd name="connsiteY100" fmla="*/ 2601664 h 2673102"/>
                  <a:gd name="connsiteX101" fmla="*/ 459783 w 1739754"/>
                  <a:gd name="connsiteY101" fmla="*/ 2620714 h 2673102"/>
                  <a:gd name="connsiteX102" fmla="*/ 450258 w 1739754"/>
                  <a:gd name="connsiteY102" fmla="*/ 2635002 h 2673102"/>
                  <a:gd name="connsiteX103" fmla="*/ 416921 w 1739754"/>
                  <a:gd name="connsiteY103" fmla="*/ 2654052 h 2673102"/>
                  <a:gd name="connsiteX104" fmla="*/ 374058 w 1739754"/>
                  <a:gd name="connsiteY104" fmla="*/ 2673102 h 2673102"/>
                  <a:gd name="connsiteX105" fmla="*/ 359771 w 1739754"/>
                  <a:gd name="connsiteY105" fmla="*/ 2663577 h 2673102"/>
                  <a:gd name="connsiteX106" fmla="*/ 345483 w 1739754"/>
                  <a:gd name="connsiteY106" fmla="*/ 2635002 h 2673102"/>
                  <a:gd name="connsiteX107" fmla="*/ 335958 w 1739754"/>
                  <a:gd name="connsiteY107" fmla="*/ 2620714 h 2673102"/>
                  <a:gd name="connsiteX108" fmla="*/ 297858 w 1739754"/>
                  <a:gd name="connsiteY108" fmla="*/ 2611189 h 2673102"/>
                  <a:gd name="connsiteX109" fmla="*/ 278808 w 1739754"/>
                  <a:gd name="connsiteY109" fmla="*/ 2592139 h 2673102"/>
                  <a:gd name="connsiteX110" fmla="*/ 274046 w 1739754"/>
                  <a:gd name="connsiteY110" fmla="*/ 2573089 h 2673102"/>
                  <a:gd name="connsiteX111" fmla="*/ 235946 w 1739754"/>
                  <a:gd name="connsiteY111" fmla="*/ 2539752 h 2673102"/>
                  <a:gd name="connsiteX112" fmla="*/ 231183 w 1739754"/>
                  <a:gd name="connsiteY112" fmla="*/ 2525464 h 2673102"/>
                  <a:gd name="connsiteX113" fmla="*/ 226421 w 1739754"/>
                  <a:gd name="connsiteY113" fmla="*/ 2506414 h 2673102"/>
                  <a:gd name="connsiteX114" fmla="*/ 212133 w 1739754"/>
                  <a:gd name="connsiteY114" fmla="*/ 2492127 h 2673102"/>
                  <a:gd name="connsiteX115" fmla="*/ 154983 w 1739754"/>
                  <a:gd name="connsiteY115" fmla="*/ 2439739 h 2673102"/>
                  <a:gd name="connsiteX116" fmla="*/ 150221 w 1739754"/>
                  <a:gd name="connsiteY116" fmla="*/ 2415927 h 2673102"/>
                  <a:gd name="connsiteX117" fmla="*/ 135933 w 1739754"/>
                  <a:gd name="connsiteY117" fmla="*/ 2358777 h 2673102"/>
                  <a:gd name="connsiteX118" fmla="*/ 121646 w 1739754"/>
                  <a:gd name="connsiteY118" fmla="*/ 2315914 h 2673102"/>
                  <a:gd name="connsiteX119" fmla="*/ 107358 w 1739754"/>
                  <a:gd name="connsiteY119" fmla="*/ 2258764 h 2673102"/>
                  <a:gd name="connsiteX120" fmla="*/ 102596 w 1739754"/>
                  <a:gd name="connsiteY120" fmla="*/ 2234952 h 2673102"/>
                  <a:gd name="connsiteX121" fmla="*/ 93071 w 1739754"/>
                  <a:gd name="connsiteY121" fmla="*/ 2211139 h 2673102"/>
                  <a:gd name="connsiteX122" fmla="*/ 88308 w 1739754"/>
                  <a:gd name="connsiteY122" fmla="*/ 2187327 h 2673102"/>
                  <a:gd name="connsiteX123" fmla="*/ 78783 w 1739754"/>
                  <a:gd name="connsiteY123" fmla="*/ 2111127 h 2673102"/>
                  <a:gd name="connsiteX124" fmla="*/ 97833 w 1739754"/>
                  <a:gd name="connsiteY124" fmla="*/ 1944439 h 2673102"/>
                  <a:gd name="connsiteX125" fmla="*/ 107358 w 1739754"/>
                  <a:gd name="connsiteY125" fmla="*/ 1930152 h 2673102"/>
                  <a:gd name="connsiteX126" fmla="*/ 126408 w 1739754"/>
                  <a:gd name="connsiteY126" fmla="*/ 1901577 h 2673102"/>
                  <a:gd name="connsiteX127" fmla="*/ 135933 w 1739754"/>
                  <a:gd name="connsiteY127" fmla="*/ 1868239 h 2673102"/>
                  <a:gd name="connsiteX128" fmla="*/ 131171 w 1739754"/>
                  <a:gd name="connsiteY128" fmla="*/ 1825377 h 2673102"/>
                  <a:gd name="connsiteX129" fmla="*/ 112121 w 1739754"/>
                  <a:gd name="connsiteY129" fmla="*/ 1820614 h 2673102"/>
                  <a:gd name="connsiteX130" fmla="*/ 102596 w 1739754"/>
                  <a:gd name="connsiteY130" fmla="*/ 1806327 h 2673102"/>
                  <a:gd name="connsiteX131" fmla="*/ 145458 w 1739754"/>
                  <a:gd name="connsiteY131" fmla="*/ 1720602 h 2673102"/>
                  <a:gd name="connsiteX132" fmla="*/ 159746 w 1739754"/>
                  <a:gd name="connsiteY132" fmla="*/ 1715839 h 2673102"/>
                  <a:gd name="connsiteX133" fmla="*/ 174033 w 1739754"/>
                  <a:gd name="connsiteY133" fmla="*/ 1696789 h 2673102"/>
                  <a:gd name="connsiteX134" fmla="*/ 188321 w 1739754"/>
                  <a:gd name="connsiteY134" fmla="*/ 1687264 h 2673102"/>
                  <a:gd name="connsiteX135" fmla="*/ 202608 w 1739754"/>
                  <a:gd name="connsiteY135" fmla="*/ 1653927 h 2673102"/>
                  <a:gd name="connsiteX136" fmla="*/ 193083 w 1739754"/>
                  <a:gd name="connsiteY136" fmla="*/ 1606302 h 2673102"/>
                  <a:gd name="connsiteX137" fmla="*/ 164508 w 1739754"/>
                  <a:gd name="connsiteY137" fmla="*/ 1596777 h 2673102"/>
                  <a:gd name="connsiteX138" fmla="*/ 154983 w 1739754"/>
                  <a:gd name="connsiteY138" fmla="*/ 1549152 h 2673102"/>
                  <a:gd name="connsiteX139" fmla="*/ 150221 w 1739754"/>
                  <a:gd name="connsiteY139" fmla="*/ 1411039 h 2673102"/>
                  <a:gd name="connsiteX140" fmla="*/ 140696 w 1739754"/>
                  <a:gd name="connsiteY140" fmla="*/ 1377702 h 2673102"/>
                  <a:gd name="connsiteX141" fmla="*/ 121646 w 1739754"/>
                  <a:gd name="connsiteY141" fmla="*/ 1311027 h 2673102"/>
                  <a:gd name="connsiteX142" fmla="*/ 116883 w 1739754"/>
                  <a:gd name="connsiteY142" fmla="*/ 1258639 h 2673102"/>
                  <a:gd name="connsiteX143" fmla="*/ 107358 w 1739754"/>
                  <a:gd name="connsiteY143" fmla="*/ 1244352 h 2673102"/>
                  <a:gd name="connsiteX144" fmla="*/ 93071 w 1739754"/>
                  <a:gd name="connsiteY144" fmla="*/ 1196727 h 2673102"/>
                  <a:gd name="connsiteX145" fmla="*/ 78783 w 1739754"/>
                  <a:gd name="connsiteY145" fmla="*/ 1177677 h 2673102"/>
                  <a:gd name="connsiteX146" fmla="*/ 59733 w 1739754"/>
                  <a:gd name="connsiteY146" fmla="*/ 1139577 h 2673102"/>
                  <a:gd name="connsiteX147" fmla="*/ 50208 w 1739754"/>
                  <a:gd name="connsiteY147" fmla="*/ 1111002 h 2673102"/>
                  <a:gd name="connsiteX148" fmla="*/ 45446 w 1739754"/>
                  <a:gd name="connsiteY148" fmla="*/ 1096714 h 2673102"/>
                  <a:gd name="connsiteX149" fmla="*/ 21633 w 1739754"/>
                  <a:gd name="connsiteY149" fmla="*/ 1025277 h 2673102"/>
                  <a:gd name="connsiteX150" fmla="*/ 202 w 1739754"/>
                  <a:gd name="connsiteY150" fmla="*/ 980033 h 2673102"/>
                  <a:gd name="connsiteX151" fmla="*/ 14490 w 1739754"/>
                  <a:gd name="connsiteY151" fmla="*/ 930027 h 2673102"/>
                  <a:gd name="connsiteX152" fmla="*/ 69259 w 1739754"/>
                  <a:gd name="connsiteY152" fmla="*/ 810964 h 2673102"/>
                  <a:gd name="connsiteX153" fmla="*/ 221658 w 1739754"/>
                  <a:gd name="connsiteY153" fmla="*/ 601414 h 2673102"/>
                  <a:gd name="connsiteX154" fmla="*/ 288333 w 1739754"/>
                  <a:gd name="connsiteY154" fmla="*/ 515689 h 2673102"/>
                  <a:gd name="connsiteX155" fmla="*/ 412158 w 1739754"/>
                  <a:gd name="connsiteY155" fmla="*/ 406152 h 2673102"/>
                  <a:gd name="connsiteX156" fmla="*/ 535983 w 1739754"/>
                  <a:gd name="connsiteY156" fmla="*/ 291851 h 2673102"/>
                  <a:gd name="connsiteX157" fmla="*/ 640758 w 1739754"/>
                  <a:gd name="connsiteY157" fmla="*/ 229939 h 2673102"/>
                  <a:gd name="connsiteX158" fmla="*/ 733628 w 1739754"/>
                  <a:gd name="connsiteY158" fmla="*/ 168026 h 2673102"/>
                  <a:gd name="connsiteX159" fmla="*/ 978896 w 1739754"/>
                  <a:gd name="connsiteY159" fmla="*/ 63251 h 2673102"/>
                  <a:gd name="connsiteX160" fmla="*/ 1159871 w 1739754"/>
                  <a:gd name="connsiteY160" fmla="*/ 6102 h 2673102"/>
                  <a:gd name="connsiteX161" fmla="*/ 1202733 w 1739754"/>
                  <a:gd name="connsiteY16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50371 w 1739754"/>
                  <a:gd name="connsiteY10" fmla="*/ 510927 h 2673102"/>
                  <a:gd name="connsiteX11" fmla="*/ 1378946 w 1739754"/>
                  <a:gd name="connsiteY11" fmla="*/ 520452 h 2673102"/>
                  <a:gd name="connsiteX12" fmla="*/ 1407521 w 1739754"/>
                  <a:gd name="connsiteY12" fmla="*/ 539502 h 2673102"/>
                  <a:gd name="connsiteX13" fmla="*/ 1469433 w 1739754"/>
                  <a:gd name="connsiteY13" fmla="*/ 568077 h 2673102"/>
                  <a:gd name="connsiteX14" fmla="*/ 1521821 w 1739754"/>
                  <a:gd name="connsiteY14" fmla="*/ 587127 h 2673102"/>
                  <a:gd name="connsiteX15" fmla="*/ 1540871 w 1739754"/>
                  <a:gd name="connsiteY15" fmla="*/ 596652 h 2673102"/>
                  <a:gd name="connsiteX16" fmla="*/ 1559921 w 1739754"/>
                  <a:gd name="connsiteY16" fmla="*/ 601414 h 2673102"/>
                  <a:gd name="connsiteX17" fmla="*/ 1607546 w 1739754"/>
                  <a:gd name="connsiteY17" fmla="*/ 639514 h 2673102"/>
                  <a:gd name="connsiteX18" fmla="*/ 1636121 w 1739754"/>
                  <a:gd name="connsiteY18" fmla="*/ 672852 h 2673102"/>
                  <a:gd name="connsiteX19" fmla="*/ 1650408 w 1739754"/>
                  <a:gd name="connsiteY19" fmla="*/ 687139 h 2673102"/>
                  <a:gd name="connsiteX20" fmla="*/ 1669458 w 1739754"/>
                  <a:gd name="connsiteY20" fmla="*/ 696664 h 2673102"/>
                  <a:gd name="connsiteX21" fmla="*/ 1683746 w 1739754"/>
                  <a:gd name="connsiteY21" fmla="*/ 706189 h 2673102"/>
                  <a:gd name="connsiteX22" fmla="*/ 1709940 w 1739754"/>
                  <a:gd name="connsiteY22" fmla="*/ 749052 h 2673102"/>
                  <a:gd name="connsiteX23" fmla="*/ 1702796 w 1739754"/>
                  <a:gd name="connsiteY23" fmla="*/ 853827 h 2673102"/>
                  <a:gd name="connsiteX24" fmla="*/ 1664696 w 1739754"/>
                  <a:gd name="connsiteY24" fmla="*/ 887164 h 2673102"/>
                  <a:gd name="connsiteX25" fmla="*/ 1650408 w 1739754"/>
                  <a:gd name="connsiteY25" fmla="*/ 901452 h 2673102"/>
                  <a:gd name="connsiteX26" fmla="*/ 1598021 w 1739754"/>
                  <a:gd name="connsiteY26" fmla="*/ 906214 h 2673102"/>
                  <a:gd name="connsiteX27" fmla="*/ 1555158 w 1739754"/>
                  <a:gd name="connsiteY27" fmla="*/ 925264 h 2673102"/>
                  <a:gd name="connsiteX28" fmla="*/ 1531346 w 1739754"/>
                  <a:gd name="connsiteY28" fmla="*/ 939552 h 2673102"/>
                  <a:gd name="connsiteX29" fmla="*/ 1498008 w 1739754"/>
                  <a:gd name="connsiteY29" fmla="*/ 987177 h 2673102"/>
                  <a:gd name="connsiteX30" fmla="*/ 1345608 w 1739754"/>
                  <a:gd name="connsiteY30" fmla="*/ 1030039 h 2673102"/>
                  <a:gd name="connsiteX31" fmla="*/ 1297983 w 1739754"/>
                  <a:gd name="connsiteY31" fmla="*/ 1053852 h 2673102"/>
                  <a:gd name="connsiteX32" fmla="*/ 1231308 w 1739754"/>
                  <a:gd name="connsiteY32" fmla="*/ 1082427 h 2673102"/>
                  <a:gd name="connsiteX33" fmla="*/ 1126533 w 1739754"/>
                  <a:gd name="connsiteY33" fmla="*/ 1096714 h 2673102"/>
                  <a:gd name="connsiteX34" fmla="*/ 1102721 w 1739754"/>
                  <a:gd name="connsiteY34" fmla="*/ 1101477 h 2673102"/>
                  <a:gd name="connsiteX35" fmla="*/ 1078908 w 1739754"/>
                  <a:gd name="connsiteY35" fmla="*/ 1111002 h 2673102"/>
                  <a:gd name="connsiteX36" fmla="*/ 964608 w 1739754"/>
                  <a:gd name="connsiteY36" fmla="*/ 1106239 h 2673102"/>
                  <a:gd name="connsiteX37" fmla="*/ 859833 w 1739754"/>
                  <a:gd name="connsiteY37" fmla="*/ 1058614 h 2673102"/>
                  <a:gd name="connsiteX38" fmla="*/ 812208 w 1739754"/>
                  <a:gd name="connsiteY38" fmla="*/ 1034802 h 2673102"/>
                  <a:gd name="connsiteX39" fmla="*/ 788396 w 1739754"/>
                  <a:gd name="connsiteY39" fmla="*/ 1020514 h 2673102"/>
                  <a:gd name="connsiteX40" fmla="*/ 769346 w 1739754"/>
                  <a:gd name="connsiteY40" fmla="*/ 1006227 h 2673102"/>
                  <a:gd name="connsiteX41" fmla="*/ 678858 w 1739754"/>
                  <a:gd name="connsiteY41" fmla="*/ 958602 h 2673102"/>
                  <a:gd name="connsiteX42" fmla="*/ 645521 w 1739754"/>
                  <a:gd name="connsiteY42" fmla="*/ 939552 h 2673102"/>
                  <a:gd name="connsiteX43" fmla="*/ 526458 w 1739754"/>
                  <a:gd name="connsiteY43" fmla="*/ 910977 h 2673102"/>
                  <a:gd name="connsiteX44" fmla="*/ 483596 w 1739754"/>
                  <a:gd name="connsiteY44" fmla="*/ 891927 h 2673102"/>
                  <a:gd name="connsiteX45" fmla="*/ 421683 w 1739754"/>
                  <a:gd name="connsiteY45" fmla="*/ 882402 h 2673102"/>
                  <a:gd name="connsiteX46" fmla="*/ 321671 w 1739754"/>
                  <a:gd name="connsiteY46" fmla="*/ 896689 h 2673102"/>
                  <a:gd name="connsiteX47" fmla="*/ 307383 w 1739754"/>
                  <a:gd name="connsiteY47" fmla="*/ 910977 h 2673102"/>
                  <a:gd name="connsiteX48" fmla="*/ 283571 w 1739754"/>
                  <a:gd name="connsiteY48" fmla="*/ 949077 h 2673102"/>
                  <a:gd name="connsiteX49" fmla="*/ 269283 w 1739754"/>
                  <a:gd name="connsiteY49" fmla="*/ 987177 h 2673102"/>
                  <a:gd name="connsiteX50" fmla="*/ 264521 w 1739754"/>
                  <a:gd name="connsiteY50" fmla="*/ 1039564 h 2673102"/>
                  <a:gd name="connsiteX51" fmla="*/ 264521 w 1739754"/>
                  <a:gd name="connsiteY51" fmla="*/ 1120527 h 2673102"/>
                  <a:gd name="connsiteX52" fmla="*/ 297858 w 1739754"/>
                  <a:gd name="connsiteY52" fmla="*/ 1153864 h 2673102"/>
                  <a:gd name="connsiteX53" fmla="*/ 326433 w 1739754"/>
                  <a:gd name="connsiteY53" fmla="*/ 1163389 h 2673102"/>
                  <a:gd name="connsiteX54" fmla="*/ 326433 w 1739754"/>
                  <a:gd name="connsiteY54" fmla="*/ 1244352 h 2673102"/>
                  <a:gd name="connsiteX55" fmla="*/ 312146 w 1739754"/>
                  <a:gd name="connsiteY55" fmla="*/ 1258639 h 2673102"/>
                  <a:gd name="connsiteX56" fmla="*/ 259758 w 1739754"/>
                  <a:gd name="connsiteY56" fmla="*/ 1296739 h 2673102"/>
                  <a:gd name="connsiteX57" fmla="*/ 240708 w 1739754"/>
                  <a:gd name="connsiteY57" fmla="*/ 1325314 h 2673102"/>
                  <a:gd name="connsiteX58" fmla="*/ 250233 w 1739754"/>
                  <a:gd name="connsiteY58" fmla="*/ 1425327 h 2673102"/>
                  <a:gd name="connsiteX59" fmla="*/ 278808 w 1739754"/>
                  <a:gd name="connsiteY59" fmla="*/ 1472952 h 2673102"/>
                  <a:gd name="connsiteX60" fmla="*/ 293096 w 1739754"/>
                  <a:gd name="connsiteY60" fmla="*/ 1492002 h 2673102"/>
                  <a:gd name="connsiteX61" fmla="*/ 383583 w 1739754"/>
                  <a:gd name="connsiteY61" fmla="*/ 1525339 h 2673102"/>
                  <a:gd name="connsiteX62" fmla="*/ 407396 w 1739754"/>
                  <a:gd name="connsiteY62" fmla="*/ 1492002 h 2673102"/>
                  <a:gd name="connsiteX63" fmla="*/ 412158 w 1739754"/>
                  <a:gd name="connsiteY63" fmla="*/ 1468189 h 2673102"/>
                  <a:gd name="connsiteX64" fmla="*/ 416921 w 1739754"/>
                  <a:gd name="connsiteY64" fmla="*/ 1449139 h 2673102"/>
                  <a:gd name="connsiteX65" fmla="*/ 445496 w 1739754"/>
                  <a:gd name="connsiteY65" fmla="*/ 1439614 h 2673102"/>
                  <a:gd name="connsiteX66" fmla="*/ 545508 w 1739754"/>
                  <a:gd name="connsiteY66" fmla="*/ 1458664 h 2673102"/>
                  <a:gd name="connsiteX67" fmla="*/ 555033 w 1739754"/>
                  <a:gd name="connsiteY67" fmla="*/ 1482477 h 2673102"/>
                  <a:gd name="connsiteX68" fmla="*/ 564558 w 1739754"/>
                  <a:gd name="connsiteY68" fmla="*/ 1515814 h 2673102"/>
                  <a:gd name="connsiteX69" fmla="*/ 550271 w 1739754"/>
                  <a:gd name="connsiteY69" fmla="*/ 1534864 h 2673102"/>
                  <a:gd name="connsiteX70" fmla="*/ 550271 w 1739754"/>
                  <a:gd name="connsiteY70" fmla="*/ 1601539 h 2673102"/>
                  <a:gd name="connsiteX71" fmla="*/ 559796 w 1739754"/>
                  <a:gd name="connsiteY71" fmla="*/ 1620589 h 2673102"/>
                  <a:gd name="connsiteX72" fmla="*/ 626471 w 1739754"/>
                  <a:gd name="connsiteY72" fmla="*/ 1639639 h 2673102"/>
                  <a:gd name="connsiteX73" fmla="*/ 645521 w 1739754"/>
                  <a:gd name="connsiteY73" fmla="*/ 1592014 h 2673102"/>
                  <a:gd name="connsiteX74" fmla="*/ 702671 w 1739754"/>
                  <a:gd name="connsiteY74" fmla="*/ 1620589 h 2673102"/>
                  <a:gd name="connsiteX75" fmla="*/ 731246 w 1739754"/>
                  <a:gd name="connsiteY75" fmla="*/ 1630114 h 2673102"/>
                  <a:gd name="connsiteX76" fmla="*/ 783633 w 1739754"/>
                  <a:gd name="connsiteY76" fmla="*/ 1663452 h 2673102"/>
                  <a:gd name="connsiteX77" fmla="*/ 859833 w 1739754"/>
                  <a:gd name="connsiteY77" fmla="*/ 1687264 h 2673102"/>
                  <a:gd name="connsiteX78" fmla="*/ 878883 w 1739754"/>
                  <a:gd name="connsiteY78" fmla="*/ 1701552 h 2673102"/>
                  <a:gd name="connsiteX79" fmla="*/ 888408 w 1739754"/>
                  <a:gd name="connsiteY79" fmla="*/ 1739652 h 2673102"/>
                  <a:gd name="connsiteX80" fmla="*/ 897933 w 1739754"/>
                  <a:gd name="connsiteY80" fmla="*/ 1782514 h 2673102"/>
                  <a:gd name="connsiteX81" fmla="*/ 940796 w 1739754"/>
                  <a:gd name="connsiteY81" fmla="*/ 1892052 h 2673102"/>
                  <a:gd name="connsiteX82" fmla="*/ 950321 w 1739754"/>
                  <a:gd name="connsiteY82" fmla="*/ 1906339 h 2673102"/>
                  <a:gd name="connsiteX83" fmla="*/ 959846 w 1739754"/>
                  <a:gd name="connsiteY83" fmla="*/ 1939677 h 2673102"/>
                  <a:gd name="connsiteX84" fmla="*/ 974133 w 1739754"/>
                  <a:gd name="connsiteY84" fmla="*/ 1977777 h 2673102"/>
                  <a:gd name="connsiteX85" fmla="*/ 964608 w 1739754"/>
                  <a:gd name="connsiteY85" fmla="*/ 2082552 h 2673102"/>
                  <a:gd name="connsiteX86" fmla="*/ 955083 w 1739754"/>
                  <a:gd name="connsiteY86" fmla="*/ 2101602 h 2673102"/>
                  <a:gd name="connsiteX87" fmla="*/ 926508 w 1739754"/>
                  <a:gd name="connsiteY87" fmla="*/ 2144464 h 2673102"/>
                  <a:gd name="connsiteX88" fmla="*/ 907458 w 1739754"/>
                  <a:gd name="connsiteY88" fmla="*/ 2192089 h 2673102"/>
                  <a:gd name="connsiteX89" fmla="*/ 902696 w 1739754"/>
                  <a:gd name="connsiteY89" fmla="*/ 2211139 h 2673102"/>
                  <a:gd name="connsiteX90" fmla="*/ 893171 w 1739754"/>
                  <a:gd name="connsiteY90" fmla="*/ 2239714 h 2673102"/>
                  <a:gd name="connsiteX91" fmla="*/ 897933 w 1739754"/>
                  <a:gd name="connsiteY91" fmla="*/ 2287339 h 2673102"/>
                  <a:gd name="connsiteX92" fmla="*/ 893171 w 1739754"/>
                  <a:gd name="connsiteY92" fmla="*/ 2396877 h 2673102"/>
                  <a:gd name="connsiteX93" fmla="*/ 688383 w 1739754"/>
                  <a:gd name="connsiteY93" fmla="*/ 2449264 h 2673102"/>
                  <a:gd name="connsiteX94" fmla="*/ 655046 w 1739754"/>
                  <a:gd name="connsiteY94" fmla="*/ 2473077 h 2673102"/>
                  <a:gd name="connsiteX95" fmla="*/ 607421 w 1739754"/>
                  <a:gd name="connsiteY95" fmla="*/ 2511177 h 2673102"/>
                  <a:gd name="connsiteX96" fmla="*/ 574083 w 1739754"/>
                  <a:gd name="connsiteY96" fmla="*/ 2534989 h 2673102"/>
                  <a:gd name="connsiteX97" fmla="*/ 540746 w 1739754"/>
                  <a:gd name="connsiteY97" fmla="*/ 2554039 h 2673102"/>
                  <a:gd name="connsiteX98" fmla="*/ 497883 w 1739754"/>
                  <a:gd name="connsiteY98" fmla="*/ 2587377 h 2673102"/>
                  <a:gd name="connsiteX99" fmla="*/ 483596 w 1739754"/>
                  <a:gd name="connsiteY99" fmla="*/ 2601664 h 2673102"/>
                  <a:gd name="connsiteX100" fmla="*/ 459783 w 1739754"/>
                  <a:gd name="connsiteY100" fmla="*/ 2620714 h 2673102"/>
                  <a:gd name="connsiteX101" fmla="*/ 450258 w 1739754"/>
                  <a:gd name="connsiteY101" fmla="*/ 2635002 h 2673102"/>
                  <a:gd name="connsiteX102" fmla="*/ 416921 w 1739754"/>
                  <a:gd name="connsiteY102" fmla="*/ 2654052 h 2673102"/>
                  <a:gd name="connsiteX103" fmla="*/ 374058 w 1739754"/>
                  <a:gd name="connsiteY103" fmla="*/ 2673102 h 2673102"/>
                  <a:gd name="connsiteX104" fmla="*/ 359771 w 1739754"/>
                  <a:gd name="connsiteY104" fmla="*/ 2663577 h 2673102"/>
                  <a:gd name="connsiteX105" fmla="*/ 345483 w 1739754"/>
                  <a:gd name="connsiteY105" fmla="*/ 2635002 h 2673102"/>
                  <a:gd name="connsiteX106" fmla="*/ 335958 w 1739754"/>
                  <a:gd name="connsiteY106" fmla="*/ 2620714 h 2673102"/>
                  <a:gd name="connsiteX107" fmla="*/ 297858 w 1739754"/>
                  <a:gd name="connsiteY107" fmla="*/ 2611189 h 2673102"/>
                  <a:gd name="connsiteX108" fmla="*/ 278808 w 1739754"/>
                  <a:gd name="connsiteY108" fmla="*/ 2592139 h 2673102"/>
                  <a:gd name="connsiteX109" fmla="*/ 274046 w 1739754"/>
                  <a:gd name="connsiteY109" fmla="*/ 2573089 h 2673102"/>
                  <a:gd name="connsiteX110" fmla="*/ 235946 w 1739754"/>
                  <a:gd name="connsiteY110" fmla="*/ 2539752 h 2673102"/>
                  <a:gd name="connsiteX111" fmla="*/ 231183 w 1739754"/>
                  <a:gd name="connsiteY111" fmla="*/ 2525464 h 2673102"/>
                  <a:gd name="connsiteX112" fmla="*/ 226421 w 1739754"/>
                  <a:gd name="connsiteY112" fmla="*/ 2506414 h 2673102"/>
                  <a:gd name="connsiteX113" fmla="*/ 212133 w 1739754"/>
                  <a:gd name="connsiteY113" fmla="*/ 2492127 h 2673102"/>
                  <a:gd name="connsiteX114" fmla="*/ 154983 w 1739754"/>
                  <a:gd name="connsiteY114" fmla="*/ 2439739 h 2673102"/>
                  <a:gd name="connsiteX115" fmla="*/ 150221 w 1739754"/>
                  <a:gd name="connsiteY115" fmla="*/ 2415927 h 2673102"/>
                  <a:gd name="connsiteX116" fmla="*/ 135933 w 1739754"/>
                  <a:gd name="connsiteY116" fmla="*/ 2358777 h 2673102"/>
                  <a:gd name="connsiteX117" fmla="*/ 121646 w 1739754"/>
                  <a:gd name="connsiteY117" fmla="*/ 2315914 h 2673102"/>
                  <a:gd name="connsiteX118" fmla="*/ 107358 w 1739754"/>
                  <a:gd name="connsiteY118" fmla="*/ 2258764 h 2673102"/>
                  <a:gd name="connsiteX119" fmla="*/ 102596 w 1739754"/>
                  <a:gd name="connsiteY119" fmla="*/ 2234952 h 2673102"/>
                  <a:gd name="connsiteX120" fmla="*/ 93071 w 1739754"/>
                  <a:gd name="connsiteY120" fmla="*/ 2211139 h 2673102"/>
                  <a:gd name="connsiteX121" fmla="*/ 88308 w 1739754"/>
                  <a:gd name="connsiteY121" fmla="*/ 2187327 h 2673102"/>
                  <a:gd name="connsiteX122" fmla="*/ 78783 w 1739754"/>
                  <a:gd name="connsiteY122" fmla="*/ 2111127 h 2673102"/>
                  <a:gd name="connsiteX123" fmla="*/ 97833 w 1739754"/>
                  <a:gd name="connsiteY123" fmla="*/ 1944439 h 2673102"/>
                  <a:gd name="connsiteX124" fmla="*/ 107358 w 1739754"/>
                  <a:gd name="connsiteY124" fmla="*/ 1930152 h 2673102"/>
                  <a:gd name="connsiteX125" fmla="*/ 126408 w 1739754"/>
                  <a:gd name="connsiteY125" fmla="*/ 1901577 h 2673102"/>
                  <a:gd name="connsiteX126" fmla="*/ 135933 w 1739754"/>
                  <a:gd name="connsiteY126" fmla="*/ 1868239 h 2673102"/>
                  <a:gd name="connsiteX127" fmla="*/ 131171 w 1739754"/>
                  <a:gd name="connsiteY127" fmla="*/ 1825377 h 2673102"/>
                  <a:gd name="connsiteX128" fmla="*/ 112121 w 1739754"/>
                  <a:gd name="connsiteY128" fmla="*/ 1820614 h 2673102"/>
                  <a:gd name="connsiteX129" fmla="*/ 102596 w 1739754"/>
                  <a:gd name="connsiteY129" fmla="*/ 1806327 h 2673102"/>
                  <a:gd name="connsiteX130" fmla="*/ 145458 w 1739754"/>
                  <a:gd name="connsiteY130" fmla="*/ 1720602 h 2673102"/>
                  <a:gd name="connsiteX131" fmla="*/ 159746 w 1739754"/>
                  <a:gd name="connsiteY131" fmla="*/ 1715839 h 2673102"/>
                  <a:gd name="connsiteX132" fmla="*/ 174033 w 1739754"/>
                  <a:gd name="connsiteY132" fmla="*/ 1696789 h 2673102"/>
                  <a:gd name="connsiteX133" fmla="*/ 188321 w 1739754"/>
                  <a:gd name="connsiteY133" fmla="*/ 1687264 h 2673102"/>
                  <a:gd name="connsiteX134" fmla="*/ 202608 w 1739754"/>
                  <a:gd name="connsiteY134" fmla="*/ 1653927 h 2673102"/>
                  <a:gd name="connsiteX135" fmla="*/ 193083 w 1739754"/>
                  <a:gd name="connsiteY135" fmla="*/ 1606302 h 2673102"/>
                  <a:gd name="connsiteX136" fmla="*/ 164508 w 1739754"/>
                  <a:gd name="connsiteY136" fmla="*/ 1596777 h 2673102"/>
                  <a:gd name="connsiteX137" fmla="*/ 154983 w 1739754"/>
                  <a:gd name="connsiteY137" fmla="*/ 1549152 h 2673102"/>
                  <a:gd name="connsiteX138" fmla="*/ 150221 w 1739754"/>
                  <a:gd name="connsiteY138" fmla="*/ 1411039 h 2673102"/>
                  <a:gd name="connsiteX139" fmla="*/ 140696 w 1739754"/>
                  <a:gd name="connsiteY139" fmla="*/ 1377702 h 2673102"/>
                  <a:gd name="connsiteX140" fmla="*/ 121646 w 1739754"/>
                  <a:gd name="connsiteY140" fmla="*/ 1311027 h 2673102"/>
                  <a:gd name="connsiteX141" fmla="*/ 116883 w 1739754"/>
                  <a:gd name="connsiteY141" fmla="*/ 1258639 h 2673102"/>
                  <a:gd name="connsiteX142" fmla="*/ 107358 w 1739754"/>
                  <a:gd name="connsiteY142" fmla="*/ 1244352 h 2673102"/>
                  <a:gd name="connsiteX143" fmla="*/ 93071 w 1739754"/>
                  <a:gd name="connsiteY143" fmla="*/ 1196727 h 2673102"/>
                  <a:gd name="connsiteX144" fmla="*/ 78783 w 1739754"/>
                  <a:gd name="connsiteY144" fmla="*/ 1177677 h 2673102"/>
                  <a:gd name="connsiteX145" fmla="*/ 59733 w 1739754"/>
                  <a:gd name="connsiteY145" fmla="*/ 1139577 h 2673102"/>
                  <a:gd name="connsiteX146" fmla="*/ 50208 w 1739754"/>
                  <a:gd name="connsiteY146" fmla="*/ 1111002 h 2673102"/>
                  <a:gd name="connsiteX147" fmla="*/ 45446 w 1739754"/>
                  <a:gd name="connsiteY147" fmla="*/ 1096714 h 2673102"/>
                  <a:gd name="connsiteX148" fmla="*/ 21633 w 1739754"/>
                  <a:gd name="connsiteY148" fmla="*/ 1025277 h 2673102"/>
                  <a:gd name="connsiteX149" fmla="*/ 202 w 1739754"/>
                  <a:gd name="connsiteY149" fmla="*/ 980033 h 2673102"/>
                  <a:gd name="connsiteX150" fmla="*/ 14490 w 1739754"/>
                  <a:gd name="connsiteY150" fmla="*/ 930027 h 2673102"/>
                  <a:gd name="connsiteX151" fmla="*/ 69259 w 1739754"/>
                  <a:gd name="connsiteY151" fmla="*/ 810964 h 2673102"/>
                  <a:gd name="connsiteX152" fmla="*/ 221658 w 1739754"/>
                  <a:gd name="connsiteY152" fmla="*/ 601414 h 2673102"/>
                  <a:gd name="connsiteX153" fmla="*/ 288333 w 1739754"/>
                  <a:gd name="connsiteY153" fmla="*/ 515689 h 2673102"/>
                  <a:gd name="connsiteX154" fmla="*/ 412158 w 1739754"/>
                  <a:gd name="connsiteY154" fmla="*/ 406152 h 2673102"/>
                  <a:gd name="connsiteX155" fmla="*/ 535983 w 1739754"/>
                  <a:gd name="connsiteY155" fmla="*/ 291851 h 2673102"/>
                  <a:gd name="connsiteX156" fmla="*/ 640758 w 1739754"/>
                  <a:gd name="connsiteY156" fmla="*/ 229939 h 2673102"/>
                  <a:gd name="connsiteX157" fmla="*/ 733628 w 1739754"/>
                  <a:gd name="connsiteY157" fmla="*/ 168026 h 2673102"/>
                  <a:gd name="connsiteX158" fmla="*/ 978896 w 1739754"/>
                  <a:gd name="connsiteY158" fmla="*/ 63251 h 2673102"/>
                  <a:gd name="connsiteX159" fmla="*/ 1159871 w 1739754"/>
                  <a:gd name="connsiteY159" fmla="*/ 6102 h 2673102"/>
                  <a:gd name="connsiteX160" fmla="*/ 1202733 w 1739754"/>
                  <a:gd name="connsiteY16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469433 w 1739754"/>
                  <a:gd name="connsiteY12" fmla="*/ 568077 h 2673102"/>
                  <a:gd name="connsiteX13" fmla="*/ 1521821 w 1739754"/>
                  <a:gd name="connsiteY13" fmla="*/ 587127 h 2673102"/>
                  <a:gd name="connsiteX14" fmla="*/ 1540871 w 1739754"/>
                  <a:gd name="connsiteY14" fmla="*/ 596652 h 2673102"/>
                  <a:gd name="connsiteX15" fmla="*/ 1559921 w 1739754"/>
                  <a:gd name="connsiteY15" fmla="*/ 601414 h 2673102"/>
                  <a:gd name="connsiteX16" fmla="*/ 1607546 w 1739754"/>
                  <a:gd name="connsiteY16" fmla="*/ 639514 h 2673102"/>
                  <a:gd name="connsiteX17" fmla="*/ 1636121 w 1739754"/>
                  <a:gd name="connsiteY17" fmla="*/ 672852 h 2673102"/>
                  <a:gd name="connsiteX18" fmla="*/ 1650408 w 1739754"/>
                  <a:gd name="connsiteY18" fmla="*/ 687139 h 2673102"/>
                  <a:gd name="connsiteX19" fmla="*/ 1669458 w 1739754"/>
                  <a:gd name="connsiteY19" fmla="*/ 696664 h 2673102"/>
                  <a:gd name="connsiteX20" fmla="*/ 1683746 w 1739754"/>
                  <a:gd name="connsiteY20" fmla="*/ 706189 h 2673102"/>
                  <a:gd name="connsiteX21" fmla="*/ 1709940 w 1739754"/>
                  <a:gd name="connsiteY21" fmla="*/ 749052 h 2673102"/>
                  <a:gd name="connsiteX22" fmla="*/ 1702796 w 1739754"/>
                  <a:gd name="connsiteY22" fmla="*/ 853827 h 2673102"/>
                  <a:gd name="connsiteX23" fmla="*/ 1664696 w 1739754"/>
                  <a:gd name="connsiteY23" fmla="*/ 887164 h 2673102"/>
                  <a:gd name="connsiteX24" fmla="*/ 1650408 w 1739754"/>
                  <a:gd name="connsiteY24" fmla="*/ 901452 h 2673102"/>
                  <a:gd name="connsiteX25" fmla="*/ 1598021 w 1739754"/>
                  <a:gd name="connsiteY25" fmla="*/ 906214 h 2673102"/>
                  <a:gd name="connsiteX26" fmla="*/ 1555158 w 1739754"/>
                  <a:gd name="connsiteY26" fmla="*/ 925264 h 2673102"/>
                  <a:gd name="connsiteX27" fmla="*/ 1531346 w 1739754"/>
                  <a:gd name="connsiteY27" fmla="*/ 939552 h 2673102"/>
                  <a:gd name="connsiteX28" fmla="*/ 1498008 w 1739754"/>
                  <a:gd name="connsiteY28" fmla="*/ 987177 h 2673102"/>
                  <a:gd name="connsiteX29" fmla="*/ 1345608 w 1739754"/>
                  <a:gd name="connsiteY29" fmla="*/ 1030039 h 2673102"/>
                  <a:gd name="connsiteX30" fmla="*/ 1297983 w 1739754"/>
                  <a:gd name="connsiteY30" fmla="*/ 1053852 h 2673102"/>
                  <a:gd name="connsiteX31" fmla="*/ 1231308 w 1739754"/>
                  <a:gd name="connsiteY31" fmla="*/ 1082427 h 2673102"/>
                  <a:gd name="connsiteX32" fmla="*/ 1126533 w 1739754"/>
                  <a:gd name="connsiteY32" fmla="*/ 1096714 h 2673102"/>
                  <a:gd name="connsiteX33" fmla="*/ 1102721 w 1739754"/>
                  <a:gd name="connsiteY33" fmla="*/ 1101477 h 2673102"/>
                  <a:gd name="connsiteX34" fmla="*/ 1078908 w 1739754"/>
                  <a:gd name="connsiteY34" fmla="*/ 1111002 h 2673102"/>
                  <a:gd name="connsiteX35" fmla="*/ 964608 w 1739754"/>
                  <a:gd name="connsiteY35" fmla="*/ 1106239 h 2673102"/>
                  <a:gd name="connsiteX36" fmla="*/ 859833 w 1739754"/>
                  <a:gd name="connsiteY36" fmla="*/ 1058614 h 2673102"/>
                  <a:gd name="connsiteX37" fmla="*/ 812208 w 1739754"/>
                  <a:gd name="connsiteY37" fmla="*/ 1034802 h 2673102"/>
                  <a:gd name="connsiteX38" fmla="*/ 788396 w 1739754"/>
                  <a:gd name="connsiteY38" fmla="*/ 1020514 h 2673102"/>
                  <a:gd name="connsiteX39" fmla="*/ 769346 w 1739754"/>
                  <a:gd name="connsiteY39" fmla="*/ 1006227 h 2673102"/>
                  <a:gd name="connsiteX40" fmla="*/ 678858 w 1739754"/>
                  <a:gd name="connsiteY40" fmla="*/ 958602 h 2673102"/>
                  <a:gd name="connsiteX41" fmla="*/ 645521 w 1739754"/>
                  <a:gd name="connsiteY41" fmla="*/ 939552 h 2673102"/>
                  <a:gd name="connsiteX42" fmla="*/ 526458 w 1739754"/>
                  <a:gd name="connsiteY42" fmla="*/ 910977 h 2673102"/>
                  <a:gd name="connsiteX43" fmla="*/ 483596 w 1739754"/>
                  <a:gd name="connsiteY43" fmla="*/ 891927 h 2673102"/>
                  <a:gd name="connsiteX44" fmla="*/ 421683 w 1739754"/>
                  <a:gd name="connsiteY44" fmla="*/ 882402 h 2673102"/>
                  <a:gd name="connsiteX45" fmla="*/ 321671 w 1739754"/>
                  <a:gd name="connsiteY45" fmla="*/ 896689 h 2673102"/>
                  <a:gd name="connsiteX46" fmla="*/ 307383 w 1739754"/>
                  <a:gd name="connsiteY46" fmla="*/ 910977 h 2673102"/>
                  <a:gd name="connsiteX47" fmla="*/ 283571 w 1739754"/>
                  <a:gd name="connsiteY47" fmla="*/ 949077 h 2673102"/>
                  <a:gd name="connsiteX48" fmla="*/ 269283 w 1739754"/>
                  <a:gd name="connsiteY48" fmla="*/ 987177 h 2673102"/>
                  <a:gd name="connsiteX49" fmla="*/ 264521 w 1739754"/>
                  <a:gd name="connsiteY49" fmla="*/ 1039564 h 2673102"/>
                  <a:gd name="connsiteX50" fmla="*/ 264521 w 1739754"/>
                  <a:gd name="connsiteY50" fmla="*/ 1120527 h 2673102"/>
                  <a:gd name="connsiteX51" fmla="*/ 297858 w 1739754"/>
                  <a:gd name="connsiteY51" fmla="*/ 1153864 h 2673102"/>
                  <a:gd name="connsiteX52" fmla="*/ 326433 w 1739754"/>
                  <a:gd name="connsiteY52" fmla="*/ 1163389 h 2673102"/>
                  <a:gd name="connsiteX53" fmla="*/ 326433 w 1739754"/>
                  <a:gd name="connsiteY53" fmla="*/ 1244352 h 2673102"/>
                  <a:gd name="connsiteX54" fmla="*/ 312146 w 1739754"/>
                  <a:gd name="connsiteY54" fmla="*/ 1258639 h 2673102"/>
                  <a:gd name="connsiteX55" fmla="*/ 259758 w 1739754"/>
                  <a:gd name="connsiteY55" fmla="*/ 1296739 h 2673102"/>
                  <a:gd name="connsiteX56" fmla="*/ 240708 w 1739754"/>
                  <a:gd name="connsiteY56" fmla="*/ 1325314 h 2673102"/>
                  <a:gd name="connsiteX57" fmla="*/ 250233 w 1739754"/>
                  <a:gd name="connsiteY57" fmla="*/ 1425327 h 2673102"/>
                  <a:gd name="connsiteX58" fmla="*/ 278808 w 1739754"/>
                  <a:gd name="connsiteY58" fmla="*/ 1472952 h 2673102"/>
                  <a:gd name="connsiteX59" fmla="*/ 293096 w 1739754"/>
                  <a:gd name="connsiteY59" fmla="*/ 1492002 h 2673102"/>
                  <a:gd name="connsiteX60" fmla="*/ 383583 w 1739754"/>
                  <a:gd name="connsiteY60" fmla="*/ 1525339 h 2673102"/>
                  <a:gd name="connsiteX61" fmla="*/ 407396 w 1739754"/>
                  <a:gd name="connsiteY61" fmla="*/ 1492002 h 2673102"/>
                  <a:gd name="connsiteX62" fmla="*/ 412158 w 1739754"/>
                  <a:gd name="connsiteY62" fmla="*/ 1468189 h 2673102"/>
                  <a:gd name="connsiteX63" fmla="*/ 416921 w 1739754"/>
                  <a:gd name="connsiteY63" fmla="*/ 1449139 h 2673102"/>
                  <a:gd name="connsiteX64" fmla="*/ 445496 w 1739754"/>
                  <a:gd name="connsiteY64" fmla="*/ 1439614 h 2673102"/>
                  <a:gd name="connsiteX65" fmla="*/ 545508 w 1739754"/>
                  <a:gd name="connsiteY65" fmla="*/ 1458664 h 2673102"/>
                  <a:gd name="connsiteX66" fmla="*/ 555033 w 1739754"/>
                  <a:gd name="connsiteY66" fmla="*/ 1482477 h 2673102"/>
                  <a:gd name="connsiteX67" fmla="*/ 564558 w 1739754"/>
                  <a:gd name="connsiteY67" fmla="*/ 1515814 h 2673102"/>
                  <a:gd name="connsiteX68" fmla="*/ 550271 w 1739754"/>
                  <a:gd name="connsiteY68" fmla="*/ 1534864 h 2673102"/>
                  <a:gd name="connsiteX69" fmla="*/ 550271 w 1739754"/>
                  <a:gd name="connsiteY69" fmla="*/ 1601539 h 2673102"/>
                  <a:gd name="connsiteX70" fmla="*/ 559796 w 1739754"/>
                  <a:gd name="connsiteY70" fmla="*/ 1620589 h 2673102"/>
                  <a:gd name="connsiteX71" fmla="*/ 626471 w 1739754"/>
                  <a:gd name="connsiteY71" fmla="*/ 1639639 h 2673102"/>
                  <a:gd name="connsiteX72" fmla="*/ 645521 w 1739754"/>
                  <a:gd name="connsiteY72" fmla="*/ 1592014 h 2673102"/>
                  <a:gd name="connsiteX73" fmla="*/ 702671 w 1739754"/>
                  <a:gd name="connsiteY73" fmla="*/ 1620589 h 2673102"/>
                  <a:gd name="connsiteX74" fmla="*/ 731246 w 1739754"/>
                  <a:gd name="connsiteY74" fmla="*/ 1630114 h 2673102"/>
                  <a:gd name="connsiteX75" fmla="*/ 783633 w 1739754"/>
                  <a:gd name="connsiteY75" fmla="*/ 1663452 h 2673102"/>
                  <a:gd name="connsiteX76" fmla="*/ 859833 w 1739754"/>
                  <a:gd name="connsiteY76" fmla="*/ 1687264 h 2673102"/>
                  <a:gd name="connsiteX77" fmla="*/ 878883 w 1739754"/>
                  <a:gd name="connsiteY77" fmla="*/ 1701552 h 2673102"/>
                  <a:gd name="connsiteX78" fmla="*/ 888408 w 1739754"/>
                  <a:gd name="connsiteY78" fmla="*/ 1739652 h 2673102"/>
                  <a:gd name="connsiteX79" fmla="*/ 897933 w 1739754"/>
                  <a:gd name="connsiteY79" fmla="*/ 1782514 h 2673102"/>
                  <a:gd name="connsiteX80" fmla="*/ 940796 w 1739754"/>
                  <a:gd name="connsiteY80" fmla="*/ 1892052 h 2673102"/>
                  <a:gd name="connsiteX81" fmla="*/ 950321 w 1739754"/>
                  <a:gd name="connsiteY81" fmla="*/ 1906339 h 2673102"/>
                  <a:gd name="connsiteX82" fmla="*/ 959846 w 1739754"/>
                  <a:gd name="connsiteY82" fmla="*/ 1939677 h 2673102"/>
                  <a:gd name="connsiteX83" fmla="*/ 974133 w 1739754"/>
                  <a:gd name="connsiteY83" fmla="*/ 1977777 h 2673102"/>
                  <a:gd name="connsiteX84" fmla="*/ 964608 w 1739754"/>
                  <a:gd name="connsiteY84" fmla="*/ 2082552 h 2673102"/>
                  <a:gd name="connsiteX85" fmla="*/ 955083 w 1739754"/>
                  <a:gd name="connsiteY85" fmla="*/ 2101602 h 2673102"/>
                  <a:gd name="connsiteX86" fmla="*/ 926508 w 1739754"/>
                  <a:gd name="connsiteY86" fmla="*/ 2144464 h 2673102"/>
                  <a:gd name="connsiteX87" fmla="*/ 907458 w 1739754"/>
                  <a:gd name="connsiteY87" fmla="*/ 2192089 h 2673102"/>
                  <a:gd name="connsiteX88" fmla="*/ 902696 w 1739754"/>
                  <a:gd name="connsiteY88" fmla="*/ 2211139 h 2673102"/>
                  <a:gd name="connsiteX89" fmla="*/ 893171 w 1739754"/>
                  <a:gd name="connsiteY89" fmla="*/ 2239714 h 2673102"/>
                  <a:gd name="connsiteX90" fmla="*/ 897933 w 1739754"/>
                  <a:gd name="connsiteY90" fmla="*/ 2287339 h 2673102"/>
                  <a:gd name="connsiteX91" fmla="*/ 893171 w 1739754"/>
                  <a:gd name="connsiteY91" fmla="*/ 2396877 h 2673102"/>
                  <a:gd name="connsiteX92" fmla="*/ 688383 w 1739754"/>
                  <a:gd name="connsiteY92" fmla="*/ 2449264 h 2673102"/>
                  <a:gd name="connsiteX93" fmla="*/ 655046 w 1739754"/>
                  <a:gd name="connsiteY93" fmla="*/ 2473077 h 2673102"/>
                  <a:gd name="connsiteX94" fmla="*/ 607421 w 1739754"/>
                  <a:gd name="connsiteY94" fmla="*/ 2511177 h 2673102"/>
                  <a:gd name="connsiteX95" fmla="*/ 574083 w 1739754"/>
                  <a:gd name="connsiteY95" fmla="*/ 2534989 h 2673102"/>
                  <a:gd name="connsiteX96" fmla="*/ 540746 w 1739754"/>
                  <a:gd name="connsiteY96" fmla="*/ 2554039 h 2673102"/>
                  <a:gd name="connsiteX97" fmla="*/ 497883 w 1739754"/>
                  <a:gd name="connsiteY97" fmla="*/ 2587377 h 2673102"/>
                  <a:gd name="connsiteX98" fmla="*/ 483596 w 1739754"/>
                  <a:gd name="connsiteY98" fmla="*/ 2601664 h 2673102"/>
                  <a:gd name="connsiteX99" fmla="*/ 459783 w 1739754"/>
                  <a:gd name="connsiteY99" fmla="*/ 2620714 h 2673102"/>
                  <a:gd name="connsiteX100" fmla="*/ 450258 w 1739754"/>
                  <a:gd name="connsiteY100" fmla="*/ 2635002 h 2673102"/>
                  <a:gd name="connsiteX101" fmla="*/ 416921 w 1739754"/>
                  <a:gd name="connsiteY101" fmla="*/ 2654052 h 2673102"/>
                  <a:gd name="connsiteX102" fmla="*/ 374058 w 1739754"/>
                  <a:gd name="connsiteY102" fmla="*/ 2673102 h 2673102"/>
                  <a:gd name="connsiteX103" fmla="*/ 359771 w 1739754"/>
                  <a:gd name="connsiteY103" fmla="*/ 2663577 h 2673102"/>
                  <a:gd name="connsiteX104" fmla="*/ 345483 w 1739754"/>
                  <a:gd name="connsiteY104" fmla="*/ 2635002 h 2673102"/>
                  <a:gd name="connsiteX105" fmla="*/ 335958 w 1739754"/>
                  <a:gd name="connsiteY105" fmla="*/ 2620714 h 2673102"/>
                  <a:gd name="connsiteX106" fmla="*/ 297858 w 1739754"/>
                  <a:gd name="connsiteY106" fmla="*/ 2611189 h 2673102"/>
                  <a:gd name="connsiteX107" fmla="*/ 278808 w 1739754"/>
                  <a:gd name="connsiteY107" fmla="*/ 2592139 h 2673102"/>
                  <a:gd name="connsiteX108" fmla="*/ 274046 w 1739754"/>
                  <a:gd name="connsiteY108" fmla="*/ 2573089 h 2673102"/>
                  <a:gd name="connsiteX109" fmla="*/ 235946 w 1739754"/>
                  <a:gd name="connsiteY109" fmla="*/ 2539752 h 2673102"/>
                  <a:gd name="connsiteX110" fmla="*/ 231183 w 1739754"/>
                  <a:gd name="connsiteY110" fmla="*/ 2525464 h 2673102"/>
                  <a:gd name="connsiteX111" fmla="*/ 226421 w 1739754"/>
                  <a:gd name="connsiteY111" fmla="*/ 2506414 h 2673102"/>
                  <a:gd name="connsiteX112" fmla="*/ 212133 w 1739754"/>
                  <a:gd name="connsiteY112" fmla="*/ 2492127 h 2673102"/>
                  <a:gd name="connsiteX113" fmla="*/ 154983 w 1739754"/>
                  <a:gd name="connsiteY113" fmla="*/ 2439739 h 2673102"/>
                  <a:gd name="connsiteX114" fmla="*/ 150221 w 1739754"/>
                  <a:gd name="connsiteY114" fmla="*/ 2415927 h 2673102"/>
                  <a:gd name="connsiteX115" fmla="*/ 135933 w 1739754"/>
                  <a:gd name="connsiteY115" fmla="*/ 2358777 h 2673102"/>
                  <a:gd name="connsiteX116" fmla="*/ 121646 w 1739754"/>
                  <a:gd name="connsiteY116" fmla="*/ 2315914 h 2673102"/>
                  <a:gd name="connsiteX117" fmla="*/ 107358 w 1739754"/>
                  <a:gd name="connsiteY117" fmla="*/ 2258764 h 2673102"/>
                  <a:gd name="connsiteX118" fmla="*/ 102596 w 1739754"/>
                  <a:gd name="connsiteY118" fmla="*/ 2234952 h 2673102"/>
                  <a:gd name="connsiteX119" fmla="*/ 93071 w 1739754"/>
                  <a:gd name="connsiteY119" fmla="*/ 2211139 h 2673102"/>
                  <a:gd name="connsiteX120" fmla="*/ 88308 w 1739754"/>
                  <a:gd name="connsiteY120" fmla="*/ 2187327 h 2673102"/>
                  <a:gd name="connsiteX121" fmla="*/ 78783 w 1739754"/>
                  <a:gd name="connsiteY121" fmla="*/ 2111127 h 2673102"/>
                  <a:gd name="connsiteX122" fmla="*/ 97833 w 1739754"/>
                  <a:gd name="connsiteY122" fmla="*/ 1944439 h 2673102"/>
                  <a:gd name="connsiteX123" fmla="*/ 107358 w 1739754"/>
                  <a:gd name="connsiteY123" fmla="*/ 1930152 h 2673102"/>
                  <a:gd name="connsiteX124" fmla="*/ 126408 w 1739754"/>
                  <a:gd name="connsiteY124" fmla="*/ 1901577 h 2673102"/>
                  <a:gd name="connsiteX125" fmla="*/ 135933 w 1739754"/>
                  <a:gd name="connsiteY125" fmla="*/ 1868239 h 2673102"/>
                  <a:gd name="connsiteX126" fmla="*/ 131171 w 1739754"/>
                  <a:gd name="connsiteY126" fmla="*/ 1825377 h 2673102"/>
                  <a:gd name="connsiteX127" fmla="*/ 112121 w 1739754"/>
                  <a:gd name="connsiteY127" fmla="*/ 1820614 h 2673102"/>
                  <a:gd name="connsiteX128" fmla="*/ 102596 w 1739754"/>
                  <a:gd name="connsiteY128" fmla="*/ 1806327 h 2673102"/>
                  <a:gd name="connsiteX129" fmla="*/ 145458 w 1739754"/>
                  <a:gd name="connsiteY129" fmla="*/ 1720602 h 2673102"/>
                  <a:gd name="connsiteX130" fmla="*/ 159746 w 1739754"/>
                  <a:gd name="connsiteY130" fmla="*/ 1715839 h 2673102"/>
                  <a:gd name="connsiteX131" fmla="*/ 174033 w 1739754"/>
                  <a:gd name="connsiteY131" fmla="*/ 1696789 h 2673102"/>
                  <a:gd name="connsiteX132" fmla="*/ 188321 w 1739754"/>
                  <a:gd name="connsiteY132" fmla="*/ 1687264 h 2673102"/>
                  <a:gd name="connsiteX133" fmla="*/ 202608 w 1739754"/>
                  <a:gd name="connsiteY133" fmla="*/ 1653927 h 2673102"/>
                  <a:gd name="connsiteX134" fmla="*/ 193083 w 1739754"/>
                  <a:gd name="connsiteY134" fmla="*/ 1606302 h 2673102"/>
                  <a:gd name="connsiteX135" fmla="*/ 164508 w 1739754"/>
                  <a:gd name="connsiteY135" fmla="*/ 1596777 h 2673102"/>
                  <a:gd name="connsiteX136" fmla="*/ 154983 w 1739754"/>
                  <a:gd name="connsiteY136" fmla="*/ 1549152 h 2673102"/>
                  <a:gd name="connsiteX137" fmla="*/ 150221 w 1739754"/>
                  <a:gd name="connsiteY137" fmla="*/ 1411039 h 2673102"/>
                  <a:gd name="connsiteX138" fmla="*/ 140696 w 1739754"/>
                  <a:gd name="connsiteY138" fmla="*/ 1377702 h 2673102"/>
                  <a:gd name="connsiteX139" fmla="*/ 121646 w 1739754"/>
                  <a:gd name="connsiteY139" fmla="*/ 1311027 h 2673102"/>
                  <a:gd name="connsiteX140" fmla="*/ 116883 w 1739754"/>
                  <a:gd name="connsiteY140" fmla="*/ 1258639 h 2673102"/>
                  <a:gd name="connsiteX141" fmla="*/ 107358 w 1739754"/>
                  <a:gd name="connsiteY141" fmla="*/ 1244352 h 2673102"/>
                  <a:gd name="connsiteX142" fmla="*/ 93071 w 1739754"/>
                  <a:gd name="connsiteY142" fmla="*/ 1196727 h 2673102"/>
                  <a:gd name="connsiteX143" fmla="*/ 78783 w 1739754"/>
                  <a:gd name="connsiteY143" fmla="*/ 1177677 h 2673102"/>
                  <a:gd name="connsiteX144" fmla="*/ 59733 w 1739754"/>
                  <a:gd name="connsiteY144" fmla="*/ 1139577 h 2673102"/>
                  <a:gd name="connsiteX145" fmla="*/ 50208 w 1739754"/>
                  <a:gd name="connsiteY145" fmla="*/ 1111002 h 2673102"/>
                  <a:gd name="connsiteX146" fmla="*/ 45446 w 1739754"/>
                  <a:gd name="connsiteY146" fmla="*/ 1096714 h 2673102"/>
                  <a:gd name="connsiteX147" fmla="*/ 21633 w 1739754"/>
                  <a:gd name="connsiteY147" fmla="*/ 1025277 h 2673102"/>
                  <a:gd name="connsiteX148" fmla="*/ 202 w 1739754"/>
                  <a:gd name="connsiteY148" fmla="*/ 980033 h 2673102"/>
                  <a:gd name="connsiteX149" fmla="*/ 14490 w 1739754"/>
                  <a:gd name="connsiteY149" fmla="*/ 930027 h 2673102"/>
                  <a:gd name="connsiteX150" fmla="*/ 69259 w 1739754"/>
                  <a:gd name="connsiteY150" fmla="*/ 810964 h 2673102"/>
                  <a:gd name="connsiteX151" fmla="*/ 221658 w 1739754"/>
                  <a:gd name="connsiteY151" fmla="*/ 601414 h 2673102"/>
                  <a:gd name="connsiteX152" fmla="*/ 288333 w 1739754"/>
                  <a:gd name="connsiteY152" fmla="*/ 515689 h 2673102"/>
                  <a:gd name="connsiteX153" fmla="*/ 412158 w 1739754"/>
                  <a:gd name="connsiteY153" fmla="*/ 406152 h 2673102"/>
                  <a:gd name="connsiteX154" fmla="*/ 535983 w 1739754"/>
                  <a:gd name="connsiteY154" fmla="*/ 291851 h 2673102"/>
                  <a:gd name="connsiteX155" fmla="*/ 640758 w 1739754"/>
                  <a:gd name="connsiteY155" fmla="*/ 229939 h 2673102"/>
                  <a:gd name="connsiteX156" fmla="*/ 733628 w 1739754"/>
                  <a:gd name="connsiteY156" fmla="*/ 168026 h 2673102"/>
                  <a:gd name="connsiteX157" fmla="*/ 978896 w 1739754"/>
                  <a:gd name="connsiteY157" fmla="*/ 63251 h 2673102"/>
                  <a:gd name="connsiteX158" fmla="*/ 1159871 w 1739754"/>
                  <a:gd name="connsiteY158" fmla="*/ 6102 h 2673102"/>
                  <a:gd name="connsiteX159" fmla="*/ 1202733 w 1739754"/>
                  <a:gd name="connsiteY15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40871 w 1739754"/>
                  <a:gd name="connsiteY13" fmla="*/ 596652 h 2673102"/>
                  <a:gd name="connsiteX14" fmla="*/ 1559921 w 1739754"/>
                  <a:gd name="connsiteY14" fmla="*/ 601414 h 2673102"/>
                  <a:gd name="connsiteX15" fmla="*/ 1607546 w 1739754"/>
                  <a:gd name="connsiteY15" fmla="*/ 639514 h 2673102"/>
                  <a:gd name="connsiteX16" fmla="*/ 1636121 w 1739754"/>
                  <a:gd name="connsiteY16" fmla="*/ 672852 h 2673102"/>
                  <a:gd name="connsiteX17" fmla="*/ 1650408 w 1739754"/>
                  <a:gd name="connsiteY17" fmla="*/ 687139 h 2673102"/>
                  <a:gd name="connsiteX18" fmla="*/ 1669458 w 1739754"/>
                  <a:gd name="connsiteY18" fmla="*/ 696664 h 2673102"/>
                  <a:gd name="connsiteX19" fmla="*/ 1683746 w 1739754"/>
                  <a:gd name="connsiteY19" fmla="*/ 706189 h 2673102"/>
                  <a:gd name="connsiteX20" fmla="*/ 1709940 w 1739754"/>
                  <a:gd name="connsiteY20" fmla="*/ 749052 h 2673102"/>
                  <a:gd name="connsiteX21" fmla="*/ 1702796 w 1739754"/>
                  <a:gd name="connsiteY21" fmla="*/ 853827 h 2673102"/>
                  <a:gd name="connsiteX22" fmla="*/ 1664696 w 1739754"/>
                  <a:gd name="connsiteY22" fmla="*/ 887164 h 2673102"/>
                  <a:gd name="connsiteX23" fmla="*/ 1650408 w 1739754"/>
                  <a:gd name="connsiteY23" fmla="*/ 901452 h 2673102"/>
                  <a:gd name="connsiteX24" fmla="*/ 1598021 w 1739754"/>
                  <a:gd name="connsiteY24" fmla="*/ 906214 h 2673102"/>
                  <a:gd name="connsiteX25" fmla="*/ 1555158 w 1739754"/>
                  <a:gd name="connsiteY25" fmla="*/ 925264 h 2673102"/>
                  <a:gd name="connsiteX26" fmla="*/ 1531346 w 1739754"/>
                  <a:gd name="connsiteY26" fmla="*/ 939552 h 2673102"/>
                  <a:gd name="connsiteX27" fmla="*/ 1498008 w 1739754"/>
                  <a:gd name="connsiteY27" fmla="*/ 987177 h 2673102"/>
                  <a:gd name="connsiteX28" fmla="*/ 1345608 w 1739754"/>
                  <a:gd name="connsiteY28" fmla="*/ 1030039 h 2673102"/>
                  <a:gd name="connsiteX29" fmla="*/ 1297983 w 1739754"/>
                  <a:gd name="connsiteY29" fmla="*/ 1053852 h 2673102"/>
                  <a:gd name="connsiteX30" fmla="*/ 1231308 w 1739754"/>
                  <a:gd name="connsiteY30" fmla="*/ 1082427 h 2673102"/>
                  <a:gd name="connsiteX31" fmla="*/ 1126533 w 1739754"/>
                  <a:gd name="connsiteY31" fmla="*/ 1096714 h 2673102"/>
                  <a:gd name="connsiteX32" fmla="*/ 1102721 w 1739754"/>
                  <a:gd name="connsiteY32" fmla="*/ 1101477 h 2673102"/>
                  <a:gd name="connsiteX33" fmla="*/ 1078908 w 1739754"/>
                  <a:gd name="connsiteY33" fmla="*/ 1111002 h 2673102"/>
                  <a:gd name="connsiteX34" fmla="*/ 964608 w 1739754"/>
                  <a:gd name="connsiteY34" fmla="*/ 1106239 h 2673102"/>
                  <a:gd name="connsiteX35" fmla="*/ 859833 w 1739754"/>
                  <a:gd name="connsiteY35" fmla="*/ 1058614 h 2673102"/>
                  <a:gd name="connsiteX36" fmla="*/ 812208 w 1739754"/>
                  <a:gd name="connsiteY36" fmla="*/ 1034802 h 2673102"/>
                  <a:gd name="connsiteX37" fmla="*/ 788396 w 1739754"/>
                  <a:gd name="connsiteY37" fmla="*/ 1020514 h 2673102"/>
                  <a:gd name="connsiteX38" fmla="*/ 769346 w 1739754"/>
                  <a:gd name="connsiteY38" fmla="*/ 1006227 h 2673102"/>
                  <a:gd name="connsiteX39" fmla="*/ 678858 w 1739754"/>
                  <a:gd name="connsiteY39" fmla="*/ 958602 h 2673102"/>
                  <a:gd name="connsiteX40" fmla="*/ 645521 w 1739754"/>
                  <a:gd name="connsiteY40" fmla="*/ 939552 h 2673102"/>
                  <a:gd name="connsiteX41" fmla="*/ 526458 w 1739754"/>
                  <a:gd name="connsiteY41" fmla="*/ 910977 h 2673102"/>
                  <a:gd name="connsiteX42" fmla="*/ 483596 w 1739754"/>
                  <a:gd name="connsiteY42" fmla="*/ 891927 h 2673102"/>
                  <a:gd name="connsiteX43" fmla="*/ 421683 w 1739754"/>
                  <a:gd name="connsiteY43" fmla="*/ 882402 h 2673102"/>
                  <a:gd name="connsiteX44" fmla="*/ 321671 w 1739754"/>
                  <a:gd name="connsiteY44" fmla="*/ 896689 h 2673102"/>
                  <a:gd name="connsiteX45" fmla="*/ 307383 w 1739754"/>
                  <a:gd name="connsiteY45" fmla="*/ 910977 h 2673102"/>
                  <a:gd name="connsiteX46" fmla="*/ 283571 w 1739754"/>
                  <a:gd name="connsiteY46" fmla="*/ 949077 h 2673102"/>
                  <a:gd name="connsiteX47" fmla="*/ 269283 w 1739754"/>
                  <a:gd name="connsiteY47" fmla="*/ 987177 h 2673102"/>
                  <a:gd name="connsiteX48" fmla="*/ 264521 w 1739754"/>
                  <a:gd name="connsiteY48" fmla="*/ 1039564 h 2673102"/>
                  <a:gd name="connsiteX49" fmla="*/ 264521 w 1739754"/>
                  <a:gd name="connsiteY49" fmla="*/ 1120527 h 2673102"/>
                  <a:gd name="connsiteX50" fmla="*/ 297858 w 1739754"/>
                  <a:gd name="connsiteY50" fmla="*/ 1153864 h 2673102"/>
                  <a:gd name="connsiteX51" fmla="*/ 326433 w 1739754"/>
                  <a:gd name="connsiteY51" fmla="*/ 1163389 h 2673102"/>
                  <a:gd name="connsiteX52" fmla="*/ 326433 w 1739754"/>
                  <a:gd name="connsiteY52" fmla="*/ 1244352 h 2673102"/>
                  <a:gd name="connsiteX53" fmla="*/ 312146 w 1739754"/>
                  <a:gd name="connsiteY53" fmla="*/ 1258639 h 2673102"/>
                  <a:gd name="connsiteX54" fmla="*/ 259758 w 1739754"/>
                  <a:gd name="connsiteY54" fmla="*/ 1296739 h 2673102"/>
                  <a:gd name="connsiteX55" fmla="*/ 240708 w 1739754"/>
                  <a:gd name="connsiteY55" fmla="*/ 1325314 h 2673102"/>
                  <a:gd name="connsiteX56" fmla="*/ 250233 w 1739754"/>
                  <a:gd name="connsiteY56" fmla="*/ 1425327 h 2673102"/>
                  <a:gd name="connsiteX57" fmla="*/ 278808 w 1739754"/>
                  <a:gd name="connsiteY57" fmla="*/ 1472952 h 2673102"/>
                  <a:gd name="connsiteX58" fmla="*/ 293096 w 1739754"/>
                  <a:gd name="connsiteY58" fmla="*/ 1492002 h 2673102"/>
                  <a:gd name="connsiteX59" fmla="*/ 383583 w 1739754"/>
                  <a:gd name="connsiteY59" fmla="*/ 1525339 h 2673102"/>
                  <a:gd name="connsiteX60" fmla="*/ 407396 w 1739754"/>
                  <a:gd name="connsiteY60" fmla="*/ 1492002 h 2673102"/>
                  <a:gd name="connsiteX61" fmla="*/ 412158 w 1739754"/>
                  <a:gd name="connsiteY61" fmla="*/ 1468189 h 2673102"/>
                  <a:gd name="connsiteX62" fmla="*/ 416921 w 1739754"/>
                  <a:gd name="connsiteY62" fmla="*/ 1449139 h 2673102"/>
                  <a:gd name="connsiteX63" fmla="*/ 445496 w 1739754"/>
                  <a:gd name="connsiteY63" fmla="*/ 1439614 h 2673102"/>
                  <a:gd name="connsiteX64" fmla="*/ 545508 w 1739754"/>
                  <a:gd name="connsiteY64" fmla="*/ 1458664 h 2673102"/>
                  <a:gd name="connsiteX65" fmla="*/ 555033 w 1739754"/>
                  <a:gd name="connsiteY65" fmla="*/ 1482477 h 2673102"/>
                  <a:gd name="connsiteX66" fmla="*/ 564558 w 1739754"/>
                  <a:gd name="connsiteY66" fmla="*/ 1515814 h 2673102"/>
                  <a:gd name="connsiteX67" fmla="*/ 550271 w 1739754"/>
                  <a:gd name="connsiteY67" fmla="*/ 1534864 h 2673102"/>
                  <a:gd name="connsiteX68" fmla="*/ 550271 w 1739754"/>
                  <a:gd name="connsiteY68" fmla="*/ 1601539 h 2673102"/>
                  <a:gd name="connsiteX69" fmla="*/ 559796 w 1739754"/>
                  <a:gd name="connsiteY69" fmla="*/ 1620589 h 2673102"/>
                  <a:gd name="connsiteX70" fmla="*/ 626471 w 1739754"/>
                  <a:gd name="connsiteY70" fmla="*/ 1639639 h 2673102"/>
                  <a:gd name="connsiteX71" fmla="*/ 645521 w 1739754"/>
                  <a:gd name="connsiteY71" fmla="*/ 1592014 h 2673102"/>
                  <a:gd name="connsiteX72" fmla="*/ 702671 w 1739754"/>
                  <a:gd name="connsiteY72" fmla="*/ 1620589 h 2673102"/>
                  <a:gd name="connsiteX73" fmla="*/ 731246 w 1739754"/>
                  <a:gd name="connsiteY73" fmla="*/ 1630114 h 2673102"/>
                  <a:gd name="connsiteX74" fmla="*/ 783633 w 1739754"/>
                  <a:gd name="connsiteY74" fmla="*/ 1663452 h 2673102"/>
                  <a:gd name="connsiteX75" fmla="*/ 859833 w 1739754"/>
                  <a:gd name="connsiteY75" fmla="*/ 1687264 h 2673102"/>
                  <a:gd name="connsiteX76" fmla="*/ 878883 w 1739754"/>
                  <a:gd name="connsiteY76" fmla="*/ 1701552 h 2673102"/>
                  <a:gd name="connsiteX77" fmla="*/ 888408 w 1739754"/>
                  <a:gd name="connsiteY77" fmla="*/ 1739652 h 2673102"/>
                  <a:gd name="connsiteX78" fmla="*/ 897933 w 1739754"/>
                  <a:gd name="connsiteY78" fmla="*/ 1782514 h 2673102"/>
                  <a:gd name="connsiteX79" fmla="*/ 940796 w 1739754"/>
                  <a:gd name="connsiteY79" fmla="*/ 1892052 h 2673102"/>
                  <a:gd name="connsiteX80" fmla="*/ 950321 w 1739754"/>
                  <a:gd name="connsiteY80" fmla="*/ 1906339 h 2673102"/>
                  <a:gd name="connsiteX81" fmla="*/ 959846 w 1739754"/>
                  <a:gd name="connsiteY81" fmla="*/ 1939677 h 2673102"/>
                  <a:gd name="connsiteX82" fmla="*/ 974133 w 1739754"/>
                  <a:gd name="connsiteY82" fmla="*/ 1977777 h 2673102"/>
                  <a:gd name="connsiteX83" fmla="*/ 964608 w 1739754"/>
                  <a:gd name="connsiteY83" fmla="*/ 2082552 h 2673102"/>
                  <a:gd name="connsiteX84" fmla="*/ 955083 w 1739754"/>
                  <a:gd name="connsiteY84" fmla="*/ 2101602 h 2673102"/>
                  <a:gd name="connsiteX85" fmla="*/ 926508 w 1739754"/>
                  <a:gd name="connsiteY85" fmla="*/ 2144464 h 2673102"/>
                  <a:gd name="connsiteX86" fmla="*/ 907458 w 1739754"/>
                  <a:gd name="connsiteY86" fmla="*/ 2192089 h 2673102"/>
                  <a:gd name="connsiteX87" fmla="*/ 902696 w 1739754"/>
                  <a:gd name="connsiteY87" fmla="*/ 2211139 h 2673102"/>
                  <a:gd name="connsiteX88" fmla="*/ 893171 w 1739754"/>
                  <a:gd name="connsiteY88" fmla="*/ 2239714 h 2673102"/>
                  <a:gd name="connsiteX89" fmla="*/ 897933 w 1739754"/>
                  <a:gd name="connsiteY89" fmla="*/ 2287339 h 2673102"/>
                  <a:gd name="connsiteX90" fmla="*/ 893171 w 1739754"/>
                  <a:gd name="connsiteY90" fmla="*/ 2396877 h 2673102"/>
                  <a:gd name="connsiteX91" fmla="*/ 688383 w 1739754"/>
                  <a:gd name="connsiteY91" fmla="*/ 2449264 h 2673102"/>
                  <a:gd name="connsiteX92" fmla="*/ 655046 w 1739754"/>
                  <a:gd name="connsiteY92" fmla="*/ 2473077 h 2673102"/>
                  <a:gd name="connsiteX93" fmla="*/ 607421 w 1739754"/>
                  <a:gd name="connsiteY93" fmla="*/ 2511177 h 2673102"/>
                  <a:gd name="connsiteX94" fmla="*/ 574083 w 1739754"/>
                  <a:gd name="connsiteY94" fmla="*/ 2534989 h 2673102"/>
                  <a:gd name="connsiteX95" fmla="*/ 540746 w 1739754"/>
                  <a:gd name="connsiteY95" fmla="*/ 2554039 h 2673102"/>
                  <a:gd name="connsiteX96" fmla="*/ 497883 w 1739754"/>
                  <a:gd name="connsiteY96" fmla="*/ 2587377 h 2673102"/>
                  <a:gd name="connsiteX97" fmla="*/ 483596 w 1739754"/>
                  <a:gd name="connsiteY97" fmla="*/ 2601664 h 2673102"/>
                  <a:gd name="connsiteX98" fmla="*/ 459783 w 1739754"/>
                  <a:gd name="connsiteY98" fmla="*/ 2620714 h 2673102"/>
                  <a:gd name="connsiteX99" fmla="*/ 450258 w 1739754"/>
                  <a:gd name="connsiteY99" fmla="*/ 2635002 h 2673102"/>
                  <a:gd name="connsiteX100" fmla="*/ 416921 w 1739754"/>
                  <a:gd name="connsiteY100" fmla="*/ 2654052 h 2673102"/>
                  <a:gd name="connsiteX101" fmla="*/ 374058 w 1739754"/>
                  <a:gd name="connsiteY101" fmla="*/ 2673102 h 2673102"/>
                  <a:gd name="connsiteX102" fmla="*/ 359771 w 1739754"/>
                  <a:gd name="connsiteY102" fmla="*/ 2663577 h 2673102"/>
                  <a:gd name="connsiteX103" fmla="*/ 345483 w 1739754"/>
                  <a:gd name="connsiteY103" fmla="*/ 2635002 h 2673102"/>
                  <a:gd name="connsiteX104" fmla="*/ 335958 w 1739754"/>
                  <a:gd name="connsiteY104" fmla="*/ 2620714 h 2673102"/>
                  <a:gd name="connsiteX105" fmla="*/ 297858 w 1739754"/>
                  <a:gd name="connsiteY105" fmla="*/ 2611189 h 2673102"/>
                  <a:gd name="connsiteX106" fmla="*/ 278808 w 1739754"/>
                  <a:gd name="connsiteY106" fmla="*/ 2592139 h 2673102"/>
                  <a:gd name="connsiteX107" fmla="*/ 274046 w 1739754"/>
                  <a:gd name="connsiteY107" fmla="*/ 2573089 h 2673102"/>
                  <a:gd name="connsiteX108" fmla="*/ 235946 w 1739754"/>
                  <a:gd name="connsiteY108" fmla="*/ 2539752 h 2673102"/>
                  <a:gd name="connsiteX109" fmla="*/ 231183 w 1739754"/>
                  <a:gd name="connsiteY109" fmla="*/ 2525464 h 2673102"/>
                  <a:gd name="connsiteX110" fmla="*/ 226421 w 1739754"/>
                  <a:gd name="connsiteY110" fmla="*/ 2506414 h 2673102"/>
                  <a:gd name="connsiteX111" fmla="*/ 212133 w 1739754"/>
                  <a:gd name="connsiteY111" fmla="*/ 2492127 h 2673102"/>
                  <a:gd name="connsiteX112" fmla="*/ 154983 w 1739754"/>
                  <a:gd name="connsiteY112" fmla="*/ 2439739 h 2673102"/>
                  <a:gd name="connsiteX113" fmla="*/ 150221 w 1739754"/>
                  <a:gd name="connsiteY113" fmla="*/ 2415927 h 2673102"/>
                  <a:gd name="connsiteX114" fmla="*/ 135933 w 1739754"/>
                  <a:gd name="connsiteY114" fmla="*/ 2358777 h 2673102"/>
                  <a:gd name="connsiteX115" fmla="*/ 121646 w 1739754"/>
                  <a:gd name="connsiteY115" fmla="*/ 2315914 h 2673102"/>
                  <a:gd name="connsiteX116" fmla="*/ 107358 w 1739754"/>
                  <a:gd name="connsiteY116" fmla="*/ 2258764 h 2673102"/>
                  <a:gd name="connsiteX117" fmla="*/ 102596 w 1739754"/>
                  <a:gd name="connsiteY117" fmla="*/ 2234952 h 2673102"/>
                  <a:gd name="connsiteX118" fmla="*/ 93071 w 1739754"/>
                  <a:gd name="connsiteY118" fmla="*/ 2211139 h 2673102"/>
                  <a:gd name="connsiteX119" fmla="*/ 88308 w 1739754"/>
                  <a:gd name="connsiteY119" fmla="*/ 2187327 h 2673102"/>
                  <a:gd name="connsiteX120" fmla="*/ 78783 w 1739754"/>
                  <a:gd name="connsiteY120" fmla="*/ 2111127 h 2673102"/>
                  <a:gd name="connsiteX121" fmla="*/ 97833 w 1739754"/>
                  <a:gd name="connsiteY121" fmla="*/ 1944439 h 2673102"/>
                  <a:gd name="connsiteX122" fmla="*/ 107358 w 1739754"/>
                  <a:gd name="connsiteY122" fmla="*/ 1930152 h 2673102"/>
                  <a:gd name="connsiteX123" fmla="*/ 126408 w 1739754"/>
                  <a:gd name="connsiteY123" fmla="*/ 1901577 h 2673102"/>
                  <a:gd name="connsiteX124" fmla="*/ 135933 w 1739754"/>
                  <a:gd name="connsiteY124" fmla="*/ 1868239 h 2673102"/>
                  <a:gd name="connsiteX125" fmla="*/ 131171 w 1739754"/>
                  <a:gd name="connsiteY125" fmla="*/ 1825377 h 2673102"/>
                  <a:gd name="connsiteX126" fmla="*/ 112121 w 1739754"/>
                  <a:gd name="connsiteY126" fmla="*/ 1820614 h 2673102"/>
                  <a:gd name="connsiteX127" fmla="*/ 102596 w 1739754"/>
                  <a:gd name="connsiteY127" fmla="*/ 1806327 h 2673102"/>
                  <a:gd name="connsiteX128" fmla="*/ 145458 w 1739754"/>
                  <a:gd name="connsiteY128" fmla="*/ 1720602 h 2673102"/>
                  <a:gd name="connsiteX129" fmla="*/ 159746 w 1739754"/>
                  <a:gd name="connsiteY129" fmla="*/ 1715839 h 2673102"/>
                  <a:gd name="connsiteX130" fmla="*/ 174033 w 1739754"/>
                  <a:gd name="connsiteY130" fmla="*/ 1696789 h 2673102"/>
                  <a:gd name="connsiteX131" fmla="*/ 188321 w 1739754"/>
                  <a:gd name="connsiteY131" fmla="*/ 1687264 h 2673102"/>
                  <a:gd name="connsiteX132" fmla="*/ 202608 w 1739754"/>
                  <a:gd name="connsiteY132" fmla="*/ 1653927 h 2673102"/>
                  <a:gd name="connsiteX133" fmla="*/ 193083 w 1739754"/>
                  <a:gd name="connsiteY133" fmla="*/ 1606302 h 2673102"/>
                  <a:gd name="connsiteX134" fmla="*/ 164508 w 1739754"/>
                  <a:gd name="connsiteY134" fmla="*/ 1596777 h 2673102"/>
                  <a:gd name="connsiteX135" fmla="*/ 154983 w 1739754"/>
                  <a:gd name="connsiteY135" fmla="*/ 1549152 h 2673102"/>
                  <a:gd name="connsiteX136" fmla="*/ 150221 w 1739754"/>
                  <a:gd name="connsiteY136" fmla="*/ 1411039 h 2673102"/>
                  <a:gd name="connsiteX137" fmla="*/ 140696 w 1739754"/>
                  <a:gd name="connsiteY137" fmla="*/ 1377702 h 2673102"/>
                  <a:gd name="connsiteX138" fmla="*/ 121646 w 1739754"/>
                  <a:gd name="connsiteY138" fmla="*/ 1311027 h 2673102"/>
                  <a:gd name="connsiteX139" fmla="*/ 116883 w 1739754"/>
                  <a:gd name="connsiteY139" fmla="*/ 1258639 h 2673102"/>
                  <a:gd name="connsiteX140" fmla="*/ 107358 w 1739754"/>
                  <a:gd name="connsiteY140" fmla="*/ 1244352 h 2673102"/>
                  <a:gd name="connsiteX141" fmla="*/ 93071 w 1739754"/>
                  <a:gd name="connsiteY141" fmla="*/ 1196727 h 2673102"/>
                  <a:gd name="connsiteX142" fmla="*/ 78783 w 1739754"/>
                  <a:gd name="connsiteY142" fmla="*/ 1177677 h 2673102"/>
                  <a:gd name="connsiteX143" fmla="*/ 59733 w 1739754"/>
                  <a:gd name="connsiteY143" fmla="*/ 1139577 h 2673102"/>
                  <a:gd name="connsiteX144" fmla="*/ 50208 w 1739754"/>
                  <a:gd name="connsiteY144" fmla="*/ 1111002 h 2673102"/>
                  <a:gd name="connsiteX145" fmla="*/ 45446 w 1739754"/>
                  <a:gd name="connsiteY145" fmla="*/ 1096714 h 2673102"/>
                  <a:gd name="connsiteX146" fmla="*/ 21633 w 1739754"/>
                  <a:gd name="connsiteY146" fmla="*/ 1025277 h 2673102"/>
                  <a:gd name="connsiteX147" fmla="*/ 202 w 1739754"/>
                  <a:gd name="connsiteY147" fmla="*/ 980033 h 2673102"/>
                  <a:gd name="connsiteX148" fmla="*/ 14490 w 1739754"/>
                  <a:gd name="connsiteY148" fmla="*/ 930027 h 2673102"/>
                  <a:gd name="connsiteX149" fmla="*/ 69259 w 1739754"/>
                  <a:gd name="connsiteY149" fmla="*/ 810964 h 2673102"/>
                  <a:gd name="connsiteX150" fmla="*/ 221658 w 1739754"/>
                  <a:gd name="connsiteY150" fmla="*/ 601414 h 2673102"/>
                  <a:gd name="connsiteX151" fmla="*/ 288333 w 1739754"/>
                  <a:gd name="connsiteY151" fmla="*/ 515689 h 2673102"/>
                  <a:gd name="connsiteX152" fmla="*/ 412158 w 1739754"/>
                  <a:gd name="connsiteY152" fmla="*/ 406152 h 2673102"/>
                  <a:gd name="connsiteX153" fmla="*/ 535983 w 1739754"/>
                  <a:gd name="connsiteY153" fmla="*/ 291851 h 2673102"/>
                  <a:gd name="connsiteX154" fmla="*/ 640758 w 1739754"/>
                  <a:gd name="connsiteY154" fmla="*/ 229939 h 2673102"/>
                  <a:gd name="connsiteX155" fmla="*/ 733628 w 1739754"/>
                  <a:gd name="connsiteY155" fmla="*/ 168026 h 2673102"/>
                  <a:gd name="connsiteX156" fmla="*/ 978896 w 1739754"/>
                  <a:gd name="connsiteY156" fmla="*/ 63251 h 2673102"/>
                  <a:gd name="connsiteX157" fmla="*/ 1159871 w 1739754"/>
                  <a:gd name="connsiteY157" fmla="*/ 6102 h 2673102"/>
                  <a:gd name="connsiteX158" fmla="*/ 1202733 w 1739754"/>
                  <a:gd name="connsiteY15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50408 w 1739754"/>
                  <a:gd name="connsiteY16" fmla="*/ 687139 h 2673102"/>
                  <a:gd name="connsiteX17" fmla="*/ 1669458 w 1739754"/>
                  <a:gd name="connsiteY17" fmla="*/ 696664 h 2673102"/>
                  <a:gd name="connsiteX18" fmla="*/ 1683746 w 1739754"/>
                  <a:gd name="connsiteY18" fmla="*/ 706189 h 2673102"/>
                  <a:gd name="connsiteX19" fmla="*/ 1709940 w 1739754"/>
                  <a:gd name="connsiteY19" fmla="*/ 749052 h 2673102"/>
                  <a:gd name="connsiteX20" fmla="*/ 1702796 w 1739754"/>
                  <a:gd name="connsiteY20" fmla="*/ 853827 h 2673102"/>
                  <a:gd name="connsiteX21" fmla="*/ 1664696 w 1739754"/>
                  <a:gd name="connsiteY21" fmla="*/ 887164 h 2673102"/>
                  <a:gd name="connsiteX22" fmla="*/ 1650408 w 1739754"/>
                  <a:gd name="connsiteY22" fmla="*/ 901452 h 2673102"/>
                  <a:gd name="connsiteX23" fmla="*/ 1598021 w 1739754"/>
                  <a:gd name="connsiteY23" fmla="*/ 906214 h 2673102"/>
                  <a:gd name="connsiteX24" fmla="*/ 1555158 w 1739754"/>
                  <a:gd name="connsiteY24" fmla="*/ 925264 h 2673102"/>
                  <a:gd name="connsiteX25" fmla="*/ 1531346 w 1739754"/>
                  <a:gd name="connsiteY25" fmla="*/ 939552 h 2673102"/>
                  <a:gd name="connsiteX26" fmla="*/ 1498008 w 1739754"/>
                  <a:gd name="connsiteY26" fmla="*/ 987177 h 2673102"/>
                  <a:gd name="connsiteX27" fmla="*/ 1345608 w 1739754"/>
                  <a:gd name="connsiteY27" fmla="*/ 1030039 h 2673102"/>
                  <a:gd name="connsiteX28" fmla="*/ 1297983 w 1739754"/>
                  <a:gd name="connsiteY28" fmla="*/ 1053852 h 2673102"/>
                  <a:gd name="connsiteX29" fmla="*/ 1231308 w 1739754"/>
                  <a:gd name="connsiteY29" fmla="*/ 1082427 h 2673102"/>
                  <a:gd name="connsiteX30" fmla="*/ 1126533 w 1739754"/>
                  <a:gd name="connsiteY30" fmla="*/ 1096714 h 2673102"/>
                  <a:gd name="connsiteX31" fmla="*/ 1102721 w 1739754"/>
                  <a:gd name="connsiteY31" fmla="*/ 1101477 h 2673102"/>
                  <a:gd name="connsiteX32" fmla="*/ 1078908 w 1739754"/>
                  <a:gd name="connsiteY32" fmla="*/ 1111002 h 2673102"/>
                  <a:gd name="connsiteX33" fmla="*/ 964608 w 1739754"/>
                  <a:gd name="connsiteY33" fmla="*/ 1106239 h 2673102"/>
                  <a:gd name="connsiteX34" fmla="*/ 859833 w 1739754"/>
                  <a:gd name="connsiteY34" fmla="*/ 1058614 h 2673102"/>
                  <a:gd name="connsiteX35" fmla="*/ 812208 w 1739754"/>
                  <a:gd name="connsiteY35" fmla="*/ 1034802 h 2673102"/>
                  <a:gd name="connsiteX36" fmla="*/ 788396 w 1739754"/>
                  <a:gd name="connsiteY36" fmla="*/ 1020514 h 2673102"/>
                  <a:gd name="connsiteX37" fmla="*/ 769346 w 1739754"/>
                  <a:gd name="connsiteY37" fmla="*/ 1006227 h 2673102"/>
                  <a:gd name="connsiteX38" fmla="*/ 678858 w 1739754"/>
                  <a:gd name="connsiteY38" fmla="*/ 958602 h 2673102"/>
                  <a:gd name="connsiteX39" fmla="*/ 645521 w 1739754"/>
                  <a:gd name="connsiteY39" fmla="*/ 939552 h 2673102"/>
                  <a:gd name="connsiteX40" fmla="*/ 526458 w 1739754"/>
                  <a:gd name="connsiteY40" fmla="*/ 910977 h 2673102"/>
                  <a:gd name="connsiteX41" fmla="*/ 483596 w 1739754"/>
                  <a:gd name="connsiteY41" fmla="*/ 891927 h 2673102"/>
                  <a:gd name="connsiteX42" fmla="*/ 421683 w 1739754"/>
                  <a:gd name="connsiteY42" fmla="*/ 882402 h 2673102"/>
                  <a:gd name="connsiteX43" fmla="*/ 321671 w 1739754"/>
                  <a:gd name="connsiteY43" fmla="*/ 896689 h 2673102"/>
                  <a:gd name="connsiteX44" fmla="*/ 307383 w 1739754"/>
                  <a:gd name="connsiteY44" fmla="*/ 910977 h 2673102"/>
                  <a:gd name="connsiteX45" fmla="*/ 283571 w 1739754"/>
                  <a:gd name="connsiteY45" fmla="*/ 949077 h 2673102"/>
                  <a:gd name="connsiteX46" fmla="*/ 269283 w 1739754"/>
                  <a:gd name="connsiteY46" fmla="*/ 987177 h 2673102"/>
                  <a:gd name="connsiteX47" fmla="*/ 264521 w 1739754"/>
                  <a:gd name="connsiteY47" fmla="*/ 1039564 h 2673102"/>
                  <a:gd name="connsiteX48" fmla="*/ 264521 w 1739754"/>
                  <a:gd name="connsiteY48" fmla="*/ 1120527 h 2673102"/>
                  <a:gd name="connsiteX49" fmla="*/ 297858 w 1739754"/>
                  <a:gd name="connsiteY49" fmla="*/ 1153864 h 2673102"/>
                  <a:gd name="connsiteX50" fmla="*/ 326433 w 1739754"/>
                  <a:gd name="connsiteY50" fmla="*/ 1163389 h 2673102"/>
                  <a:gd name="connsiteX51" fmla="*/ 326433 w 1739754"/>
                  <a:gd name="connsiteY51" fmla="*/ 1244352 h 2673102"/>
                  <a:gd name="connsiteX52" fmla="*/ 312146 w 1739754"/>
                  <a:gd name="connsiteY52" fmla="*/ 1258639 h 2673102"/>
                  <a:gd name="connsiteX53" fmla="*/ 259758 w 1739754"/>
                  <a:gd name="connsiteY53" fmla="*/ 1296739 h 2673102"/>
                  <a:gd name="connsiteX54" fmla="*/ 240708 w 1739754"/>
                  <a:gd name="connsiteY54" fmla="*/ 1325314 h 2673102"/>
                  <a:gd name="connsiteX55" fmla="*/ 250233 w 1739754"/>
                  <a:gd name="connsiteY55" fmla="*/ 1425327 h 2673102"/>
                  <a:gd name="connsiteX56" fmla="*/ 278808 w 1739754"/>
                  <a:gd name="connsiteY56" fmla="*/ 1472952 h 2673102"/>
                  <a:gd name="connsiteX57" fmla="*/ 293096 w 1739754"/>
                  <a:gd name="connsiteY57" fmla="*/ 1492002 h 2673102"/>
                  <a:gd name="connsiteX58" fmla="*/ 383583 w 1739754"/>
                  <a:gd name="connsiteY58" fmla="*/ 1525339 h 2673102"/>
                  <a:gd name="connsiteX59" fmla="*/ 407396 w 1739754"/>
                  <a:gd name="connsiteY59" fmla="*/ 1492002 h 2673102"/>
                  <a:gd name="connsiteX60" fmla="*/ 412158 w 1739754"/>
                  <a:gd name="connsiteY60" fmla="*/ 1468189 h 2673102"/>
                  <a:gd name="connsiteX61" fmla="*/ 416921 w 1739754"/>
                  <a:gd name="connsiteY61" fmla="*/ 1449139 h 2673102"/>
                  <a:gd name="connsiteX62" fmla="*/ 445496 w 1739754"/>
                  <a:gd name="connsiteY62" fmla="*/ 1439614 h 2673102"/>
                  <a:gd name="connsiteX63" fmla="*/ 545508 w 1739754"/>
                  <a:gd name="connsiteY63" fmla="*/ 1458664 h 2673102"/>
                  <a:gd name="connsiteX64" fmla="*/ 555033 w 1739754"/>
                  <a:gd name="connsiteY64" fmla="*/ 1482477 h 2673102"/>
                  <a:gd name="connsiteX65" fmla="*/ 564558 w 1739754"/>
                  <a:gd name="connsiteY65" fmla="*/ 1515814 h 2673102"/>
                  <a:gd name="connsiteX66" fmla="*/ 550271 w 1739754"/>
                  <a:gd name="connsiteY66" fmla="*/ 1534864 h 2673102"/>
                  <a:gd name="connsiteX67" fmla="*/ 550271 w 1739754"/>
                  <a:gd name="connsiteY67" fmla="*/ 1601539 h 2673102"/>
                  <a:gd name="connsiteX68" fmla="*/ 559796 w 1739754"/>
                  <a:gd name="connsiteY68" fmla="*/ 1620589 h 2673102"/>
                  <a:gd name="connsiteX69" fmla="*/ 626471 w 1739754"/>
                  <a:gd name="connsiteY69" fmla="*/ 1639639 h 2673102"/>
                  <a:gd name="connsiteX70" fmla="*/ 645521 w 1739754"/>
                  <a:gd name="connsiteY70" fmla="*/ 1592014 h 2673102"/>
                  <a:gd name="connsiteX71" fmla="*/ 702671 w 1739754"/>
                  <a:gd name="connsiteY71" fmla="*/ 1620589 h 2673102"/>
                  <a:gd name="connsiteX72" fmla="*/ 731246 w 1739754"/>
                  <a:gd name="connsiteY72" fmla="*/ 1630114 h 2673102"/>
                  <a:gd name="connsiteX73" fmla="*/ 783633 w 1739754"/>
                  <a:gd name="connsiteY73" fmla="*/ 1663452 h 2673102"/>
                  <a:gd name="connsiteX74" fmla="*/ 859833 w 1739754"/>
                  <a:gd name="connsiteY74" fmla="*/ 1687264 h 2673102"/>
                  <a:gd name="connsiteX75" fmla="*/ 878883 w 1739754"/>
                  <a:gd name="connsiteY75" fmla="*/ 1701552 h 2673102"/>
                  <a:gd name="connsiteX76" fmla="*/ 888408 w 1739754"/>
                  <a:gd name="connsiteY76" fmla="*/ 1739652 h 2673102"/>
                  <a:gd name="connsiteX77" fmla="*/ 897933 w 1739754"/>
                  <a:gd name="connsiteY77" fmla="*/ 1782514 h 2673102"/>
                  <a:gd name="connsiteX78" fmla="*/ 940796 w 1739754"/>
                  <a:gd name="connsiteY78" fmla="*/ 1892052 h 2673102"/>
                  <a:gd name="connsiteX79" fmla="*/ 950321 w 1739754"/>
                  <a:gd name="connsiteY79" fmla="*/ 1906339 h 2673102"/>
                  <a:gd name="connsiteX80" fmla="*/ 959846 w 1739754"/>
                  <a:gd name="connsiteY80" fmla="*/ 1939677 h 2673102"/>
                  <a:gd name="connsiteX81" fmla="*/ 974133 w 1739754"/>
                  <a:gd name="connsiteY81" fmla="*/ 1977777 h 2673102"/>
                  <a:gd name="connsiteX82" fmla="*/ 964608 w 1739754"/>
                  <a:gd name="connsiteY82" fmla="*/ 2082552 h 2673102"/>
                  <a:gd name="connsiteX83" fmla="*/ 955083 w 1739754"/>
                  <a:gd name="connsiteY83" fmla="*/ 2101602 h 2673102"/>
                  <a:gd name="connsiteX84" fmla="*/ 926508 w 1739754"/>
                  <a:gd name="connsiteY84" fmla="*/ 2144464 h 2673102"/>
                  <a:gd name="connsiteX85" fmla="*/ 907458 w 1739754"/>
                  <a:gd name="connsiteY85" fmla="*/ 2192089 h 2673102"/>
                  <a:gd name="connsiteX86" fmla="*/ 902696 w 1739754"/>
                  <a:gd name="connsiteY86" fmla="*/ 2211139 h 2673102"/>
                  <a:gd name="connsiteX87" fmla="*/ 893171 w 1739754"/>
                  <a:gd name="connsiteY87" fmla="*/ 2239714 h 2673102"/>
                  <a:gd name="connsiteX88" fmla="*/ 897933 w 1739754"/>
                  <a:gd name="connsiteY88" fmla="*/ 2287339 h 2673102"/>
                  <a:gd name="connsiteX89" fmla="*/ 893171 w 1739754"/>
                  <a:gd name="connsiteY89" fmla="*/ 2396877 h 2673102"/>
                  <a:gd name="connsiteX90" fmla="*/ 688383 w 1739754"/>
                  <a:gd name="connsiteY90" fmla="*/ 2449264 h 2673102"/>
                  <a:gd name="connsiteX91" fmla="*/ 655046 w 1739754"/>
                  <a:gd name="connsiteY91" fmla="*/ 2473077 h 2673102"/>
                  <a:gd name="connsiteX92" fmla="*/ 607421 w 1739754"/>
                  <a:gd name="connsiteY92" fmla="*/ 2511177 h 2673102"/>
                  <a:gd name="connsiteX93" fmla="*/ 574083 w 1739754"/>
                  <a:gd name="connsiteY93" fmla="*/ 2534989 h 2673102"/>
                  <a:gd name="connsiteX94" fmla="*/ 540746 w 1739754"/>
                  <a:gd name="connsiteY94" fmla="*/ 2554039 h 2673102"/>
                  <a:gd name="connsiteX95" fmla="*/ 497883 w 1739754"/>
                  <a:gd name="connsiteY95" fmla="*/ 2587377 h 2673102"/>
                  <a:gd name="connsiteX96" fmla="*/ 483596 w 1739754"/>
                  <a:gd name="connsiteY96" fmla="*/ 2601664 h 2673102"/>
                  <a:gd name="connsiteX97" fmla="*/ 459783 w 1739754"/>
                  <a:gd name="connsiteY97" fmla="*/ 2620714 h 2673102"/>
                  <a:gd name="connsiteX98" fmla="*/ 450258 w 1739754"/>
                  <a:gd name="connsiteY98" fmla="*/ 2635002 h 2673102"/>
                  <a:gd name="connsiteX99" fmla="*/ 416921 w 1739754"/>
                  <a:gd name="connsiteY99" fmla="*/ 2654052 h 2673102"/>
                  <a:gd name="connsiteX100" fmla="*/ 374058 w 1739754"/>
                  <a:gd name="connsiteY100" fmla="*/ 2673102 h 2673102"/>
                  <a:gd name="connsiteX101" fmla="*/ 359771 w 1739754"/>
                  <a:gd name="connsiteY101" fmla="*/ 2663577 h 2673102"/>
                  <a:gd name="connsiteX102" fmla="*/ 345483 w 1739754"/>
                  <a:gd name="connsiteY102" fmla="*/ 2635002 h 2673102"/>
                  <a:gd name="connsiteX103" fmla="*/ 335958 w 1739754"/>
                  <a:gd name="connsiteY103" fmla="*/ 2620714 h 2673102"/>
                  <a:gd name="connsiteX104" fmla="*/ 297858 w 1739754"/>
                  <a:gd name="connsiteY104" fmla="*/ 2611189 h 2673102"/>
                  <a:gd name="connsiteX105" fmla="*/ 278808 w 1739754"/>
                  <a:gd name="connsiteY105" fmla="*/ 2592139 h 2673102"/>
                  <a:gd name="connsiteX106" fmla="*/ 274046 w 1739754"/>
                  <a:gd name="connsiteY106" fmla="*/ 2573089 h 2673102"/>
                  <a:gd name="connsiteX107" fmla="*/ 235946 w 1739754"/>
                  <a:gd name="connsiteY107" fmla="*/ 2539752 h 2673102"/>
                  <a:gd name="connsiteX108" fmla="*/ 231183 w 1739754"/>
                  <a:gd name="connsiteY108" fmla="*/ 2525464 h 2673102"/>
                  <a:gd name="connsiteX109" fmla="*/ 226421 w 1739754"/>
                  <a:gd name="connsiteY109" fmla="*/ 2506414 h 2673102"/>
                  <a:gd name="connsiteX110" fmla="*/ 212133 w 1739754"/>
                  <a:gd name="connsiteY110" fmla="*/ 2492127 h 2673102"/>
                  <a:gd name="connsiteX111" fmla="*/ 154983 w 1739754"/>
                  <a:gd name="connsiteY111" fmla="*/ 2439739 h 2673102"/>
                  <a:gd name="connsiteX112" fmla="*/ 150221 w 1739754"/>
                  <a:gd name="connsiteY112" fmla="*/ 2415927 h 2673102"/>
                  <a:gd name="connsiteX113" fmla="*/ 135933 w 1739754"/>
                  <a:gd name="connsiteY113" fmla="*/ 2358777 h 2673102"/>
                  <a:gd name="connsiteX114" fmla="*/ 121646 w 1739754"/>
                  <a:gd name="connsiteY114" fmla="*/ 2315914 h 2673102"/>
                  <a:gd name="connsiteX115" fmla="*/ 107358 w 1739754"/>
                  <a:gd name="connsiteY115" fmla="*/ 2258764 h 2673102"/>
                  <a:gd name="connsiteX116" fmla="*/ 102596 w 1739754"/>
                  <a:gd name="connsiteY116" fmla="*/ 2234952 h 2673102"/>
                  <a:gd name="connsiteX117" fmla="*/ 93071 w 1739754"/>
                  <a:gd name="connsiteY117" fmla="*/ 2211139 h 2673102"/>
                  <a:gd name="connsiteX118" fmla="*/ 88308 w 1739754"/>
                  <a:gd name="connsiteY118" fmla="*/ 2187327 h 2673102"/>
                  <a:gd name="connsiteX119" fmla="*/ 78783 w 1739754"/>
                  <a:gd name="connsiteY119" fmla="*/ 2111127 h 2673102"/>
                  <a:gd name="connsiteX120" fmla="*/ 97833 w 1739754"/>
                  <a:gd name="connsiteY120" fmla="*/ 1944439 h 2673102"/>
                  <a:gd name="connsiteX121" fmla="*/ 107358 w 1739754"/>
                  <a:gd name="connsiteY121" fmla="*/ 1930152 h 2673102"/>
                  <a:gd name="connsiteX122" fmla="*/ 126408 w 1739754"/>
                  <a:gd name="connsiteY122" fmla="*/ 1901577 h 2673102"/>
                  <a:gd name="connsiteX123" fmla="*/ 135933 w 1739754"/>
                  <a:gd name="connsiteY123" fmla="*/ 1868239 h 2673102"/>
                  <a:gd name="connsiteX124" fmla="*/ 131171 w 1739754"/>
                  <a:gd name="connsiteY124" fmla="*/ 1825377 h 2673102"/>
                  <a:gd name="connsiteX125" fmla="*/ 112121 w 1739754"/>
                  <a:gd name="connsiteY125" fmla="*/ 1820614 h 2673102"/>
                  <a:gd name="connsiteX126" fmla="*/ 102596 w 1739754"/>
                  <a:gd name="connsiteY126" fmla="*/ 1806327 h 2673102"/>
                  <a:gd name="connsiteX127" fmla="*/ 145458 w 1739754"/>
                  <a:gd name="connsiteY127" fmla="*/ 1720602 h 2673102"/>
                  <a:gd name="connsiteX128" fmla="*/ 159746 w 1739754"/>
                  <a:gd name="connsiteY128" fmla="*/ 1715839 h 2673102"/>
                  <a:gd name="connsiteX129" fmla="*/ 174033 w 1739754"/>
                  <a:gd name="connsiteY129" fmla="*/ 1696789 h 2673102"/>
                  <a:gd name="connsiteX130" fmla="*/ 188321 w 1739754"/>
                  <a:gd name="connsiteY130" fmla="*/ 1687264 h 2673102"/>
                  <a:gd name="connsiteX131" fmla="*/ 202608 w 1739754"/>
                  <a:gd name="connsiteY131" fmla="*/ 1653927 h 2673102"/>
                  <a:gd name="connsiteX132" fmla="*/ 193083 w 1739754"/>
                  <a:gd name="connsiteY132" fmla="*/ 1606302 h 2673102"/>
                  <a:gd name="connsiteX133" fmla="*/ 164508 w 1739754"/>
                  <a:gd name="connsiteY133" fmla="*/ 1596777 h 2673102"/>
                  <a:gd name="connsiteX134" fmla="*/ 154983 w 1739754"/>
                  <a:gd name="connsiteY134" fmla="*/ 1549152 h 2673102"/>
                  <a:gd name="connsiteX135" fmla="*/ 150221 w 1739754"/>
                  <a:gd name="connsiteY135" fmla="*/ 1411039 h 2673102"/>
                  <a:gd name="connsiteX136" fmla="*/ 140696 w 1739754"/>
                  <a:gd name="connsiteY136" fmla="*/ 1377702 h 2673102"/>
                  <a:gd name="connsiteX137" fmla="*/ 121646 w 1739754"/>
                  <a:gd name="connsiteY137" fmla="*/ 1311027 h 2673102"/>
                  <a:gd name="connsiteX138" fmla="*/ 116883 w 1739754"/>
                  <a:gd name="connsiteY138" fmla="*/ 1258639 h 2673102"/>
                  <a:gd name="connsiteX139" fmla="*/ 107358 w 1739754"/>
                  <a:gd name="connsiteY139" fmla="*/ 1244352 h 2673102"/>
                  <a:gd name="connsiteX140" fmla="*/ 93071 w 1739754"/>
                  <a:gd name="connsiteY140" fmla="*/ 1196727 h 2673102"/>
                  <a:gd name="connsiteX141" fmla="*/ 78783 w 1739754"/>
                  <a:gd name="connsiteY141" fmla="*/ 1177677 h 2673102"/>
                  <a:gd name="connsiteX142" fmla="*/ 59733 w 1739754"/>
                  <a:gd name="connsiteY142" fmla="*/ 1139577 h 2673102"/>
                  <a:gd name="connsiteX143" fmla="*/ 50208 w 1739754"/>
                  <a:gd name="connsiteY143" fmla="*/ 1111002 h 2673102"/>
                  <a:gd name="connsiteX144" fmla="*/ 45446 w 1739754"/>
                  <a:gd name="connsiteY144" fmla="*/ 1096714 h 2673102"/>
                  <a:gd name="connsiteX145" fmla="*/ 21633 w 1739754"/>
                  <a:gd name="connsiteY145" fmla="*/ 1025277 h 2673102"/>
                  <a:gd name="connsiteX146" fmla="*/ 202 w 1739754"/>
                  <a:gd name="connsiteY146" fmla="*/ 980033 h 2673102"/>
                  <a:gd name="connsiteX147" fmla="*/ 14490 w 1739754"/>
                  <a:gd name="connsiteY147" fmla="*/ 930027 h 2673102"/>
                  <a:gd name="connsiteX148" fmla="*/ 69259 w 1739754"/>
                  <a:gd name="connsiteY148" fmla="*/ 810964 h 2673102"/>
                  <a:gd name="connsiteX149" fmla="*/ 221658 w 1739754"/>
                  <a:gd name="connsiteY149" fmla="*/ 601414 h 2673102"/>
                  <a:gd name="connsiteX150" fmla="*/ 288333 w 1739754"/>
                  <a:gd name="connsiteY150" fmla="*/ 515689 h 2673102"/>
                  <a:gd name="connsiteX151" fmla="*/ 412158 w 1739754"/>
                  <a:gd name="connsiteY151" fmla="*/ 406152 h 2673102"/>
                  <a:gd name="connsiteX152" fmla="*/ 535983 w 1739754"/>
                  <a:gd name="connsiteY152" fmla="*/ 291851 h 2673102"/>
                  <a:gd name="connsiteX153" fmla="*/ 640758 w 1739754"/>
                  <a:gd name="connsiteY153" fmla="*/ 229939 h 2673102"/>
                  <a:gd name="connsiteX154" fmla="*/ 733628 w 1739754"/>
                  <a:gd name="connsiteY154" fmla="*/ 168026 h 2673102"/>
                  <a:gd name="connsiteX155" fmla="*/ 978896 w 1739754"/>
                  <a:gd name="connsiteY155" fmla="*/ 63251 h 2673102"/>
                  <a:gd name="connsiteX156" fmla="*/ 1159871 w 1739754"/>
                  <a:gd name="connsiteY156" fmla="*/ 6102 h 2673102"/>
                  <a:gd name="connsiteX157" fmla="*/ 1202733 w 1739754"/>
                  <a:gd name="connsiteY15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69458 w 1739754"/>
                  <a:gd name="connsiteY16" fmla="*/ 696664 h 2673102"/>
                  <a:gd name="connsiteX17" fmla="*/ 1683746 w 1739754"/>
                  <a:gd name="connsiteY17" fmla="*/ 706189 h 2673102"/>
                  <a:gd name="connsiteX18" fmla="*/ 1709940 w 1739754"/>
                  <a:gd name="connsiteY18" fmla="*/ 749052 h 2673102"/>
                  <a:gd name="connsiteX19" fmla="*/ 1702796 w 1739754"/>
                  <a:gd name="connsiteY19" fmla="*/ 853827 h 2673102"/>
                  <a:gd name="connsiteX20" fmla="*/ 1664696 w 1739754"/>
                  <a:gd name="connsiteY20" fmla="*/ 887164 h 2673102"/>
                  <a:gd name="connsiteX21" fmla="*/ 1650408 w 1739754"/>
                  <a:gd name="connsiteY21" fmla="*/ 901452 h 2673102"/>
                  <a:gd name="connsiteX22" fmla="*/ 1598021 w 1739754"/>
                  <a:gd name="connsiteY22" fmla="*/ 906214 h 2673102"/>
                  <a:gd name="connsiteX23" fmla="*/ 1555158 w 1739754"/>
                  <a:gd name="connsiteY23" fmla="*/ 925264 h 2673102"/>
                  <a:gd name="connsiteX24" fmla="*/ 1531346 w 1739754"/>
                  <a:gd name="connsiteY24" fmla="*/ 939552 h 2673102"/>
                  <a:gd name="connsiteX25" fmla="*/ 1498008 w 1739754"/>
                  <a:gd name="connsiteY25" fmla="*/ 987177 h 2673102"/>
                  <a:gd name="connsiteX26" fmla="*/ 1345608 w 1739754"/>
                  <a:gd name="connsiteY26" fmla="*/ 1030039 h 2673102"/>
                  <a:gd name="connsiteX27" fmla="*/ 1297983 w 1739754"/>
                  <a:gd name="connsiteY27" fmla="*/ 1053852 h 2673102"/>
                  <a:gd name="connsiteX28" fmla="*/ 1231308 w 1739754"/>
                  <a:gd name="connsiteY28" fmla="*/ 1082427 h 2673102"/>
                  <a:gd name="connsiteX29" fmla="*/ 1126533 w 1739754"/>
                  <a:gd name="connsiteY29" fmla="*/ 1096714 h 2673102"/>
                  <a:gd name="connsiteX30" fmla="*/ 1102721 w 1739754"/>
                  <a:gd name="connsiteY30" fmla="*/ 1101477 h 2673102"/>
                  <a:gd name="connsiteX31" fmla="*/ 1078908 w 1739754"/>
                  <a:gd name="connsiteY31" fmla="*/ 1111002 h 2673102"/>
                  <a:gd name="connsiteX32" fmla="*/ 964608 w 1739754"/>
                  <a:gd name="connsiteY32" fmla="*/ 1106239 h 2673102"/>
                  <a:gd name="connsiteX33" fmla="*/ 859833 w 1739754"/>
                  <a:gd name="connsiteY33" fmla="*/ 1058614 h 2673102"/>
                  <a:gd name="connsiteX34" fmla="*/ 812208 w 1739754"/>
                  <a:gd name="connsiteY34" fmla="*/ 1034802 h 2673102"/>
                  <a:gd name="connsiteX35" fmla="*/ 788396 w 1739754"/>
                  <a:gd name="connsiteY35" fmla="*/ 1020514 h 2673102"/>
                  <a:gd name="connsiteX36" fmla="*/ 769346 w 1739754"/>
                  <a:gd name="connsiteY36" fmla="*/ 1006227 h 2673102"/>
                  <a:gd name="connsiteX37" fmla="*/ 678858 w 1739754"/>
                  <a:gd name="connsiteY37" fmla="*/ 958602 h 2673102"/>
                  <a:gd name="connsiteX38" fmla="*/ 645521 w 1739754"/>
                  <a:gd name="connsiteY38" fmla="*/ 939552 h 2673102"/>
                  <a:gd name="connsiteX39" fmla="*/ 526458 w 1739754"/>
                  <a:gd name="connsiteY39" fmla="*/ 910977 h 2673102"/>
                  <a:gd name="connsiteX40" fmla="*/ 483596 w 1739754"/>
                  <a:gd name="connsiteY40" fmla="*/ 891927 h 2673102"/>
                  <a:gd name="connsiteX41" fmla="*/ 421683 w 1739754"/>
                  <a:gd name="connsiteY41" fmla="*/ 882402 h 2673102"/>
                  <a:gd name="connsiteX42" fmla="*/ 321671 w 1739754"/>
                  <a:gd name="connsiteY42" fmla="*/ 896689 h 2673102"/>
                  <a:gd name="connsiteX43" fmla="*/ 307383 w 1739754"/>
                  <a:gd name="connsiteY43" fmla="*/ 910977 h 2673102"/>
                  <a:gd name="connsiteX44" fmla="*/ 283571 w 1739754"/>
                  <a:gd name="connsiteY44" fmla="*/ 949077 h 2673102"/>
                  <a:gd name="connsiteX45" fmla="*/ 269283 w 1739754"/>
                  <a:gd name="connsiteY45" fmla="*/ 987177 h 2673102"/>
                  <a:gd name="connsiteX46" fmla="*/ 264521 w 1739754"/>
                  <a:gd name="connsiteY46" fmla="*/ 1039564 h 2673102"/>
                  <a:gd name="connsiteX47" fmla="*/ 264521 w 1739754"/>
                  <a:gd name="connsiteY47" fmla="*/ 1120527 h 2673102"/>
                  <a:gd name="connsiteX48" fmla="*/ 297858 w 1739754"/>
                  <a:gd name="connsiteY48" fmla="*/ 1153864 h 2673102"/>
                  <a:gd name="connsiteX49" fmla="*/ 326433 w 1739754"/>
                  <a:gd name="connsiteY49" fmla="*/ 1163389 h 2673102"/>
                  <a:gd name="connsiteX50" fmla="*/ 326433 w 1739754"/>
                  <a:gd name="connsiteY50" fmla="*/ 1244352 h 2673102"/>
                  <a:gd name="connsiteX51" fmla="*/ 312146 w 1739754"/>
                  <a:gd name="connsiteY51" fmla="*/ 1258639 h 2673102"/>
                  <a:gd name="connsiteX52" fmla="*/ 259758 w 1739754"/>
                  <a:gd name="connsiteY52" fmla="*/ 1296739 h 2673102"/>
                  <a:gd name="connsiteX53" fmla="*/ 240708 w 1739754"/>
                  <a:gd name="connsiteY53" fmla="*/ 1325314 h 2673102"/>
                  <a:gd name="connsiteX54" fmla="*/ 250233 w 1739754"/>
                  <a:gd name="connsiteY54" fmla="*/ 1425327 h 2673102"/>
                  <a:gd name="connsiteX55" fmla="*/ 278808 w 1739754"/>
                  <a:gd name="connsiteY55" fmla="*/ 1472952 h 2673102"/>
                  <a:gd name="connsiteX56" fmla="*/ 293096 w 1739754"/>
                  <a:gd name="connsiteY56" fmla="*/ 1492002 h 2673102"/>
                  <a:gd name="connsiteX57" fmla="*/ 383583 w 1739754"/>
                  <a:gd name="connsiteY57" fmla="*/ 1525339 h 2673102"/>
                  <a:gd name="connsiteX58" fmla="*/ 407396 w 1739754"/>
                  <a:gd name="connsiteY58" fmla="*/ 1492002 h 2673102"/>
                  <a:gd name="connsiteX59" fmla="*/ 412158 w 1739754"/>
                  <a:gd name="connsiteY59" fmla="*/ 1468189 h 2673102"/>
                  <a:gd name="connsiteX60" fmla="*/ 416921 w 1739754"/>
                  <a:gd name="connsiteY60" fmla="*/ 1449139 h 2673102"/>
                  <a:gd name="connsiteX61" fmla="*/ 445496 w 1739754"/>
                  <a:gd name="connsiteY61" fmla="*/ 1439614 h 2673102"/>
                  <a:gd name="connsiteX62" fmla="*/ 545508 w 1739754"/>
                  <a:gd name="connsiteY62" fmla="*/ 1458664 h 2673102"/>
                  <a:gd name="connsiteX63" fmla="*/ 555033 w 1739754"/>
                  <a:gd name="connsiteY63" fmla="*/ 1482477 h 2673102"/>
                  <a:gd name="connsiteX64" fmla="*/ 564558 w 1739754"/>
                  <a:gd name="connsiteY64" fmla="*/ 1515814 h 2673102"/>
                  <a:gd name="connsiteX65" fmla="*/ 550271 w 1739754"/>
                  <a:gd name="connsiteY65" fmla="*/ 1534864 h 2673102"/>
                  <a:gd name="connsiteX66" fmla="*/ 550271 w 1739754"/>
                  <a:gd name="connsiteY66" fmla="*/ 1601539 h 2673102"/>
                  <a:gd name="connsiteX67" fmla="*/ 559796 w 1739754"/>
                  <a:gd name="connsiteY67" fmla="*/ 1620589 h 2673102"/>
                  <a:gd name="connsiteX68" fmla="*/ 626471 w 1739754"/>
                  <a:gd name="connsiteY68" fmla="*/ 1639639 h 2673102"/>
                  <a:gd name="connsiteX69" fmla="*/ 645521 w 1739754"/>
                  <a:gd name="connsiteY69" fmla="*/ 1592014 h 2673102"/>
                  <a:gd name="connsiteX70" fmla="*/ 702671 w 1739754"/>
                  <a:gd name="connsiteY70" fmla="*/ 1620589 h 2673102"/>
                  <a:gd name="connsiteX71" fmla="*/ 731246 w 1739754"/>
                  <a:gd name="connsiteY71" fmla="*/ 1630114 h 2673102"/>
                  <a:gd name="connsiteX72" fmla="*/ 783633 w 1739754"/>
                  <a:gd name="connsiteY72" fmla="*/ 1663452 h 2673102"/>
                  <a:gd name="connsiteX73" fmla="*/ 859833 w 1739754"/>
                  <a:gd name="connsiteY73" fmla="*/ 1687264 h 2673102"/>
                  <a:gd name="connsiteX74" fmla="*/ 878883 w 1739754"/>
                  <a:gd name="connsiteY74" fmla="*/ 1701552 h 2673102"/>
                  <a:gd name="connsiteX75" fmla="*/ 888408 w 1739754"/>
                  <a:gd name="connsiteY75" fmla="*/ 1739652 h 2673102"/>
                  <a:gd name="connsiteX76" fmla="*/ 897933 w 1739754"/>
                  <a:gd name="connsiteY76" fmla="*/ 1782514 h 2673102"/>
                  <a:gd name="connsiteX77" fmla="*/ 940796 w 1739754"/>
                  <a:gd name="connsiteY77" fmla="*/ 1892052 h 2673102"/>
                  <a:gd name="connsiteX78" fmla="*/ 950321 w 1739754"/>
                  <a:gd name="connsiteY78" fmla="*/ 1906339 h 2673102"/>
                  <a:gd name="connsiteX79" fmla="*/ 959846 w 1739754"/>
                  <a:gd name="connsiteY79" fmla="*/ 1939677 h 2673102"/>
                  <a:gd name="connsiteX80" fmla="*/ 974133 w 1739754"/>
                  <a:gd name="connsiteY80" fmla="*/ 1977777 h 2673102"/>
                  <a:gd name="connsiteX81" fmla="*/ 964608 w 1739754"/>
                  <a:gd name="connsiteY81" fmla="*/ 2082552 h 2673102"/>
                  <a:gd name="connsiteX82" fmla="*/ 955083 w 1739754"/>
                  <a:gd name="connsiteY82" fmla="*/ 2101602 h 2673102"/>
                  <a:gd name="connsiteX83" fmla="*/ 926508 w 1739754"/>
                  <a:gd name="connsiteY83" fmla="*/ 2144464 h 2673102"/>
                  <a:gd name="connsiteX84" fmla="*/ 907458 w 1739754"/>
                  <a:gd name="connsiteY84" fmla="*/ 2192089 h 2673102"/>
                  <a:gd name="connsiteX85" fmla="*/ 902696 w 1739754"/>
                  <a:gd name="connsiteY85" fmla="*/ 2211139 h 2673102"/>
                  <a:gd name="connsiteX86" fmla="*/ 893171 w 1739754"/>
                  <a:gd name="connsiteY86" fmla="*/ 2239714 h 2673102"/>
                  <a:gd name="connsiteX87" fmla="*/ 897933 w 1739754"/>
                  <a:gd name="connsiteY87" fmla="*/ 2287339 h 2673102"/>
                  <a:gd name="connsiteX88" fmla="*/ 893171 w 1739754"/>
                  <a:gd name="connsiteY88" fmla="*/ 2396877 h 2673102"/>
                  <a:gd name="connsiteX89" fmla="*/ 688383 w 1739754"/>
                  <a:gd name="connsiteY89" fmla="*/ 2449264 h 2673102"/>
                  <a:gd name="connsiteX90" fmla="*/ 655046 w 1739754"/>
                  <a:gd name="connsiteY90" fmla="*/ 2473077 h 2673102"/>
                  <a:gd name="connsiteX91" fmla="*/ 607421 w 1739754"/>
                  <a:gd name="connsiteY91" fmla="*/ 2511177 h 2673102"/>
                  <a:gd name="connsiteX92" fmla="*/ 574083 w 1739754"/>
                  <a:gd name="connsiteY92" fmla="*/ 2534989 h 2673102"/>
                  <a:gd name="connsiteX93" fmla="*/ 540746 w 1739754"/>
                  <a:gd name="connsiteY93" fmla="*/ 2554039 h 2673102"/>
                  <a:gd name="connsiteX94" fmla="*/ 497883 w 1739754"/>
                  <a:gd name="connsiteY94" fmla="*/ 2587377 h 2673102"/>
                  <a:gd name="connsiteX95" fmla="*/ 483596 w 1739754"/>
                  <a:gd name="connsiteY95" fmla="*/ 2601664 h 2673102"/>
                  <a:gd name="connsiteX96" fmla="*/ 459783 w 1739754"/>
                  <a:gd name="connsiteY96" fmla="*/ 2620714 h 2673102"/>
                  <a:gd name="connsiteX97" fmla="*/ 450258 w 1739754"/>
                  <a:gd name="connsiteY97" fmla="*/ 2635002 h 2673102"/>
                  <a:gd name="connsiteX98" fmla="*/ 416921 w 1739754"/>
                  <a:gd name="connsiteY98" fmla="*/ 2654052 h 2673102"/>
                  <a:gd name="connsiteX99" fmla="*/ 374058 w 1739754"/>
                  <a:gd name="connsiteY99" fmla="*/ 2673102 h 2673102"/>
                  <a:gd name="connsiteX100" fmla="*/ 359771 w 1739754"/>
                  <a:gd name="connsiteY100" fmla="*/ 2663577 h 2673102"/>
                  <a:gd name="connsiteX101" fmla="*/ 345483 w 1739754"/>
                  <a:gd name="connsiteY101" fmla="*/ 2635002 h 2673102"/>
                  <a:gd name="connsiteX102" fmla="*/ 335958 w 1739754"/>
                  <a:gd name="connsiteY102" fmla="*/ 2620714 h 2673102"/>
                  <a:gd name="connsiteX103" fmla="*/ 297858 w 1739754"/>
                  <a:gd name="connsiteY103" fmla="*/ 2611189 h 2673102"/>
                  <a:gd name="connsiteX104" fmla="*/ 278808 w 1739754"/>
                  <a:gd name="connsiteY104" fmla="*/ 2592139 h 2673102"/>
                  <a:gd name="connsiteX105" fmla="*/ 274046 w 1739754"/>
                  <a:gd name="connsiteY105" fmla="*/ 2573089 h 2673102"/>
                  <a:gd name="connsiteX106" fmla="*/ 235946 w 1739754"/>
                  <a:gd name="connsiteY106" fmla="*/ 2539752 h 2673102"/>
                  <a:gd name="connsiteX107" fmla="*/ 231183 w 1739754"/>
                  <a:gd name="connsiteY107" fmla="*/ 2525464 h 2673102"/>
                  <a:gd name="connsiteX108" fmla="*/ 226421 w 1739754"/>
                  <a:gd name="connsiteY108" fmla="*/ 2506414 h 2673102"/>
                  <a:gd name="connsiteX109" fmla="*/ 212133 w 1739754"/>
                  <a:gd name="connsiteY109" fmla="*/ 2492127 h 2673102"/>
                  <a:gd name="connsiteX110" fmla="*/ 154983 w 1739754"/>
                  <a:gd name="connsiteY110" fmla="*/ 2439739 h 2673102"/>
                  <a:gd name="connsiteX111" fmla="*/ 150221 w 1739754"/>
                  <a:gd name="connsiteY111" fmla="*/ 2415927 h 2673102"/>
                  <a:gd name="connsiteX112" fmla="*/ 135933 w 1739754"/>
                  <a:gd name="connsiteY112" fmla="*/ 2358777 h 2673102"/>
                  <a:gd name="connsiteX113" fmla="*/ 121646 w 1739754"/>
                  <a:gd name="connsiteY113" fmla="*/ 2315914 h 2673102"/>
                  <a:gd name="connsiteX114" fmla="*/ 107358 w 1739754"/>
                  <a:gd name="connsiteY114" fmla="*/ 2258764 h 2673102"/>
                  <a:gd name="connsiteX115" fmla="*/ 102596 w 1739754"/>
                  <a:gd name="connsiteY115" fmla="*/ 2234952 h 2673102"/>
                  <a:gd name="connsiteX116" fmla="*/ 93071 w 1739754"/>
                  <a:gd name="connsiteY116" fmla="*/ 2211139 h 2673102"/>
                  <a:gd name="connsiteX117" fmla="*/ 88308 w 1739754"/>
                  <a:gd name="connsiteY117" fmla="*/ 2187327 h 2673102"/>
                  <a:gd name="connsiteX118" fmla="*/ 78783 w 1739754"/>
                  <a:gd name="connsiteY118" fmla="*/ 2111127 h 2673102"/>
                  <a:gd name="connsiteX119" fmla="*/ 97833 w 1739754"/>
                  <a:gd name="connsiteY119" fmla="*/ 1944439 h 2673102"/>
                  <a:gd name="connsiteX120" fmla="*/ 107358 w 1739754"/>
                  <a:gd name="connsiteY120" fmla="*/ 1930152 h 2673102"/>
                  <a:gd name="connsiteX121" fmla="*/ 126408 w 1739754"/>
                  <a:gd name="connsiteY121" fmla="*/ 1901577 h 2673102"/>
                  <a:gd name="connsiteX122" fmla="*/ 135933 w 1739754"/>
                  <a:gd name="connsiteY122" fmla="*/ 1868239 h 2673102"/>
                  <a:gd name="connsiteX123" fmla="*/ 131171 w 1739754"/>
                  <a:gd name="connsiteY123" fmla="*/ 1825377 h 2673102"/>
                  <a:gd name="connsiteX124" fmla="*/ 112121 w 1739754"/>
                  <a:gd name="connsiteY124" fmla="*/ 1820614 h 2673102"/>
                  <a:gd name="connsiteX125" fmla="*/ 102596 w 1739754"/>
                  <a:gd name="connsiteY125" fmla="*/ 1806327 h 2673102"/>
                  <a:gd name="connsiteX126" fmla="*/ 145458 w 1739754"/>
                  <a:gd name="connsiteY126" fmla="*/ 1720602 h 2673102"/>
                  <a:gd name="connsiteX127" fmla="*/ 159746 w 1739754"/>
                  <a:gd name="connsiteY127" fmla="*/ 1715839 h 2673102"/>
                  <a:gd name="connsiteX128" fmla="*/ 174033 w 1739754"/>
                  <a:gd name="connsiteY128" fmla="*/ 1696789 h 2673102"/>
                  <a:gd name="connsiteX129" fmla="*/ 188321 w 1739754"/>
                  <a:gd name="connsiteY129" fmla="*/ 1687264 h 2673102"/>
                  <a:gd name="connsiteX130" fmla="*/ 202608 w 1739754"/>
                  <a:gd name="connsiteY130" fmla="*/ 1653927 h 2673102"/>
                  <a:gd name="connsiteX131" fmla="*/ 193083 w 1739754"/>
                  <a:gd name="connsiteY131" fmla="*/ 1606302 h 2673102"/>
                  <a:gd name="connsiteX132" fmla="*/ 164508 w 1739754"/>
                  <a:gd name="connsiteY132" fmla="*/ 1596777 h 2673102"/>
                  <a:gd name="connsiteX133" fmla="*/ 154983 w 1739754"/>
                  <a:gd name="connsiteY133" fmla="*/ 1549152 h 2673102"/>
                  <a:gd name="connsiteX134" fmla="*/ 150221 w 1739754"/>
                  <a:gd name="connsiteY134" fmla="*/ 1411039 h 2673102"/>
                  <a:gd name="connsiteX135" fmla="*/ 140696 w 1739754"/>
                  <a:gd name="connsiteY135" fmla="*/ 1377702 h 2673102"/>
                  <a:gd name="connsiteX136" fmla="*/ 121646 w 1739754"/>
                  <a:gd name="connsiteY136" fmla="*/ 1311027 h 2673102"/>
                  <a:gd name="connsiteX137" fmla="*/ 116883 w 1739754"/>
                  <a:gd name="connsiteY137" fmla="*/ 1258639 h 2673102"/>
                  <a:gd name="connsiteX138" fmla="*/ 107358 w 1739754"/>
                  <a:gd name="connsiteY138" fmla="*/ 1244352 h 2673102"/>
                  <a:gd name="connsiteX139" fmla="*/ 93071 w 1739754"/>
                  <a:gd name="connsiteY139" fmla="*/ 1196727 h 2673102"/>
                  <a:gd name="connsiteX140" fmla="*/ 78783 w 1739754"/>
                  <a:gd name="connsiteY140" fmla="*/ 1177677 h 2673102"/>
                  <a:gd name="connsiteX141" fmla="*/ 59733 w 1739754"/>
                  <a:gd name="connsiteY141" fmla="*/ 1139577 h 2673102"/>
                  <a:gd name="connsiteX142" fmla="*/ 50208 w 1739754"/>
                  <a:gd name="connsiteY142" fmla="*/ 1111002 h 2673102"/>
                  <a:gd name="connsiteX143" fmla="*/ 45446 w 1739754"/>
                  <a:gd name="connsiteY143" fmla="*/ 1096714 h 2673102"/>
                  <a:gd name="connsiteX144" fmla="*/ 21633 w 1739754"/>
                  <a:gd name="connsiteY144" fmla="*/ 1025277 h 2673102"/>
                  <a:gd name="connsiteX145" fmla="*/ 202 w 1739754"/>
                  <a:gd name="connsiteY145" fmla="*/ 980033 h 2673102"/>
                  <a:gd name="connsiteX146" fmla="*/ 14490 w 1739754"/>
                  <a:gd name="connsiteY146" fmla="*/ 930027 h 2673102"/>
                  <a:gd name="connsiteX147" fmla="*/ 69259 w 1739754"/>
                  <a:gd name="connsiteY147" fmla="*/ 810964 h 2673102"/>
                  <a:gd name="connsiteX148" fmla="*/ 221658 w 1739754"/>
                  <a:gd name="connsiteY148" fmla="*/ 601414 h 2673102"/>
                  <a:gd name="connsiteX149" fmla="*/ 288333 w 1739754"/>
                  <a:gd name="connsiteY149" fmla="*/ 515689 h 2673102"/>
                  <a:gd name="connsiteX150" fmla="*/ 412158 w 1739754"/>
                  <a:gd name="connsiteY150" fmla="*/ 406152 h 2673102"/>
                  <a:gd name="connsiteX151" fmla="*/ 535983 w 1739754"/>
                  <a:gd name="connsiteY151" fmla="*/ 291851 h 2673102"/>
                  <a:gd name="connsiteX152" fmla="*/ 640758 w 1739754"/>
                  <a:gd name="connsiteY152" fmla="*/ 229939 h 2673102"/>
                  <a:gd name="connsiteX153" fmla="*/ 733628 w 1739754"/>
                  <a:gd name="connsiteY153" fmla="*/ 168026 h 2673102"/>
                  <a:gd name="connsiteX154" fmla="*/ 978896 w 1739754"/>
                  <a:gd name="connsiteY154" fmla="*/ 63251 h 2673102"/>
                  <a:gd name="connsiteX155" fmla="*/ 1159871 w 1739754"/>
                  <a:gd name="connsiteY155" fmla="*/ 6102 h 2673102"/>
                  <a:gd name="connsiteX156" fmla="*/ 1202733 w 1739754"/>
                  <a:gd name="connsiteY15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650408 w 1739754"/>
                  <a:gd name="connsiteY20" fmla="*/ 901452 h 2673102"/>
                  <a:gd name="connsiteX21" fmla="*/ 1598021 w 1739754"/>
                  <a:gd name="connsiteY21" fmla="*/ 906214 h 2673102"/>
                  <a:gd name="connsiteX22" fmla="*/ 1555158 w 1739754"/>
                  <a:gd name="connsiteY22" fmla="*/ 925264 h 2673102"/>
                  <a:gd name="connsiteX23" fmla="*/ 1531346 w 1739754"/>
                  <a:gd name="connsiteY23" fmla="*/ 939552 h 2673102"/>
                  <a:gd name="connsiteX24" fmla="*/ 1498008 w 1739754"/>
                  <a:gd name="connsiteY24" fmla="*/ 987177 h 2673102"/>
                  <a:gd name="connsiteX25" fmla="*/ 1345608 w 1739754"/>
                  <a:gd name="connsiteY25" fmla="*/ 1030039 h 2673102"/>
                  <a:gd name="connsiteX26" fmla="*/ 1297983 w 1739754"/>
                  <a:gd name="connsiteY26" fmla="*/ 1053852 h 2673102"/>
                  <a:gd name="connsiteX27" fmla="*/ 1231308 w 1739754"/>
                  <a:gd name="connsiteY27" fmla="*/ 1082427 h 2673102"/>
                  <a:gd name="connsiteX28" fmla="*/ 1126533 w 1739754"/>
                  <a:gd name="connsiteY28" fmla="*/ 1096714 h 2673102"/>
                  <a:gd name="connsiteX29" fmla="*/ 1102721 w 1739754"/>
                  <a:gd name="connsiteY29" fmla="*/ 1101477 h 2673102"/>
                  <a:gd name="connsiteX30" fmla="*/ 1078908 w 1739754"/>
                  <a:gd name="connsiteY30" fmla="*/ 1111002 h 2673102"/>
                  <a:gd name="connsiteX31" fmla="*/ 964608 w 1739754"/>
                  <a:gd name="connsiteY31" fmla="*/ 1106239 h 2673102"/>
                  <a:gd name="connsiteX32" fmla="*/ 859833 w 1739754"/>
                  <a:gd name="connsiteY32" fmla="*/ 1058614 h 2673102"/>
                  <a:gd name="connsiteX33" fmla="*/ 812208 w 1739754"/>
                  <a:gd name="connsiteY33" fmla="*/ 1034802 h 2673102"/>
                  <a:gd name="connsiteX34" fmla="*/ 788396 w 1739754"/>
                  <a:gd name="connsiteY34" fmla="*/ 1020514 h 2673102"/>
                  <a:gd name="connsiteX35" fmla="*/ 769346 w 1739754"/>
                  <a:gd name="connsiteY35" fmla="*/ 1006227 h 2673102"/>
                  <a:gd name="connsiteX36" fmla="*/ 678858 w 1739754"/>
                  <a:gd name="connsiteY36" fmla="*/ 958602 h 2673102"/>
                  <a:gd name="connsiteX37" fmla="*/ 645521 w 1739754"/>
                  <a:gd name="connsiteY37" fmla="*/ 939552 h 2673102"/>
                  <a:gd name="connsiteX38" fmla="*/ 526458 w 1739754"/>
                  <a:gd name="connsiteY38" fmla="*/ 910977 h 2673102"/>
                  <a:gd name="connsiteX39" fmla="*/ 483596 w 1739754"/>
                  <a:gd name="connsiteY39" fmla="*/ 891927 h 2673102"/>
                  <a:gd name="connsiteX40" fmla="*/ 421683 w 1739754"/>
                  <a:gd name="connsiteY40" fmla="*/ 882402 h 2673102"/>
                  <a:gd name="connsiteX41" fmla="*/ 321671 w 1739754"/>
                  <a:gd name="connsiteY41" fmla="*/ 896689 h 2673102"/>
                  <a:gd name="connsiteX42" fmla="*/ 307383 w 1739754"/>
                  <a:gd name="connsiteY42" fmla="*/ 910977 h 2673102"/>
                  <a:gd name="connsiteX43" fmla="*/ 283571 w 1739754"/>
                  <a:gd name="connsiteY43" fmla="*/ 949077 h 2673102"/>
                  <a:gd name="connsiteX44" fmla="*/ 269283 w 1739754"/>
                  <a:gd name="connsiteY44" fmla="*/ 987177 h 2673102"/>
                  <a:gd name="connsiteX45" fmla="*/ 264521 w 1739754"/>
                  <a:gd name="connsiteY45" fmla="*/ 1039564 h 2673102"/>
                  <a:gd name="connsiteX46" fmla="*/ 264521 w 1739754"/>
                  <a:gd name="connsiteY46" fmla="*/ 1120527 h 2673102"/>
                  <a:gd name="connsiteX47" fmla="*/ 297858 w 1739754"/>
                  <a:gd name="connsiteY47" fmla="*/ 1153864 h 2673102"/>
                  <a:gd name="connsiteX48" fmla="*/ 326433 w 1739754"/>
                  <a:gd name="connsiteY48" fmla="*/ 1163389 h 2673102"/>
                  <a:gd name="connsiteX49" fmla="*/ 326433 w 1739754"/>
                  <a:gd name="connsiteY49" fmla="*/ 1244352 h 2673102"/>
                  <a:gd name="connsiteX50" fmla="*/ 312146 w 1739754"/>
                  <a:gd name="connsiteY50" fmla="*/ 1258639 h 2673102"/>
                  <a:gd name="connsiteX51" fmla="*/ 259758 w 1739754"/>
                  <a:gd name="connsiteY51" fmla="*/ 1296739 h 2673102"/>
                  <a:gd name="connsiteX52" fmla="*/ 240708 w 1739754"/>
                  <a:gd name="connsiteY52" fmla="*/ 1325314 h 2673102"/>
                  <a:gd name="connsiteX53" fmla="*/ 250233 w 1739754"/>
                  <a:gd name="connsiteY53" fmla="*/ 1425327 h 2673102"/>
                  <a:gd name="connsiteX54" fmla="*/ 278808 w 1739754"/>
                  <a:gd name="connsiteY54" fmla="*/ 1472952 h 2673102"/>
                  <a:gd name="connsiteX55" fmla="*/ 293096 w 1739754"/>
                  <a:gd name="connsiteY55" fmla="*/ 1492002 h 2673102"/>
                  <a:gd name="connsiteX56" fmla="*/ 383583 w 1739754"/>
                  <a:gd name="connsiteY56" fmla="*/ 1525339 h 2673102"/>
                  <a:gd name="connsiteX57" fmla="*/ 407396 w 1739754"/>
                  <a:gd name="connsiteY57" fmla="*/ 1492002 h 2673102"/>
                  <a:gd name="connsiteX58" fmla="*/ 412158 w 1739754"/>
                  <a:gd name="connsiteY58" fmla="*/ 1468189 h 2673102"/>
                  <a:gd name="connsiteX59" fmla="*/ 416921 w 1739754"/>
                  <a:gd name="connsiteY59" fmla="*/ 1449139 h 2673102"/>
                  <a:gd name="connsiteX60" fmla="*/ 445496 w 1739754"/>
                  <a:gd name="connsiteY60" fmla="*/ 1439614 h 2673102"/>
                  <a:gd name="connsiteX61" fmla="*/ 545508 w 1739754"/>
                  <a:gd name="connsiteY61" fmla="*/ 1458664 h 2673102"/>
                  <a:gd name="connsiteX62" fmla="*/ 555033 w 1739754"/>
                  <a:gd name="connsiteY62" fmla="*/ 1482477 h 2673102"/>
                  <a:gd name="connsiteX63" fmla="*/ 564558 w 1739754"/>
                  <a:gd name="connsiteY63" fmla="*/ 1515814 h 2673102"/>
                  <a:gd name="connsiteX64" fmla="*/ 550271 w 1739754"/>
                  <a:gd name="connsiteY64" fmla="*/ 1534864 h 2673102"/>
                  <a:gd name="connsiteX65" fmla="*/ 550271 w 1739754"/>
                  <a:gd name="connsiteY65" fmla="*/ 1601539 h 2673102"/>
                  <a:gd name="connsiteX66" fmla="*/ 559796 w 1739754"/>
                  <a:gd name="connsiteY66" fmla="*/ 1620589 h 2673102"/>
                  <a:gd name="connsiteX67" fmla="*/ 626471 w 1739754"/>
                  <a:gd name="connsiteY67" fmla="*/ 1639639 h 2673102"/>
                  <a:gd name="connsiteX68" fmla="*/ 645521 w 1739754"/>
                  <a:gd name="connsiteY68" fmla="*/ 1592014 h 2673102"/>
                  <a:gd name="connsiteX69" fmla="*/ 702671 w 1739754"/>
                  <a:gd name="connsiteY69" fmla="*/ 1620589 h 2673102"/>
                  <a:gd name="connsiteX70" fmla="*/ 731246 w 1739754"/>
                  <a:gd name="connsiteY70" fmla="*/ 1630114 h 2673102"/>
                  <a:gd name="connsiteX71" fmla="*/ 783633 w 1739754"/>
                  <a:gd name="connsiteY71" fmla="*/ 1663452 h 2673102"/>
                  <a:gd name="connsiteX72" fmla="*/ 859833 w 1739754"/>
                  <a:gd name="connsiteY72" fmla="*/ 1687264 h 2673102"/>
                  <a:gd name="connsiteX73" fmla="*/ 878883 w 1739754"/>
                  <a:gd name="connsiteY73" fmla="*/ 1701552 h 2673102"/>
                  <a:gd name="connsiteX74" fmla="*/ 888408 w 1739754"/>
                  <a:gd name="connsiteY74" fmla="*/ 1739652 h 2673102"/>
                  <a:gd name="connsiteX75" fmla="*/ 897933 w 1739754"/>
                  <a:gd name="connsiteY75" fmla="*/ 1782514 h 2673102"/>
                  <a:gd name="connsiteX76" fmla="*/ 940796 w 1739754"/>
                  <a:gd name="connsiteY76" fmla="*/ 1892052 h 2673102"/>
                  <a:gd name="connsiteX77" fmla="*/ 950321 w 1739754"/>
                  <a:gd name="connsiteY77" fmla="*/ 1906339 h 2673102"/>
                  <a:gd name="connsiteX78" fmla="*/ 959846 w 1739754"/>
                  <a:gd name="connsiteY78" fmla="*/ 1939677 h 2673102"/>
                  <a:gd name="connsiteX79" fmla="*/ 974133 w 1739754"/>
                  <a:gd name="connsiteY79" fmla="*/ 1977777 h 2673102"/>
                  <a:gd name="connsiteX80" fmla="*/ 964608 w 1739754"/>
                  <a:gd name="connsiteY80" fmla="*/ 2082552 h 2673102"/>
                  <a:gd name="connsiteX81" fmla="*/ 955083 w 1739754"/>
                  <a:gd name="connsiteY81" fmla="*/ 2101602 h 2673102"/>
                  <a:gd name="connsiteX82" fmla="*/ 926508 w 1739754"/>
                  <a:gd name="connsiteY82" fmla="*/ 2144464 h 2673102"/>
                  <a:gd name="connsiteX83" fmla="*/ 907458 w 1739754"/>
                  <a:gd name="connsiteY83" fmla="*/ 2192089 h 2673102"/>
                  <a:gd name="connsiteX84" fmla="*/ 902696 w 1739754"/>
                  <a:gd name="connsiteY84" fmla="*/ 2211139 h 2673102"/>
                  <a:gd name="connsiteX85" fmla="*/ 893171 w 1739754"/>
                  <a:gd name="connsiteY85" fmla="*/ 2239714 h 2673102"/>
                  <a:gd name="connsiteX86" fmla="*/ 897933 w 1739754"/>
                  <a:gd name="connsiteY86" fmla="*/ 2287339 h 2673102"/>
                  <a:gd name="connsiteX87" fmla="*/ 893171 w 1739754"/>
                  <a:gd name="connsiteY87" fmla="*/ 2396877 h 2673102"/>
                  <a:gd name="connsiteX88" fmla="*/ 688383 w 1739754"/>
                  <a:gd name="connsiteY88" fmla="*/ 2449264 h 2673102"/>
                  <a:gd name="connsiteX89" fmla="*/ 655046 w 1739754"/>
                  <a:gd name="connsiteY89" fmla="*/ 2473077 h 2673102"/>
                  <a:gd name="connsiteX90" fmla="*/ 607421 w 1739754"/>
                  <a:gd name="connsiteY90" fmla="*/ 2511177 h 2673102"/>
                  <a:gd name="connsiteX91" fmla="*/ 574083 w 1739754"/>
                  <a:gd name="connsiteY91" fmla="*/ 2534989 h 2673102"/>
                  <a:gd name="connsiteX92" fmla="*/ 540746 w 1739754"/>
                  <a:gd name="connsiteY92" fmla="*/ 2554039 h 2673102"/>
                  <a:gd name="connsiteX93" fmla="*/ 497883 w 1739754"/>
                  <a:gd name="connsiteY93" fmla="*/ 2587377 h 2673102"/>
                  <a:gd name="connsiteX94" fmla="*/ 483596 w 1739754"/>
                  <a:gd name="connsiteY94" fmla="*/ 2601664 h 2673102"/>
                  <a:gd name="connsiteX95" fmla="*/ 459783 w 1739754"/>
                  <a:gd name="connsiteY95" fmla="*/ 2620714 h 2673102"/>
                  <a:gd name="connsiteX96" fmla="*/ 450258 w 1739754"/>
                  <a:gd name="connsiteY96" fmla="*/ 2635002 h 2673102"/>
                  <a:gd name="connsiteX97" fmla="*/ 416921 w 1739754"/>
                  <a:gd name="connsiteY97" fmla="*/ 2654052 h 2673102"/>
                  <a:gd name="connsiteX98" fmla="*/ 374058 w 1739754"/>
                  <a:gd name="connsiteY98" fmla="*/ 2673102 h 2673102"/>
                  <a:gd name="connsiteX99" fmla="*/ 359771 w 1739754"/>
                  <a:gd name="connsiteY99" fmla="*/ 2663577 h 2673102"/>
                  <a:gd name="connsiteX100" fmla="*/ 345483 w 1739754"/>
                  <a:gd name="connsiteY100" fmla="*/ 2635002 h 2673102"/>
                  <a:gd name="connsiteX101" fmla="*/ 335958 w 1739754"/>
                  <a:gd name="connsiteY101" fmla="*/ 2620714 h 2673102"/>
                  <a:gd name="connsiteX102" fmla="*/ 297858 w 1739754"/>
                  <a:gd name="connsiteY102" fmla="*/ 2611189 h 2673102"/>
                  <a:gd name="connsiteX103" fmla="*/ 278808 w 1739754"/>
                  <a:gd name="connsiteY103" fmla="*/ 2592139 h 2673102"/>
                  <a:gd name="connsiteX104" fmla="*/ 274046 w 1739754"/>
                  <a:gd name="connsiteY104" fmla="*/ 2573089 h 2673102"/>
                  <a:gd name="connsiteX105" fmla="*/ 235946 w 1739754"/>
                  <a:gd name="connsiteY105" fmla="*/ 2539752 h 2673102"/>
                  <a:gd name="connsiteX106" fmla="*/ 231183 w 1739754"/>
                  <a:gd name="connsiteY106" fmla="*/ 2525464 h 2673102"/>
                  <a:gd name="connsiteX107" fmla="*/ 226421 w 1739754"/>
                  <a:gd name="connsiteY107" fmla="*/ 2506414 h 2673102"/>
                  <a:gd name="connsiteX108" fmla="*/ 212133 w 1739754"/>
                  <a:gd name="connsiteY108" fmla="*/ 2492127 h 2673102"/>
                  <a:gd name="connsiteX109" fmla="*/ 154983 w 1739754"/>
                  <a:gd name="connsiteY109" fmla="*/ 2439739 h 2673102"/>
                  <a:gd name="connsiteX110" fmla="*/ 150221 w 1739754"/>
                  <a:gd name="connsiteY110" fmla="*/ 2415927 h 2673102"/>
                  <a:gd name="connsiteX111" fmla="*/ 135933 w 1739754"/>
                  <a:gd name="connsiteY111" fmla="*/ 2358777 h 2673102"/>
                  <a:gd name="connsiteX112" fmla="*/ 121646 w 1739754"/>
                  <a:gd name="connsiteY112" fmla="*/ 2315914 h 2673102"/>
                  <a:gd name="connsiteX113" fmla="*/ 107358 w 1739754"/>
                  <a:gd name="connsiteY113" fmla="*/ 2258764 h 2673102"/>
                  <a:gd name="connsiteX114" fmla="*/ 102596 w 1739754"/>
                  <a:gd name="connsiteY114" fmla="*/ 2234952 h 2673102"/>
                  <a:gd name="connsiteX115" fmla="*/ 93071 w 1739754"/>
                  <a:gd name="connsiteY115" fmla="*/ 2211139 h 2673102"/>
                  <a:gd name="connsiteX116" fmla="*/ 88308 w 1739754"/>
                  <a:gd name="connsiteY116" fmla="*/ 2187327 h 2673102"/>
                  <a:gd name="connsiteX117" fmla="*/ 78783 w 1739754"/>
                  <a:gd name="connsiteY117" fmla="*/ 2111127 h 2673102"/>
                  <a:gd name="connsiteX118" fmla="*/ 97833 w 1739754"/>
                  <a:gd name="connsiteY118" fmla="*/ 1944439 h 2673102"/>
                  <a:gd name="connsiteX119" fmla="*/ 107358 w 1739754"/>
                  <a:gd name="connsiteY119" fmla="*/ 1930152 h 2673102"/>
                  <a:gd name="connsiteX120" fmla="*/ 126408 w 1739754"/>
                  <a:gd name="connsiteY120" fmla="*/ 1901577 h 2673102"/>
                  <a:gd name="connsiteX121" fmla="*/ 135933 w 1739754"/>
                  <a:gd name="connsiteY121" fmla="*/ 1868239 h 2673102"/>
                  <a:gd name="connsiteX122" fmla="*/ 131171 w 1739754"/>
                  <a:gd name="connsiteY122" fmla="*/ 1825377 h 2673102"/>
                  <a:gd name="connsiteX123" fmla="*/ 112121 w 1739754"/>
                  <a:gd name="connsiteY123" fmla="*/ 1820614 h 2673102"/>
                  <a:gd name="connsiteX124" fmla="*/ 102596 w 1739754"/>
                  <a:gd name="connsiteY124" fmla="*/ 1806327 h 2673102"/>
                  <a:gd name="connsiteX125" fmla="*/ 145458 w 1739754"/>
                  <a:gd name="connsiteY125" fmla="*/ 1720602 h 2673102"/>
                  <a:gd name="connsiteX126" fmla="*/ 159746 w 1739754"/>
                  <a:gd name="connsiteY126" fmla="*/ 1715839 h 2673102"/>
                  <a:gd name="connsiteX127" fmla="*/ 174033 w 1739754"/>
                  <a:gd name="connsiteY127" fmla="*/ 1696789 h 2673102"/>
                  <a:gd name="connsiteX128" fmla="*/ 188321 w 1739754"/>
                  <a:gd name="connsiteY128" fmla="*/ 1687264 h 2673102"/>
                  <a:gd name="connsiteX129" fmla="*/ 202608 w 1739754"/>
                  <a:gd name="connsiteY129" fmla="*/ 1653927 h 2673102"/>
                  <a:gd name="connsiteX130" fmla="*/ 193083 w 1739754"/>
                  <a:gd name="connsiteY130" fmla="*/ 1606302 h 2673102"/>
                  <a:gd name="connsiteX131" fmla="*/ 164508 w 1739754"/>
                  <a:gd name="connsiteY131" fmla="*/ 1596777 h 2673102"/>
                  <a:gd name="connsiteX132" fmla="*/ 154983 w 1739754"/>
                  <a:gd name="connsiteY132" fmla="*/ 1549152 h 2673102"/>
                  <a:gd name="connsiteX133" fmla="*/ 150221 w 1739754"/>
                  <a:gd name="connsiteY133" fmla="*/ 1411039 h 2673102"/>
                  <a:gd name="connsiteX134" fmla="*/ 140696 w 1739754"/>
                  <a:gd name="connsiteY134" fmla="*/ 1377702 h 2673102"/>
                  <a:gd name="connsiteX135" fmla="*/ 121646 w 1739754"/>
                  <a:gd name="connsiteY135" fmla="*/ 1311027 h 2673102"/>
                  <a:gd name="connsiteX136" fmla="*/ 116883 w 1739754"/>
                  <a:gd name="connsiteY136" fmla="*/ 1258639 h 2673102"/>
                  <a:gd name="connsiteX137" fmla="*/ 107358 w 1739754"/>
                  <a:gd name="connsiteY137" fmla="*/ 1244352 h 2673102"/>
                  <a:gd name="connsiteX138" fmla="*/ 93071 w 1739754"/>
                  <a:gd name="connsiteY138" fmla="*/ 1196727 h 2673102"/>
                  <a:gd name="connsiteX139" fmla="*/ 78783 w 1739754"/>
                  <a:gd name="connsiteY139" fmla="*/ 1177677 h 2673102"/>
                  <a:gd name="connsiteX140" fmla="*/ 59733 w 1739754"/>
                  <a:gd name="connsiteY140" fmla="*/ 1139577 h 2673102"/>
                  <a:gd name="connsiteX141" fmla="*/ 50208 w 1739754"/>
                  <a:gd name="connsiteY141" fmla="*/ 1111002 h 2673102"/>
                  <a:gd name="connsiteX142" fmla="*/ 45446 w 1739754"/>
                  <a:gd name="connsiteY142" fmla="*/ 1096714 h 2673102"/>
                  <a:gd name="connsiteX143" fmla="*/ 21633 w 1739754"/>
                  <a:gd name="connsiteY143" fmla="*/ 1025277 h 2673102"/>
                  <a:gd name="connsiteX144" fmla="*/ 202 w 1739754"/>
                  <a:gd name="connsiteY144" fmla="*/ 980033 h 2673102"/>
                  <a:gd name="connsiteX145" fmla="*/ 14490 w 1739754"/>
                  <a:gd name="connsiteY145" fmla="*/ 930027 h 2673102"/>
                  <a:gd name="connsiteX146" fmla="*/ 69259 w 1739754"/>
                  <a:gd name="connsiteY146" fmla="*/ 810964 h 2673102"/>
                  <a:gd name="connsiteX147" fmla="*/ 221658 w 1739754"/>
                  <a:gd name="connsiteY147" fmla="*/ 601414 h 2673102"/>
                  <a:gd name="connsiteX148" fmla="*/ 288333 w 1739754"/>
                  <a:gd name="connsiteY148" fmla="*/ 515689 h 2673102"/>
                  <a:gd name="connsiteX149" fmla="*/ 412158 w 1739754"/>
                  <a:gd name="connsiteY149" fmla="*/ 406152 h 2673102"/>
                  <a:gd name="connsiteX150" fmla="*/ 535983 w 1739754"/>
                  <a:gd name="connsiteY150" fmla="*/ 291851 h 2673102"/>
                  <a:gd name="connsiteX151" fmla="*/ 640758 w 1739754"/>
                  <a:gd name="connsiteY151" fmla="*/ 229939 h 2673102"/>
                  <a:gd name="connsiteX152" fmla="*/ 733628 w 1739754"/>
                  <a:gd name="connsiteY152" fmla="*/ 168026 h 2673102"/>
                  <a:gd name="connsiteX153" fmla="*/ 978896 w 1739754"/>
                  <a:gd name="connsiteY153" fmla="*/ 63251 h 2673102"/>
                  <a:gd name="connsiteX154" fmla="*/ 1159871 w 1739754"/>
                  <a:gd name="connsiteY154" fmla="*/ 6102 h 2673102"/>
                  <a:gd name="connsiteX155" fmla="*/ 1202733 w 1739754"/>
                  <a:gd name="connsiteY15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55158 w 1739754"/>
                  <a:gd name="connsiteY21" fmla="*/ 925264 h 2673102"/>
                  <a:gd name="connsiteX22" fmla="*/ 1531346 w 1739754"/>
                  <a:gd name="connsiteY22" fmla="*/ 939552 h 2673102"/>
                  <a:gd name="connsiteX23" fmla="*/ 1498008 w 1739754"/>
                  <a:gd name="connsiteY23" fmla="*/ 987177 h 2673102"/>
                  <a:gd name="connsiteX24" fmla="*/ 1345608 w 1739754"/>
                  <a:gd name="connsiteY24" fmla="*/ 1030039 h 2673102"/>
                  <a:gd name="connsiteX25" fmla="*/ 1297983 w 1739754"/>
                  <a:gd name="connsiteY25" fmla="*/ 1053852 h 2673102"/>
                  <a:gd name="connsiteX26" fmla="*/ 1231308 w 1739754"/>
                  <a:gd name="connsiteY26" fmla="*/ 1082427 h 2673102"/>
                  <a:gd name="connsiteX27" fmla="*/ 1126533 w 1739754"/>
                  <a:gd name="connsiteY27" fmla="*/ 1096714 h 2673102"/>
                  <a:gd name="connsiteX28" fmla="*/ 1102721 w 1739754"/>
                  <a:gd name="connsiteY28" fmla="*/ 1101477 h 2673102"/>
                  <a:gd name="connsiteX29" fmla="*/ 1078908 w 1739754"/>
                  <a:gd name="connsiteY29" fmla="*/ 1111002 h 2673102"/>
                  <a:gd name="connsiteX30" fmla="*/ 964608 w 1739754"/>
                  <a:gd name="connsiteY30" fmla="*/ 1106239 h 2673102"/>
                  <a:gd name="connsiteX31" fmla="*/ 859833 w 1739754"/>
                  <a:gd name="connsiteY31" fmla="*/ 1058614 h 2673102"/>
                  <a:gd name="connsiteX32" fmla="*/ 812208 w 1739754"/>
                  <a:gd name="connsiteY32" fmla="*/ 1034802 h 2673102"/>
                  <a:gd name="connsiteX33" fmla="*/ 788396 w 1739754"/>
                  <a:gd name="connsiteY33" fmla="*/ 1020514 h 2673102"/>
                  <a:gd name="connsiteX34" fmla="*/ 769346 w 1739754"/>
                  <a:gd name="connsiteY34" fmla="*/ 1006227 h 2673102"/>
                  <a:gd name="connsiteX35" fmla="*/ 678858 w 1739754"/>
                  <a:gd name="connsiteY35" fmla="*/ 958602 h 2673102"/>
                  <a:gd name="connsiteX36" fmla="*/ 645521 w 1739754"/>
                  <a:gd name="connsiteY36" fmla="*/ 939552 h 2673102"/>
                  <a:gd name="connsiteX37" fmla="*/ 526458 w 1739754"/>
                  <a:gd name="connsiteY37" fmla="*/ 910977 h 2673102"/>
                  <a:gd name="connsiteX38" fmla="*/ 483596 w 1739754"/>
                  <a:gd name="connsiteY38" fmla="*/ 891927 h 2673102"/>
                  <a:gd name="connsiteX39" fmla="*/ 421683 w 1739754"/>
                  <a:gd name="connsiteY39" fmla="*/ 882402 h 2673102"/>
                  <a:gd name="connsiteX40" fmla="*/ 321671 w 1739754"/>
                  <a:gd name="connsiteY40" fmla="*/ 896689 h 2673102"/>
                  <a:gd name="connsiteX41" fmla="*/ 307383 w 1739754"/>
                  <a:gd name="connsiteY41" fmla="*/ 910977 h 2673102"/>
                  <a:gd name="connsiteX42" fmla="*/ 283571 w 1739754"/>
                  <a:gd name="connsiteY42" fmla="*/ 949077 h 2673102"/>
                  <a:gd name="connsiteX43" fmla="*/ 269283 w 1739754"/>
                  <a:gd name="connsiteY43" fmla="*/ 987177 h 2673102"/>
                  <a:gd name="connsiteX44" fmla="*/ 264521 w 1739754"/>
                  <a:gd name="connsiteY44" fmla="*/ 1039564 h 2673102"/>
                  <a:gd name="connsiteX45" fmla="*/ 264521 w 1739754"/>
                  <a:gd name="connsiteY45" fmla="*/ 1120527 h 2673102"/>
                  <a:gd name="connsiteX46" fmla="*/ 297858 w 1739754"/>
                  <a:gd name="connsiteY46" fmla="*/ 1153864 h 2673102"/>
                  <a:gd name="connsiteX47" fmla="*/ 326433 w 1739754"/>
                  <a:gd name="connsiteY47" fmla="*/ 1163389 h 2673102"/>
                  <a:gd name="connsiteX48" fmla="*/ 326433 w 1739754"/>
                  <a:gd name="connsiteY48" fmla="*/ 1244352 h 2673102"/>
                  <a:gd name="connsiteX49" fmla="*/ 312146 w 1739754"/>
                  <a:gd name="connsiteY49" fmla="*/ 1258639 h 2673102"/>
                  <a:gd name="connsiteX50" fmla="*/ 259758 w 1739754"/>
                  <a:gd name="connsiteY50" fmla="*/ 1296739 h 2673102"/>
                  <a:gd name="connsiteX51" fmla="*/ 240708 w 1739754"/>
                  <a:gd name="connsiteY51" fmla="*/ 1325314 h 2673102"/>
                  <a:gd name="connsiteX52" fmla="*/ 250233 w 1739754"/>
                  <a:gd name="connsiteY52" fmla="*/ 1425327 h 2673102"/>
                  <a:gd name="connsiteX53" fmla="*/ 278808 w 1739754"/>
                  <a:gd name="connsiteY53" fmla="*/ 1472952 h 2673102"/>
                  <a:gd name="connsiteX54" fmla="*/ 293096 w 1739754"/>
                  <a:gd name="connsiteY54" fmla="*/ 1492002 h 2673102"/>
                  <a:gd name="connsiteX55" fmla="*/ 383583 w 1739754"/>
                  <a:gd name="connsiteY55" fmla="*/ 1525339 h 2673102"/>
                  <a:gd name="connsiteX56" fmla="*/ 407396 w 1739754"/>
                  <a:gd name="connsiteY56" fmla="*/ 1492002 h 2673102"/>
                  <a:gd name="connsiteX57" fmla="*/ 412158 w 1739754"/>
                  <a:gd name="connsiteY57" fmla="*/ 1468189 h 2673102"/>
                  <a:gd name="connsiteX58" fmla="*/ 416921 w 1739754"/>
                  <a:gd name="connsiteY58" fmla="*/ 1449139 h 2673102"/>
                  <a:gd name="connsiteX59" fmla="*/ 445496 w 1739754"/>
                  <a:gd name="connsiteY59" fmla="*/ 1439614 h 2673102"/>
                  <a:gd name="connsiteX60" fmla="*/ 545508 w 1739754"/>
                  <a:gd name="connsiteY60" fmla="*/ 1458664 h 2673102"/>
                  <a:gd name="connsiteX61" fmla="*/ 555033 w 1739754"/>
                  <a:gd name="connsiteY61" fmla="*/ 1482477 h 2673102"/>
                  <a:gd name="connsiteX62" fmla="*/ 564558 w 1739754"/>
                  <a:gd name="connsiteY62" fmla="*/ 1515814 h 2673102"/>
                  <a:gd name="connsiteX63" fmla="*/ 550271 w 1739754"/>
                  <a:gd name="connsiteY63" fmla="*/ 1534864 h 2673102"/>
                  <a:gd name="connsiteX64" fmla="*/ 550271 w 1739754"/>
                  <a:gd name="connsiteY64" fmla="*/ 1601539 h 2673102"/>
                  <a:gd name="connsiteX65" fmla="*/ 559796 w 1739754"/>
                  <a:gd name="connsiteY65" fmla="*/ 1620589 h 2673102"/>
                  <a:gd name="connsiteX66" fmla="*/ 626471 w 1739754"/>
                  <a:gd name="connsiteY66" fmla="*/ 1639639 h 2673102"/>
                  <a:gd name="connsiteX67" fmla="*/ 645521 w 1739754"/>
                  <a:gd name="connsiteY67" fmla="*/ 1592014 h 2673102"/>
                  <a:gd name="connsiteX68" fmla="*/ 702671 w 1739754"/>
                  <a:gd name="connsiteY68" fmla="*/ 1620589 h 2673102"/>
                  <a:gd name="connsiteX69" fmla="*/ 731246 w 1739754"/>
                  <a:gd name="connsiteY69" fmla="*/ 1630114 h 2673102"/>
                  <a:gd name="connsiteX70" fmla="*/ 783633 w 1739754"/>
                  <a:gd name="connsiteY70" fmla="*/ 1663452 h 2673102"/>
                  <a:gd name="connsiteX71" fmla="*/ 859833 w 1739754"/>
                  <a:gd name="connsiteY71" fmla="*/ 1687264 h 2673102"/>
                  <a:gd name="connsiteX72" fmla="*/ 878883 w 1739754"/>
                  <a:gd name="connsiteY72" fmla="*/ 1701552 h 2673102"/>
                  <a:gd name="connsiteX73" fmla="*/ 888408 w 1739754"/>
                  <a:gd name="connsiteY73" fmla="*/ 1739652 h 2673102"/>
                  <a:gd name="connsiteX74" fmla="*/ 897933 w 1739754"/>
                  <a:gd name="connsiteY74" fmla="*/ 1782514 h 2673102"/>
                  <a:gd name="connsiteX75" fmla="*/ 940796 w 1739754"/>
                  <a:gd name="connsiteY75" fmla="*/ 1892052 h 2673102"/>
                  <a:gd name="connsiteX76" fmla="*/ 950321 w 1739754"/>
                  <a:gd name="connsiteY76" fmla="*/ 1906339 h 2673102"/>
                  <a:gd name="connsiteX77" fmla="*/ 959846 w 1739754"/>
                  <a:gd name="connsiteY77" fmla="*/ 1939677 h 2673102"/>
                  <a:gd name="connsiteX78" fmla="*/ 974133 w 1739754"/>
                  <a:gd name="connsiteY78" fmla="*/ 1977777 h 2673102"/>
                  <a:gd name="connsiteX79" fmla="*/ 964608 w 1739754"/>
                  <a:gd name="connsiteY79" fmla="*/ 2082552 h 2673102"/>
                  <a:gd name="connsiteX80" fmla="*/ 955083 w 1739754"/>
                  <a:gd name="connsiteY80" fmla="*/ 2101602 h 2673102"/>
                  <a:gd name="connsiteX81" fmla="*/ 926508 w 1739754"/>
                  <a:gd name="connsiteY81" fmla="*/ 2144464 h 2673102"/>
                  <a:gd name="connsiteX82" fmla="*/ 907458 w 1739754"/>
                  <a:gd name="connsiteY82" fmla="*/ 2192089 h 2673102"/>
                  <a:gd name="connsiteX83" fmla="*/ 902696 w 1739754"/>
                  <a:gd name="connsiteY83" fmla="*/ 2211139 h 2673102"/>
                  <a:gd name="connsiteX84" fmla="*/ 893171 w 1739754"/>
                  <a:gd name="connsiteY84" fmla="*/ 2239714 h 2673102"/>
                  <a:gd name="connsiteX85" fmla="*/ 897933 w 1739754"/>
                  <a:gd name="connsiteY85" fmla="*/ 2287339 h 2673102"/>
                  <a:gd name="connsiteX86" fmla="*/ 893171 w 1739754"/>
                  <a:gd name="connsiteY86" fmla="*/ 2396877 h 2673102"/>
                  <a:gd name="connsiteX87" fmla="*/ 688383 w 1739754"/>
                  <a:gd name="connsiteY87" fmla="*/ 2449264 h 2673102"/>
                  <a:gd name="connsiteX88" fmla="*/ 655046 w 1739754"/>
                  <a:gd name="connsiteY88" fmla="*/ 2473077 h 2673102"/>
                  <a:gd name="connsiteX89" fmla="*/ 607421 w 1739754"/>
                  <a:gd name="connsiteY89" fmla="*/ 2511177 h 2673102"/>
                  <a:gd name="connsiteX90" fmla="*/ 574083 w 1739754"/>
                  <a:gd name="connsiteY90" fmla="*/ 2534989 h 2673102"/>
                  <a:gd name="connsiteX91" fmla="*/ 540746 w 1739754"/>
                  <a:gd name="connsiteY91" fmla="*/ 2554039 h 2673102"/>
                  <a:gd name="connsiteX92" fmla="*/ 497883 w 1739754"/>
                  <a:gd name="connsiteY92" fmla="*/ 2587377 h 2673102"/>
                  <a:gd name="connsiteX93" fmla="*/ 483596 w 1739754"/>
                  <a:gd name="connsiteY93" fmla="*/ 2601664 h 2673102"/>
                  <a:gd name="connsiteX94" fmla="*/ 459783 w 1739754"/>
                  <a:gd name="connsiteY94" fmla="*/ 2620714 h 2673102"/>
                  <a:gd name="connsiteX95" fmla="*/ 450258 w 1739754"/>
                  <a:gd name="connsiteY95" fmla="*/ 2635002 h 2673102"/>
                  <a:gd name="connsiteX96" fmla="*/ 416921 w 1739754"/>
                  <a:gd name="connsiteY96" fmla="*/ 2654052 h 2673102"/>
                  <a:gd name="connsiteX97" fmla="*/ 374058 w 1739754"/>
                  <a:gd name="connsiteY97" fmla="*/ 2673102 h 2673102"/>
                  <a:gd name="connsiteX98" fmla="*/ 359771 w 1739754"/>
                  <a:gd name="connsiteY98" fmla="*/ 2663577 h 2673102"/>
                  <a:gd name="connsiteX99" fmla="*/ 345483 w 1739754"/>
                  <a:gd name="connsiteY99" fmla="*/ 2635002 h 2673102"/>
                  <a:gd name="connsiteX100" fmla="*/ 335958 w 1739754"/>
                  <a:gd name="connsiteY100" fmla="*/ 2620714 h 2673102"/>
                  <a:gd name="connsiteX101" fmla="*/ 297858 w 1739754"/>
                  <a:gd name="connsiteY101" fmla="*/ 2611189 h 2673102"/>
                  <a:gd name="connsiteX102" fmla="*/ 278808 w 1739754"/>
                  <a:gd name="connsiteY102" fmla="*/ 2592139 h 2673102"/>
                  <a:gd name="connsiteX103" fmla="*/ 274046 w 1739754"/>
                  <a:gd name="connsiteY103" fmla="*/ 2573089 h 2673102"/>
                  <a:gd name="connsiteX104" fmla="*/ 235946 w 1739754"/>
                  <a:gd name="connsiteY104" fmla="*/ 2539752 h 2673102"/>
                  <a:gd name="connsiteX105" fmla="*/ 231183 w 1739754"/>
                  <a:gd name="connsiteY105" fmla="*/ 2525464 h 2673102"/>
                  <a:gd name="connsiteX106" fmla="*/ 226421 w 1739754"/>
                  <a:gd name="connsiteY106" fmla="*/ 2506414 h 2673102"/>
                  <a:gd name="connsiteX107" fmla="*/ 212133 w 1739754"/>
                  <a:gd name="connsiteY107" fmla="*/ 2492127 h 2673102"/>
                  <a:gd name="connsiteX108" fmla="*/ 154983 w 1739754"/>
                  <a:gd name="connsiteY108" fmla="*/ 2439739 h 2673102"/>
                  <a:gd name="connsiteX109" fmla="*/ 150221 w 1739754"/>
                  <a:gd name="connsiteY109" fmla="*/ 2415927 h 2673102"/>
                  <a:gd name="connsiteX110" fmla="*/ 135933 w 1739754"/>
                  <a:gd name="connsiteY110" fmla="*/ 2358777 h 2673102"/>
                  <a:gd name="connsiteX111" fmla="*/ 121646 w 1739754"/>
                  <a:gd name="connsiteY111" fmla="*/ 2315914 h 2673102"/>
                  <a:gd name="connsiteX112" fmla="*/ 107358 w 1739754"/>
                  <a:gd name="connsiteY112" fmla="*/ 2258764 h 2673102"/>
                  <a:gd name="connsiteX113" fmla="*/ 102596 w 1739754"/>
                  <a:gd name="connsiteY113" fmla="*/ 2234952 h 2673102"/>
                  <a:gd name="connsiteX114" fmla="*/ 93071 w 1739754"/>
                  <a:gd name="connsiteY114" fmla="*/ 2211139 h 2673102"/>
                  <a:gd name="connsiteX115" fmla="*/ 88308 w 1739754"/>
                  <a:gd name="connsiteY115" fmla="*/ 2187327 h 2673102"/>
                  <a:gd name="connsiteX116" fmla="*/ 78783 w 1739754"/>
                  <a:gd name="connsiteY116" fmla="*/ 2111127 h 2673102"/>
                  <a:gd name="connsiteX117" fmla="*/ 97833 w 1739754"/>
                  <a:gd name="connsiteY117" fmla="*/ 1944439 h 2673102"/>
                  <a:gd name="connsiteX118" fmla="*/ 107358 w 1739754"/>
                  <a:gd name="connsiteY118" fmla="*/ 1930152 h 2673102"/>
                  <a:gd name="connsiteX119" fmla="*/ 126408 w 1739754"/>
                  <a:gd name="connsiteY119" fmla="*/ 1901577 h 2673102"/>
                  <a:gd name="connsiteX120" fmla="*/ 135933 w 1739754"/>
                  <a:gd name="connsiteY120" fmla="*/ 1868239 h 2673102"/>
                  <a:gd name="connsiteX121" fmla="*/ 131171 w 1739754"/>
                  <a:gd name="connsiteY121" fmla="*/ 1825377 h 2673102"/>
                  <a:gd name="connsiteX122" fmla="*/ 112121 w 1739754"/>
                  <a:gd name="connsiteY122" fmla="*/ 1820614 h 2673102"/>
                  <a:gd name="connsiteX123" fmla="*/ 102596 w 1739754"/>
                  <a:gd name="connsiteY123" fmla="*/ 1806327 h 2673102"/>
                  <a:gd name="connsiteX124" fmla="*/ 145458 w 1739754"/>
                  <a:gd name="connsiteY124" fmla="*/ 1720602 h 2673102"/>
                  <a:gd name="connsiteX125" fmla="*/ 159746 w 1739754"/>
                  <a:gd name="connsiteY125" fmla="*/ 1715839 h 2673102"/>
                  <a:gd name="connsiteX126" fmla="*/ 174033 w 1739754"/>
                  <a:gd name="connsiteY126" fmla="*/ 1696789 h 2673102"/>
                  <a:gd name="connsiteX127" fmla="*/ 188321 w 1739754"/>
                  <a:gd name="connsiteY127" fmla="*/ 1687264 h 2673102"/>
                  <a:gd name="connsiteX128" fmla="*/ 202608 w 1739754"/>
                  <a:gd name="connsiteY128" fmla="*/ 1653927 h 2673102"/>
                  <a:gd name="connsiteX129" fmla="*/ 193083 w 1739754"/>
                  <a:gd name="connsiteY129" fmla="*/ 1606302 h 2673102"/>
                  <a:gd name="connsiteX130" fmla="*/ 164508 w 1739754"/>
                  <a:gd name="connsiteY130" fmla="*/ 1596777 h 2673102"/>
                  <a:gd name="connsiteX131" fmla="*/ 154983 w 1739754"/>
                  <a:gd name="connsiteY131" fmla="*/ 1549152 h 2673102"/>
                  <a:gd name="connsiteX132" fmla="*/ 150221 w 1739754"/>
                  <a:gd name="connsiteY132" fmla="*/ 1411039 h 2673102"/>
                  <a:gd name="connsiteX133" fmla="*/ 140696 w 1739754"/>
                  <a:gd name="connsiteY133" fmla="*/ 1377702 h 2673102"/>
                  <a:gd name="connsiteX134" fmla="*/ 121646 w 1739754"/>
                  <a:gd name="connsiteY134" fmla="*/ 1311027 h 2673102"/>
                  <a:gd name="connsiteX135" fmla="*/ 116883 w 1739754"/>
                  <a:gd name="connsiteY135" fmla="*/ 1258639 h 2673102"/>
                  <a:gd name="connsiteX136" fmla="*/ 107358 w 1739754"/>
                  <a:gd name="connsiteY136" fmla="*/ 1244352 h 2673102"/>
                  <a:gd name="connsiteX137" fmla="*/ 93071 w 1739754"/>
                  <a:gd name="connsiteY137" fmla="*/ 1196727 h 2673102"/>
                  <a:gd name="connsiteX138" fmla="*/ 78783 w 1739754"/>
                  <a:gd name="connsiteY138" fmla="*/ 1177677 h 2673102"/>
                  <a:gd name="connsiteX139" fmla="*/ 59733 w 1739754"/>
                  <a:gd name="connsiteY139" fmla="*/ 1139577 h 2673102"/>
                  <a:gd name="connsiteX140" fmla="*/ 50208 w 1739754"/>
                  <a:gd name="connsiteY140" fmla="*/ 1111002 h 2673102"/>
                  <a:gd name="connsiteX141" fmla="*/ 45446 w 1739754"/>
                  <a:gd name="connsiteY141" fmla="*/ 1096714 h 2673102"/>
                  <a:gd name="connsiteX142" fmla="*/ 21633 w 1739754"/>
                  <a:gd name="connsiteY142" fmla="*/ 1025277 h 2673102"/>
                  <a:gd name="connsiteX143" fmla="*/ 202 w 1739754"/>
                  <a:gd name="connsiteY143" fmla="*/ 980033 h 2673102"/>
                  <a:gd name="connsiteX144" fmla="*/ 14490 w 1739754"/>
                  <a:gd name="connsiteY144" fmla="*/ 930027 h 2673102"/>
                  <a:gd name="connsiteX145" fmla="*/ 69259 w 1739754"/>
                  <a:gd name="connsiteY145" fmla="*/ 810964 h 2673102"/>
                  <a:gd name="connsiteX146" fmla="*/ 221658 w 1739754"/>
                  <a:gd name="connsiteY146" fmla="*/ 601414 h 2673102"/>
                  <a:gd name="connsiteX147" fmla="*/ 288333 w 1739754"/>
                  <a:gd name="connsiteY147" fmla="*/ 515689 h 2673102"/>
                  <a:gd name="connsiteX148" fmla="*/ 412158 w 1739754"/>
                  <a:gd name="connsiteY148" fmla="*/ 406152 h 2673102"/>
                  <a:gd name="connsiteX149" fmla="*/ 535983 w 1739754"/>
                  <a:gd name="connsiteY149" fmla="*/ 291851 h 2673102"/>
                  <a:gd name="connsiteX150" fmla="*/ 640758 w 1739754"/>
                  <a:gd name="connsiteY150" fmla="*/ 229939 h 2673102"/>
                  <a:gd name="connsiteX151" fmla="*/ 733628 w 1739754"/>
                  <a:gd name="connsiteY151" fmla="*/ 168026 h 2673102"/>
                  <a:gd name="connsiteX152" fmla="*/ 978896 w 1739754"/>
                  <a:gd name="connsiteY152" fmla="*/ 63251 h 2673102"/>
                  <a:gd name="connsiteX153" fmla="*/ 1159871 w 1739754"/>
                  <a:gd name="connsiteY153" fmla="*/ 6102 h 2673102"/>
                  <a:gd name="connsiteX154" fmla="*/ 1202733 w 1739754"/>
                  <a:gd name="connsiteY15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102721 w 1739754"/>
                  <a:gd name="connsiteY27" fmla="*/ 1101477 h 2673102"/>
                  <a:gd name="connsiteX28" fmla="*/ 1078908 w 1739754"/>
                  <a:gd name="connsiteY28" fmla="*/ 1111002 h 2673102"/>
                  <a:gd name="connsiteX29" fmla="*/ 964608 w 1739754"/>
                  <a:gd name="connsiteY29" fmla="*/ 1106239 h 2673102"/>
                  <a:gd name="connsiteX30" fmla="*/ 859833 w 1739754"/>
                  <a:gd name="connsiteY30" fmla="*/ 1058614 h 2673102"/>
                  <a:gd name="connsiteX31" fmla="*/ 812208 w 1739754"/>
                  <a:gd name="connsiteY31" fmla="*/ 1034802 h 2673102"/>
                  <a:gd name="connsiteX32" fmla="*/ 788396 w 1739754"/>
                  <a:gd name="connsiteY32" fmla="*/ 1020514 h 2673102"/>
                  <a:gd name="connsiteX33" fmla="*/ 769346 w 1739754"/>
                  <a:gd name="connsiteY33" fmla="*/ 1006227 h 2673102"/>
                  <a:gd name="connsiteX34" fmla="*/ 678858 w 1739754"/>
                  <a:gd name="connsiteY34" fmla="*/ 958602 h 2673102"/>
                  <a:gd name="connsiteX35" fmla="*/ 645521 w 1739754"/>
                  <a:gd name="connsiteY35" fmla="*/ 939552 h 2673102"/>
                  <a:gd name="connsiteX36" fmla="*/ 526458 w 1739754"/>
                  <a:gd name="connsiteY36" fmla="*/ 910977 h 2673102"/>
                  <a:gd name="connsiteX37" fmla="*/ 483596 w 1739754"/>
                  <a:gd name="connsiteY37" fmla="*/ 891927 h 2673102"/>
                  <a:gd name="connsiteX38" fmla="*/ 421683 w 1739754"/>
                  <a:gd name="connsiteY38" fmla="*/ 882402 h 2673102"/>
                  <a:gd name="connsiteX39" fmla="*/ 321671 w 1739754"/>
                  <a:gd name="connsiteY39" fmla="*/ 896689 h 2673102"/>
                  <a:gd name="connsiteX40" fmla="*/ 307383 w 1739754"/>
                  <a:gd name="connsiteY40" fmla="*/ 910977 h 2673102"/>
                  <a:gd name="connsiteX41" fmla="*/ 283571 w 1739754"/>
                  <a:gd name="connsiteY41" fmla="*/ 949077 h 2673102"/>
                  <a:gd name="connsiteX42" fmla="*/ 269283 w 1739754"/>
                  <a:gd name="connsiteY42" fmla="*/ 987177 h 2673102"/>
                  <a:gd name="connsiteX43" fmla="*/ 264521 w 1739754"/>
                  <a:gd name="connsiteY43" fmla="*/ 1039564 h 2673102"/>
                  <a:gd name="connsiteX44" fmla="*/ 264521 w 1739754"/>
                  <a:gd name="connsiteY44" fmla="*/ 1120527 h 2673102"/>
                  <a:gd name="connsiteX45" fmla="*/ 297858 w 1739754"/>
                  <a:gd name="connsiteY45" fmla="*/ 1153864 h 2673102"/>
                  <a:gd name="connsiteX46" fmla="*/ 326433 w 1739754"/>
                  <a:gd name="connsiteY46" fmla="*/ 1163389 h 2673102"/>
                  <a:gd name="connsiteX47" fmla="*/ 326433 w 1739754"/>
                  <a:gd name="connsiteY47" fmla="*/ 1244352 h 2673102"/>
                  <a:gd name="connsiteX48" fmla="*/ 312146 w 1739754"/>
                  <a:gd name="connsiteY48" fmla="*/ 1258639 h 2673102"/>
                  <a:gd name="connsiteX49" fmla="*/ 259758 w 1739754"/>
                  <a:gd name="connsiteY49" fmla="*/ 1296739 h 2673102"/>
                  <a:gd name="connsiteX50" fmla="*/ 240708 w 1739754"/>
                  <a:gd name="connsiteY50" fmla="*/ 1325314 h 2673102"/>
                  <a:gd name="connsiteX51" fmla="*/ 250233 w 1739754"/>
                  <a:gd name="connsiteY51" fmla="*/ 1425327 h 2673102"/>
                  <a:gd name="connsiteX52" fmla="*/ 278808 w 1739754"/>
                  <a:gd name="connsiteY52" fmla="*/ 1472952 h 2673102"/>
                  <a:gd name="connsiteX53" fmla="*/ 293096 w 1739754"/>
                  <a:gd name="connsiteY53" fmla="*/ 1492002 h 2673102"/>
                  <a:gd name="connsiteX54" fmla="*/ 383583 w 1739754"/>
                  <a:gd name="connsiteY54" fmla="*/ 1525339 h 2673102"/>
                  <a:gd name="connsiteX55" fmla="*/ 407396 w 1739754"/>
                  <a:gd name="connsiteY55" fmla="*/ 1492002 h 2673102"/>
                  <a:gd name="connsiteX56" fmla="*/ 412158 w 1739754"/>
                  <a:gd name="connsiteY56" fmla="*/ 1468189 h 2673102"/>
                  <a:gd name="connsiteX57" fmla="*/ 416921 w 1739754"/>
                  <a:gd name="connsiteY57" fmla="*/ 1449139 h 2673102"/>
                  <a:gd name="connsiteX58" fmla="*/ 445496 w 1739754"/>
                  <a:gd name="connsiteY58" fmla="*/ 1439614 h 2673102"/>
                  <a:gd name="connsiteX59" fmla="*/ 545508 w 1739754"/>
                  <a:gd name="connsiteY59" fmla="*/ 1458664 h 2673102"/>
                  <a:gd name="connsiteX60" fmla="*/ 555033 w 1739754"/>
                  <a:gd name="connsiteY60" fmla="*/ 1482477 h 2673102"/>
                  <a:gd name="connsiteX61" fmla="*/ 564558 w 1739754"/>
                  <a:gd name="connsiteY61" fmla="*/ 1515814 h 2673102"/>
                  <a:gd name="connsiteX62" fmla="*/ 550271 w 1739754"/>
                  <a:gd name="connsiteY62" fmla="*/ 1534864 h 2673102"/>
                  <a:gd name="connsiteX63" fmla="*/ 550271 w 1739754"/>
                  <a:gd name="connsiteY63" fmla="*/ 1601539 h 2673102"/>
                  <a:gd name="connsiteX64" fmla="*/ 559796 w 1739754"/>
                  <a:gd name="connsiteY64" fmla="*/ 1620589 h 2673102"/>
                  <a:gd name="connsiteX65" fmla="*/ 626471 w 1739754"/>
                  <a:gd name="connsiteY65" fmla="*/ 1639639 h 2673102"/>
                  <a:gd name="connsiteX66" fmla="*/ 645521 w 1739754"/>
                  <a:gd name="connsiteY66" fmla="*/ 1592014 h 2673102"/>
                  <a:gd name="connsiteX67" fmla="*/ 702671 w 1739754"/>
                  <a:gd name="connsiteY67" fmla="*/ 1620589 h 2673102"/>
                  <a:gd name="connsiteX68" fmla="*/ 731246 w 1739754"/>
                  <a:gd name="connsiteY68" fmla="*/ 1630114 h 2673102"/>
                  <a:gd name="connsiteX69" fmla="*/ 783633 w 1739754"/>
                  <a:gd name="connsiteY69" fmla="*/ 1663452 h 2673102"/>
                  <a:gd name="connsiteX70" fmla="*/ 859833 w 1739754"/>
                  <a:gd name="connsiteY70" fmla="*/ 1687264 h 2673102"/>
                  <a:gd name="connsiteX71" fmla="*/ 878883 w 1739754"/>
                  <a:gd name="connsiteY71" fmla="*/ 1701552 h 2673102"/>
                  <a:gd name="connsiteX72" fmla="*/ 888408 w 1739754"/>
                  <a:gd name="connsiteY72" fmla="*/ 1739652 h 2673102"/>
                  <a:gd name="connsiteX73" fmla="*/ 897933 w 1739754"/>
                  <a:gd name="connsiteY73" fmla="*/ 1782514 h 2673102"/>
                  <a:gd name="connsiteX74" fmla="*/ 940796 w 1739754"/>
                  <a:gd name="connsiteY74" fmla="*/ 1892052 h 2673102"/>
                  <a:gd name="connsiteX75" fmla="*/ 950321 w 1739754"/>
                  <a:gd name="connsiteY75" fmla="*/ 1906339 h 2673102"/>
                  <a:gd name="connsiteX76" fmla="*/ 959846 w 1739754"/>
                  <a:gd name="connsiteY76" fmla="*/ 1939677 h 2673102"/>
                  <a:gd name="connsiteX77" fmla="*/ 974133 w 1739754"/>
                  <a:gd name="connsiteY77" fmla="*/ 1977777 h 2673102"/>
                  <a:gd name="connsiteX78" fmla="*/ 964608 w 1739754"/>
                  <a:gd name="connsiteY78" fmla="*/ 2082552 h 2673102"/>
                  <a:gd name="connsiteX79" fmla="*/ 955083 w 1739754"/>
                  <a:gd name="connsiteY79" fmla="*/ 2101602 h 2673102"/>
                  <a:gd name="connsiteX80" fmla="*/ 926508 w 1739754"/>
                  <a:gd name="connsiteY80" fmla="*/ 2144464 h 2673102"/>
                  <a:gd name="connsiteX81" fmla="*/ 907458 w 1739754"/>
                  <a:gd name="connsiteY81" fmla="*/ 2192089 h 2673102"/>
                  <a:gd name="connsiteX82" fmla="*/ 902696 w 1739754"/>
                  <a:gd name="connsiteY82" fmla="*/ 2211139 h 2673102"/>
                  <a:gd name="connsiteX83" fmla="*/ 893171 w 1739754"/>
                  <a:gd name="connsiteY83" fmla="*/ 2239714 h 2673102"/>
                  <a:gd name="connsiteX84" fmla="*/ 897933 w 1739754"/>
                  <a:gd name="connsiteY84" fmla="*/ 2287339 h 2673102"/>
                  <a:gd name="connsiteX85" fmla="*/ 893171 w 1739754"/>
                  <a:gd name="connsiteY85" fmla="*/ 2396877 h 2673102"/>
                  <a:gd name="connsiteX86" fmla="*/ 688383 w 1739754"/>
                  <a:gd name="connsiteY86" fmla="*/ 2449264 h 2673102"/>
                  <a:gd name="connsiteX87" fmla="*/ 655046 w 1739754"/>
                  <a:gd name="connsiteY87" fmla="*/ 2473077 h 2673102"/>
                  <a:gd name="connsiteX88" fmla="*/ 607421 w 1739754"/>
                  <a:gd name="connsiteY88" fmla="*/ 2511177 h 2673102"/>
                  <a:gd name="connsiteX89" fmla="*/ 574083 w 1739754"/>
                  <a:gd name="connsiteY89" fmla="*/ 2534989 h 2673102"/>
                  <a:gd name="connsiteX90" fmla="*/ 540746 w 1739754"/>
                  <a:gd name="connsiteY90" fmla="*/ 2554039 h 2673102"/>
                  <a:gd name="connsiteX91" fmla="*/ 497883 w 1739754"/>
                  <a:gd name="connsiteY91" fmla="*/ 2587377 h 2673102"/>
                  <a:gd name="connsiteX92" fmla="*/ 483596 w 1739754"/>
                  <a:gd name="connsiteY92" fmla="*/ 2601664 h 2673102"/>
                  <a:gd name="connsiteX93" fmla="*/ 459783 w 1739754"/>
                  <a:gd name="connsiteY93" fmla="*/ 2620714 h 2673102"/>
                  <a:gd name="connsiteX94" fmla="*/ 450258 w 1739754"/>
                  <a:gd name="connsiteY94" fmla="*/ 2635002 h 2673102"/>
                  <a:gd name="connsiteX95" fmla="*/ 416921 w 1739754"/>
                  <a:gd name="connsiteY95" fmla="*/ 2654052 h 2673102"/>
                  <a:gd name="connsiteX96" fmla="*/ 374058 w 1739754"/>
                  <a:gd name="connsiteY96" fmla="*/ 2673102 h 2673102"/>
                  <a:gd name="connsiteX97" fmla="*/ 359771 w 1739754"/>
                  <a:gd name="connsiteY97" fmla="*/ 2663577 h 2673102"/>
                  <a:gd name="connsiteX98" fmla="*/ 345483 w 1739754"/>
                  <a:gd name="connsiteY98" fmla="*/ 2635002 h 2673102"/>
                  <a:gd name="connsiteX99" fmla="*/ 335958 w 1739754"/>
                  <a:gd name="connsiteY99" fmla="*/ 2620714 h 2673102"/>
                  <a:gd name="connsiteX100" fmla="*/ 297858 w 1739754"/>
                  <a:gd name="connsiteY100" fmla="*/ 2611189 h 2673102"/>
                  <a:gd name="connsiteX101" fmla="*/ 278808 w 1739754"/>
                  <a:gd name="connsiteY101" fmla="*/ 2592139 h 2673102"/>
                  <a:gd name="connsiteX102" fmla="*/ 274046 w 1739754"/>
                  <a:gd name="connsiteY102" fmla="*/ 2573089 h 2673102"/>
                  <a:gd name="connsiteX103" fmla="*/ 235946 w 1739754"/>
                  <a:gd name="connsiteY103" fmla="*/ 2539752 h 2673102"/>
                  <a:gd name="connsiteX104" fmla="*/ 231183 w 1739754"/>
                  <a:gd name="connsiteY104" fmla="*/ 2525464 h 2673102"/>
                  <a:gd name="connsiteX105" fmla="*/ 226421 w 1739754"/>
                  <a:gd name="connsiteY105" fmla="*/ 2506414 h 2673102"/>
                  <a:gd name="connsiteX106" fmla="*/ 212133 w 1739754"/>
                  <a:gd name="connsiteY106" fmla="*/ 2492127 h 2673102"/>
                  <a:gd name="connsiteX107" fmla="*/ 154983 w 1739754"/>
                  <a:gd name="connsiteY107" fmla="*/ 2439739 h 2673102"/>
                  <a:gd name="connsiteX108" fmla="*/ 150221 w 1739754"/>
                  <a:gd name="connsiteY108" fmla="*/ 2415927 h 2673102"/>
                  <a:gd name="connsiteX109" fmla="*/ 135933 w 1739754"/>
                  <a:gd name="connsiteY109" fmla="*/ 2358777 h 2673102"/>
                  <a:gd name="connsiteX110" fmla="*/ 121646 w 1739754"/>
                  <a:gd name="connsiteY110" fmla="*/ 2315914 h 2673102"/>
                  <a:gd name="connsiteX111" fmla="*/ 107358 w 1739754"/>
                  <a:gd name="connsiteY111" fmla="*/ 2258764 h 2673102"/>
                  <a:gd name="connsiteX112" fmla="*/ 102596 w 1739754"/>
                  <a:gd name="connsiteY112" fmla="*/ 2234952 h 2673102"/>
                  <a:gd name="connsiteX113" fmla="*/ 93071 w 1739754"/>
                  <a:gd name="connsiteY113" fmla="*/ 2211139 h 2673102"/>
                  <a:gd name="connsiteX114" fmla="*/ 88308 w 1739754"/>
                  <a:gd name="connsiteY114" fmla="*/ 2187327 h 2673102"/>
                  <a:gd name="connsiteX115" fmla="*/ 78783 w 1739754"/>
                  <a:gd name="connsiteY115" fmla="*/ 2111127 h 2673102"/>
                  <a:gd name="connsiteX116" fmla="*/ 97833 w 1739754"/>
                  <a:gd name="connsiteY116" fmla="*/ 1944439 h 2673102"/>
                  <a:gd name="connsiteX117" fmla="*/ 107358 w 1739754"/>
                  <a:gd name="connsiteY117" fmla="*/ 1930152 h 2673102"/>
                  <a:gd name="connsiteX118" fmla="*/ 126408 w 1739754"/>
                  <a:gd name="connsiteY118" fmla="*/ 1901577 h 2673102"/>
                  <a:gd name="connsiteX119" fmla="*/ 135933 w 1739754"/>
                  <a:gd name="connsiteY119" fmla="*/ 1868239 h 2673102"/>
                  <a:gd name="connsiteX120" fmla="*/ 131171 w 1739754"/>
                  <a:gd name="connsiteY120" fmla="*/ 1825377 h 2673102"/>
                  <a:gd name="connsiteX121" fmla="*/ 112121 w 1739754"/>
                  <a:gd name="connsiteY121" fmla="*/ 1820614 h 2673102"/>
                  <a:gd name="connsiteX122" fmla="*/ 102596 w 1739754"/>
                  <a:gd name="connsiteY122" fmla="*/ 1806327 h 2673102"/>
                  <a:gd name="connsiteX123" fmla="*/ 145458 w 1739754"/>
                  <a:gd name="connsiteY123" fmla="*/ 1720602 h 2673102"/>
                  <a:gd name="connsiteX124" fmla="*/ 159746 w 1739754"/>
                  <a:gd name="connsiteY124" fmla="*/ 1715839 h 2673102"/>
                  <a:gd name="connsiteX125" fmla="*/ 174033 w 1739754"/>
                  <a:gd name="connsiteY125" fmla="*/ 1696789 h 2673102"/>
                  <a:gd name="connsiteX126" fmla="*/ 188321 w 1739754"/>
                  <a:gd name="connsiteY126" fmla="*/ 1687264 h 2673102"/>
                  <a:gd name="connsiteX127" fmla="*/ 202608 w 1739754"/>
                  <a:gd name="connsiteY127" fmla="*/ 1653927 h 2673102"/>
                  <a:gd name="connsiteX128" fmla="*/ 193083 w 1739754"/>
                  <a:gd name="connsiteY128" fmla="*/ 1606302 h 2673102"/>
                  <a:gd name="connsiteX129" fmla="*/ 164508 w 1739754"/>
                  <a:gd name="connsiteY129" fmla="*/ 1596777 h 2673102"/>
                  <a:gd name="connsiteX130" fmla="*/ 154983 w 1739754"/>
                  <a:gd name="connsiteY130" fmla="*/ 1549152 h 2673102"/>
                  <a:gd name="connsiteX131" fmla="*/ 150221 w 1739754"/>
                  <a:gd name="connsiteY131" fmla="*/ 1411039 h 2673102"/>
                  <a:gd name="connsiteX132" fmla="*/ 140696 w 1739754"/>
                  <a:gd name="connsiteY132" fmla="*/ 1377702 h 2673102"/>
                  <a:gd name="connsiteX133" fmla="*/ 121646 w 1739754"/>
                  <a:gd name="connsiteY133" fmla="*/ 1311027 h 2673102"/>
                  <a:gd name="connsiteX134" fmla="*/ 116883 w 1739754"/>
                  <a:gd name="connsiteY134" fmla="*/ 1258639 h 2673102"/>
                  <a:gd name="connsiteX135" fmla="*/ 107358 w 1739754"/>
                  <a:gd name="connsiteY135" fmla="*/ 1244352 h 2673102"/>
                  <a:gd name="connsiteX136" fmla="*/ 93071 w 1739754"/>
                  <a:gd name="connsiteY136" fmla="*/ 1196727 h 2673102"/>
                  <a:gd name="connsiteX137" fmla="*/ 78783 w 1739754"/>
                  <a:gd name="connsiteY137" fmla="*/ 1177677 h 2673102"/>
                  <a:gd name="connsiteX138" fmla="*/ 59733 w 1739754"/>
                  <a:gd name="connsiteY138" fmla="*/ 1139577 h 2673102"/>
                  <a:gd name="connsiteX139" fmla="*/ 50208 w 1739754"/>
                  <a:gd name="connsiteY139" fmla="*/ 1111002 h 2673102"/>
                  <a:gd name="connsiteX140" fmla="*/ 45446 w 1739754"/>
                  <a:gd name="connsiteY140" fmla="*/ 1096714 h 2673102"/>
                  <a:gd name="connsiteX141" fmla="*/ 21633 w 1739754"/>
                  <a:gd name="connsiteY141" fmla="*/ 1025277 h 2673102"/>
                  <a:gd name="connsiteX142" fmla="*/ 202 w 1739754"/>
                  <a:gd name="connsiteY142" fmla="*/ 980033 h 2673102"/>
                  <a:gd name="connsiteX143" fmla="*/ 14490 w 1739754"/>
                  <a:gd name="connsiteY143" fmla="*/ 930027 h 2673102"/>
                  <a:gd name="connsiteX144" fmla="*/ 69259 w 1739754"/>
                  <a:gd name="connsiteY144" fmla="*/ 810964 h 2673102"/>
                  <a:gd name="connsiteX145" fmla="*/ 221658 w 1739754"/>
                  <a:gd name="connsiteY145" fmla="*/ 601414 h 2673102"/>
                  <a:gd name="connsiteX146" fmla="*/ 288333 w 1739754"/>
                  <a:gd name="connsiteY146" fmla="*/ 515689 h 2673102"/>
                  <a:gd name="connsiteX147" fmla="*/ 412158 w 1739754"/>
                  <a:gd name="connsiteY147" fmla="*/ 406152 h 2673102"/>
                  <a:gd name="connsiteX148" fmla="*/ 535983 w 1739754"/>
                  <a:gd name="connsiteY148" fmla="*/ 291851 h 2673102"/>
                  <a:gd name="connsiteX149" fmla="*/ 640758 w 1739754"/>
                  <a:gd name="connsiteY149" fmla="*/ 229939 h 2673102"/>
                  <a:gd name="connsiteX150" fmla="*/ 733628 w 1739754"/>
                  <a:gd name="connsiteY150" fmla="*/ 168026 h 2673102"/>
                  <a:gd name="connsiteX151" fmla="*/ 978896 w 1739754"/>
                  <a:gd name="connsiteY151" fmla="*/ 63251 h 2673102"/>
                  <a:gd name="connsiteX152" fmla="*/ 1159871 w 1739754"/>
                  <a:gd name="connsiteY152" fmla="*/ 6102 h 2673102"/>
                  <a:gd name="connsiteX153" fmla="*/ 1202733 w 1739754"/>
                  <a:gd name="connsiteY15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4608 w 1739754"/>
                  <a:gd name="connsiteY28" fmla="*/ 1106239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83596 w 1739754"/>
                  <a:gd name="connsiteY35" fmla="*/ 891927 h 2673102"/>
                  <a:gd name="connsiteX36" fmla="*/ 421683 w 1739754"/>
                  <a:gd name="connsiteY36" fmla="*/ 882402 h 2673102"/>
                  <a:gd name="connsiteX37" fmla="*/ 321671 w 1739754"/>
                  <a:gd name="connsiteY37" fmla="*/ 896689 h 2673102"/>
                  <a:gd name="connsiteX38" fmla="*/ 307383 w 1739754"/>
                  <a:gd name="connsiteY38" fmla="*/ 910977 h 2673102"/>
                  <a:gd name="connsiteX39" fmla="*/ 283571 w 1739754"/>
                  <a:gd name="connsiteY39" fmla="*/ 949077 h 2673102"/>
                  <a:gd name="connsiteX40" fmla="*/ 269283 w 1739754"/>
                  <a:gd name="connsiteY40" fmla="*/ 987177 h 2673102"/>
                  <a:gd name="connsiteX41" fmla="*/ 264521 w 1739754"/>
                  <a:gd name="connsiteY41" fmla="*/ 1039564 h 2673102"/>
                  <a:gd name="connsiteX42" fmla="*/ 264521 w 1739754"/>
                  <a:gd name="connsiteY42" fmla="*/ 1120527 h 2673102"/>
                  <a:gd name="connsiteX43" fmla="*/ 297858 w 1739754"/>
                  <a:gd name="connsiteY43" fmla="*/ 1153864 h 2673102"/>
                  <a:gd name="connsiteX44" fmla="*/ 326433 w 1739754"/>
                  <a:gd name="connsiteY44" fmla="*/ 1163389 h 2673102"/>
                  <a:gd name="connsiteX45" fmla="*/ 326433 w 1739754"/>
                  <a:gd name="connsiteY45" fmla="*/ 1244352 h 2673102"/>
                  <a:gd name="connsiteX46" fmla="*/ 312146 w 1739754"/>
                  <a:gd name="connsiteY46" fmla="*/ 1258639 h 2673102"/>
                  <a:gd name="connsiteX47" fmla="*/ 259758 w 1739754"/>
                  <a:gd name="connsiteY47" fmla="*/ 1296739 h 2673102"/>
                  <a:gd name="connsiteX48" fmla="*/ 240708 w 1739754"/>
                  <a:gd name="connsiteY48" fmla="*/ 1325314 h 2673102"/>
                  <a:gd name="connsiteX49" fmla="*/ 250233 w 1739754"/>
                  <a:gd name="connsiteY49" fmla="*/ 1425327 h 2673102"/>
                  <a:gd name="connsiteX50" fmla="*/ 278808 w 1739754"/>
                  <a:gd name="connsiteY50" fmla="*/ 1472952 h 2673102"/>
                  <a:gd name="connsiteX51" fmla="*/ 293096 w 1739754"/>
                  <a:gd name="connsiteY51" fmla="*/ 1492002 h 2673102"/>
                  <a:gd name="connsiteX52" fmla="*/ 383583 w 1739754"/>
                  <a:gd name="connsiteY52" fmla="*/ 1525339 h 2673102"/>
                  <a:gd name="connsiteX53" fmla="*/ 407396 w 1739754"/>
                  <a:gd name="connsiteY53" fmla="*/ 1492002 h 2673102"/>
                  <a:gd name="connsiteX54" fmla="*/ 412158 w 1739754"/>
                  <a:gd name="connsiteY54" fmla="*/ 1468189 h 2673102"/>
                  <a:gd name="connsiteX55" fmla="*/ 416921 w 1739754"/>
                  <a:gd name="connsiteY55" fmla="*/ 1449139 h 2673102"/>
                  <a:gd name="connsiteX56" fmla="*/ 445496 w 1739754"/>
                  <a:gd name="connsiteY56" fmla="*/ 1439614 h 2673102"/>
                  <a:gd name="connsiteX57" fmla="*/ 545508 w 1739754"/>
                  <a:gd name="connsiteY57" fmla="*/ 1458664 h 2673102"/>
                  <a:gd name="connsiteX58" fmla="*/ 555033 w 1739754"/>
                  <a:gd name="connsiteY58" fmla="*/ 1482477 h 2673102"/>
                  <a:gd name="connsiteX59" fmla="*/ 564558 w 1739754"/>
                  <a:gd name="connsiteY59" fmla="*/ 1515814 h 2673102"/>
                  <a:gd name="connsiteX60" fmla="*/ 550271 w 1739754"/>
                  <a:gd name="connsiteY60" fmla="*/ 1534864 h 2673102"/>
                  <a:gd name="connsiteX61" fmla="*/ 550271 w 1739754"/>
                  <a:gd name="connsiteY61" fmla="*/ 1601539 h 2673102"/>
                  <a:gd name="connsiteX62" fmla="*/ 559796 w 1739754"/>
                  <a:gd name="connsiteY62" fmla="*/ 1620589 h 2673102"/>
                  <a:gd name="connsiteX63" fmla="*/ 626471 w 1739754"/>
                  <a:gd name="connsiteY63" fmla="*/ 1639639 h 2673102"/>
                  <a:gd name="connsiteX64" fmla="*/ 645521 w 1739754"/>
                  <a:gd name="connsiteY64" fmla="*/ 1592014 h 2673102"/>
                  <a:gd name="connsiteX65" fmla="*/ 702671 w 1739754"/>
                  <a:gd name="connsiteY65" fmla="*/ 1620589 h 2673102"/>
                  <a:gd name="connsiteX66" fmla="*/ 731246 w 1739754"/>
                  <a:gd name="connsiteY66" fmla="*/ 1630114 h 2673102"/>
                  <a:gd name="connsiteX67" fmla="*/ 783633 w 1739754"/>
                  <a:gd name="connsiteY67" fmla="*/ 1663452 h 2673102"/>
                  <a:gd name="connsiteX68" fmla="*/ 859833 w 1739754"/>
                  <a:gd name="connsiteY68" fmla="*/ 1687264 h 2673102"/>
                  <a:gd name="connsiteX69" fmla="*/ 878883 w 1739754"/>
                  <a:gd name="connsiteY69" fmla="*/ 1701552 h 2673102"/>
                  <a:gd name="connsiteX70" fmla="*/ 888408 w 1739754"/>
                  <a:gd name="connsiteY70" fmla="*/ 1739652 h 2673102"/>
                  <a:gd name="connsiteX71" fmla="*/ 897933 w 1739754"/>
                  <a:gd name="connsiteY71" fmla="*/ 1782514 h 2673102"/>
                  <a:gd name="connsiteX72" fmla="*/ 940796 w 1739754"/>
                  <a:gd name="connsiteY72" fmla="*/ 1892052 h 2673102"/>
                  <a:gd name="connsiteX73" fmla="*/ 950321 w 1739754"/>
                  <a:gd name="connsiteY73" fmla="*/ 1906339 h 2673102"/>
                  <a:gd name="connsiteX74" fmla="*/ 959846 w 1739754"/>
                  <a:gd name="connsiteY74" fmla="*/ 1939677 h 2673102"/>
                  <a:gd name="connsiteX75" fmla="*/ 974133 w 1739754"/>
                  <a:gd name="connsiteY75" fmla="*/ 1977777 h 2673102"/>
                  <a:gd name="connsiteX76" fmla="*/ 964608 w 1739754"/>
                  <a:gd name="connsiteY76" fmla="*/ 2082552 h 2673102"/>
                  <a:gd name="connsiteX77" fmla="*/ 955083 w 1739754"/>
                  <a:gd name="connsiteY77" fmla="*/ 2101602 h 2673102"/>
                  <a:gd name="connsiteX78" fmla="*/ 926508 w 1739754"/>
                  <a:gd name="connsiteY78" fmla="*/ 2144464 h 2673102"/>
                  <a:gd name="connsiteX79" fmla="*/ 907458 w 1739754"/>
                  <a:gd name="connsiteY79" fmla="*/ 2192089 h 2673102"/>
                  <a:gd name="connsiteX80" fmla="*/ 902696 w 1739754"/>
                  <a:gd name="connsiteY80" fmla="*/ 2211139 h 2673102"/>
                  <a:gd name="connsiteX81" fmla="*/ 893171 w 1739754"/>
                  <a:gd name="connsiteY81" fmla="*/ 2239714 h 2673102"/>
                  <a:gd name="connsiteX82" fmla="*/ 897933 w 1739754"/>
                  <a:gd name="connsiteY82" fmla="*/ 2287339 h 2673102"/>
                  <a:gd name="connsiteX83" fmla="*/ 893171 w 1739754"/>
                  <a:gd name="connsiteY83" fmla="*/ 2396877 h 2673102"/>
                  <a:gd name="connsiteX84" fmla="*/ 688383 w 1739754"/>
                  <a:gd name="connsiteY84" fmla="*/ 2449264 h 2673102"/>
                  <a:gd name="connsiteX85" fmla="*/ 655046 w 1739754"/>
                  <a:gd name="connsiteY85" fmla="*/ 2473077 h 2673102"/>
                  <a:gd name="connsiteX86" fmla="*/ 607421 w 1739754"/>
                  <a:gd name="connsiteY86" fmla="*/ 2511177 h 2673102"/>
                  <a:gd name="connsiteX87" fmla="*/ 574083 w 1739754"/>
                  <a:gd name="connsiteY87" fmla="*/ 2534989 h 2673102"/>
                  <a:gd name="connsiteX88" fmla="*/ 540746 w 1739754"/>
                  <a:gd name="connsiteY88" fmla="*/ 2554039 h 2673102"/>
                  <a:gd name="connsiteX89" fmla="*/ 497883 w 1739754"/>
                  <a:gd name="connsiteY89" fmla="*/ 2587377 h 2673102"/>
                  <a:gd name="connsiteX90" fmla="*/ 483596 w 1739754"/>
                  <a:gd name="connsiteY90" fmla="*/ 2601664 h 2673102"/>
                  <a:gd name="connsiteX91" fmla="*/ 459783 w 1739754"/>
                  <a:gd name="connsiteY91" fmla="*/ 2620714 h 2673102"/>
                  <a:gd name="connsiteX92" fmla="*/ 450258 w 1739754"/>
                  <a:gd name="connsiteY92" fmla="*/ 2635002 h 2673102"/>
                  <a:gd name="connsiteX93" fmla="*/ 416921 w 1739754"/>
                  <a:gd name="connsiteY93" fmla="*/ 2654052 h 2673102"/>
                  <a:gd name="connsiteX94" fmla="*/ 374058 w 1739754"/>
                  <a:gd name="connsiteY94" fmla="*/ 2673102 h 2673102"/>
                  <a:gd name="connsiteX95" fmla="*/ 359771 w 1739754"/>
                  <a:gd name="connsiteY95" fmla="*/ 2663577 h 2673102"/>
                  <a:gd name="connsiteX96" fmla="*/ 345483 w 1739754"/>
                  <a:gd name="connsiteY96" fmla="*/ 2635002 h 2673102"/>
                  <a:gd name="connsiteX97" fmla="*/ 335958 w 1739754"/>
                  <a:gd name="connsiteY97" fmla="*/ 2620714 h 2673102"/>
                  <a:gd name="connsiteX98" fmla="*/ 297858 w 1739754"/>
                  <a:gd name="connsiteY98" fmla="*/ 2611189 h 2673102"/>
                  <a:gd name="connsiteX99" fmla="*/ 278808 w 1739754"/>
                  <a:gd name="connsiteY99" fmla="*/ 2592139 h 2673102"/>
                  <a:gd name="connsiteX100" fmla="*/ 274046 w 1739754"/>
                  <a:gd name="connsiteY100" fmla="*/ 2573089 h 2673102"/>
                  <a:gd name="connsiteX101" fmla="*/ 235946 w 1739754"/>
                  <a:gd name="connsiteY101" fmla="*/ 2539752 h 2673102"/>
                  <a:gd name="connsiteX102" fmla="*/ 231183 w 1739754"/>
                  <a:gd name="connsiteY102" fmla="*/ 2525464 h 2673102"/>
                  <a:gd name="connsiteX103" fmla="*/ 226421 w 1739754"/>
                  <a:gd name="connsiteY103" fmla="*/ 2506414 h 2673102"/>
                  <a:gd name="connsiteX104" fmla="*/ 212133 w 1739754"/>
                  <a:gd name="connsiteY104" fmla="*/ 2492127 h 2673102"/>
                  <a:gd name="connsiteX105" fmla="*/ 154983 w 1739754"/>
                  <a:gd name="connsiteY105" fmla="*/ 2439739 h 2673102"/>
                  <a:gd name="connsiteX106" fmla="*/ 150221 w 1739754"/>
                  <a:gd name="connsiteY106" fmla="*/ 2415927 h 2673102"/>
                  <a:gd name="connsiteX107" fmla="*/ 135933 w 1739754"/>
                  <a:gd name="connsiteY107" fmla="*/ 2358777 h 2673102"/>
                  <a:gd name="connsiteX108" fmla="*/ 121646 w 1739754"/>
                  <a:gd name="connsiteY108" fmla="*/ 2315914 h 2673102"/>
                  <a:gd name="connsiteX109" fmla="*/ 107358 w 1739754"/>
                  <a:gd name="connsiteY109" fmla="*/ 2258764 h 2673102"/>
                  <a:gd name="connsiteX110" fmla="*/ 102596 w 1739754"/>
                  <a:gd name="connsiteY110" fmla="*/ 2234952 h 2673102"/>
                  <a:gd name="connsiteX111" fmla="*/ 93071 w 1739754"/>
                  <a:gd name="connsiteY111" fmla="*/ 2211139 h 2673102"/>
                  <a:gd name="connsiteX112" fmla="*/ 88308 w 1739754"/>
                  <a:gd name="connsiteY112" fmla="*/ 2187327 h 2673102"/>
                  <a:gd name="connsiteX113" fmla="*/ 78783 w 1739754"/>
                  <a:gd name="connsiteY113" fmla="*/ 2111127 h 2673102"/>
                  <a:gd name="connsiteX114" fmla="*/ 97833 w 1739754"/>
                  <a:gd name="connsiteY114" fmla="*/ 1944439 h 2673102"/>
                  <a:gd name="connsiteX115" fmla="*/ 107358 w 1739754"/>
                  <a:gd name="connsiteY115" fmla="*/ 1930152 h 2673102"/>
                  <a:gd name="connsiteX116" fmla="*/ 126408 w 1739754"/>
                  <a:gd name="connsiteY116" fmla="*/ 1901577 h 2673102"/>
                  <a:gd name="connsiteX117" fmla="*/ 135933 w 1739754"/>
                  <a:gd name="connsiteY117" fmla="*/ 1868239 h 2673102"/>
                  <a:gd name="connsiteX118" fmla="*/ 131171 w 1739754"/>
                  <a:gd name="connsiteY118" fmla="*/ 1825377 h 2673102"/>
                  <a:gd name="connsiteX119" fmla="*/ 112121 w 1739754"/>
                  <a:gd name="connsiteY119" fmla="*/ 1820614 h 2673102"/>
                  <a:gd name="connsiteX120" fmla="*/ 102596 w 1739754"/>
                  <a:gd name="connsiteY120" fmla="*/ 1806327 h 2673102"/>
                  <a:gd name="connsiteX121" fmla="*/ 145458 w 1739754"/>
                  <a:gd name="connsiteY121" fmla="*/ 1720602 h 2673102"/>
                  <a:gd name="connsiteX122" fmla="*/ 159746 w 1739754"/>
                  <a:gd name="connsiteY122" fmla="*/ 1715839 h 2673102"/>
                  <a:gd name="connsiteX123" fmla="*/ 174033 w 1739754"/>
                  <a:gd name="connsiteY123" fmla="*/ 1696789 h 2673102"/>
                  <a:gd name="connsiteX124" fmla="*/ 188321 w 1739754"/>
                  <a:gd name="connsiteY124" fmla="*/ 1687264 h 2673102"/>
                  <a:gd name="connsiteX125" fmla="*/ 202608 w 1739754"/>
                  <a:gd name="connsiteY125" fmla="*/ 1653927 h 2673102"/>
                  <a:gd name="connsiteX126" fmla="*/ 193083 w 1739754"/>
                  <a:gd name="connsiteY126" fmla="*/ 1606302 h 2673102"/>
                  <a:gd name="connsiteX127" fmla="*/ 164508 w 1739754"/>
                  <a:gd name="connsiteY127" fmla="*/ 1596777 h 2673102"/>
                  <a:gd name="connsiteX128" fmla="*/ 154983 w 1739754"/>
                  <a:gd name="connsiteY128" fmla="*/ 1549152 h 2673102"/>
                  <a:gd name="connsiteX129" fmla="*/ 150221 w 1739754"/>
                  <a:gd name="connsiteY129" fmla="*/ 1411039 h 2673102"/>
                  <a:gd name="connsiteX130" fmla="*/ 140696 w 1739754"/>
                  <a:gd name="connsiteY130" fmla="*/ 1377702 h 2673102"/>
                  <a:gd name="connsiteX131" fmla="*/ 121646 w 1739754"/>
                  <a:gd name="connsiteY131" fmla="*/ 1311027 h 2673102"/>
                  <a:gd name="connsiteX132" fmla="*/ 116883 w 1739754"/>
                  <a:gd name="connsiteY132" fmla="*/ 1258639 h 2673102"/>
                  <a:gd name="connsiteX133" fmla="*/ 107358 w 1739754"/>
                  <a:gd name="connsiteY133" fmla="*/ 1244352 h 2673102"/>
                  <a:gd name="connsiteX134" fmla="*/ 93071 w 1739754"/>
                  <a:gd name="connsiteY134" fmla="*/ 1196727 h 2673102"/>
                  <a:gd name="connsiteX135" fmla="*/ 78783 w 1739754"/>
                  <a:gd name="connsiteY135" fmla="*/ 1177677 h 2673102"/>
                  <a:gd name="connsiteX136" fmla="*/ 59733 w 1739754"/>
                  <a:gd name="connsiteY136" fmla="*/ 1139577 h 2673102"/>
                  <a:gd name="connsiteX137" fmla="*/ 50208 w 1739754"/>
                  <a:gd name="connsiteY137" fmla="*/ 1111002 h 2673102"/>
                  <a:gd name="connsiteX138" fmla="*/ 45446 w 1739754"/>
                  <a:gd name="connsiteY138" fmla="*/ 1096714 h 2673102"/>
                  <a:gd name="connsiteX139" fmla="*/ 21633 w 1739754"/>
                  <a:gd name="connsiteY139" fmla="*/ 1025277 h 2673102"/>
                  <a:gd name="connsiteX140" fmla="*/ 202 w 1739754"/>
                  <a:gd name="connsiteY140" fmla="*/ 980033 h 2673102"/>
                  <a:gd name="connsiteX141" fmla="*/ 14490 w 1739754"/>
                  <a:gd name="connsiteY141" fmla="*/ 930027 h 2673102"/>
                  <a:gd name="connsiteX142" fmla="*/ 69259 w 1739754"/>
                  <a:gd name="connsiteY142" fmla="*/ 810964 h 2673102"/>
                  <a:gd name="connsiteX143" fmla="*/ 221658 w 1739754"/>
                  <a:gd name="connsiteY143" fmla="*/ 601414 h 2673102"/>
                  <a:gd name="connsiteX144" fmla="*/ 288333 w 1739754"/>
                  <a:gd name="connsiteY144" fmla="*/ 515689 h 2673102"/>
                  <a:gd name="connsiteX145" fmla="*/ 412158 w 1739754"/>
                  <a:gd name="connsiteY145" fmla="*/ 406152 h 2673102"/>
                  <a:gd name="connsiteX146" fmla="*/ 535983 w 1739754"/>
                  <a:gd name="connsiteY146" fmla="*/ 291851 h 2673102"/>
                  <a:gd name="connsiteX147" fmla="*/ 640758 w 1739754"/>
                  <a:gd name="connsiteY147" fmla="*/ 229939 h 2673102"/>
                  <a:gd name="connsiteX148" fmla="*/ 733628 w 1739754"/>
                  <a:gd name="connsiteY148" fmla="*/ 168026 h 2673102"/>
                  <a:gd name="connsiteX149" fmla="*/ 978896 w 1739754"/>
                  <a:gd name="connsiteY149" fmla="*/ 63251 h 2673102"/>
                  <a:gd name="connsiteX150" fmla="*/ 1159871 w 1739754"/>
                  <a:gd name="connsiteY150" fmla="*/ 6102 h 2673102"/>
                  <a:gd name="connsiteX151" fmla="*/ 1202733 w 1739754"/>
                  <a:gd name="connsiteY15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307383 w 1739754"/>
                  <a:gd name="connsiteY37" fmla="*/ 910977 h 2673102"/>
                  <a:gd name="connsiteX38" fmla="*/ 283571 w 1739754"/>
                  <a:gd name="connsiteY38" fmla="*/ 949077 h 2673102"/>
                  <a:gd name="connsiteX39" fmla="*/ 269283 w 1739754"/>
                  <a:gd name="connsiteY39" fmla="*/ 987177 h 2673102"/>
                  <a:gd name="connsiteX40" fmla="*/ 264521 w 1739754"/>
                  <a:gd name="connsiteY40" fmla="*/ 1039564 h 2673102"/>
                  <a:gd name="connsiteX41" fmla="*/ 264521 w 1739754"/>
                  <a:gd name="connsiteY41" fmla="*/ 1120527 h 2673102"/>
                  <a:gd name="connsiteX42" fmla="*/ 297858 w 1739754"/>
                  <a:gd name="connsiteY42" fmla="*/ 1153864 h 2673102"/>
                  <a:gd name="connsiteX43" fmla="*/ 326433 w 1739754"/>
                  <a:gd name="connsiteY43" fmla="*/ 1163389 h 2673102"/>
                  <a:gd name="connsiteX44" fmla="*/ 326433 w 1739754"/>
                  <a:gd name="connsiteY44" fmla="*/ 1244352 h 2673102"/>
                  <a:gd name="connsiteX45" fmla="*/ 312146 w 1739754"/>
                  <a:gd name="connsiteY45" fmla="*/ 1258639 h 2673102"/>
                  <a:gd name="connsiteX46" fmla="*/ 259758 w 1739754"/>
                  <a:gd name="connsiteY46" fmla="*/ 1296739 h 2673102"/>
                  <a:gd name="connsiteX47" fmla="*/ 240708 w 1739754"/>
                  <a:gd name="connsiteY47" fmla="*/ 1325314 h 2673102"/>
                  <a:gd name="connsiteX48" fmla="*/ 250233 w 1739754"/>
                  <a:gd name="connsiteY48" fmla="*/ 1425327 h 2673102"/>
                  <a:gd name="connsiteX49" fmla="*/ 278808 w 1739754"/>
                  <a:gd name="connsiteY49" fmla="*/ 1472952 h 2673102"/>
                  <a:gd name="connsiteX50" fmla="*/ 293096 w 1739754"/>
                  <a:gd name="connsiteY50" fmla="*/ 1492002 h 2673102"/>
                  <a:gd name="connsiteX51" fmla="*/ 383583 w 1739754"/>
                  <a:gd name="connsiteY51" fmla="*/ 1525339 h 2673102"/>
                  <a:gd name="connsiteX52" fmla="*/ 407396 w 1739754"/>
                  <a:gd name="connsiteY52" fmla="*/ 1492002 h 2673102"/>
                  <a:gd name="connsiteX53" fmla="*/ 412158 w 1739754"/>
                  <a:gd name="connsiteY53" fmla="*/ 1468189 h 2673102"/>
                  <a:gd name="connsiteX54" fmla="*/ 416921 w 1739754"/>
                  <a:gd name="connsiteY54" fmla="*/ 1449139 h 2673102"/>
                  <a:gd name="connsiteX55" fmla="*/ 445496 w 1739754"/>
                  <a:gd name="connsiteY55" fmla="*/ 1439614 h 2673102"/>
                  <a:gd name="connsiteX56" fmla="*/ 545508 w 1739754"/>
                  <a:gd name="connsiteY56" fmla="*/ 1458664 h 2673102"/>
                  <a:gd name="connsiteX57" fmla="*/ 555033 w 1739754"/>
                  <a:gd name="connsiteY57" fmla="*/ 1482477 h 2673102"/>
                  <a:gd name="connsiteX58" fmla="*/ 564558 w 1739754"/>
                  <a:gd name="connsiteY58" fmla="*/ 1515814 h 2673102"/>
                  <a:gd name="connsiteX59" fmla="*/ 550271 w 1739754"/>
                  <a:gd name="connsiteY59" fmla="*/ 1534864 h 2673102"/>
                  <a:gd name="connsiteX60" fmla="*/ 550271 w 1739754"/>
                  <a:gd name="connsiteY60" fmla="*/ 1601539 h 2673102"/>
                  <a:gd name="connsiteX61" fmla="*/ 559796 w 1739754"/>
                  <a:gd name="connsiteY61" fmla="*/ 1620589 h 2673102"/>
                  <a:gd name="connsiteX62" fmla="*/ 626471 w 1739754"/>
                  <a:gd name="connsiteY62" fmla="*/ 1639639 h 2673102"/>
                  <a:gd name="connsiteX63" fmla="*/ 645521 w 1739754"/>
                  <a:gd name="connsiteY63" fmla="*/ 1592014 h 2673102"/>
                  <a:gd name="connsiteX64" fmla="*/ 702671 w 1739754"/>
                  <a:gd name="connsiteY64" fmla="*/ 1620589 h 2673102"/>
                  <a:gd name="connsiteX65" fmla="*/ 731246 w 1739754"/>
                  <a:gd name="connsiteY65" fmla="*/ 1630114 h 2673102"/>
                  <a:gd name="connsiteX66" fmla="*/ 783633 w 1739754"/>
                  <a:gd name="connsiteY66" fmla="*/ 1663452 h 2673102"/>
                  <a:gd name="connsiteX67" fmla="*/ 859833 w 1739754"/>
                  <a:gd name="connsiteY67" fmla="*/ 1687264 h 2673102"/>
                  <a:gd name="connsiteX68" fmla="*/ 878883 w 1739754"/>
                  <a:gd name="connsiteY68" fmla="*/ 1701552 h 2673102"/>
                  <a:gd name="connsiteX69" fmla="*/ 888408 w 1739754"/>
                  <a:gd name="connsiteY69" fmla="*/ 1739652 h 2673102"/>
                  <a:gd name="connsiteX70" fmla="*/ 897933 w 1739754"/>
                  <a:gd name="connsiteY70" fmla="*/ 1782514 h 2673102"/>
                  <a:gd name="connsiteX71" fmla="*/ 940796 w 1739754"/>
                  <a:gd name="connsiteY71" fmla="*/ 1892052 h 2673102"/>
                  <a:gd name="connsiteX72" fmla="*/ 950321 w 1739754"/>
                  <a:gd name="connsiteY72" fmla="*/ 1906339 h 2673102"/>
                  <a:gd name="connsiteX73" fmla="*/ 959846 w 1739754"/>
                  <a:gd name="connsiteY73" fmla="*/ 1939677 h 2673102"/>
                  <a:gd name="connsiteX74" fmla="*/ 974133 w 1739754"/>
                  <a:gd name="connsiteY74" fmla="*/ 1977777 h 2673102"/>
                  <a:gd name="connsiteX75" fmla="*/ 964608 w 1739754"/>
                  <a:gd name="connsiteY75" fmla="*/ 2082552 h 2673102"/>
                  <a:gd name="connsiteX76" fmla="*/ 955083 w 1739754"/>
                  <a:gd name="connsiteY76" fmla="*/ 2101602 h 2673102"/>
                  <a:gd name="connsiteX77" fmla="*/ 926508 w 1739754"/>
                  <a:gd name="connsiteY77" fmla="*/ 2144464 h 2673102"/>
                  <a:gd name="connsiteX78" fmla="*/ 907458 w 1739754"/>
                  <a:gd name="connsiteY78" fmla="*/ 2192089 h 2673102"/>
                  <a:gd name="connsiteX79" fmla="*/ 902696 w 1739754"/>
                  <a:gd name="connsiteY79" fmla="*/ 2211139 h 2673102"/>
                  <a:gd name="connsiteX80" fmla="*/ 893171 w 1739754"/>
                  <a:gd name="connsiteY80" fmla="*/ 2239714 h 2673102"/>
                  <a:gd name="connsiteX81" fmla="*/ 897933 w 1739754"/>
                  <a:gd name="connsiteY81" fmla="*/ 2287339 h 2673102"/>
                  <a:gd name="connsiteX82" fmla="*/ 893171 w 1739754"/>
                  <a:gd name="connsiteY82" fmla="*/ 2396877 h 2673102"/>
                  <a:gd name="connsiteX83" fmla="*/ 688383 w 1739754"/>
                  <a:gd name="connsiteY83" fmla="*/ 2449264 h 2673102"/>
                  <a:gd name="connsiteX84" fmla="*/ 655046 w 1739754"/>
                  <a:gd name="connsiteY84" fmla="*/ 2473077 h 2673102"/>
                  <a:gd name="connsiteX85" fmla="*/ 607421 w 1739754"/>
                  <a:gd name="connsiteY85" fmla="*/ 2511177 h 2673102"/>
                  <a:gd name="connsiteX86" fmla="*/ 574083 w 1739754"/>
                  <a:gd name="connsiteY86" fmla="*/ 2534989 h 2673102"/>
                  <a:gd name="connsiteX87" fmla="*/ 540746 w 1739754"/>
                  <a:gd name="connsiteY87" fmla="*/ 2554039 h 2673102"/>
                  <a:gd name="connsiteX88" fmla="*/ 497883 w 1739754"/>
                  <a:gd name="connsiteY88" fmla="*/ 2587377 h 2673102"/>
                  <a:gd name="connsiteX89" fmla="*/ 483596 w 1739754"/>
                  <a:gd name="connsiteY89" fmla="*/ 2601664 h 2673102"/>
                  <a:gd name="connsiteX90" fmla="*/ 459783 w 1739754"/>
                  <a:gd name="connsiteY90" fmla="*/ 2620714 h 2673102"/>
                  <a:gd name="connsiteX91" fmla="*/ 450258 w 1739754"/>
                  <a:gd name="connsiteY91" fmla="*/ 2635002 h 2673102"/>
                  <a:gd name="connsiteX92" fmla="*/ 416921 w 1739754"/>
                  <a:gd name="connsiteY92" fmla="*/ 2654052 h 2673102"/>
                  <a:gd name="connsiteX93" fmla="*/ 374058 w 1739754"/>
                  <a:gd name="connsiteY93" fmla="*/ 2673102 h 2673102"/>
                  <a:gd name="connsiteX94" fmla="*/ 359771 w 1739754"/>
                  <a:gd name="connsiteY94" fmla="*/ 2663577 h 2673102"/>
                  <a:gd name="connsiteX95" fmla="*/ 345483 w 1739754"/>
                  <a:gd name="connsiteY95" fmla="*/ 2635002 h 2673102"/>
                  <a:gd name="connsiteX96" fmla="*/ 335958 w 1739754"/>
                  <a:gd name="connsiteY96" fmla="*/ 2620714 h 2673102"/>
                  <a:gd name="connsiteX97" fmla="*/ 297858 w 1739754"/>
                  <a:gd name="connsiteY97" fmla="*/ 2611189 h 2673102"/>
                  <a:gd name="connsiteX98" fmla="*/ 278808 w 1739754"/>
                  <a:gd name="connsiteY98" fmla="*/ 2592139 h 2673102"/>
                  <a:gd name="connsiteX99" fmla="*/ 274046 w 1739754"/>
                  <a:gd name="connsiteY99" fmla="*/ 2573089 h 2673102"/>
                  <a:gd name="connsiteX100" fmla="*/ 235946 w 1739754"/>
                  <a:gd name="connsiteY100" fmla="*/ 2539752 h 2673102"/>
                  <a:gd name="connsiteX101" fmla="*/ 231183 w 1739754"/>
                  <a:gd name="connsiteY101" fmla="*/ 2525464 h 2673102"/>
                  <a:gd name="connsiteX102" fmla="*/ 226421 w 1739754"/>
                  <a:gd name="connsiteY102" fmla="*/ 2506414 h 2673102"/>
                  <a:gd name="connsiteX103" fmla="*/ 212133 w 1739754"/>
                  <a:gd name="connsiteY103" fmla="*/ 2492127 h 2673102"/>
                  <a:gd name="connsiteX104" fmla="*/ 154983 w 1739754"/>
                  <a:gd name="connsiteY104" fmla="*/ 2439739 h 2673102"/>
                  <a:gd name="connsiteX105" fmla="*/ 150221 w 1739754"/>
                  <a:gd name="connsiteY105" fmla="*/ 2415927 h 2673102"/>
                  <a:gd name="connsiteX106" fmla="*/ 135933 w 1739754"/>
                  <a:gd name="connsiteY106" fmla="*/ 2358777 h 2673102"/>
                  <a:gd name="connsiteX107" fmla="*/ 121646 w 1739754"/>
                  <a:gd name="connsiteY107" fmla="*/ 2315914 h 2673102"/>
                  <a:gd name="connsiteX108" fmla="*/ 107358 w 1739754"/>
                  <a:gd name="connsiteY108" fmla="*/ 2258764 h 2673102"/>
                  <a:gd name="connsiteX109" fmla="*/ 102596 w 1739754"/>
                  <a:gd name="connsiteY109" fmla="*/ 2234952 h 2673102"/>
                  <a:gd name="connsiteX110" fmla="*/ 93071 w 1739754"/>
                  <a:gd name="connsiteY110" fmla="*/ 2211139 h 2673102"/>
                  <a:gd name="connsiteX111" fmla="*/ 88308 w 1739754"/>
                  <a:gd name="connsiteY111" fmla="*/ 2187327 h 2673102"/>
                  <a:gd name="connsiteX112" fmla="*/ 78783 w 1739754"/>
                  <a:gd name="connsiteY112" fmla="*/ 2111127 h 2673102"/>
                  <a:gd name="connsiteX113" fmla="*/ 97833 w 1739754"/>
                  <a:gd name="connsiteY113" fmla="*/ 1944439 h 2673102"/>
                  <a:gd name="connsiteX114" fmla="*/ 107358 w 1739754"/>
                  <a:gd name="connsiteY114" fmla="*/ 1930152 h 2673102"/>
                  <a:gd name="connsiteX115" fmla="*/ 126408 w 1739754"/>
                  <a:gd name="connsiteY115" fmla="*/ 1901577 h 2673102"/>
                  <a:gd name="connsiteX116" fmla="*/ 135933 w 1739754"/>
                  <a:gd name="connsiteY116" fmla="*/ 1868239 h 2673102"/>
                  <a:gd name="connsiteX117" fmla="*/ 131171 w 1739754"/>
                  <a:gd name="connsiteY117" fmla="*/ 1825377 h 2673102"/>
                  <a:gd name="connsiteX118" fmla="*/ 112121 w 1739754"/>
                  <a:gd name="connsiteY118" fmla="*/ 1820614 h 2673102"/>
                  <a:gd name="connsiteX119" fmla="*/ 102596 w 1739754"/>
                  <a:gd name="connsiteY119" fmla="*/ 1806327 h 2673102"/>
                  <a:gd name="connsiteX120" fmla="*/ 145458 w 1739754"/>
                  <a:gd name="connsiteY120" fmla="*/ 1720602 h 2673102"/>
                  <a:gd name="connsiteX121" fmla="*/ 159746 w 1739754"/>
                  <a:gd name="connsiteY121" fmla="*/ 1715839 h 2673102"/>
                  <a:gd name="connsiteX122" fmla="*/ 174033 w 1739754"/>
                  <a:gd name="connsiteY122" fmla="*/ 1696789 h 2673102"/>
                  <a:gd name="connsiteX123" fmla="*/ 188321 w 1739754"/>
                  <a:gd name="connsiteY123" fmla="*/ 1687264 h 2673102"/>
                  <a:gd name="connsiteX124" fmla="*/ 202608 w 1739754"/>
                  <a:gd name="connsiteY124" fmla="*/ 1653927 h 2673102"/>
                  <a:gd name="connsiteX125" fmla="*/ 193083 w 1739754"/>
                  <a:gd name="connsiteY125" fmla="*/ 1606302 h 2673102"/>
                  <a:gd name="connsiteX126" fmla="*/ 164508 w 1739754"/>
                  <a:gd name="connsiteY126" fmla="*/ 1596777 h 2673102"/>
                  <a:gd name="connsiteX127" fmla="*/ 154983 w 1739754"/>
                  <a:gd name="connsiteY127" fmla="*/ 1549152 h 2673102"/>
                  <a:gd name="connsiteX128" fmla="*/ 150221 w 1739754"/>
                  <a:gd name="connsiteY128" fmla="*/ 1411039 h 2673102"/>
                  <a:gd name="connsiteX129" fmla="*/ 140696 w 1739754"/>
                  <a:gd name="connsiteY129" fmla="*/ 1377702 h 2673102"/>
                  <a:gd name="connsiteX130" fmla="*/ 121646 w 1739754"/>
                  <a:gd name="connsiteY130" fmla="*/ 1311027 h 2673102"/>
                  <a:gd name="connsiteX131" fmla="*/ 116883 w 1739754"/>
                  <a:gd name="connsiteY131" fmla="*/ 1258639 h 2673102"/>
                  <a:gd name="connsiteX132" fmla="*/ 107358 w 1739754"/>
                  <a:gd name="connsiteY132" fmla="*/ 1244352 h 2673102"/>
                  <a:gd name="connsiteX133" fmla="*/ 93071 w 1739754"/>
                  <a:gd name="connsiteY133" fmla="*/ 1196727 h 2673102"/>
                  <a:gd name="connsiteX134" fmla="*/ 78783 w 1739754"/>
                  <a:gd name="connsiteY134" fmla="*/ 1177677 h 2673102"/>
                  <a:gd name="connsiteX135" fmla="*/ 59733 w 1739754"/>
                  <a:gd name="connsiteY135" fmla="*/ 1139577 h 2673102"/>
                  <a:gd name="connsiteX136" fmla="*/ 50208 w 1739754"/>
                  <a:gd name="connsiteY136" fmla="*/ 1111002 h 2673102"/>
                  <a:gd name="connsiteX137" fmla="*/ 45446 w 1739754"/>
                  <a:gd name="connsiteY137" fmla="*/ 1096714 h 2673102"/>
                  <a:gd name="connsiteX138" fmla="*/ 21633 w 1739754"/>
                  <a:gd name="connsiteY138" fmla="*/ 1025277 h 2673102"/>
                  <a:gd name="connsiteX139" fmla="*/ 202 w 1739754"/>
                  <a:gd name="connsiteY139" fmla="*/ 980033 h 2673102"/>
                  <a:gd name="connsiteX140" fmla="*/ 14490 w 1739754"/>
                  <a:gd name="connsiteY140" fmla="*/ 930027 h 2673102"/>
                  <a:gd name="connsiteX141" fmla="*/ 69259 w 1739754"/>
                  <a:gd name="connsiteY141" fmla="*/ 810964 h 2673102"/>
                  <a:gd name="connsiteX142" fmla="*/ 221658 w 1739754"/>
                  <a:gd name="connsiteY142" fmla="*/ 601414 h 2673102"/>
                  <a:gd name="connsiteX143" fmla="*/ 288333 w 1739754"/>
                  <a:gd name="connsiteY143" fmla="*/ 515689 h 2673102"/>
                  <a:gd name="connsiteX144" fmla="*/ 412158 w 1739754"/>
                  <a:gd name="connsiteY144" fmla="*/ 406152 h 2673102"/>
                  <a:gd name="connsiteX145" fmla="*/ 535983 w 1739754"/>
                  <a:gd name="connsiteY145" fmla="*/ 291851 h 2673102"/>
                  <a:gd name="connsiteX146" fmla="*/ 640758 w 1739754"/>
                  <a:gd name="connsiteY146" fmla="*/ 229939 h 2673102"/>
                  <a:gd name="connsiteX147" fmla="*/ 733628 w 1739754"/>
                  <a:gd name="connsiteY147" fmla="*/ 168026 h 2673102"/>
                  <a:gd name="connsiteX148" fmla="*/ 978896 w 1739754"/>
                  <a:gd name="connsiteY148" fmla="*/ 63251 h 2673102"/>
                  <a:gd name="connsiteX149" fmla="*/ 1159871 w 1739754"/>
                  <a:gd name="connsiteY149" fmla="*/ 6102 h 2673102"/>
                  <a:gd name="connsiteX150" fmla="*/ 1202733 w 1739754"/>
                  <a:gd name="connsiteY15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9283 w 1739754"/>
                  <a:gd name="connsiteY38" fmla="*/ 987177 h 2673102"/>
                  <a:gd name="connsiteX39" fmla="*/ 264521 w 1739754"/>
                  <a:gd name="connsiteY39" fmla="*/ 1039564 h 2673102"/>
                  <a:gd name="connsiteX40" fmla="*/ 264521 w 1739754"/>
                  <a:gd name="connsiteY40" fmla="*/ 1120527 h 2673102"/>
                  <a:gd name="connsiteX41" fmla="*/ 297858 w 1739754"/>
                  <a:gd name="connsiteY41" fmla="*/ 1153864 h 2673102"/>
                  <a:gd name="connsiteX42" fmla="*/ 326433 w 1739754"/>
                  <a:gd name="connsiteY42" fmla="*/ 1163389 h 2673102"/>
                  <a:gd name="connsiteX43" fmla="*/ 326433 w 1739754"/>
                  <a:gd name="connsiteY43" fmla="*/ 1244352 h 2673102"/>
                  <a:gd name="connsiteX44" fmla="*/ 312146 w 1739754"/>
                  <a:gd name="connsiteY44" fmla="*/ 1258639 h 2673102"/>
                  <a:gd name="connsiteX45" fmla="*/ 259758 w 1739754"/>
                  <a:gd name="connsiteY45" fmla="*/ 1296739 h 2673102"/>
                  <a:gd name="connsiteX46" fmla="*/ 240708 w 1739754"/>
                  <a:gd name="connsiteY46" fmla="*/ 1325314 h 2673102"/>
                  <a:gd name="connsiteX47" fmla="*/ 250233 w 1739754"/>
                  <a:gd name="connsiteY47" fmla="*/ 1425327 h 2673102"/>
                  <a:gd name="connsiteX48" fmla="*/ 278808 w 1739754"/>
                  <a:gd name="connsiteY48" fmla="*/ 1472952 h 2673102"/>
                  <a:gd name="connsiteX49" fmla="*/ 293096 w 1739754"/>
                  <a:gd name="connsiteY49" fmla="*/ 1492002 h 2673102"/>
                  <a:gd name="connsiteX50" fmla="*/ 383583 w 1739754"/>
                  <a:gd name="connsiteY50" fmla="*/ 1525339 h 2673102"/>
                  <a:gd name="connsiteX51" fmla="*/ 407396 w 1739754"/>
                  <a:gd name="connsiteY51" fmla="*/ 1492002 h 2673102"/>
                  <a:gd name="connsiteX52" fmla="*/ 412158 w 1739754"/>
                  <a:gd name="connsiteY52" fmla="*/ 1468189 h 2673102"/>
                  <a:gd name="connsiteX53" fmla="*/ 416921 w 1739754"/>
                  <a:gd name="connsiteY53" fmla="*/ 1449139 h 2673102"/>
                  <a:gd name="connsiteX54" fmla="*/ 445496 w 1739754"/>
                  <a:gd name="connsiteY54" fmla="*/ 1439614 h 2673102"/>
                  <a:gd name="connsiteX55" fmla="*/ 545508 w 1739754"/>
                  <a:gd name="connsiteY55" fmla="*/ 1458664 h 2673102"/>
                  <a:gd name="connsiteX56" fmla="*/ 555033 w 1739754"/>
                  <a:gd name="connsiteY56" fmla="*/ 1482477 h 2673102"/>
                  <a:gd name="connsiteX57" fmla="*/ 564558 w 1739754"/>
                  <a:gd name="connsiteY57" fmla="*/ 1515814 h 2673102"/>
                  <a:gd name="connsiteX58" fmla="*/ 550271 w 1739754"/>
                  <a:gd name="connsiteY58" fmla="*/ 1534864 h 2673102"/>
                  <a:gd name="connsiteX59" fmla="*/ 550271 w 1739754"/>
                  <a:gd name="connsiteY59" fmla="*/ 1601539 h 2673102"/>
                  <a:gd name="connsiteX60" fmla="*/ 559796 w 1739754"/>
                  <a:gd name="connsiteY60" fmla="*/ 1620589 h 2673102"/>
                  <a:gd name="connsiteX61" fmla="*/ 626471 w 1739754"/>
                  <a:gd name="connsiteY61" fmla="*/ 1639639 h 2673102"/>
                  <a:gd name="connsiteX62" fmla="*/ 645521 w 1739754"/>
                  <a:gd name="connsiteY62" fmla="*/ 1592014 h 2673102"/>
                  <a:gd name="connsiteX63" fmla="*/ 702671 w 1739754"/>
                  <a:gd name="connsiteY63" fmla="*/ 1620589 h 2673102"/>
                  <a:gd name="connsiteX64" fmla="*/ 731246 w 1739754"/>
                  <a:gd name="connsiteY64" fmla="*/ 1630114 h 2673102"/>
                  <a:gd name="connsiteX65" fmla="*/ 783633 w 1739754"/>
                  <a:gd name="connsiteY65" fmla="*/ 1663452 h 2673102"/>
                  <a:gd name="connsiteX66" fmla="*/ 859833 w 1739754"/>
                  <a:gd name="connsiteY66" fmla="*/ 1687264 h 2673102"/>
                  <a:gd name="connsiteX67" fmla="*/ 878883 w 1739754"/>
                  <a:gd name="connsiteY67" fmla="*/ 1701552 h 2673102"/>
                  <a:gd name="connsiteX68" fmla="*/ 888408 w 1739754"/>
                  <a:gd name="connsiteY68" fmla="*/ 1739652 h 2673102"/>
                  <a:gd name="connsiteX69" fmla="*/ 897933 w 1739754"/>
                  <a:gd name="connsiteY69" fmla="*/ 1782514 h 2673102"/>
                  <a:gd name="connsiteX70" fmla="*/ 940796 w 1739754"/>
                  <a:gd name="connsiteY70" fmla="*/ 1892052 h 2673102"/>
                  <a:gd name="connsiteX71" fmla="*/ 950321 w 1739754"/>
                  <a:gd name="connsiteY71" fmla="*/ 1906339 h 2673102"/>
                  <a:gd name="connsiteX72" fmla="*/ 959846 w 1739754"/>
                  <a:gd name="connsiteY72" fmla="*/ 1939677 h 2673102"/>
                  <a:gd name="connsiteX73" fmla="*/ 974133 w 1739754"/>
                  <a:gd name="connsiteY73" fmla="*/ 1977777 h 2673102"/>
                  <a:gd name="connsiteX74" fmla="*/ 964608 w 1739754"/>
                  <a:gd name="connsiteY74" fmla="*/ 2082552 h 2673102"/>
                  <a:gd name="connsiteX75" fmla="*/ 955083 w 1739754"/>
                  <a:gd name="connsiteY75" fmla="*/ 2101602 h 2673102"/>
                  <a:gd name="connsiteX76" fmla="*/ 926508 w 1739754"/>
                  <a:gd name="connsiteY76" fmla="*/ 2144464 h 2673102"/>
                  <a:gd name="connsiteX77" fmla="*/ 907458 w 1739754"/>
                  <a:gd name="connsiteY77" fmla="*/ 2192089 h 2673102"/>
                  <a:gd name="connsiteX78" fmla="*/ 902696 w 1739754"/>
                  <a:gd name="connsiteY78" fmla="*/ 2211139 h 2673102"/>
                  <a:gd name="connsiteX79" fmla="*/ 893171 w 1739754"/>
                  <a:gd name="connsiteY79" fmla="*/ 2239714 h 2673102"/>
                  <a:gd name="connsiteX80" fmla="*/ 897933 w 1739754"/>
                  <a:gd name="connsiteY80" fmla="*/ 2287339 h 2673102"/>
                  <a:gd name="connsiteX81" fmla="*/ 893171 w 1739754"/>
                  <a:gd name="connsiteY81" fmla="*/ 2396877 h 2673102"/>
                  <a:gd name="connsiteX82" fmla="*/ 688383 w 1739754"/>
                  <a:gd name="connsiteY82" fmla="*/ 2449264 h 2673102"/>
                  <a:gd name="connsiteX83" fmla="*/ 655046 w 1739754"/>
                  <a:gd name="connsiteY83" fmla="*/ 2473077 h 2673102"/>
                  <a:gd name="connsiteX84" fmla="*/ 607421 w 1739754"/>
                  <a:gd name="connsiteY84" fmla="*/ 2511177 h 2673102"/>
                  <a:gd name="connsiteX85" fmla="*/ 574083 w 1739754"/>
                  <a:gd name="connsiteY85" fmla="*/ 2534989 h 2673102"/>
                  <a:gd name="connsiteX86" fmla="*/ 540746 w 1739754"/>
                  <a:gd name="connsiteY86" fmla="*/ 2554039 h 2673102"/>
                  <a:gd name="connsiteX87" fmla="*/ 497883 w 1739754"/>
                  <a:gd name="connsiteY87" fmla="*/ 2587377 h 2673102"/>
                  <a:gd name="connsiteX88" fmla="*/ 483596 w 1739754"/>
                  <a:gd name="connsiteY88" fmla="*/ 2601664 h 2673102"/>
                  <a:gd name="connsiteX89" fmla="*/ 459783 w 1739754"/>
                  <a:gd name="connsiteY89" fmla="*/ 2620714 h 2673102"/>
                  <a:gd name="connsiteX90" fmla="*/ 450258 w 1739754"/>
                  <a:gd name="connsiteY90" fmla="*/ 2635002 h 2673102"/>
                  <a:gd name="connsiteX91" fmla="*/ 416921 w 1739754"/>
                  <a:gd name="connsiteY91" fmla="*/ 2654052 h 2673102"/>
                  <a:gd name="connsiteX92" fmla="*/ 374058 w 1739754"/>
                  <a:gd name="connsiteY92" fmla="*/ 2673102 h 2673102"/>
                  <a:gd name="connsiteX93" fmla="*/ 359771 w 1739754"/>
                  <a:gd name="connsiteY93" fmla="*/ 2663577 h 2673102"/>
                  <a:gd name="connsiteX94" fmla="*/ 345483 w 1739754"/>
                  <a:gd name="connsiteY94" fmla="*/ 2635002 h 2673102"/>
                  <a:gd name="connsiteX95" fmla="*/ 335958 w 1739754"/>
                  <a:gd name="connsiteY95" fmla="*/ 2620714 h 2673102"/>
                  <a:gd name="connsiteX96" fmla="*/ 297858 w 1739754"/>
                  <a:gd name="connsiteY96" fmla="*/ 2611189 h 2673102"/>
                  <a:gd name="connsiteX97" fmla="*/ 278808 w 1739754"/>
                  <a:gd name="connsiteY97" fmla="*/ 2592139 h 2673102"/>
                  <a:gd name="connsiteX98" fmla="*/ 274046 w 1739754"/>
                  <a:gd name="connsiteY98" fmla="*/ 2573089 h 2673102"/>
                  <a:gd name="connsiteX99" fmla="*/ 235946 w 1739754"/>
                  <a:gd name="connsiteY99" fmla="*/ 2539752 h 2673102"/>
                  <a:gd name="connsiteX100" fmla="*/ 231183 w 1739754"/>
                  <a:gd name="connsiteY100" fmla="*/ 2525464 h 2673102"/>
                  <a:gd name="connsiteX101" fmla="*/ 226421 w 1739754"/>
                  <a:gd name="connsiteY101" fmla="*/ 2506414 h 2673102"/>
                  <a:gd name="connsiteX102" fmla="*/ 212133 w 1739754"/>
                  <a:gd name="connsiteY102" fmla="*/ 2492127 h 2673102"/>
                  <a:gd name="connsiteX103" fmla="*/ 154983 w 1739754"/>
                  <a:gd name="connsiteY103" fmla="*/ 2439739 h 2673102"/>
                  <a:gd name="connsiteX104" fmla="*/ 150221 w 1739754"/>
                  <a:gd name="connsiteY104" fmla="*/ 2415927 h 2673102"/>
                  <a:gd name="connsiteX105" fmla="*/ 135933 w 1739754"/>
                  <a:gd name="connsiteY105" fmla="*/ 2358777 h 2673102"/>
                  <a:gd name="connsiteX106" fmla="*/ 121646 w 1739754"/>
                  <a:gd name="connsiteY106" fmla="*/ 2315914 h 2673102"/>
                  <a:gd name="connsiteX107" fmla="*/ 107358 w 1739754"/>
                  <a:gd name="connsiteY107" fmla="*/ 2258764 h 2673102"/>
                  <a:gd name="connsiteX108" fmla="*/ 102596 w 1739754"/>
                  <a:gd name="connsiteY108" fmla="*/ 2234952 h 2673102"/>
                  <a:gd name="connsiteX109" fmla="*/ 93071 w 1739754"/>
                  <a:gd name="connsiteY109" fmla="*/ 2211139 h 2673102"/>
                  <a:gd name="connsiteX110" fmla="*/ 88308 w 1739754"/>
                  <a:gd name="connsiteY110" fmla="*/ 2187327 h 2673102"/>
                  <a:gd name="connsiteX111" fmla="*/ 78783 w 1739754"/>
                  <a:gd name="connsiteY111" fmla="*/ 2111127 h 2673102"/>
                  <a:gd name="connsiteX112" fmla="*/ 97833 w 1739754"/>
                  <a:gd name="connsiteY112" fmla="*/ 1944439 h 2673102"/>
                  <a:gd name="connsiteX113" fmla="*/ 107358 w 1739754"/>
                  <a:gd name="connsiteY113" fmla="*/ 1930152 h 2673102"/>
                  <a:gd name="connsiteX114" fmla="*/ 126408 w 1739754"/>
                  <a:gd name="connsiteY114" fmla="*/ 1901577 h 2673102"/>
                  <a:gd name="connsiteX115" fmla="*/ 135933 w 1739754"/>
                  <a:gd name="connsiteY115" fmla="*/ 1868239 h 2673102"/>
                  <a:gd name="connsiteX116" fmla="*/ 131171 w 1739754"/>
                  <a:gd name="connsiteY116" fmla="*/ 1825377 h 2673102"/>
                  <a:gd name="connsiteX117" fmla="*/ 112121 w 1739754"/>
                  <a:gd name="connsiteY117" fmla="*/ 1820614 h 2673102"/>
                  <a:gd name="connsiteX118" fmla="*/ 102596 w 1739754"/>
                  <a:gd name="connsiteY118" fmla="*/ 1806327 h 2673102"/>
                  <a:gd name="connsiteX119" fmla="*/ 145458 w 1739754"/>
                  <a:gd name="connsiteY119" fmla="*/ 1720602 h 2673102"/>
                  <a:gd name="connsiteX120" fmla="*/ 159746 w 1739754"/>
                  <a:gd name="connsiteY120" fmla="*/ 1715839 h 2673102"/>
                  <a:gd name="connsiteX121" fmla="*/ 174033 w 1739754"/>
                  <a:gd name="connsiteY121" fmla="*/ 1696789 h 2673102"/>
                  <a:gd name="connsiteX122" fmla="*/ 188321 w 1739754"/>
                  <a:gd name="connsiteY122" fmla="*/ 1687264 h 2673102"/>
                  <a:gd name="connsiteX123" fmla="*/ 202608 w 1739754"/>
                  <a:gd name="connsiteY123" fmla="*/ 1653927 h 2673102"/>
                  <a:gd name="connsiteX124" fmla="*/ 193083 w 1739754"/>
                  <a:gd name="connsiteY124" fmla="*/ 1606302 h 2673102"/>
                  <a:gd name="connsiteX125" fmla="*/ 164508 w 1739754"/>
                  <a:gd name="connsiteY125" fmla="*/ 1596777 h 2673102"/>
                  <a:gd name="connsiteX126" fmla="*/ 154983 w 1739754"/>
                  <a:gd name="connsiteY126" fmla="*/ 1549152 h 2673102"/>
                  <a:gd name="connsiteX127" fmla="*/ 150221 w 1739754"/>
                  <a:gd name="connsiteY127" fmla="*/ 1411039 h 2673102"/>
                  <a:gd name="connsiteX128" fmla="*/ 140696 w 1739754"/>
                  <a:gd name="connsiteY128" fmla="*/ 1377702 h 2673102"/>
                  <a:gd name="connsiteX129" fmla="*/ 121646 w 1739754"/>
                  <a:gd name="connsiteY129" fmla="*/ 1311027 h 2673102"/>
                  <a:gd name="connsiteX130" fmla="*/ 116883 w 1739754"/>
                  <a:gd name="connsiteY130" fmla="*/ 1258639 h 2673102"/>
                  <a:gd name="connsiteX131" fmla="*/ 107358 w 1739754"/>
                  <a:gd name="connsiteY131" fmla="*/ 1244352 h 2673102"/>
                  <a:gd name="connsiteX132" fmla="*/ 93071 w 1739754"/>
                  <a:gd name="connsiteY132" fmla="*/ 1196727 h 2673102"/>
                  <a:gd name="connsiteX133" fmla="*/ 78783 w 1739754"/>
                  <a:gd name="connsiteY133" fmla="*/ 1177677 h 2673102"/>
                  <a:gd name="connsiteX134" fmla="*/ 59733 w 1739754"/>
                  <a:gd name="connsiteY134" fmla="*/ 1139577 h 2673102"/>
                  <a:gd name="connsiteX135" fmla="*/ 50208 w 1739754"/>
                  <a:gd name="connsiteY135" fmla="*/ 1111002 h 2673102"/>
                  <a:gd name="connsiteX136" fmla="*/ 45446 w 1739754"/>
                  <a:gd name="connsiteY136" fmla="*/ 1096714 h 2673102"/>
                  <a:gd name="connsiteX137" fmla="*/ 21633 w 1739754"/>
                  <a:gd name="connsiteY137" fmla="*/ 1025277 h 2673102"/>
                  <a:gd name="connsiteX138" fmla="*/ 202 w 1739754"/>
                  <a:gd name="connsiteY138" fmla="*/ 980033 h 2673102"/>
                  <a:gd name="connsiteX139" fmla="*/ 14490 w 1739754"/>
                  <a:gd name="connsiteY139" fmla="*/ 930027 h 2673102"/>
                  <a:gd name="connsiteX140" fmla="*/ 69259 w 1739754"/>
                  <a:gd name="connsiteY140" fmla="*/ 810964 h 2673102"/>
                  <a:gd name="connsiteX141" fmla="*/ 221658 w 1739754"/>
                  <a:gd name="connsiteY141" fmla="*/ 601414 h 2673102"/>
                  <a:gd name="connsiteX142" fmla="*/ 288333 w 1739754"/>
                  <a:gd name="connsiteY142" fmla="*/ 515689 h 2673102"/>
                  <a:gd name="connsiteX143" fmla="*/ 412158 w 1739754"/>
                  <a:gd name="connsiteY143" fmla="*/ 406152 h 2673102"/>
                  <a:gd name="connsiteX144" fmla="*/ 535983 w 1739754"/>
                  <a:gd name="connsiteY144" fmla="*/ 291851 h 2673102"/>
                  <a:gd name="connsiteX145" fmla="*/ 640758 w 1739754"/>
                  <a:gd name="connsiteY145" fmla="*/ 229939 h 2673102"/>
                  <a:gd name="connsiteX146" fmla="*/ 733628 w 1739754"/>
                  <a:gd name="connsiteY146" fmla="*/ 168026 h 2673102"/>
                  <a:gd name="connsiteX147" fmla="*/ 978896 w 1739754"/>
                  <a:gd name="connsiteY147" fmla="*/ 63251 h 2673102"/>
                  <a:gd name="connsiteX148" fmla="*/ 1159871 w 1739754"/>
                  <a:gd name="connsiteY148" fmla="*/ 6102 h 2673102"/>
                  <a:gd name="connsiteX149" fmla="*/ 1202733 w 1739754"/>
                  <a:gd name="connsiteY14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297858 w 1739754"/>
                  <a:gd name="connsiteY40" fmla="*/ 1153864 h 2673102"/>
                  <a:gd name="connsiteX41" fmla="*/ 326433 w 1739754"/>
                  <a:gd name="connsiteY41" fmla="*/ 1163389 h 2673102"/>
                  <a:gd name="connsiteX42" fmla="*/ 326433 w 1739754"/>
                  <a:gd name="connsiteY42" fmla="*/ 1244352 h 2673102"/>
                  <a:gd name="connsiteX43" fmla="*/ 312146 w 1739754"/>
                  <a:gd name="connsiteY43" fmla="*/ 1258639 h 2673102"/>
                  <a:gd name="connsiteX44" fmla="*/ 259758 w 1739754"/>
                  <a:gd name="connsiteY44" fmla="*/ 1296739 h 2673102"/>
                  <a:gd name="connsiteX45" fmla="*/ 240708 w 1739754"/>
                  <a:gd name="connsiteY45" fmla="*/ 1325314 h 2673102"/>
                  <a:gd name="connsiteX46" fmla="*/ 250233 w 1739754"/>
                  <a:gd name="connsiteY46" fmla="*/ 1425327 h 2673102"/>
                  <a:gd name="connsiteX47" fmla="*/ 278808 w 1739754"/>
                  <a:gd name="connsiteY47" fmla="*/ 1472952 h 2673102"/>
                  <a:gd name="connsiteX48" fmla="*/ 293096 w 1739754"/>
                  <a:gd name="connsiteY48" fmla="*/ 1492002 h 2673102"/>
                  <a:gd name="connsiteX49" fmla="*/ 383583 w 1739754"/>
                  <a:gd name="connsiteY49" fmla="*/ 1525339 h 2673102"/>
                  <a:gd name="connsiteX50" fmla="*/ 407396 w 1739754"/>
                  <a:gd name="connsiteY50" fmla="*/ 1492002 h 2673102"/>
                  <a:gd name="connsiteX51" fmla="*/ 412158 w 1739754"/>
                  <a:gd name="connsiteY51" fmla="*/ 1468189 h 2673102"/>
                  <a:gd name="connsiteX52" fmla="*/ 416921 w 1739754"/>
                  <a:gd name="connsiteY52" fmla="*/ 1449139 h 2673102"/>
                  <a:gd name="connsiteX53" fmla="*/ 445496 w 1739754"/>
                  <a:gd name="connsiteY53" fmla="*/ 1439614 h 2673102"/>
                  <a:gd name="connsiteX54" fmla="*/ 545508 w 1739754"/>
                  <a:gd name="connsiteY54" fmla="*/ 1458664 h 2673102"/>
                  <a:gd name="connsiteX55" fmla="*/ 555033 w 1739754"/>
                  <a:gd name="connsiteY55" fmla="*/ 1482477 h 2673102"/>
                  <a:gd name="connsiteX56" fmla="*/ 564558 w 1739754"/>
                  <a:gd name="connsiteY56" fmla="*/ 1515814 h 2673102"/>
                  <a:gd name="connsiteX57" fmla="*/ 550271 w 1739754"/>
                  <a:gd name="connsiteY57" fmla="*/ 1534864 h 2673102"/>
                  <a:gd name="connsiteX58" fmla="*/ 550271 w 1739754"/>
                  <a:gd name="connsiteY58" fmla="*/ 1601539 h 2673102"/>
                  <a:gd name="connsiteX59" fmla="*/ 559796 w 1739754"/>
                  <a:gd name="connsiteY59" fmla="*/ 1620589 h 2673102"/>
                  <a:gd name="connsiteX60" fmla="*/ 626471 w 1739754"/>
                  <a:gd name="connsiteY60" fmla="*/ 1639639 h 2673102"/>
                  <a:gd name="connsiteX61" fmla="*/ 645521 w 1739754"/>
                  <a:gd name="connsiteY61" fmla="*/ 1592014 h 2673102"/>
                  <a:gd name="connsiteX62" fmla="*/ 702671 w 1739754"/>
                  <a:gd name="connsiteY62" fmla="*/ 1620589 h 2673102"/>
                  <a:gd name="connsiteX63" fmla="*/ 731246 w 1739754"/>
                  <a:gd name="connsiteY63" fmla="*/ 1630114 h 2673102"/>
                  <a:gd name="connsiteX64" fmla="*/ 783633 w 1739754"/>
                  <a:gd name="connsiteY64" fmla="*/ 1663452 h 2673102"/>
                  <a:gd name="connsiteX65" fmla="*/ 859833 w 1739754"/>
                  <a:gd name="connsiteY65" fmla="*/ 1687264 h 2673102"/>
                  <a:gd name="connsiteX66" fmla="*/ 878883 w 1739754"/>
                  <a:gd name="connsiteY66" fmla="*/ 1701552 h 2673102"/>
                  <a:gd name="connsiteX67" fmla="*/ 888408 w 1739754"/>
                  <a:gd name="connsiteY67" fmla="*/ 1739652 h 2673102"/>
                  <a:gd name="connsiteX68" fmla="*/ 897933 w 1739754"/>
                  <a:gd name="connsiteY68" fmla="*/ 1782514 h 2673102"/>
                  <a:gd name="connsiteX69" fmla="*/ 940796 w 1739754"/>
                  <a:gd name="connsiteY69" fmla="*/ 1892052 h 2673102"/>
                  <a:gd name="connsiteX70" fmla="*/ 950321 w 1739754"/>
                  <a:gd name="connsiteY70" fmla="*/ 1906339 h 2673102"/>
                  <a:gd name="connsiteX71" fmla="*/ 959846 w 1739754"/>
                  <a:gd name="connsiteY71" fmla="*/ 1939677 h 2673102"/>
                  <a:gd name="connsiteX72" fmla="*/ 974133 w 1739754"/>
                  <a:gd name="connsiteY72" fmla="*/ 1977777 h 2673102"/>
                  <a:gd name="connsiteX73" fmla="*/ 964608 w 1739754"/>
                  <a:gd name="connsiteY73" fmla="*/ 2082552 h 2673102"/>
                  <a:gd name="connsiteX74" fmla="*/ 955083 w 1739754"/>
                  <a:gd name="connsiteY74" fmla="*/ 2101602 h 2673102"/>
                  <a:gd name="connsiteX75" fmla="*/ 926508 w 1739754"/>
                  <a:gd name="connsiteY75" fmla="*/ 2144464 h 2673102"/>
                  <a:gd name="connsiteX76" fmla="*/ 907458 w 1739754"/>
                  <a:gd name="connsiteY76" fmla="*/ 2192089 h 2673102"/>
                  <a:gd name="connsiteX77" fmla="*/ 902696 w 1739754"/>
                  <a:gd name="connsiteY77" fmla="*/ 2211139 h 2673102"/>
                  <a:gd name="connsiteX78" fmla="*/ 893171 w 1739754"/>
                  <a:gd name="connsiteY78" fmla="*/ 2239714 h 2673102"/>
                  <a:gd name="connsiteX79" fmla="*/ 897933 w 1739754"/>
                  <a:gd name="connsiteY79" fmla="*/ 2287339 h 2673102"/>
                  <a:gd name="connsiteX80" fmla="*/ 893171 w 1739754"/>
                  <a:gd name="connsiteY80" fmla="*/ 2396877 h 2673102"/>
                  <a:gd name="connsiteX81" fmla="*/ 688383 w 1739754"/>
                  <a:gd name="connsiteY81" fmla="*/ 2449264 h 2673102"/>
                  <a:gd name="connsiteX82" fmla="*/ 655046 w 1739754"/>
                  <a:gd name="connsiteY82" fmla="*/ 2473077 h 2673102"/>
                  <a:gd name="connsiteX83" fmla="*/ 607421 w 1739754"/>
                  <a:gd name="connsiteY83" fmla="*/ 2511177 h 2673102"/>
                  <a:gd name="connsiteX84" fmla="*/ 574083 w 1739754"/>
                  <a:gd name="connsiteY84" fmla="*/ 2534989 h 2673102"/>
                  <a:gd name="connsiteX85" fmla="*/ 540746 w 1739754"/>
                  <a:gd name="connsiteY85" fmla="*/ 2554039 h 2673102"/>
                  <a:gd name="connsiteX86" fmla="*/ 497883 w 1739754"/>
                  <a:gd name="connsiteY86" fmla="*/ 2587377 h 2673102"/>
                  <a:gd name="connsiteX87" fmla="*/ 483596 w 1739754"/>
                  <a:gd name="connsiteY87" fmla="*/ 2601664 h 2673102"/>
                  <a:gd name="connsiteX88" fmla="*/ 459783 w 1739754"/>
                  <a:gd name="connsiteY88" fmla="*/ 2620714 h 2673102"/>
                  <a:gd name="connsiteX89" fmla="*/ 450258 w 1739754"/>
                  <a:gd name="connsiteY89" fmla="*/ 2635002 h 2673102"/>
                  <a:gd name="connsiteX90" fmla="*/ 416921 w 1739754"/>
                  <a:gd name="connsiteY90" fmla="*/ 2654052 h 2673102"/>
                  <a:gd name="connsiteX91" fmla="*/ 374058 w 1739754"/>
                  <a:gd name="connsiteY91" fmla="*/ 2673102 h 2673102"/>
                  <a:gd name="connsiteX92" fmla="*/ 359771 w 1739754"/>
                  <a:gd name="connsiteY92" fmla="*/ 2663577 h 2673102"/>
                  <a:gd name="connsiteX93" fmla="*/ 345483 w 1739754"/>
                  <a:gd name="connsiteY93" fmla="*/ 2635002 h 2673102"/>
                  <a:gd name="connsiteX94" fmla="*/ 335958 w 1739754"/>
                  <a:gd name="connsiteY94" fmla="*/ 2620714 h 2673102"/>
                  <a:gd name="connsiteX95" fmla="*/ 297858 w 1739754"/>
                  <a:gd name="connsiteY95" fmla="*/ 2611189 h 2673102"/>
                  <a:gd name="connsiteX96" fmla="*/ 278808 w 1739754"/>
                  <a:gd name="connsiteY96" fmla="*/ 2592139 h 2673102"/>
                  <a:gd name="connsiteX97" fmla="*/ 274046 w 1739754"/>
                  <a:gd name="connsiteY97" fmla="*/ 2573089 h 2673102"/>
                  <a:gd name="connsiteX98" fmla="*/ 235946 w 1739754"/>
                  <a:gd name="connsiteY98" fmla="*/ 2539752 h 2673102"/>
                  <a:gd name="connsiteX99" fmla="*/ 231183 w 1739754"/>
                  <a:gd name="connsiteY99" fmla="*/ 2525464 h 2673102"/>
                  <a:gd name="connsiteX100" fmla="*/ 226421 w 1739754"/>
                  <a:gd name="connsiteY100" fmla="*/ 2506414 h 2673102"/>
                  <a:gd name="connsiteX101" fmla="*/ 212133 w 1739754"/>
                  <a:gd name="connsiteY101" fmla="*/ 2492127 h 2673102"/>
                  <a:gd name="connsiteX102" fmla="*/ 154983 w 1739754"/>
                  <a:gd name="connsiteY102" fmla="*/ 2439739 h 2673102"/>
                  <a:gd name="connsiteX103" fmla="*/ 150221 w 1739754"/>
                  <a:gd name="connsiteY103" fmla="*/ 2415927 h 2673102"/>
                  <a:gd name="connsiteX104" fmla="*/ 135933 w 1739754"/>
                  <a:gd name="connsiteY104" fmla="*/ 2358777 h 2673102"/>
                  <a:gd name="connsiteX105" fmla="*/ 121646 w 1739754"/>
                  <a:gd name="connsiteY105" fmla="*/ 2315914 h 2673102"/>
                  <a:gd name="connsiteX106" fmla="*/ 107358 w 1739754"/>
                  <a:gd name="connsiteY106" fmla="*/ 2258764 h 2673102"/>
                  <a:gd name="connsiteX107" fmla="*/ 102596 w 1739754"/>
                  <a:gd name="connsiteY107" fmla="*/ 2234952 h 2673102"/>
                  <a:gd name="connsiteX108" fmla="*/ 93071 w 1739754"/>
                  <a:gd name="connsiteY108" fmla="*/ 2211139 h 2673102"/>
                  <a:gd name="connsiteX109" fmla="*/ 88308 w 1739754"/>
                  <a:gd name="connsiteY109" fmla="*/ 2187327 h 2673102"/>
                  <a:gd name="connsiteX110" fmla="*/ 78783 w 1739754"/>
                  <a:gd name="connsiteY110" fmla="*/ 2111127 h 2673102"/>
                  <a:gd name="connsiteX111" fmla="*/ 97833 w 1739754"/>
                  <a:gd name="connsiteY111" fmla="*/ 1944439 h 2673102"/>
                  <a:gd name="connsiteX112" fmla="*/ 107358 w 1739754"/>
                  <a:gd name="connsiteY112" fmla="*/ 1930152 h 2673102"/>
                  <a:gd name="connsiteX113" fmla="*/ 126408 w 1739754"/>
                  <a:gd name="connsiteY113" fmla="*/ 1901577 h 2673102"/>
                  <a:gd name="connsiteX114" fmla="*/ 135933 w 1739754"/>
                  <a:gd name="connsiteY114" fmla="*/ 1868239 h 2673102"/>
                  <a:gd name="connsiteX115" fmla="*/ 131171 w 1739754"/>
                  <a:gd name="connsiteY115" fmla="*/ 1825377 h 2673102"/>
                  <a:gd name="connsiteX116" fmla="*/ 112121 w 1739754"/>
                  <a:gd name="connsiteY116" fmla="*/ 1820614 h 2673102"/>
                  <a:gd name="connsiteX117" fmla="*/ 102596 w 1739754"/>
                  <a:gd name="connsiteY117" fmla="*/ 1806327 h 2673102"/>
                  <a:gd name="connsiteX118" fmla="*/ 145458 w 1739754"/>
                  <a:gd name="connsiteY118" fmla="*/ 1720602 h 2673102"/>
                  <a:gd name="connsiteX119" fmla="*/ 159746 w 1739754"/>
                  <a:gd name="connsiteY119" fmla="*/ 1715839 h 2673102"/>
                  <a:gd name="connsiteX120" fmla="*/ 174033 w 1739754"/>
                  <a:gd name="connsiteY120" fmla="*/ 1696789 h 2673102"/>
                  <a:gd name="connsiteX121" fmla="*/ 188321 w 1739754"/>
                  <a:gd name="connsiteY121" fmla="*/ 1687264 h 2673102"/>
                  <a:gd name="connsiteX122" fmla="*/ 202608 w 1739754"/>
                  <a:gd name="connsiteY122" fmla="*/ 1653927 h 2673102"/>
                  <a:gd name="connsiteX123" fmla="*/ 193083 w 1739754"/>
                  <a:gd name="connsiteY123" fmla="*/ 1606302 h 2673102"/>
                  <a:gd name="connsiteX124" fmla="*/ 164508 w 1739754"/>
                  <a:gd name="connsiteY124" fmla="*/ 1596777 h 2673102"/>
                  <a:gd name="connsiteX125" fmla="*/ 154983 w 1739754"/>
                  <a:gd name="connsiteY125" fmla="*/ 1549152 h 2673102"/>
                  <a:gd name="connsiteX126" fmla="*/ 150221 w 1739754"/>
                  <a:gd name="connsiteY126" fmla="*/ 1411039 h 2673102"/>
                  <a:gd name="connsiteX127" fmla="*/ 140696 w 1739754"/>
                  <a:gd name="connsiteY127" fmla="*/ 1377702 h 2673102"/>
                  <a:gd name="connsiteX128" fmla="*/ 121646 w 1739754"/>
                  <a:gd name="connsiteY128" fmla="*/ 1311027 h 2673102"/>
                  <a:gd name="connsiteX129" fmla="*/ 116883 w 1739754"/>
                  <a:gd name="connsiteY129" fmla="*/ 1258639 h 2673102"/>
                  <a:gd name="connsiteX130" fmla="*/ 107358 w 1739754"/>
                  <a:gd name="connsiteY130" fmla="*/ 1244352 h 2673102"/>
                  <a:gd name="connsiteX131" fmla="*/ 93071 w 1739754"/>
                  <a:gd name="connsiteY131" fmla="*/ 1196727 h 2673102"/>
                  <a:gd name="connsiteX132" fmla="*/ 78783 w 1739754"/>
                  <a:gd name="connsiteY132" fmla="*/ 1177677 h 2673102"/>
                  <a:gd name="connsiteX133" fmla="*/ 59733 w 1739754"/>
                  <a:gd name="connsiteY133" fmla="*/ 1139577 h 2673102"/>
                  <a:gd name="connsiteX134" fmla="*/ 50208 w 1739754"/>
                  <a:gd name="connsiteY134" fmla="*/ 1111002 h 2673102"/>
                  <a:gd name="connsiteX135" fmla="*/ 45446 w 1739754"/>
                  <a:gd name="connsiteY135" fmla="*/ 1096714 h 2673102"/>
                  <a:gd name="connsiteX136" fmla="*/ 21633 w 1739754"/>
                  <a:gd name="connsiteY136" fmla="*/ 1025277 h 2673102"/>
                  <a:gd name="connsiteX137" fmla="*/ 202 w 1739754"/>
                  <a:gd name="connsiteY137" fmla="*/ 980033 h 2673102"/>
                  <a:gd name="connsiteX138" fmla="*/ 14490 w 1739754"/>
                  <a:gd name="connsiteY138" fmla="*/ 930027 h 2673102"/>
                  <a:gd name="connsiteX139" fmla="*/ 69259 w 1739754"/>
                  <a:gd name="connsiteY139" fmla="*/ 810964 h 2673102"/>
                  <a:gd name="connsiteX140" fmla="*/ 221658 w 1739754"/>
                  <a:gd name="connsiteY140" fmla="*/ 601414 h 2673102"/>
                  <a:gd name="connsiteX141" fmla="*/ 288333 w 1739754"/>
                  <a:gd name="connsiteY141" fmla="*/ 515689 h 2673102"/>
                  <a:gd name="connsiteX142" fmla="*/ 412158 w 1739754"/>
                  <a:gd name="connsiteY142" fmla="*/ 406152 h 2673102"/>
                  <a:gd name="connsiteX143" fmla="*/ 535983 w 1739754"/>
                  <a:gd name="connsiteY143" fmla="*/ 291851 h 2673102"/>
                  <a:gd name="connsiteX144" fmla="*/ 640758 w 1739754"/>
                  <a:gd name="connsiteY144" fmla="*/ 229939 h 2673102"/>
                  <a:gd name="connsiteX145" fmla="*/ 733628 w 1739754"/>
                  <a:gd name="connsiteY145" fmla="*/ 168026 h 2673102"/>
                  <a:gd name="connsiteX146" fmla="*/ 978896 w 1739754"/>
                  <a:gd name="connsiteY146" fmla="*/ 63251 h 2673102"/>
                  <a:gd name="connsiteX147" fmla="*/ 1159871 w 1739754"/>
                  <a:gd name="connsiteY147" fmla="*/ 6102 h 2673102"/>
                  <a:gd name="connsiteX148" fmla="*/ 1202733 w 1739754"/>
                  <a:gd name="connsiteY14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312146 w 1739754"/>
                  <a:gd name="connsiteY42" fmla="*/ 1258639 h 2673102"/>
                  <a:gd name="connsiteX43" fmla="*/ 259758 w 1739754"/>
                  <a:gd name="connsiteY43" fmla="*/ 1296739 h 2673102"/>
                  <a:gd name="connsiteX44" fmla="*/ 240708 w 1739754"/>
                  <a:gd name="connsiteY44" fmla="*/ 1325314 h 2673102"/>
                  <a:gd name="connsiteX45" fmla="*/ 250233 w 1739754"/>
                  <a:gd name="connsiteY45" fmla="*/ 1425327 h 2673102"/>
                  <a:gd name="connsiteX46" fmla="*/ 278808 w 1739754"/>
                  <a:gd name="connsiteY46" fmla="*/ 1472952 h 2673102"/>
                  <a:gd name="connsiteX47" fmla="*/ 293096 w 1739754"/>
                  <a:gd name="connsiteY47" fmla="*/ 1492002 h 2673102"/>
                  <a:gd name="connsiteX48" fmla="*/ 383583 w 1739754"/>
                  <a:gd name="connsiteY48" fmla="*/ 1525339 h 2673102"/>
                  <a:gd name="connsiteX49" fmla="*/ 407396 w 1739754"/>
                  <a:gd name="connsiteY49" fmla="*/ 1492002 h 2673102"/>
                  <a:gd name="connsiteX50" fmla="*/ 412158 w 1739754"/>
                  <a:gd name="connsiteY50" fmla="*/ 1468189 h 2673102"/>
                  <a:gd name="connsiteX51" fmla="*/ 416921 w 1739754"/>
                  <a:gd name="connsiteY51" fmla="*/ 1449139 h 2673102"/>
                  <a:gd name="connsiteX52" fmla="*/ 445496 w 1739754"/>
                  <a:gd name="connsiteY52" fmla="*/ 1439614 h 2673102"/>
                  <a:gd name="connsiteX53" fmla="*/ 545508 w 1739754"/>
                  <a:gd name="connsiteY53" fmla="*/ 1458664 h 2673102"/>
                  <a:gd name="connsiteX54" fmla="*/ 555033 w 1739754"/>
                  <a:gd name="connsiteY54" fmla="*/ 1482477 h 2673102"/>
                  <a:gd name="connsiteX55" fmla="*/ 564558 w 1739754"/>
                  <a:gd name="connsiteY55" fmla="*/ 1515814 h 2673102"/>
                  <a:gd name="connsiteX56" fmla="*/ 550271 w 1739754"/>
                  <a:gd name="connsiteY56" fmla="*/ 1534864 h 2673102"/>
                  <a:gd name="connsiteX57" fmla="*/ 550271 w 1739754"/>
                  <a:gd name="connsiteY57" fmla="*/ 1601539 h 2673102"/>
                  <a:gd name="connsiteX58" fmla="*/ 559796 w 1739754"/>
                  <a:gd name="connsiteY58" fmla="*/ 1620589 h 2673102"/>
                  <a:gd name="connsiteX59" fmla="*/ 626471 w 1739754"/>
                  <a:gd name="connsiteY59" fmla="*/ 1639639 h 2673102"/>
                  <a:gd name="connsiteX60" fmla="*/ 645521 w 1739754"/>
                  <a:gd name="connsiteY60" fmla="*/ 1592014 h 2673102"/>
                  <a:gd name="connsiteX61" fmla="*/ 702671 w 1739754"/>
                  <a:gd name="connsiteY61" fmla="*/ 1620589 h 2673102"/>
                  <a:gd name="connsiteX62" fmla="*/ 731246 w 1739754"/>
                  <a:gd name="connsiteY62" fmla="*/ 1630114 h 2673102"/>
                  <a:gd name="connsiteX63" fmla="*/ 783633 w 1739754"/>
                  <a:gd name="connsiteY63" fmla="*/ 1663452 h 2673102"/>
                  <a:gd name="connsiteX64" fmla="*/ 859833 w 1739754"/>
                  <a:gd name="connsiteY64" fmla="*/ 1687264 h 2673102"/>
                  <a:gd name="connsiteX65" fmla="*/ 878883 w 1739754"/>
                  <a:gd name="connsiteY65" fmla="*/ 1701552 h 2673102"/>
                  <a:gd name="connsiteX66" fmla="*/ 888408 w 1739754"/>
                  <a:gd name="connsiteY66" fmla="*/ 1739652 h 2673102"/>
                  <a:gd name="connsiteX67" fmla="*/ 897933 w 1739754"/>
                  <a:gd name="connsiteY67" fmla="*/ 1782514 h 2673102"/>
                  <a:gd name="connsiteX68" fmla="*/ 940796 w 1739754"/>
                  <a:gd name="connsiteY68" fmla="*/ 1892052 h 2673102"/>
                  <a:gd name="connsiteX69" fmla="*/ 950321 w 1739754"/>
                  <a:gd name="connsiteY69" fmla="*/ 1906339 h 2673102"/>
                  <a:gd name="connsiteX70" fmla="*/ 959846 w 1739754"/>
                  <a:gd name="connsiteY70" fmla="*/ 1939677 h 2673102"/>
                  <a:gd name="connsiteX71" fmla="*/ 974133 w 1739754"/>
                  <a:gd name="connsiteY71" fmla="*/ 1977777 h 2673102"/>
                  <a:gd name="connsiteX72" fmla="*/ 964608 w 1739754"/>
                  <a:gd name="connsiteY72" fmla="*/ 2082552 h 2673102"/>
                  <a:gd name="connsiteX73" fmla="*/ 955083 w 1739754"/>
                  <a:gd name="connsiteY73" fmla="*/ 2101602 h 2673102"/>
                  <a:gd name="connsiteX74" fmla="*/ 926508 w 1739754"/>
                  <a:gd name="connsiteY74" fmla="*/ 2144464 h 2673102"/>
                  <a:gd name="connsiteX75" fmla="*/ 907458 w 1739754"/>
                  <a:gd name="connsiteY75" fmla="*/ 2192089 h 2673102"/>
                  <a:gd name="connsiteX76" fmla="*/ 902696 w 1739754"/>
                  <a:gd name="connsiteY76" fmla="*/ 2211139 h 2673102"/>
                  <a:gd name="connsiteX77" fmla="*/ 893171 w 1739754"/>
                  <a:gd name="connsiteY77" fmla="*/ 2239714 h 2673102"/>
                  <a:gd name="connsiteX78" fmla="*/ 897933 w 1739754"/>
                  <a:gd name="connsiteY78" fmla="*/ 2287339 h 2673102"/>
                  <a:gd name="connsiteX79" fmla="*/ 893171 w 1739754"/>
                  <a:gd name="connsiteY79" fmla="*/ 2396877 h 2673102"/>
                  <a:gd name="connsiteX80" fmla="*/ 688383 w 1739754"/>
                  <a:gd name="connsiteY80" fmla="*/ 2449264 h 2673102"/>
                  <a:gd name="connsiteX81" fmla="*/ 655046 w 1739754"/>
                  <a:gd name="connsiteY81" fmla="*/ 2473077 h 2673102"/>
                  <a:gd name="connsiteX82" fmla="*/ 607421 w 1739754"/>
                  <a:gd name="connsiteY82" fmla="*/ 2511177 h 2673102"/>
                  <a:gd name="connsiteX83" fmla="*/ 574083 w 1739754"/>
                  <a:gd name="connsiteY83" fmla="*/ 2534989 h 2673102"/>
                  <a:gd name="connsiteX84" fmla="*/ 540746 w 1739754"/>
                  <a:gd name="connsiteY84" fmla="*/ 2554039 h 2673102"/>
                  <a:gd name="connsiteX85" fmla="*/ 497883 w 1739754"/>
                  <a:gd name="connsiteY85" fmla="*/ 2587377 h 2673102"/>
                  <a:gd name="connsiteX86" fmla="*/ 483596 w 1739754"/>
                  <a:gd name="connsiteY86" fmla="*/ 2601664 h 2673102"/>
                  <a:gd name="connsiteX87" fmla="*/ 459783 w 1739754"/>
                  <a:gd name="connsiteY87" fmla="*/ 2620714 h 2673102"/>
                  <a:gd name="connsiteX88" fmla="*/ 450258 w 1739754"/>
                  <a:gd name="connsiteY88" fmla="*/ 2635002 h 2673102"/>
                  <a:gd name="connsiteX89" fmla="*/ 416921 w 1739754"/>
                  <a:gd name="connsiteY89" fmla="*/ 2654052 h 2673102"/>
                  <a:gd name="connsiteX90" fmla="*/ 374058 w 1739754"/>
                  <a:gd name="connsiteY90" fmla="*/ 2673102 h 2673102"/>
                  <a:gd name="connsiteX91" fmla="*/ 359771 w 1739754"/>
                  <a:gd name="connsiteY91" fmla="*/ 2663577 h 2673102"/>
                  <a:gd name="connsiteX92" fmla="*/ 345483 w 1739754"/>
                  <a:gd name="connsiteY92" fmla="*/ 2635002 h 2673102"/>
                  <a:gd name="connsiteX93" fmla="*/ 335958 w 1739754"/>
                  <a:gd name="connsiteY93" fmla="*/ 2620714 h 2673102"/>
                  <a:gd name="connsiteX94" fmla="*/ 297858 w 1739754"/>
                  <a:gd name="connsiteY94" fmla="*/ 2611189 h 2673102"/>
                  <a:gd name="connsiteX95" fmla="*/ 278808 w 1739754"/>
                  <a:gd name="connsiteY95" fmla="*/ 2592139 h 2673102"/>
                  <a:gd name="connsiteX96" fmla="*/ 274046 w 1739754"/>
                  <a:gd name="connsiteY96" fmla="*/ 2573089 h 2673102"/>
                  <a:gd name="connsiteX97" fmla="*/ 235946 w 1739754"/>
                  <a:gd name="connsiteY97" fmla="*/ 2539752 h 2673102"/>
                  <a:gd name="connsiteX98" fmla="*/ 231183 w 1739754"/>
                  <a:gd name="connsiteY98" fmla="*/ 2525464 h 2673102"/>
                  <a:gd name="connsiteX99" fmla="*/ 226421 w 1739754"/>
                  <a:gd name="connsiteY99" fmla="*/ 2506414 h 2673102"/>
                  <a:gd name="connsiteX100" fmla="*/ 212133 w 1739754"/>
                  <a:gd name="connsiteY100" fmla="*/ 2492127 h 2673102"/>
                  <a:gd name="connsiteX101" fmla="*/ 154983 w 1739754"/>
                  <a:gd name="connsiteY101" fmla="*/ 2439739 h 2673102"/>
                  <a:gd name="connsiteX102" fmla="*/ 150221 w 1739754"/>
                  <a:gd name="connsiteY102" fmla="*/ 2415927 h 2673102"/>
                  <a:gd name="connsiteX103" fmla="*/ 135933 w 1739754"/>
                  <a:gd name="connsiteY103" fmla="*/ 2358777 h 2673102"/>
                  <a:gd name="connsiteX104" fmla="*/ 121646 w 1739754"/>
                  <a:gd name="connsiteY104" fmla="*/ 2315914 h 2673102"/>
                  <a:gd name="connsiteX105" fmla="*/ 107358 w 1739754"/>
                  <a:gd name="connsiteY105" fmla="*/ 2258764 h 2673102"/>
                  <a:gd name="connsiteX106" fmla="*/ 102596 w 1739754"/>
                  <a:gd name="connsiteY106" fmla="*/ 2234952 h 2673102"/>
                  <a:gd name="connsiteX107" fmla="*/ 93071 w 1739754"/>
                  <a:gd name="connsiteY107" fmla="*/ 2211139 h 2673102"/>
                  <a:gd name="connsiteX108" fmla="*/ 88308 w 1739754"/>
                  <a:gd name="connsiteY108" fmla="*/ 2187327 h 2673102"/>
                  <a:gd name="connsiteX109" fmla="*/ 78783 w 1739754"/>
                  <a:gd name="connsiteY109" fmla="*/ 2111127 h 2673102"/>
                  <a:gd name="connsiteX110" fmla="*/ 97833 w 1739754"/>
                  <a:gd name="connsiteY110" fmla="*/ 1944439 h 2673102"/>
                  <a:gd name="connsiteX111" fmla="*/ 107358 w 1739754"/>
                  <a:gd name="connsiteY111" fmla="*/ 1930152 h 2673102"/>
                  <a:gd name="connsiteX112" fmla="*/ 126408 w 1739754"/>
                  <a:gd name="connsiteY112" fmla="*/ 1901577 h 2673102"/>
                  <a:gd name="connsiteX113" fmla="*/ 135933 w 1739754"/>
                  <a:gd name="connsiteY113" fmla="*/ 1868239 h 2673102"/>
                  <a:gd name="connsiteX114" fmla="*/ 131171 w 1739754"/>
                  <a:gd name="connsiteY114" fmla="*/ 1825377 h 2673102"/>
                  <a:gd name="connsiteX115" fmla="*/ 112121 w 1739754"/>
                  <a:gd name="connsiteY115" fmla="*/ 1820614 h 2673102"/>
                  <a:gd name="connsiteX116" fmla="*/ 102596 w 1739754"/>
                  <a:gd name="connsiteY116" fmla="*/ 1806327 h 2673102"/>
                  <a:gd name="connsiteX117" fmla="*/ 145458 w 1739754"/>
                  <a:gd name="connsiteY117" fmla="*/ 1720602 h 2673102"/>
                  <a:gd name="connsiteX118" fmla="*/ 159746 w 1739754"/>
                  <a:gd name="connsiteY118" fmla="*/ 1715839 h 2673102"/>
                  <a:gd name="connsiteX119" fmla="*/ 174033 w 1739754"/>
                  <a:gd name="connsiteY119" fmla="*/ 1696789 h 2673102"/>
                  <a:gd name="connsiteX120" fmla="*/ 188321 w 1739754"/>
                  <a:gd name="connsiteY120" fmla="*/ 1687264 h 2673102"/>
                  <a:gd name="connsiteX121" fmla="*/ 202608 w 1739754"/>
                  <a:gd name="connsiteY121" fmla="*/ 1653927 h 2673102"/>
                  <a:gd name="connsiteX122" fmla="*/ 193083 w 1739754"/>
                  <a:gd name="connsiteY122" fmla="*/ 1606302 h 2673102"/>
                  <a:gd name="connsiteX123" fmla="*/ 164508 w 1739754"/>
                  <a:gd name="connsiteY123" fmla="*/ 1596777 h 2673102"/>
                  <a:gd name="connsiteX124" fmla="*/ 154983 w 1739754"/>
                  <a:gd name="connsiteY124" fmla="*/ 1549152 h 2673102"/>
                  <a:gd name="connsiteX125" fmla="*/ 150221 w 1739754"/>
                  <a:gd name="connsiteY125" fmla="*/ 1411039 h 2673102"/>
                  <a:gd name="connsiteX126" fmla="*/ 140696 w 1739754"/>
                  <a:gd name="connsiteY126" fmla="*/ 1377702 h 2673102"/>
                  <a:gd name="connsiteX127" fmla="*/ 121646 w 1739754"/>
                  <a:gd name="connsiteY127" fmla="*/ 1311027 h 2673102"/>
                  <a:gd name="connsiteX128" fmla="*/ 116883 w 1739754"/>
                  <a:gd name="connsiteY128" fmla="*/ 1258639 h 2673102"/>
                  <a:gd name="connsiteX129" fmla="*/ 107358 w 1739754"/>
                  <a:gd name="connsiteY129" fmla="*/ 1244352 h 2673102"/>
                  <a:gd name="connsiteX130" fmla="*/ 93071 w 1739754"/>
                  <a:gd name="connsiteY130" fmla="*/ 1196727 h 2673102"/>
                  <a:gd name="connsiteX131" fmla="*/ 78783 w 1739754"/>
                  <a:gd name="connsiteY131" fmla="*/ 1177677 h 2673102"/>
                  <a:gd name="connsiteX132" fmla="*/ 59733 w 1739754"/>
                  <a:gd name="connsiteY132" fmla="*/ 1139577 h 2673102"/>
                  <a:gd name="connsiteX133" fmla="*/ 50208 w 1739754"/>
                  <a:gd name="connsiteY133" fmla="*/ 1111002 h 2673102"/>
                  <a:gd name="connsiteX134" fmla="*/ 45446 w 1739754"/>
                  <a:gd name="connsiteY134" fmla="*/ 1096714 h 2673102"/>
                  <a:gd name="connsiteX135" fmla="*/ 21633 w 1739754"/>
                  <a:gd name="connsiteY135" fmla="*/ 1025277 h 2673102"/>
                  <a:gd name="connsiteX136" fmla="*/ 202 w 1739754"/>
                  <a:gd name="connsiteY136" fmla="*/ 980033 h 2673102"/>
                  <a:gd name="connsiteX137" fmla="*/ 14490 w 1739754"/>
                  <a:gd name="connsiteY137" fmla="*/ 930027 h 2673102"/>
                  <a:gd name="connsiteX138" fmla="*/ 69259 w 1739754"/>
                  <a:gd name="connsiteY138" fmla="*/ 810964 h 2673102"/>
                  <a:gd name="connsiteX139" fmla="*/ 221658 w 1739754"/>
                  <a:gd name="connsiteY139" fmla="*/ 601414 h 2673102"/>
                  <a:gd name="connsiteX140" fmla="*/ 288333 w 1739754"/>
                  <a:gd name="connsiteY140" fmla="*/ 515689 h 2673102"/>
                  <a:gd name="connsiteX141" fmla="*/ 412158 w 1739754"/>
                  <a:gd name="connsiteY141" fmla="*/ 406152 h 2673102"/>
                  <a:gd name="connsiteX142" fmla="*/ 535983 w 1739754"/>
                  <a:gd name="connsiteY142" fmla="*/ 291851 h 2673102"/>
                  <a:gd name="connsiteX143" fmla="*/ 640758 w 1739754"/>
                  <a:gd name="connsiteY143" fmla="*/ 229939 h 2673102"/>
                  <a:gd name="connsiteX144" fmla="*/ 733628 w 1739754"/>
                  <a:gd name="connsiteY144" fmla="*/ 168026 h 2673102"/>
                  <a:gd name="connsiteX145" fmla="*/ 978896 w 1739754"/>
                  <a:gd name="connsiteY145" fmla="*/ 63251 h 2673102"/>
                  <a:gd name="connsiteX146" fmla="*/ 1159871 w 1739754"/>
                  <a:gd name="connsiteY146" fmla="*/ 6102 h 2673102"/>
                  <a:gd name="connsiteX147" fmla="*/ 1202733 w 1739754"/>
                  <a:gd name="connsiteY14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40708 w 1739754"/>
                  <a:gd name="connsiteY43" fmla="*/ 1325314 h 2673102"/>
                  <a:gd name="connsiteX44" fmla="*/ 250233 w 1739754"/>
                  <a:gd name="connsiteY44" fmla="*/ 1425327 h 2673102"/>
                  <a:gd name="connsiteX45" fmla="*/ 278808 w 1739754"/>
                  <a:gd name="connsiteY45" fmla="*/ 1472952 h 2673102"/>
                  <a:gd name="connsiteX46" fmla="*/ 293096 w 1739754"/>
                  <a:gd name="connsiteY46" fmla="*/ 1492002 h 2673102"/>
                  <a:gd name="connsiteX47" fmla="*/ 383583 w 1739754"/>
                  <a:gd name="connsiteY47" fmla="*/ 1525339 h 2673102"/>
                  <a:gd name="connsiteX48" fmla="*/ 407396 w 1739754"/>
                  <a:gd name="connsiteY48" fmla="*/ 1492002 h 2673102"/>
                  <a:gd name="connsiteX49" fmla="*/ 412158 w 1739754"/>
                  <a:gd name="connsiteY49" fmla="*/ 1468189 h 2673102"/>
                  <a:gd name="connsiteX50" fmla="*/ 416921 w 1739754"/>
                  <a:gd name="connsiteY50" fmla="*/ 1449139 h 2673102"/>
                  <a:gd name="connsiteX51" fmla="*/ 445496 w 1739754"/>
                  <a:gd name="connsiteY51" fmla="*/ 1439614 h 2673102"/>
                  <a:gd name="connsiteX52" fmla="*/ 545508 w 1739754"/>
                  <a:gd name="connsiteY52" fmla="*/ 1458664 h 2673102"/>
                  <a:gd name="connsiteX53" fmla="*/ 555033 w 1739754"/>
                  <a:gd name="connsiteY53" fmla="*/ 1482477 h 2673102"/>
                  <a:gd name="connsiteX54" fmla="*/ 564558 w 1739754"/>
                  <a:gd name="connsiteY54" fmla="*/ 1515814 h 2673102"/>
                  <a:gd name="connsiteX55" fmla="*/ 550271 w 1739754"/>
                  <a:gd name="connsiteY55" fmla="*/ 1534864 h 2673102"/>
                  <a:gd name="connsiteX56" fmla="*/ 550271 w 1739754"/>
                  <a:gd name="connsiteY56" fmla="*/ 1601539 h 2673102"/>
                  <a:gd name="connsiteX57" fmla="*/ 559796 w 1739754"/>
                  <a:gd name="connsiteY57" fmla="*/ 1620589 h 2673102"/>
                  <a:gd name="connsiteX58" fmla="*/ 626471 w 1739754"/>
                  <a:gd name="connsiteY58" fmla="*/ 1639639 h 2673102"/>
                  <a:gd name="connsiteX59" fmla="*/ 645521 w 1739754"/>
                  <a:gd name="connsiteY59" fmla="*/ 1592014 h 2673102"/>
                  <a:gd name="connsiteX60" fmla="*/ 702671 w 1739754"/>
                  <a:gd name="connsiteY60" fmla="*/ 1620589 h 2673102"/>
                  <a:gd name="connsiteX61" fmla="*/ 731246 w 1739754"/>
                  <a:gd name="connsiteY61" fmla="*/ 1630114 h 2673102"/>
                  <a:gd name="connsiteX62" fmla="*/ 783633 w 1739754"/>
                  <a:gd name="connsiteY62" fmla="*/ 1663452 h 2673102"/>
                  <a:gd name="connsiteX63" fmla="*/ 859833 w 1739754"/>
                  <a:gd name="connsiteY63" fmla="*/ 1687264 h 2673102"/>
                  <a:gd name="connsiteX64" fmla="*/ 878883 w 1739754"/>
                  <a:gd name="connsiteY64" fmla="*/ 1701552 h 2673102"/>
                  <a:gd name="connsiteX65" fmla="*/ 888408 w 1739754"/>
                  <a:gd name="connsiteY65" fmla="*/ 1739652 h 2673102"/>
                  <a:gd name="connsiteX66" fmla="*/ 897933 w 1739754"/>
                  <a:gd name="connsiteY66" fmla="*/ 1782514 h 2673102"/>
                  <a:gd name="connsiteX67" fmla="*/ 940796 w 1739754"/>
                  <a:gd name="connsiteY67" fmla="*/ 1892052 h 2673102"/>
                  <a:gd name="connsiteX68" fmla="*/ 950321 w 1739754"/>
                  <a:gd name="connsiteY68" fmla="*/ 1906339 h 2673102"/>
                  <a:gd name="connsiteX69" fmla="*/ 959846 w 1739754"/>
                  <a:gd name="connsiteY69" fmla="*/ 1939677 h 2673102"/>
                  <a:gd name="connsiteX70" fmla="*/ 974133 w 1739754"/>
                  <a:gd name="connsiteY70" fmla="*/ 1977777 h 2673102"/>
                  <a:gd name="connsiteX71" fmla="*/ 964608 w 1739754"/>
                  <a:gd name="connsiteY71" fmla="*/ 2082552 h 2673102"/>
                  <a:gd name="connsiteX72" fmla="*/ 955083 w 1739754"/>
                  <a:gd name="connsiteY72" fmla="*/ 2101602 h 2673102"/>
                  <a:gd name="connsiteX73" fmla="*/ 926508 w 1739754"/>
                  <a:gd name="connsiteY73" fmla="*/ 2144464 h 2673102"/>
                  <a:gd name="connsiteX74" fmla="*/ 907458 w 1739754"/>
                  <a:gd name="connsiteY74" fmla="*/ 2192089 h 2673102"/>
                  <a:gd name="connsiteX75" fmla="*/ 902696 w 1739754"/>
                  <a:gd name="connsiteY75" fmla="*/ 2211139 h 2673102"/>
                  <a:gd name="connsiteX76" fmla="*/ 893171 w 1739754"/>
                  <a:gd name="connsiteY76" fmla="*/ 2239714 h 2673102"/>
                  <a:gd name="connsiteX77" fmla="*/ 897933 w 1739754"/>
                  <a:gd name="connsiteY77" fmla="*/ 2287339 h 2673102"/>
                  <a:gd name="connsiteX78" fmla="*/ 893171 w 1739754"/>
                  <a:gd name="connsiteY78" fmla="*/ 2396877 h 2673102"/>
                  <a:gd name="connsiteX79" fmla="*/ 688383 w 1739754"/>
                  <a:gd name="connsiteY79" fmla="*/ 2449264 h 2673102"/>
                  <a:gd name="connsiteX80" fmla="*/ 655046 w 1739754"/>
                  <a:gd name="connsiteY80" fmla="*/ 2473077 h 2673102"/>
                  <a:gd name="connsiteX81" fmla="*/ 607421 w 1739754"/>
                  <a:gd name="connsiteY81" fmla="*/ 2511177 h 2673102"/>
                  <a:gd name="connsiteX82" fmla="*/ 574083 w 1739754"/>
                  <a:gd name="connsiteY82" fmla="*/ 2534989 h 2673102"/>
                  <a:gd name="connsiteX83" fmla="*/ 540746 w 1739754"/>
                  <a:gd name="connsiteY83" fmla="*/ 2554039 h 2673102"/>
                  <a:gd name="connsiteX84" fmla="*/ 497883 w 1739754"/>
                  <a:gd name="connsiteY84" fmla="*/ 2587377 h 2673102"/>
                  <a:gd name="connsiteX85" fmla="*/ 483596 w 1739754"/>
                  <a:gd name="connsiteY85" fmla="*/ 2601664 h 2673102"/>
                  <a:gd name="connsiteX86" fmla="*/ 459783 w 1739754"/>
                  <a:gd name="connsiteY86" fmla="*/ 2620714 h 2673102"/>
                  <a:gd name="connsiteX87" fmla="*/ 450258 w 1739754"/>
                  <a:gd name="connsiteY87" fmla="*/ 2635002 h 2673102"/>
                  <a:gd name="connsiteX88" fmla="*/ 416921 w 1739754"/>
                  <a:gd name="connsiteY88" fmla="*/ 2654052 h 2673102"/>
                  <a:gd name="connsiteX89" fmla="*/ 374058 w 1739754"/>
                  <a:gd name="connsiteY89" fmla="*/ 2673102 h 2673102"/>
                  <a:gd name="connsiteX90" fmla="*/ 359771 w 1739754"/>
                  <a:gd name="connsiteY90" fmla="*/ 2663577 h 2673102"/>
                  <a:gd name="connsiteX91" fmla="*/ 345483 w 1739754"/>
                  <a:gd name="connsiteY91" fmla="*/ 2635002 h 2673102"/>
                  <a:gd name="connsiteX92" fmla="*/ 335958 w 1739754"/>
                  <a:gd name="connsiteY92" fmla="*/ 2620714 h 2673102"/>
                  <a:gd name="connsiteX93" fmla="*/ 297858 w 1739754"/>
                  <a:gd name="connsiteY93" fmla="*/ 2611189 h 2673102"/>
                  <a:gd name="connsiteX94" fmla="*/ 278808 w 1739754"/>
                  <a:gd name="connsiteY94" fmla="*/ 2592139 h 2673102"/>
                  <a:gd name="connsiteX95" fmla="*/ 274046 w 1739754"/>
                  <a:gd name="connsiteY95" fmla="*/ 2573089 h 2673102"/>
                  <a:gd name="connsiteX96" fmla="*/ 235946 w 1739754"/>
                  <a:gd name="connsiteY96" fmla="*/ 2539752 h 2673102"/>
                  <a:gd name="connsiteX97" fmla="*/ 231183 w 1739754"/>
                  <a:gd name="connsiteY97" fmla="*/ 2525464 h 2673102"/>
                  <a:gd name="connsiteX98" fmla="*/ 226421 w 1739754"/>
                  <a:gd name="connsiteY98" fmla="*/ 2506414 h 2673102"/>
                  <a:gd name="connsiteX99" fmla="*/ 212133 w 1739754"/>
                  <a:gd name="connsiteY99" fmla="*/ 2492127 h 2673102"/>
                  <a:gd name="connsiteX100" fmla="*/ 154983 w 1739754"/>
                  <a:gd name="connsiteY100" fmla="*/ 2439739 h 2673102"/>
                  <a:gd name="connsiteX101" fmla="*/ 150221 w 1739754"/>
                  <a:gd name="connsiteY101" fmla="*/ 2415927 h 2673102"/>
                  <a:gd name="connsiteX102" fmla="*/ 135933 w 1739754"/>
                  <a:gd name="connsiteY102" fmla="*/ 2358777 h 2673102"/>
                  <a:gd name="connsiteX103" fmla="*/ 121646 w 1739754"/>
                  <a:gd name="connsiteY103" fmla="*/ 2315914 h 2673102"/>
                  <a:gd name="connsiteX104" fmla="*/ 107358 w 1739754"/>
                  <a:gd name="connsiteY104" fmla="*/ 2258764 h 2673102"/>
                  <a:gd name="connsiteX105" fmla="*/ 102596 w 1739754"/>
                  <a:gd name="connsiteY105" fmla="*/ 2234952 h 2673102"/>
                  <a:gd name="connsiteX106" fmla="*/ 93071 w 1739754"/>
                  <a:gd name="connsiteY106" fmla="*/ 2211139 h 2673102"/>
                  <a:gd name="connsiteX107" fmla="*/ 88308 w 1739754"/>
                  <a:gd name="connsiteY107" fmla="*/ 2187327 h 2673102"/>
                  <a:gd name="connsiteX108" fmla="*/ 78783 w 1739754"/>
                  <a:gd name="connsiteY108" fmla="*/ 2111127 h 2673102"/>
                  <a:gd name="connsiteX109" fmla="*/ 97833 w 1739754"/>
                  <a:gd name="connsiteY109" fmla="*/ 1944439 h 2673102"/>
                  <a:gd name="connsiteX110" fmla="*/ 107358 w 1739754"/>
                  <a:gd name="connsiteY110" fmla="*/ 1930152 h 2673102"/>
                  <a:gd name="connsiteX111" fmla="*/ 126408 w 1739754"/>
                  <a:gd name="connsiteY111" fmla="*/ 1901577 h 2673102"/>
                  <a:gd name="connsiteX112" fmla="*/ 135933 w 1739754"/>
                  <a:gd name="connsiteY112" fmla="*/ 1868239 h 2673102"/>
                  <a:gd name="connsiteX113" fmla="*/ 131171 w 1739754"/>
                  <a:gd name="connsiteY113" fmla="*/ 1825377 h 2673102"/>
                  <a:gd name="connsiteX114" fmla="*/ 112121 w 1739754"/>
                  <a:gd name="connsiteY114" fmla="*/ 1820614 h 2673102"/>
                  <a:gd name="connsiteX115" fmla="*/ 102596 w 1739754"/>
                  <a:gd name="connsiteY115" fmla="*/ 1806327 h 2673102"/>
                  <a:gd name="connsiteX116" fmla="*/ 145458 w 1739754"/>
                  <a:gd name="connsiteY116" fmla="*/ 1720602 h 2673102"/>
                  <a:gd name="connsiteX117" fmla="*/ 159746 w 1739754"/>
                  <a:gd name="connsiteY117" fmla="*/ 1715839 h 2673102"/>
                  <a:gd name="connsiteX118" fmla="*/ 174033 w 1739754"/>
                  <a:gd name="connsiteY118" fmla="*/ 1696789 h 2673102"/>
                  <a:gd name="connsiteX119" fmla="*/ 188321 w 1739754"/>
                  <a:gd name="connsiteY119" fmla="*/ 1687264 h 2673102"/>
                  <a:gd name="connsiteX120" fmla="*/ 202608 w 1739754"/>
                  <a:gd name="connsiteY120" fmla="*/ 1653927 h 2673102"/>
                  <a:gd name="connsiteX121" fmla="*/ 193083 w 1739754"/>
                  <a:gd name="connsiteY121" fmla="*/ 1606302 h 2673102"/>
                  <a:gd name="connsiteX122" fmla="*/ 164508 w 1739754"/>
                  <a:gd name="connsiteY122" fmla="*/ 1596777 h 2673102"/>
                  <a:gd name="connsiteX123" fmla="*/ 154983 w 1739754"/>
                  <a:gd name="connsiteY123" fmla="*/ 1549152 h 2673102"/>
                  <a:gd name="connsiteX124" fmla="*/ 150221 w 1739754"/>
                  <a:gd name="connsiteY124" fmla="*/ 1411039 h 2673102"/>
                  <a:gd name="connsiteX125" fmla="*/ 140696 w 1739754"/>
                  <a:gd name="connsiteY125" fmla="*/ 1377702 h 2673102"/>
                  <a:gd name="connsiteX126" fmla="*/ 121646 w 1739754"/>
                  <a:gd name="connsiteY126" fmla="*/ 1311027 h 2673102"/>
                  <a:gd name="connsiteX127" fmla="*/ 116883 w 1739754"/>
                  <a:gd name="connsiteY127" fmla="*/ 1258639 h 2673102"/>
                  <a:gd name="connsiteX128" fmla="*/ 107358 w 1739754"/>
                  <a:gd name="connsiteY128" fmla="*/ 1244352 h 2673102"/>
                  <a:gd name="connsiteX129" fmla="*/ 93071 w 1739754"/>
                  <a:gd name="connsiteY129" fmla="*/ 1196727 h 2673102"/>
                  <a:gd name="connsiteX130" fmla="*/ 78783 w 1739754"/>
                  <a:gd name="connsiteY130" fmla="*/ 1177677 h 2673102"/>
                  <a:gd name="connsiteX131" fmla="*/ 59733 w 1739754"/>
                  <a:gd name="connsiteY131" fmla="*/ 1139577 h 2673102"/>
                  <a:gd name="connsiteX132" fmla="*/ 50208 w 1739754"/>
                  <a:gd name="connsiteY132" fmla="*/ 1111002 h 2673102"/>
                  <a:gd name="connsiteX133" fmla="*/ 45446 w 1739754"/>
                  <a:gd name="connsiteY133" fmla="*/ 1096714 h 2673102"/>
                  <a:gd name="connsiteX134" fmla="*/ 21633 w 1739754"/>
                  <a:gd name="connsiteY134" fmla="*/ 1025277 h 2673102"/>
                  <a:gd name="connsiteX135" fmla="*/ 202 w 1739754"/>
                  <a:gd name="connsiteY135" fmla="*/ 980033 h 2673102"/>
                  <a:gd name="connsiteX136" fmla="*/ 14490 w 1739754"/>
                  <a:gd name="connsiteY136" fmla="*/ 930027 h 2673102"/>
                  <a:gd name="connsiteX137" fmla="*/ 69259 w 1739754"/>
                  <a:gd name="connsiteY137" fmla="*/ 810964 h 2673102"/>
                  <a:gd name="connsiteX138" fmla="*/ 221658 w 1739754"/>
                  <a:gd name="connsiteY138" fmla="*/ 601414 h 2673102"/>
                  <a:gd name="connsiteX139" fmla="*/ 288333 w 1739754"/>
                  <a:gd name="connsiteY139" fmla="*/ 515689 h 2673102"/>
                  <a:gd name="connsiteX140" fmla="*/ 412158 w 1739754"/>
                  <a:gd name="connsiteY140" fmla="*/ 406152 h 2673102"/>
                  <a:gd name="connsiteX141" fmla="*/ 535983 w 1739754"/>
                  <a:gd name="connsiteY141" fmla="*/ 291851 h 2673102"/>
                  <a:gd name="connsiteX142" fmla="*/ 640758 w 1739754"/>
                  <a:gd name="connsiteY142" fmla="*/ 229939 h 2673102"/>
                  <a:gd name="connsiteX143" fmla="*/ 733628 w 1739754"/>
                  <a:gd name="connsiteY143" fmla="*/ 168026 h 2673102"/>
                  <a:gd name="connsiteX144" fmla="*/ 978896 w 1739754"/>
                  <a:gd name="connsiteY144" fmla="*/ 63251 h 2673102"/>
                  <a:gd name="connsiteX145" fmla="*/ 1159871 w 1739754"/>
                  <a:gd name="connsiteY145" fmla="*/ 6102 h 2673102"/>
                  <a:gd name="connsiteX146" fmla="*/ 1202733 w 1739754"/>
                  <a:gd name="connsiteY14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83583 w 1739754"/>
                  <a:gd name="connsiteY45" fmla="*/ 1525339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55008 w 1739754"/>
                  <a:gd name="connsiteY46" fmla="*/ 147295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12158 w 1739754"/>
                  <a:gd name="connsiteY46" fmla="*/ 1468189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16883 w 1739754"/>
                  <a:gd name="connsiteY123" fmla="*/ 1258639 h 2673102"/>
                  <a:gd name="connsiteX124" fmla="*/ 107358 w 1739754"/>
                  <a:gd name="connsiteY124" fmla="*/ 1244352 h 2673102"/>
                  <a:gd name="connsiteX125" fmla="*/ 93071 w 1739754"/>
                  <a:gd name="connsiteY125" fmla="*/ 1196727 h 2673102"/>
                  <a:gd name="connsiteX126" fmla="*/ 78783 w 1739754"/>
                  <a:gd name="connsiteY126" fmla="*/ 1177677 h 2673102"/>
                  <a:gd name="connsiteX127" fmla="*/ 59733 w 1739754"/>
                  <a:gd name="connsiteY127" fmla="*/ 1139577 h 2673102"/>
                  <a:gd name="connsiteX128" fmla="*/ 50208 w 1739754"/>
                  <a:gd name="connsiteY128" fmla="*/ 1111002 h 2673102"/>
                  <a:gd name="connsiteX129" fmla="*/ 45446 w 1739754"/>
                  <a:gd name="connsiteY129" fmla="*/ 1096714 h 2673102"/>
                  <a:gd name="connsiteX130" fmla="*/ 21633 w 1739754"/>
                  <a:gd name="connsiteY130" fmla="*/ 1025277 h 2673102"/>
                  <a:gd name="connsiteX131" fmla="*/ 202 w 1739754"/>
                  <a:gd name="connsiteY131" fmla="*/ 980033 h 2673102"/>
                  <a:gd name="connsiteX132" fmla="*/ 14490 w 1739754"/>
                  <a:gd name="connsiteY132" fmla="*/ 930027 h 2673102"/>
                  <a:gd name="connsiteX133" fmla="*/ 69259 w 1739754"/>
                  <a:gd name="connsiteY133" fmla="*/ 810964 h 2673102"/>
                  <a:gd name="connsiteX134" fmla="*/ 221658 w 1739754"/>
                  <a:gd name="connsiteY134" fmla="*/ 601414 h 2673102"/>
                  <a:gd name="connsiteX135" fmla="*/ 288333 w 1739754"/>
                  <a:gd name="connsiteY135" fmla="*/ 515689 h 2673102"/>
                  <a:gd name="connsiteX136" fmla="*/ 412158 w 1739754"/>
                  <a:gd name="connsiteY136" fmla="*/ 406152 h 2673102"/>
                  <a:gd name="connsiteX137" fmla="*/ 535983 w 1739754"/>
                  <a:gd name="connsiteY137" fmla="*/ 291851 h 2673102"/>
                  <a:gd name="connsiteX138" fmla="*/ 640758 w 1739754"/>
                  <a:gd name="connsiteY138" fmla="*/ 229939 h 2673102"/>
                  <a:gd name="connsiteX139" fmla="*/ 733628 w 1739754"/>
                  <a:gd name="connsiteY139" fmla="*/ 168026 h 2673102"/>
                  <a:gd name="connsiteX140" fmla="*/ 978896 w 1739754"/>
                  <a:gd name="connsiteY140" fmla="*/ 63251 h 2673102"/>
                  <a:gd name="connsiteX141" fmla="*/ 1159871 w 1739754"/>
                  <a:gd name="connsiteY141" fmla="*/ 6102 h 2673102"/>
                  <a:gd name="connsiteX142" fmla="*/ 1202733 w 1739754"/>
                  <a:gd name="connsiteY14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93071 w 1739754"/>
                  <a:gd name="connsiteY124" fmla="*/ 1196727 h 2673102"/>
                  <a:gd name="connsiteX125" fmla="*/ 78783 w 1739754"/>
                  <a:gd name="connsiteY125" fmla="*/ 1177677 h 2673102"/>
                  <a:gd name="connsiteX126" fmla="*/ 59733 w 1739754"/>
                  <a:gd name="connsiteY126" fmla="*/ 1139577 h 2673102"/>
                  <a:gd name="connsiteX127" fmla="*/ 50208 w 1739754"/>
                  <a:gd name="connsiteY127" fmla="*/ 1111002 h 2673102"/>
                  <a:gd name="connsiteX128" fmla="*/ 45446 w 1739754"/>
                  <a:gd name="connsiteY128" fmla="*/ 1096714 h 2673102"/>
                  <a:gd name="connsiteX129" fmla="*/ 21633 w 1739754"/>
                  <a:gd name="connsiteY129" fmla="*/ 1025277 h 2673102"/>
                  <a:gd name="connsiteX130" fmla="*/ 202 w 1739754"/>
                  <a:gd name="connsiteY130" fmla="*/ 980033 h 2673102"/>
                  <a:gd name="connsiteX131" fmla="*/ 14490 w 1739754"/>
                  <a:gd name="connsiteY131" fmla="*/ 930027 h 2673102"/>
                  <a:gd name="connsiteX132" fmla="*/ 69259 w 1739754"/>
                  <a:gd name="connsiteY132" fmla="*/ 810964 h 2673102"/>
                  <a:gd name="connsiteX133" fmla="*/ 221658 w 1739754"/>
                  <a:gd name="connsiteY133" fmla="*/ 601414 h 2673102"/>
                  <a:gd name="connsiteX134" fmla="*/ 288333 w 1739754"/>
                  <a:gd name="connsiteY134" fmla="*/ 515689 h 2673102"/>
                  <a:gd name="connsiteX135" fmla="*/ 412158 w 1739754"/>
                  <a:gd name="connsiteY135" fmla="*/ 406152 h 2673102"/>
                  <a:gd name="connsiteX136" fmla="*/ 535983 w 1739754"/>
                  <a:gd name="connsiteY136" fmla="*/ 291851 h 2673102"/>
                  <a:gd name="connsiteX137" fmla="*/ 640758 w 1739754"/>
                  <a:gd name="connsiteY137" fmla="*/ 229939 h 2673102"/>
                  <a:gd name="connsiteX138" fmla="*/ 733628 w 1739754"/>
                  <a:gd name="connsiteY138" fmla="*/ 168026 h 2673102"/>
                  <a:gd name="connsiteX139" fmla="*/ 978896 w 1739754"/>
                  <a:gd name="connsiteY139" fmla="*/ 63251 h 2673102"/>
                  <a:gd name="connsiteX140" fmla="*/ 1159871 w 1739754"/>
                  <a:gd name="connsiteY140" fmla="*/ 6102 h 2673102"/>
                  <a:gd name="connsiteX141" fmla="*/ 1202733 w 1739754"/>
                  <a:gd name="connsiteY14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50208 w 1739754"/>
                  <a:gd name="connsiteY126" fmla="*/ 1111002 h 2673102"/>
                  <a:gd name="connsiteX127" fmla="*/ 45446 w 1739754"/>
                  <a:gd name="connsiteY127" fmla="*/ 1096714 h 2673102"/>
                  <a:gd name="connsiteX128" fmla="*/ 21633 w 1739754"/>
                  <a:gd name="connsiteY128" fmla="*/ 1025277 h 2673102"/>
                  <a:gd name="connsiteX129" fmla="*/ 202 w 1739754"/>
                  <a:gd name="connsiteY129" fmla="*/ 980033 h 2673102"/>
                  <a:gd name="connsiteX130" fmla="*/ 14490 w 1739754"/>
                  <a:gd name="connsiteY130" fmla="*/ 930027 h 2673102"/>
                  <a:gd name="connsiteX131" fmla="*/ 69259 w 1739754"/>
                  <a:gd name="connsiteY131" fmla="*/ 810964 h 2673102"/>
                  <a:gd name="connsiteX132" fmla="*/ 221658 w 1739754"/>
                  <a:gd name="connsiteY132" fmla="*/ 601414 h 2673102"/>
                  <a:gd name="connsiteX133" fmla="*/ 288333 w 1739754"/>
                  <a:gd name="connsiteY133" fmla="*/ 515689 h 2673102"/>
                  <a:gd name="connsiteX134" fmla="*/ 412158 w 1739754"/>
                  <a:gd name="connsiteY134" fmla="*/ 406152 h 2673102"/>
                  <a:gd name="connsiteX135" fmla="*/ 535983 w 1739754"/>
                  <a:gd name="connsiteY135" fmla="*/ 291851 h 2673102"/>
                  <a:gd name="connsiteX136" fmla="*/ 640758 w 1739754"/>
                  <a:gd name="connsiteY136" fmla="*/ 229939 h 2673102"/>
                  <a:gd name="connsiteX137" fmla="*/ 733628 w 1739754"/>
                  <a:gd name="connsiteY137" fmla="*/ 168026 h 2673102"/>
                  <a:gd name="connsiteX138" fmla="*/ 978896 w 1739754"/>
                  <a:gd name="connsiteY138" fmla="*/ 63251 h 2673102"/>
                  <a:gd name="connsiteX139" fmla="*/ 1159871 w 1739754"/>
                  <a:gd name="connsiteY139" fmla="*/ 6102 h 2673102"/>
                  <a:gd name="connsiteX140" fmla="*/ 1202733 w 1739754"/>
                  <a:gd name="connsiteY14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45446 w 1739754"/>
                  <a:gd name="connsiteY126" fmla="*/ 1096714 h 2673102"/>
                  <a:gd name="connsiteX127" fmla="*/ 21633 w 1739754"/>
                  <a:gd name="connsiteY127" fmla="*/ 1025277 h 2673102"/>
                  <a:gd name="connsiteX128" fmla="*/ 202 w 1739754"/>
                  <a:gd name="connsiteY128" fmla="*/ 980033 h 2673102"/>
                  <a:gd name="connsiteX129" fmla="*/ 14490 w 1739754"/>
                  <a:gd name="connsiteY129" fmla="*/ 930027 h 2673102"/>
                  <a:gd name="connsiteX130" fmla="*/ 69259 w 1739754"/>
                  <a:gd name="connsiteY130" fmla="*/ 810964 h 2673102"/>
                  <a:gd name="connsiteX131" fmla="*/ 221658 w 1739754"/>
                  <a:gd name="connsiteY131" fmla="*/ 601414 h 2673102"/>
                  <a:gd name="connsiteX132" fmla="*/ 288333 w 1739754"/>
                  <a:gd name="connsiteY132" fmla="*/ 515689 h 2673102"/>
                  <a:gd name="connsiteX133" fmla="*/ 412158 w 1739754"/>
                  <a:gd name="connsiteY133" fmla="*/ 406152 h 2673102"/>
                  <a:gd name="connsiteX134" fmla="*/ 535983 w 1739754"/>
                  <a:gd name="connsiteY134" fmla="*/ 291851 h 2673102"/>
                  <a:gd name="connsiteX135" fmla="*/ 640758 w 1739754"/>
                  <a:gd name="connsiteY135" fmla="*/ 229939 h 2673102"/>
                  <a:gd name="connsiteX136" fmla="*/ 733628 w 1739754"/>
                  <a:gd name="connsiteY136" fmla="*/ 168026 h 2673102"/>
                  <a:gd name="connsiteX137" fmla="*/ 978896 w 1739754"/>
                  <a:gd name="connsiteY137" fmla="*/ 63251 h 2673102"/>
                  <a:gd name="connsiteX138" fmla="*/ 1159871 w 1739754"/>
                  <a:gd name="connsiteY138" fmla="*/ 6102 h 2673102"/>
                  <a:gd name="connsiteX139" fmla="*/ 1202733 w 1739754"/>
                  <a:gd name="connsiteY13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45446 w 1739754"/>
                  <a:gd name="connsiteY125" fmla="*/ 1096714 h 2673102"/>
                  <a:gd name="connsiteX126" fmla="*/ 21633 w 1739754"/>
                  <a:gd name="connsiteY126" fmla="*/ 1025277 h 2673102"/>
                  <a:gd name="connsiteX127" fmla="*/ 202 w 1739754"/>
                  <a:gd name="connsiteY127" fmla="*/ 980033 h 2673102"/>
                  <a:gd name="connsiteX128" fmla="*/ 14490 w 1739754"/>
                  <a:gd name="connsiteY128" fmla="*/ 930027 h 2673102"/>
                  <a:gd name="connsiteX129" fmla="*/ 69259 w 1739754"/>
                  <a:gd name="connsiteY129" fmla="*/ 810964 h 2673102"/>
                  <a:gd name="connsiteX130" fmla="*/ 221658 w 1739754"/>
                  <a:gd name="connsiteY130" fmla="*/ 601414 h 2673102"/>
                  <a:gd name="connsiteX131" fmla="*/ 288333 w 1739754"/>
                  <a:gd name="connsiteY131" fmla="*/ 515689 h 2673102"/>
                  <a:gd name="connsiteX132" fmla="*/ 412158 w 1739754"/>
                  <a:gd name="connsiteY132" fmla="*/ 406152 h 2673102"/>
                  <a:gd name="connsiteX133" fmla="*/ 535983 w 1739754"/>
                  <a:gd name="connsiteY133" fmla="*/ 291851 h 2673102"/>
                  <a:gd name="connsiteX134" fmla="*/ 640758 w 1739754"/>
                  <a:gd name="connsiteY134" fmla="*/ 229939 h 2673102"/>
                  <a:gd name="connsiteX135" fmla="*/ 733628 w 1739754"/>
                  <a:gd name="connsiteY135" fmla="*/ 168026 h 2673102"/>
                  <a:gd name="connsiteX136" fmla="*/ 978896 w 1739754"/>
                  <a:gd name="connsiteY136" fmla="*/ 63251 h 2673102"/>
                  <a:gd name="connsiteX137" fmla="*/ 1159871 w 1739754"/>
                  <a:gd name="connsiteY137" fmla="*/ 6102 h 2673102"/>
                  <a:gd name="connsiteX138" fmla="*/ 1202733 w 1739754"/>
                  <a:gd name="connsiteY13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40696 w 1739754"/>
                  <a:gd name="connsiteY120" fmla="*/ 1377702 h 2673102"/>
                  <a:gd name="connsiteX121" fmla="*/ 121646 w 1739754"/>
                  <a:gd name="connsiteY121" fmla="*/ 1311027 h 2673102"/>
                  <a:gd name="connsiteX122" fmla="*/ 107358 w 1739754"/>
                  <a:gd name="connsiteY122" fmla="*/ 1244352 h 2673102"/>
                  <a:gd name="connsiteX123" fmla="*/ 78783 w 1739754"/>
                  <a:gd name="connsiteY123" fmla="*/ 1177677 h 2673102"/>
                  <a:gd name="connsiteX124" fmla="*/ 45446 w 1739754"/>
                  <a:gd name="connsiteY124" fmla="*/ 1096714 h 2673102"/>
                  <a:gd name="connsiteX125" fmla="*/ 21633 w 1739754"/>
                  <a:gd name="connsiteY125" fmla="*/ 1025277 h 2673102"/>
                  <a:gd name="connsiteX126" fmla="*/ 202 w 1739754"/>
                  <a:gd name="connsiteY126" fmla="*/ 980033 h 2673102"/>
                  <a:gd name="connsiteX127" fmla="*/ 14490 w 1739754"/>
                  <a:gd name="connsiteY127" fmla="*/ 930027 h 2673102"/>
                  <a:gd name="connsiteX128" fmla="*/ 69259 w 1739754"/>
                  <a:gd name="connsiteY128" fmla="*/ 810964 h 2673102"/>
                  <a:gd name="connsiteX129" fmla="*/ 221658 w 1739754"/>
                  <a:gd name="connsiteY129" fmla="*/ 601414 h 2673102"/>
                  <a:gd name="connsiteX130" fmla="*/ 288333 w 1739754"/>
                  <a:gd name="connsiteY130" fmla="*/ 515689 h 2673102"/>
                  <a:gd name="connsiteX131" fmla="*/ 412158 w 1739754"/>
                  <a:gd name="connsiteY131" fmla="*/ 406152 h 2673102"/>
                  <a:gd name="connsiteX132" fmla="*/ 535983 w 1739754"/>
                  <a:gd name="connsiteY132" fmla="*/ 291851 h 2673102"/>
                  <a:gd name="connsiteX133" fmla="*/ 640758 w 1739754"/>
                  <a:gd name="connsiteY133" fmla="*/ 229939 h 2673102"/>
                  <a:gd name="connsiteX134" fmla="*/ 733628 w 1739754"/>
                  <a:gd name="connsiteY134" fmla="*/ 168026 h 2673102"/>
                  <a:gd name="connsiteX135" fmla="*/ 978896 w 1739754"/>
                  <a:gd name="connsiteY135" fmla="*/ 63251 h 2673102"/>
                  <a:gd name="connsiteX136" fmla="*/ 1159871 w 1739754"/>
                  <a:gd name="connsiteY136" fmla="*/ 6102 h 2673102"/>
                  <a:gd name="connsiteX137" fmla="*/ 1202733 w 1739754"/>
                  <a:gd name="connsiteY13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54983 w 1739754"/>
                  <a:gd name="connsiteY118" fmla="*/ 1549152 h 2673102"/>
                  <a:gd name="connsiteX119" fmla="*/ 140696 w 1739754"/>
                  <a:gd name="connsiteY119" fmla="*/ 1377702 h 2673102"/>
                  <a:gd name="connsiteX120" fmla="*/ 121646 w 1739754"/>
                  <a:gd name="connsiteY120" fmla="*/ 1311027 h 2673102"/>
                  <a:gd name="connsiteX121" fmla="*/ 107358 w 1739754"/>
                  <a:gd name="connsiteY121" fmla="*/ 1244352 h 2673102"/>
                  <a:gd name="connsiteX122" fmla="*/ 78783 w 1739754"/>
                  <a:gd name="connsiteY122" fmla="*/ 1177677 h 2673102"/>
                  <a:gd name="connsiteX123" fmla="*/ 45446 w 1739754"/>
                  <a:gd name="connsiteY123" fmla="*/ 1096714 h 2673102"/>
                  <a:gd name="connsiteX124" fmla="*/ 21633 w 1739754"/>
                  <a:gd name="connsiteY124" fmla="*/ 1025277 h 2673102"/>
                  <a:gd name="connsiteX125" fmla="*/ 202 w 1739754"/>
                  <a:gd name="connsiteY125" fmla="*/ 980033 h 2673102"/>
                  <a:gd name="connsiteX126" fmla="*/ 14490 w 1739754"/>
                  <a:gd name="connsiteY126" fmla="*/ 930027 h 2673102"/>
                  <a:gd name="connsiteX127" fmla="*/ 69259 w 1739754"/>
                  <a:gd name="connsiteY127" fmla="*/ 810964 h 2673102"/>
                  <a:gd name="connsiteX128" fmla="*/ 221658 w 1739754"/>
                  <a:gd name="connsiteY128" fmla="*/ 601414 h 2673102"/>
                  <a:gd name="connsiteX129" fmla="*/ 288333 w 1739754"/>
                  <a:gd name="connsiteY129" fmla="*/ 515689 h 2673102"/>
                  <a:gd name="connsiteX130" fmla="*/ 412158 w 1739754"/>
                  <a:gd name="connsiteY130" fmla="*/ 406152 h 2673102"/>
                  <a:gd name="connsiteX131" fmla="*/ 535983 w 1739754"/>
                  <a:gd name="connsiteY131" fmla="*/ 291851 h 2673102"/>
                  <a:gd name="connsiteX132" fmla="*/ 640758 w 1739754"/>
                  <a:gd name="connsiteY132" fmla="*/ 229939 h 2673102"/>
                  <a:gd name="connsiteX133" fmla="*/ 733628 w 1739754"/>
                  <a:gd name="connsiteY133" fmla="*/ 168026 h 2673102"/>
                  <a:gd name="connsiteX134" fmla="*/ 978896 w 1739754"/>
                  <a:gd name="connsiteY134" fmla="*/ 63251 h 2673102"/>
                  <a:gd name="connsiteX135" fmla="*/ 1159871 w 1739754"/>
                  <a:gd name="connsiteY135" fmla="*/ 6102 h 2673102"/>
                  <a:gd name="connsiteX136" fmla="*/ 1202733 w 1739754"/>
                  <a:gd name="connsiteY13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88321 w 1739754"/>
                  <a:gd name="connsiteY114" fmla="*/ 1687264 h 2673102"/>
                  <a:gd name="connsiteX115" fmla="*/ 202608 w 1739754"/>
                  <a:gd name="connsiteY115" fmla="*/ 1653927 h 2673102"/>
                  <a:gd name="connsiteX116" fmla="*/ 193083 w 1739754"/>
                  <a:gd name="connsiteY116" fmla="*/ 1606302 h 2673102"/>
                  <a:gd name="connsiteX117" fmla="*/ 154983 w 1739754"/>
                  <a:gd name="connsiteY117" fmla="*/ 1549152 h 2673102"/>
                  <a:gd name="connsiteX118" fmla="*/ 140696 w 1739754"/>
                  <a:gd name="connsiteY118" fmla="*/ 1377702 h 2673102"/>
                  <a:gd name="connsiteX119" fmla="*/ 121646 w 1739754"/>
                  <a:gd name="connsiteY119" fmla="*/ 1311027 h 2673102"/>
                  <a:gd name="connsiteX120" fmla="*/ 107358 w 1739754"/>
                  <a:gd name="connsiteY120" fmla="*/ 1244352 h 2673102"/>
                  <a:gd name="connsiteX121" fmla="*/ 78783 w 1739754"/>
                  <a:gd name="connsiteY121" fmla="*/ 1177677 h 2673102"/>
                  <a:gd name="connsiteX122" fmla="*/ 45446 w 1739754"/>
                  <a:gd name="connsiteY122" fmla="*/ 1096714 h 2673102"/>
                  <a:gd name="connsiteX123" fmla="*/ 21633 w 1739754"/>
                  <a:gd name="connsiteY123" fmla="*/ 1025277 h 2673102"/>
                  <a:gd name="connsiteX124" fmla="*/ 202 w 1739754"/>
                  <a:gd name="connsiteY124" fmla="*/ 980033 h 2673102"/>
                  <a:gd name="connsiteX125" fmla="*/ 14490 w 1739754"/>
                  <a:gd name="connsiteY125" fmla="*/ 930027 h 2673102"/>
                  <a:gd name="connsiteX126" fmla="*/ 69259 w 1739754"/>
                  <a:gd name="connsiteY126" fmla="*/ 810964 h 2673102"/>
                  <a:gd name="connsiteX127" fmla="*/ 221658 w 1739754"/>
                  <a:gd name="connsiteY127" fmla="*/ 601414 h 2673102"/>
                  <a:gd name="connsiteX128" fmla="*/ 288333 w 1739754"/>
                  <a:gd name="connsiteY128" fmla="*/ 515689 h 2673102"/>
                  <a:gd name="connsiteX129" fmla="*/ 412158 w 1739754"/>
                  <a:gd name="connsiteY129" fmla="*/ 406152 h 2673102"/>
                  <a:gd name="connsiteX130" fmla="*/ 535983 w 1739754"/>
                  <a:gd name="connsiteY130" fmla="*/ 291851 h 2673102"/>
                  <a:gd name="connsiteX131" fmla="*/ 640758 w 1739754"/>
                  <a:gd name="connsiteY131" fmla="*/ 229939 h 2673102"/>
                  <a:gd name="connsiteX132" fmla="*/ 733628 w 1739754"/>
                  <a:gd name="connsiteY132" fmla="*/ 168026 h 2673102"/>
                  <a:gd name="connsiteX133" fmla="*/ 978896 w 1739754"/>
                  <a:gd name="connsiteY133" fmla="*/ 63251 h 2673102"/>
                  <a:gd name="connsiteX134" fmla="*/ 1159871 w 1739754"/>
                  <a:gd name="connsiteY134" fmla="*/ 6102 h 2673102"/>
                  <a:gd name="connsiteX135" fmla="*/ 1202733 w 1739754"/>
                  <a:gd name="connsiteY13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88321 w 1739754"/>
                  <a:gd name="connsiteY113" fmla="*/ 1687264 h 2673102"/>
                  <a:gd name="connsiteX114" fmla="*/ 202608 w 1739754"/>
                  <a:gd name="connsiteY114" fmla="*/ 1653927 h 2673102"/>
                  <a:gd name="connsiteX115" fmla="*/ 193083 w 1739754"/>
                  <a:gd name="connsiteY115" fmla="*/ 1606302 h 2673102"/>
                  <a:gd name="connsiteX116" fmla="*/ 154983 w 1739754"/>
                  <a:gd name="connsiteY116" fmla="*/ 1549152 h 2673102"/>
                  <a:gd name="connsiteX117" fmla="*/ 140696 w 1739754"/>
                  <a:gd name="connsiteY117" fmla="*/ 1377702 h 2673102"/>
                  <a:gd name="connsiteX118" fmla="*/ 121646 w 1739754"/>
                  <a:gd name="connsiteY118" fmla="*/ 1311027 h 2673102"/>
                  <a:gd name="connsiteX119" fmla="*/ 107358 w 1739754"/>
                  <a:gd name="connsiteY119" fmla="*/ 1244352 h 2673102"/>
                  <a:gd name="connsiteX120" fmla="*/ 78783 w 1739754"/>
                  <a:gd name="connsiteY120" fmla="*/ 1177677 h 2673102"/>
                  <a:gd name="connsiteX121" fmla="*/ 45446 w 1739754"/>
                  <a:gd name="connsiteY121" fmla="*/ 1096714 h 2673102"/>
                  <a:gd name="connsiteX122" fmla="*/ 21633 w 1739754"/>
                  <a:gd name="connsiteY122" fmla="*/ 1025277 h 2673102"/>
                  <a:gd name="connsiteX123" fmla="*/ 202 w 1739754"/>
                  <a:gd name="connsiteY123" fmla="*/ 980033 h 2673102"/>
                  <a:gd name="connsiteX124" fmla="*/ 14490 w 1739754"/>
                  <a:gd name="connsiteY124" fmla="*/ 930027 h 2673102"/>
                  <a:gd name="connsiteX125" fmla="*/ 69259 w 1739754"/>
                  <a:gd name="connsiteY125" fmla="*/ 810964 h 2673102"/>
                  <a:gd name="connsiteX126" fmla="*/ 221658 w 1739754"/>
                  <a:gd name="connsiteY126" fmla="*/ 601414 h 2673102"/>
                  <a:gd name="connsiteX127" fmla="*/ 288333 w 1739754"/>
                  <a:gd name="connsiteY127" fmla="*/ 515689 h 2673102"/>
                  <a:gd name="connsiteX128" fmla="*/ 412158 w 1739754"/>
                  <a:gd name="connsiteY128" fmla="*/ 406152 h 2673102"/>
                  <a:gd name="connsiteX129" fmla="*/ 535983 w 1739754"/>
                  <a:gd name="connsiteY129" fmla="*/ 291851 h 2673102"/>
                  <a:gd name="connsiteX130" fmla="*/ 640758 w 1739754"/>
                  <a:gd name="connsiteY130" fmla="*/ 229939 h 2673102"/>
                  <a:gd name="connsiteX131" fmla="*/ 733628 w 1739754"/>
                  <a:gd name="connsiteY131" fmla="*/ 168026 h 2673102"/>
                  <a:gd name="connsiteX132" fmla="*/ 978896 w 1739754"/>
                  <a:gd name="connsiteY132" fmla="*/ 63251 h 2673102"/>
                  <a:gd name="connsiteX133" fmla="*/ 1159871 w 1739754"/>
                  <a:gd name="connsiteY133" fmla="*/ 6102 h 2673102"/>
                  <a:gd name="connsiteX134" fmla="*/ 1202733 w 1739754"/>
                  <a:gd name="connsiteY13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35933 w 1739754"/>
                  <a:gd name="connsiteY107" fmla="*/ 1868239 h 2673102"/>
                  <a:gd name="connsiteX108" fmla="*/ 131171 w 1739754"/>
                  <a:gd name="connsiteY108" fmla="*/ 1825377 h 2673102"/>
                  <a:gd name="connsiteX109" fmla="*/ 112121 w 1739754"/>
                  <a:gd name="connsiteY109" fmla="*/ 1820614 h 2673102"/>
                  <a:gd name="connsiteX110" fmla="*/ 102596 w 1739754"/>
                  <a:gd name="connsiteY110" fmla="*/ 1806327 h 2673102"/>
                  <a:gd name="connsiteX111" fmla="*/ 145458 w 1739754"/>
                  <a:gd name="connsiteY111" fmla="*/ 1720602 h 2673102"/>
                  <a:gd name="connsiteX112" fmla="*/ 188321 w 1739754"/>
                  <a:gd name="connsiteY112" fmla="*/ 1687264 h 2673102"/>
                  <a:gd name="connsiteX113" fmla="*/ 202608 w 1739754"/>
                  <a:gd name="connsiteY113" fmla="*/ 1653927 h 2673102"/>
                  <a:gd name="connsiteX114" fmla="*/ 193083 w 1739754"/>
                  <a:gd name="connsiteY114" fmla="*/ 1606302 h 2673102"/>
                  <a:gd name="connsiteX115" fmla="*/ 154983 w 1739754"/>
                  <a:gd name="connsiteY115" fmla="*/ 1549152 h 2673102"/>
                  <a:gd name="connsiteX116" fmla="*/ 140696 w 1739754"/>
                  <a:gd name="connsiteY116" fmla="*/ 1377702 h 2673102"/>
                  <a:gd name="connsiteX117" fmla="*/ 121646 w 1739754"/>
                  <a:gd name="connsiteY117" fmla="*/ 1311027 h 2673102"/>
                  <a:gd name="connsiteX118" fmla="*/ 107358 w 1739754"/>
                  <a:gd name="connsiteY118" fmla="*/ 1244352 h 2673102"/>
                  <a:gd name="connsiteX119" fmla="*/ 78783 w 1739754"/>
                  <a:gd name="connsiteY119" fmla="*/ 1177677 h 2673102"/>
                  <a:gd name="connsiteX120" fmla="*/ 45446 w 1739754"/>
                  <a:gd name="connsiteY120" fmla="*/ 1096714 h 2673102"/>
                  <a:gd name="connsiteX121" fmla="*/ 21633 w 1739754"/>
                  <a:gd name="connsiteY121" fmla="*/ 1025277 h 2673102"/>
                  <a:gd name="connsiteX122" fmla="*/ 202 w 1739754"/>
                  <a:gd name="connsiteY122" fmla="*/ 980033 h 2673102"/>
                  <a:gd name="connsiteX123" fmla="*/ 14490 w 1739754"/>
                  <a:gd name="connsiteY123" fmla="*/ 930027 h 2673102"/>
                  <a:gd name="connsiteX124" fmla="*/ 69259 w 1739754"/>
                  <a:gd name="connsiteY124" fmla="*/ 810964 h 2673102"/>
                  <a:gd name="connsiteX125" fmla="*/ 221658 w 1739754"/>
                  <a:gd name="connsiteY125" fmla="*/ 601414 h 2673102"/>
                  <a:gd name="connsiteX126" fmla="*/ 288333 w 1739754"/>
                  <a:gd name="connsiteY126" fmla="*/ 515689 h 2673102"/>
                  <a:gd name="connsiteX127" fmla="*/ 412158 w 1739754"/>
                  <a:gd name="connsiteY127" fmla="*/ 406152 h 2673102"/>
                  <a:gd name="connsiteX128" fmla="*/ 535983 w 1739754"/>
                  <a:gd name="connsiteY128" fmla="*/ 291851 h 2673102"/>
                  <a:gd name="connsiteX129" fmla="*/ 640758 w 1739754"/>
                  <a:gd name="connsiteY129" fmla="*/ 229939 h 2673102"/>
                  <a:gd name="connsiteX130" fmla="*/ 733628 w 1739754"/>
                  <a:gd name="connsiteY130" fmla="*/ 168026 h 2673102"/>
                  <a:gd name="connsiteX131" fmla="*/ 978896 w 1739754"/>
                  <a:gd name="connsiteY131" fmla="*/ 63251 h 2673102"/>
                  <a:gd name="connsiteX132" fmla="*/ 1159871 w 1739754"/>
                  <a:gd name="connsiteY132" fmla="*/ 6102 h 2673102"/>
                  <a:gd name="connsiteX133" fmla="*/ 1202733 w 1739754"/>
                  <a:gd name="connsiteY13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35933 w 1739754"/>
                  <a:gd name="connsiteY106" fmla="*/ 1868239 h 2673102"/>
                  <a:gd name="connsiteX107" fmla="*/ 131171 w 1739754"/>
                  <a:gd name="connsiteY107" fmla="*/ 1825377 h 2673102"/>
                  <a:gd name="connsiteX108" fmla="*/ 112121 w 1739754"/>
                  <a:gd name="connsiteY108" fmla="*/ 1820614 h 2673102"/>
                  <a:gd name="connsiteX109" fmla="*/ 102596 w 1739754"/>
                  <a:gd name="connsiteY109" fmla="*/ 1806327 h 2673102"/>
                  <a:gd name="connsiteX110" fmla="*/ 145458 w 1739754"/>
                  <a:gd name="connsiteY110" fmla="*/ 1720602 h 2673102"/>
                  <a:gd name="connsiteX111" fmla="*/ 188321 w 1739754"/>
                  <a:gd name="connsiteY111" fmla="*/ 1687264 h 2673102"/>
                  <a:gd name="connsiteX112" fmla="*/ 202608 w 1739754"/>
                  <a:gd name="connsiteY112" fmla="*/ 1653927 h 2673102"/>
                  <a:gd name="connsiteX113" fmla="*/ 193083 w 1739754"/>
                  <a:gd name="connsiteY113" fmla="*/ 1606302 h 2673102"/>
                  <a:gd name="connsiteX114" fmla="*/ 154983 w 1739754"/>
                  <a:gd name="connsiteY114" fmla="*/ 1549152 h 2673102"/>
                  <a:gd name="connsiteX115" fmla="*/ 140696 w 1739754"/>
                  <a:gd name="connsiteY115" fmla="*/ 1377702 h 2673102"/>
                  <a:gd name="connsiteX116" fmla="*/ 121646 w 1739754"/>
                  <a:gd name="connsiteY116" fmla="*/ 1311027 h 2673102"/>
                  <a:gd name="connsiteX117" fmla="*/ 107358 w 1739754"/>
                  <a:gd name="connsiteY117" fmla="*/ 1244352 h 2673102"/>
                  <a:gd name="connsiteX118" fmla="*/ 78783 w 1739754"/>
                  <a:gd name="connsiteY118" fmla="*/ 1177677 h 2673102"/>
                  <a:gd name="connsiteX119" fmla="*/ 45446 w 1739754"/>
                  <a:gd name="connsiteY119" fmla="*/ 1096714 h 2673102"/>
                  <a:gd name="connsiteX120" fmla="*/ 21633 w 1739754"/>
                  <a:gd name="connsiteY120" fmla="*/ 1025277 h 2673102"/>
                  <a:gd name="connsiteX121" fmla="*/ 202 w 1739754"/>
                  <a:gd name="connsiteY121" fmla="*/ 980033 h 2673102"/>
                  <a:gd name="connsiteX122" fmla="*/ 14490 w 1739754"/>
                  <a:gd name="connsiteY122" fmla="*/ 930027 h 2673102"/>
                  <a:gd name="connsiteX123" fmla="*/ 69259 w 1739754"/>
                  <a:gd name="connsiteY123" fmla="*/ 810964 h 2673102"/>
                  <a:gd name="connsiteX124" fmla="*/ 221658 w 1739754"/>
                  <a:gd name="connsiteY124" fmla="*/ 601414 h 2673102"/>
                  <a:gd name="connsiteX125" fmla="*/ 288333 w 1739754"/>
                  <a:gd name="connsiteY125" fmla="*/ 515689 h 2673102"/>
                  <a:gd name="connsiteX126" fmla="*/ 412158 w 1739754"/>
                  <a:gd name="connsiteY126" fmla="*/ 406152 h 2673102"/>
                  <a:gd name="connsiteX127" fmla="*/ 535983 w 1739754"/>
                  <a:gd name="connsiteY127" fmla="*/ 291851 h 2673102"/>
                  <a:gd name="connsiteX128" fmla="*/ 640758 w 1739754"/>
                  <a:gd name="connsiteY128" fmla="*/ 229939 h 2673102"/>
                  <a:gd name="connsiteX129" fmla="*/ 733628 w 1739754"/>
                  <a:gd name="connsiteY129" fmla="*/ 168026 h 2673102"/>
                  <a:gd name="connsiteX130" fmla="*/ 978896 w 1739754"/>
                  <a:gd name="connsiteY130" fmla="*/ 63251 h 2673102"/>
                  <a:gd name="connsiteX131" fmla="*/ 1159871 w 1739754"/>
                  <a:gd name="connsiteY131" fmla="*/ 6102 h 2673102"/>
                  <a:gd name="connsiteX132" fmla="*/ 1202733 w 1739754"/>
                  <a:gd name="connsiteY13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93071 w 1739754"/>
                  <a:gd name="connsiteY101" fmla="*/ 2211139 h 2673102"/>
                  <a:gd name="connsiteX102" fmla="*/ 88308 w 1739754"/>
                  <a:gd name="connsiteY102" fmla="*/ 2187327 h 2673102"/>
                  <a:gd name="connsiteX103" fmla="*/ 78783 w 1739754"/>
                  <a:gd name="connsiteY103" fmla="*/ 2111127 h 2673102"/>
                  <a:gd name="connsiteX104" fmla="*/ 97833 w 1739754"/>
                  <a:gd name="connsiteY104" fmla="*/ 1944439 h 2673102"/>
                  <a:gd name="connsiteX105" fmla="*/ 135933 w 1739754"/>
                  <a:gd name="connsiteY105" fmla="*/ 1868239 h 2673102"/>
                  <a:gd name="connsiteX106" fmla="*/ 131171 w 1739754"/>
                  <a:gd name="connsiteY106" fmla="*/ 1825377 h 2673102"/>
                  <a:gd name="connsiteX107" fmla="*/ 112121 w 1739754"/>
                  <a:gd name="connsiteY107" fmla="*/ 1820614 h 2673102"/>
                  <a:gd name="connsiteX108" fmla="*/ 102596 w 1739754"/>
                  <a:gd name="connsiteY108" fmla="*/ 1806327 h 2673102"/>
                  <a:gd name="connsiteX109" fmla="*/ 145458 w 1739754"/>
                  <a:gd name="connsiteY109" fmla="*/ 1720602 h 2673102"/>
                  <a:gd name="connsiteX110" fmla="*/ 188321 w 1739754"/>
                  <a:gd name="connsiteY110" fmla="*/ 1687264 h 2673102"/>
                  <a:gd name="connsiteX111" fmla="*/ 202608 w 1739754"/>
                  <a:gd name="connsiteY111" fmla="*/ 1653927 h 2673102"/>
                  <a:gd name="connsiteX112" fmla="*/ 193083 w 1739754"/>
                  <a:gd name="connsiteY112" fmla="*/ 1606302 h 2673102"/>
                  <a:gd name="connsiteX113" fmla="*/ 154983 w 1739754"/>
                  <a:gd name="connsiteY113" fmla="*/ 1549152 h 2673102"/>
                  <a:gd name="connsiteX114" fmla="*/ 140696 w 1739754"/>
                  <a:gd name="connsiteY114" fmla="*/ 1377702 h 2673102"/>
                  <a:gd name="connsiteX115" fmla="*/ 121646 w 1739754"/>
                  <a:gd name="connsiteY115" fmla="*/ 1311027 h 2673102"/>
                  <a:gd name="connsiteX116" fmla="*/ 107358 w 1739754"/>
                  <a:gd name="connsiteY116" fmla="*/ 1244352 h 2673102"/>
                  <a:gd name="connsiteX117" fmla="*/ 78783 w 1739754"/>
                  <a:gd name="connsiteY117" fmla="*/ 1177677 h 2673102"/>
                  <a:gd name="connsiteX118" fmla="*/ 45446 w 1739754"/>
                  <a:gd name="connsiteY118" fmla="*/ 1096714 h 2673102"/>
                  <a:gd name="connsiteX119" fmla="*/ 21633 w 1739754"/>
                  <a:gd name="connsiteY119" fmla="*/ 1025277 h 2673102"/>
                  <a:gd name="connsiteX120" fmla="*/ 202 w 1739754"/>
                  <a:gd name="connsiteY120" fmla="*/ 980033 h 2673102"/>
                  <a:gd name="connsiteX121" fmla="*/ 14490 w 1739754"/>
                  <a:gd name="connsiteY121" fmla="*/ 930027 h 2673102"/>
                  <a:gd name="connsiteX122" fmla="*/ 69259 w 1739754"/>
                  <a:gd name="connsiteY122" fmla="*/ 810964 h 2673102"/>
                  <a:gd name="connsiteX123" fmla="*/ 221658 w 1739754"/>
                  <a:gd name="connsiteY123" fmla="*/ 601414 h 2673102"/>
                  <a:gd name="connsiteX124" fmla="*/ 288333 w 1739754"/>
                  <a:gd name="connsiteY124" fmla="*/ 515689 h 2673102"/>
                  <a:gd name="connsiteX125" fmla="*/ 412158 w 1739754"/>
                  <a:gd name="connsiteY125" fmla="*/ 406152 h 2673102"/>
                  <a:gd name="connsiteX126" fmla="*/ 535983 w 1739754"/>
                  <a:gd name="connsiteY126" fmla="*/ 291851 h 2673102"/>
                  <a:gd name="connsiteX127" fmla="*/ 640758 w 1739754"/>
                  <a:gd name="connsiteY127" fmla="*/ 229939 h 2673102"/>
                  <a:gd name="connsiteX128" fmla="*/ 733628 w 1739754"/>
                  <a:gd name="connsiteY128" fmla="*/ 168026 h 2673102"/>
                  <a:gd name="connsiteX129" fmla="*/ 978896 w 1739754"/>
                  <a:gd name="connsiteY129" fmla="*/ 63251 h 2673102"/>
                  <a:gd name="connsiteX130" fmla="*/ 1159871 w 1739754"/>
                  <a:gd name="connsiteY130" fmla="*/ 6102 h 2673102"/>
                  <a:gd name="connsiteX131" fmla="*/ 1202733 w 1739754"/>
                  <a:gd name="connsiteY13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93071 w 1739754"/>
                  <a:gd name="connsiteY100" fmla="*/ 2211139 h 2673102"/>
                  <a:gd name="connsiteX101" fmla="*/ 88308 w 1739754"/>
                  <a:gd name="connsiteY101" fmla="*/ 2187327 h 2673102"/>
                  <a:gd name="connsiteX102" fmla="*/ 78783 w 1739754"/>
                  <a:gd name="connsiteY102" fmla="*/ 2111127 h 2673102"/>
                  <a:gd name="connsiteX103" fmla="*/ 97833 w 1739754"/>
                  <a:gd name="connsiteY103" fmla="*/ 1944439 h 2673102"/>
                  <a:gd name="connsiteX104" fmla="*/ 135933 w 1739754"/>
                  <a:gd name="connsiteY104" fmla="*/ 1868239 h 2673102"/>
                  <a:gd name="connsiteX105" fmla="*/ 131171 w 1739754"/>
                  <a:gd name="connsiteY105" fmla="*/ 1825377 h 2673102"/>
                  <a:gd name="connsiteX106" fmla="*/ 112121 w 1739754"/>
                  <a:gd name="connsiteY106" fmla="*/ 1820614 h 2673102"/>
                  <a:gd name="connsiteX107" fmla="*/ 102596 w 1739754"/>
                  <a:gd name="connsiteY107" fmla="*/ 1806327 h 2673102"/>
                  <a:gd name="connsiteX108" fmla="*/ 145458 w 1739754"/>
                  <a:gd name="connsiteY108" fmla="*/ 1720602 h 2673102"/>
                  <a:gd name="connsiteX109" fmla="*/ 188321 w 1739754"/>
                  <a:gd name="connsiteY109" fmla="*/ 1687264 h 2673102"/>
                  <a:gd name="connsiteX110" fmla="*/ 202608 w 1739754"/>
                  <a:gd name="connsiteY110" fmla="*/ 1653927 h 2673102"/>
                  <a:gd name="connsiteX111" fmla="*/ 193083 w 1739754"/>
                  <a:gd name="connsiteY111" fmla="*/ 1606302 h 2673102"/>
                  <a:gd name="connsiteX112" fmla="*/ 154983 w 1739754"/>
                  <a:gd name="connsiteY112" fmla="*/ 1549152 h 2673102"/>
                  <a:gd name="connsiteX113" fmla="*/ 140696 w 1739754"/>
                  <a:gd name="connsiteY113" fmla="*/ 1377702 h 2673102"/>
                  <a:gd name="connsiteX114" fmla="*/ 121646 w 1739754"/>
                  <a:gd name="connsiteY114" fmla="*/ 1311027 h 2673102"/>
                  <a:gd name="connsiteX115" fmla="*/ 107358 w 1739754"/>
                  <a:gd name="connsiteY115" fmla="*/ 1244352 h 2673102"/>
                  <a:gd name="connsiteX116" fmla="*/ 78783 w 1739754"/>
                  <a:gd name="connsiteY116" fmla="*/ 1177677 h 2673102"/>
                  <a:gd name="connsiteX117" fmla="*/ 45446 w 1739754"/>
                  <a:gd name="connsiteY117" fmla="*/ 1096714 h 2673102"/>
                  <a:gd name="connsiteX118" fmla="*/ 21633 w 1739754"/>
                  <a:gd name="connsiteY118" fmla="*/ 1025277 h 2673102"/>
                  <a:gd name="connsiteX119" fmla="*/ 202 w 1739754"/>
                  <a:gd name="connsiteY119" fmla="*/ 980033 h 2673102"/>
                  <a:gd name="connsiteX120" fmla="*/ 14490 w 1739754"/>
                  <a:gd name="connsiteY120" fmla="*/ 930027 h 2673102"/>
                  <a:gd name="connsiteX121" fmla="*/ 69259 w 1739754"/>
                  <a:gd name="connsiteY121" fmla="*/ 810964 h 2673102"/>
                  <a:gd name="connsiteX122" fmla="*/ 221658 w 1739754"/>
                  <a:gd name="connsiteY122" fmla="*/ 601414 h 2673102"/>
                  <a:gd name="connsiteX123" fmla="*/ 288333 w 1739754"/>
                  <a:gd name="connsiteY123" fmla="*/ 515689 h 2673102"/>
                  <a:gd name="connsiteX124" fmla="*/ 412158 w 1739754"/>
                  <a:gd name="connsiteY124" fmla="*/ 406152 h 2673102"/>
                  <a:gd name="connsiteX125" fmla="*/ 535983 w 1739754"/>
                  <a:gd name="connsiteY125" fmla="*/ 291851 h 2673102"/>
                  <a:gd name="connsiteX126" fmla="*/ 640758 w 1739754"/>
                  <a:gd name="connsiteY126" fmla="*/ 229939 h 2673102"/>
                  <a:gd name="connsiteX127" fmla="*/ 733628 w 1739754"/>
                  <a:gd name="connsiteY127" fmla="*/ 168026 h 2673102"/>
                  <a:gd name="connsiteX128" fmla="*/ 978896 w 1739754"/>
                  <a:gd name="connsiteY128" fmla="*/ 63251 h 2673102"/>
                  <a:gd name="connsiteX129" fmla="*/ 1159871 w 1739754"/>
                  <a:gd name="connsiteY129" fmla="*/ 6102 h 2673102"/>
                  <a:gd name="connsiteX130" fmla="*/ 1202733 w 1739754"/>
                  <a:gd name="connsiteY13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88308 w 1739754"/>
                  <a:gd name="connsiteY100" fmla="*/ 2187327 h 2673102"/>
                  <a:gd name="connsiteX101" fmla="*/ 78783 w 1739754"/>
                  <a:gd name="connsiteY101" fmla="*/ 2111127 h 2673102"/>
                  <a:gd name="connsiteX102" fmla="*/ 97833 w 1739754"/>
                  <a:gd name="connsiteY102" fmla="*/ 1944439 h 2673102"/>
                  <a:gd name="connsiteX103" fmla="*/ 135933 w 1739754"/>
                  <a:gd name="connsiteY103" fmla="*/ 1868239 h 2673102"/>
                  <a:gd name="connsiteX104" fmla="*/ 131171 w 1739754"/>
                  <a:gd name="connsiteY104" fmla="*/ 1825377 h 2673102"/>
                  <a:gd name="connsiteX105" fmla="*/ 112121 w 1739754"/>
                  <a:gd name="connsiteY105" fmla="*/ 1820614 h 2673102"/>
                  <a:gd name="connsiteX106" fmla="*/ 102596 w 1739754"/>
                  <a:gd name="connsiteY106" fmla="*/ 1806327 h 2673102"/>
                  <a:gd name="connsiteX107" fmla="*/ 145458 w 1739754"/>
                  <a:gd name="connsiteY107" fmla="*/ 1720602 h 2673102"/>
                  <a:gd name="connsiteX108" fmla="*/ 188321 w 1739754"/>
                  <a:gd name="connsiteY108" fmla="*/ 1687264 h 2673102"/>
                  <a:gd name="connsiteX109" fmla="*/ 202608 w 1739754"/>
                  <a:gd name="connsiteY109" fmla="*/ 1653927 h 2673102"/>
                  <a:gd name="connsiteX110" fmla="*/ 193083 w 1739754"/>
                  <a:gd name="connsiteY110" fmla="*/ 1606302 h 2673102"/>
                  <a:gd name="connsiteX111" fmla="*/ 154983 w 1739754"/>
                  <a:gd name="connsiteY111" fmla="*/ 1549152 h 2673102"/>
                  <a:gd name="connsiteX112" fmla="*/ 140696 w 1739754"/>
                  <a:gd name="connsiteY112" fmla="*/ 1377702 h 2673102"/>
                  <a:gd name="connsiteX113" fmla="*/ 121646 w 1739754"/>
                  <a:gd name="connsiteY113" fmla="*/ 1311027 h 2673102"/>
                  <a:gd name="connsiteX114" fmla="*/ 107358 w 1739754"/>
                  <a:gd name="connsiteY114" fmla="*/ 1244352 h 2673102"/>
                  <a:gd name="connsiteX115" fmla="*/ 78783 w 1739754"/>
                  <a:gd name="connsiteY115" fmla="*/ 1177677 h 2673102"/>
                  <a:gd name="connsiteX116" fmla="*/ 45446 w 1739754"/>
                  <a:gd name="connsiteY116" fmla="*/ 1096714 h 2673102"/>
                  <a:gd name="connsiteX117" fmla="*/ 21633 w 1739754"/>
                  <a:gd name="connsiteY117" fmla="*/ 1025277 h 2673102"/>
                  <a:gd name="connsiteX118" fmla="*/ 202 w 1739754"/>
                  <a:gd name="connsiteY118" fmla="*/ 980033 h 2673102"/>
                  <a:gd name="connsiteX119" fmla="*/ 14490 w 1739754"/>
                  <a:gd name="connsiteY119" fmla="*/ 930027 h 2673102"/>
                  <a:gd name="connsiteX120" fmla="*/ 69259 w 1739754"/>
                  <a:gd name="connsiteY120" fmla="*/ 810964 h 2673102"/>
                  <a:gd name="connsiteX121" fmla="*/ 221658 w 1739754"/>
                  <a:gd name="connsiteY121" fmla="*/ 601414 h 2673102"/>
                  <a:gd name="connsiteX122" fmla="*/ 288333 w 1739754"/>
                  <a:gd name="connsiteY122" fmla="*/ 515689 h 2673102"/>
                  <a:gd name="connsiteX123" fmla="*/ 412158 w 1739754"/>
                  <a:gd name="connsiteY123" fmla="*/ 406152 h 2673102"/>
                  <a:gd name="connsiteX124" fmla="*/ 535983 w 1739754"/>
                  <a:gd name="connsiteY124" fmla="*/ 291851 h 2673102"/>
                  <a:gd name="connsiteX125" fmla="*/ 640758 w 1739754"/>
                  <a:gd name="connsiteY125" fmla="*/ 229939 h 2673102"/>
                  <a:gd name="connsiteX126" fmla="*/ 733628 w 1739754"/>
                  <a:gd name="connsiteY126" fmla="*/ 168026 h 2673102"/>
                  <a:gd name="connsiteX127" fmla="*/ 978896 w 1739754"/>
                  <a:gd name="connsiteY127" fmla="*/ 63251 h 2673102"/>
                  <a:gd name="connsiteX128" fmla="*/ 1159871 w 1739754"/>
                  <a:gd name="connsiteY128" fmla="*/ 6102 h 2673102"/>
                  <a:gd name="connsiteX129" fmla="*/ 1202733 w 1739754"/>
                  <a:gd name="connsiteY12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12133 w 1739754"/>
                  <a:gd name="connsiteY94" fmla="*/ 2492127 h 2673102"/>
                  <a:gd name="connsiteX95" fmla="*/ 154983 w 1739754"/>
                  <a:gd name="connsiteY95" fmla="*/ 2439739 h 2673102"/>
                  <a:gd name="connsiteX96" fmla="*/ 150221 w 1739754"/>
                  <a:gd name="connsiteY96" fmla="*/ 2415927 h 2673102"/>
                  <a:gd name="connsiteX97" fmla="*/ 135933 w 1739754"/>
                  <a:gd name="connsiteY97" fmla="*/ 2358777 h 2673102"/>
                  <a:gd name="connsiteX98" fmla="*/ 121646 w 1739754"/>
                  <a:gd name="connsiteY98" fmla="*/ 2315914 h 2673102"/>
                  <a:gd name="connsiteX99" fmla="*/ 88308 w 1739754"/>
                  <a:gd name="connsiteY99" fmla="*/ 2187327 h 2673102"/>
                  <a:gd name="connsiteX100" fmla="*/ 78783 w 1739754"/>
                  <a:gd name="connsiteY100" fmla="*/ 2111127 h 2673102"/>
                  <a:gd name="connsiteX101" fmla="*/ 97833 w 1739754"/>
                  <a:gd name="connsiteY101" fmla="*/ 1944439 h 2673102"/>
                  <a:gd name="connsiteX102" fmla="*/ 135933 w 1739754"/>
                  <a:gd name="connsiteY102" fmla="*/ 1868239 h 2673102"/>
                  <a:gd name="connsiteX103" fmla="*/ 131171 w 1739754"/>
                  <a:gd name="connsiteY103" fmla="*/ 1825377 h 2673102"/>
                  <a:gd name="connsiteX104" fmla="*/ 112121 w 1739754"/>
                  <a:gd name="connsiteY104" fmla="*/ 1820614 h 2673102"/>
                  <a:gd name="connsiteX105" fmla="*/ 102596 w 1739754"/>
                  <a:gd name="connsiteY105" fmla="*/ 1806327 h 2673102"/>
                  <a:gd name="connsiteX106" fmla="*/ 145458 w 1739754"/>
                  <a:gd name="connsiteY106" fmla="*/ 1720602 h 2673102"/>
                  <a:gd name="connsiteX107" fmla="*/ 188321 w 1739754"/>
                  <a:gd name="connsiteY107" fmla="*/ 1687264 h 2673102"/>
                  <a:gd name="connsiteX108" fmla="*/ 202608 w 1739754"/>
                  <a:gd name="connsiteY108" fmla="*/ 1653927 h 2673102"/>
                  <a:gd name="connsiteX109" fmla="*/ 193083 w 1739754"/>
                  <a:gd name="connsiteY109" fmla="*/ 1606302 h 2673102"/>
                  <a:gd name="connsiteX110" fmla="*/ 154983 w 1739754"/>
                  <a:gd name="connsiteY110" fmla="*/ 1549152 h 2673102"/>
                  <a:gd name="connsiteX111" fmla="*/ 140696 w 1739754"/>
                  <a:gd name="connsiteY111" fmla="*/ 1377702 h 2673102"/>
                  <a:gd name="connsiteX112" fmla="*/ 121646 w 1739754"/>
                  <a:gd name="connsiteY112" fmla="*/ 1311027 h 2673102"/>
                  <a:gd name="connsiteX113" fmla="*/ 107358 w 1739754"/>
                  <a:gd name="connsiteY113" fmla="*/ 1244352 h 2673102"/>
                  <a:gd name="connsiteX114" fmla="*/ 78783 w 1739754"/>
                  <a:gd name="connsiteY114" fmla="*/ 1177677 h 2673102"/>
                  <a:gd name="connsiteX115" fmla="*/ 45446 w 1739754"/>
                  <a:gd name="connsiteY115" fmla="*/ 1096714 h 2673102"/>
                  <a:gd name="connsiteX116" fmla="*/ 21633 w 1739754"/>
                  <a:gd name="connsiteY116" fmla="*/ 1025277 h 2673102"/>
                  <a:gd name="connsiteX117" fmla="*/ 202 w 1739754"/>
                  <a:gd name="connsiteY117" fmla="*/ 980033 h 2673102"/>
                  <a:gd name="connsiteX118" fmla="*/ 14490 w 1739754"/>
                  <a:gd name="connsiteY118" fmla="*/ 930027 h 2673102"/>
                  <a:gd name="connsiteX119" fmla="*/ 69259 w 1739754"/>
                  <a:gd name="connsiteY119" fmla="*/ 810964 h 2673102"/>
                  <a:gd name="connsiteX120" fmla="*/ 221658 w 1739754"/>
                  <a:gd name="connsiteY120" fmla="*/ 601414 h 2673102"/>
                  <a:gd name="connsiteX121" fmla="*/ 288333 w 1739754"/>
                  <a:gd name="connsiteY121" fmla="*/ 515689 h 2673102"/>
                  <a:gd name="connsiteX122" fmla="*/ 412158 w 1739754"/>
                  <a:gd name="connsiteY122" fmla="*/ 406152 h 2673102"/>
                  <a:gd name="connsiteX123" fmla="*/ 535983 w 1739754"/>
                  <a:gd name="connsiteY123" fmla="*/ 291851 h 2673102"/>
                  <a:gd name="connsiteX124" fmla="*/ 640758 w 1739754"/>
                  <a:gd name="connsiteY124" fmla="*/ 229939 h 2673102"/>
                  <a:gd name="connsiteX125" fmla="*/ 733628 w 1739754"/>
                  <a:gd name="connsiteY125" fmla="*/ 168026 h 2673102"/>
                  <a:gd name="connsiteX126" fmla="*/ 978896 w 1739754"/>
                  <a:gd name="connsiteY126" fmla="*/ 63251 h 2673102"/>
                  <a:gd name="connsiteX127" fmla="*/ 1159871 w 1739754"/>
                  <a:gd name="connsiteY127" fmla="*/ 6102 h 2673102"/>
                  <a:gd name="connsiteX128" fmla="*/ 1202733 w 1739754"/>
                  <a:gd name="connsiteY12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12133 w 1739754"/>
                  <a:gd name="connsiteY93" fmla="*/ 2492127 h 2673102"/>
                  <a:gd name="connsiteX94" fmla="*/ 154983 w 1739754"/>
                  <a:gd name="connsiteY94" fmla="*/ 2439739 h 2673102"/>
                  <a:gd name="connsiteX95" fmla="*/ 150221 w 1739754"/>
                  <a:gd name="connsiteY95" fmla="*/ 2415927 h 2673102"/>
                  <a:gd name="connsiteX96" fmla="*/ 135933 w 1739754"/>
                  <a:gd name="connsiteY96" fmla="*/ 2358777 h 2673102"/>
                  <a:gd name="connsiteX97" fmla="*/ 121646 w 1739754"/>
                  <a:gd name="connsiteY97" fmla="*/ 2315914 h 2673102"/>
                  <a:gd name="connsiteX98" fmla="*/ 88308 w 1739754"/>
                  <a:gd name="connsiteY98" fmla="*/ 2187327 h 2673102"/>
                  <a:gd name="connsiteX99" fmla="*/ 78783 w 1739754"/>
                  <a:gd name="connsiteY99" fmla="*/ 2111127 h 2673102"/>
                  <a:gd name="connsiteX100" fmla="*/ 97833 w 1739754"/>
                  <a:gd name="connsiteY100" fmla="*/ 1944439 h 2673102"/>
                  <a:gd name="connsiteX101" fmla="*/ 135933 w 1739754"/>
                  <a:gd name="connsiteY101" fmla="*/ 1868239 h 2673102"/>
                  <a:gd name="connsiteX102" fmla="*/ 131171 w 1739754"/>
                  <a:gd name="connsiteY102" fmla="*/ 1825377 h 2673102"/>
                  <a:gd name="connsiteX103" fmla="*/ 112121 w 1739754"/>
                  <a:gd name="connsiteY103" fmla="*/ 1820614 h 2673102"/>
                  <a:gd name="connsiteX104" fmla="*/ 102596 w 1739754"/>
                  <a:gd name="connsiteY104" fmla="*/ 1806327 h 2673102"/>
                  <a:gd name="connsiteX105" fmla="*/ 145458 w 1739754"/>
                  <a:gd name="connsiteY105" fmla="*/ 1720602 h 2673102"/>
                  <a:gd name="connsiteX106" fmla="*/ 188321 w 1739754"/>
                  <a:gd name="connsiteY106" fmla="*/ 1687264 h 2673102"/>
                  <a:gd name="connsiteX107" fmla="*/ 202608 w 1739754"/>
                  <a:gd name="connsiteY107" fmla="*/ 1653927 h 2673102"/>
                  <a:gd name="connsiteX108" fmla="*/ 193083 w 1739754"/>
                  <a:gd name="connsiteY108" fmla="*/ 1606302 h 2673102"/>
                  <a:gd name="connsiteX109" fmla="*/ 154983 w 1739754"/>
                  <a:gd name="connsiteY109" fmla="*/ 1549152 h 2673102"/>
                  <a:gd name="connsiteX110" fmla="*/ 140696 w 1739754"/>
                  <a:gd name="connsiteY110" fmla="*/ 1377702 h 2673102"/>
                  <a:gd name="connsiteX111" fmla="*/ 121646 w 1739754"/>
                  <a:gd name="connsiteY111" fmla="*/ 1311027 h 2673102"/>
                  <a:gd name="connsiteX112" fmla="*/ 107358 w 1739754"/>
                  <a:gd name="connsiteY112" fmla="*/ 1244352 h 2673102"/>
                  <a:gd name="connsiteX113" fmla="*/ 78783 w 1739754"/>
                  <a:gd name="connsiteY113" fmla="*/ 1177677 h 2673102"/>
                  <a:gd name="connsiteX114" fmla="*/ 45446 w 1739754"/>
                  <a:gd name="connsiteY114" fmla="*/ 1096714 h 2673102"/>
                  <a:gd name="connsiteX115" fmla="*/ 21633 w 1739754"/>
                  <a:gd name="connsiteY115" fmla="*/ 1025277 h 2673102"/>
                  <a:gd name="connsiteX116" fmla="*/ 202 w 1739754"/>
                  <a:gd name="connsiteY116" fmla="*/ 980033 h 2673102"/>
                  <a:gd name="connsiteX117" fmla="*/ 14490 w 1739754"/>
                  <a:gd name="connsiteY117" fmla="*/ 930027 h 2673102"/>
                  <a:gd name="connsiteX118" fmla="*/ 69259 w 1739754"/>
                  <a:gd name="connsiteY118" fmla="*/ 810964 h 2673102"/>
                  <a:gd name="connsiteX119" fmla="*/ 221658 w 1739754"/>
                  <a:gd name="connsiteY119" fmla="*/ 601414 h 2673102"/>
                  <a:gd name="connsiteX120" fmla="*/ 288333 w 1739754"/>
                  <a:gd name="connsiteY120" fmla="*/ 515689 h 2673102"/>
                  <a:gd name="connsiteX121" fmla="*/ 412158 w 1739754"/>
                  <a:gd name="connsiteY121" fmla="*/ 406152 h 2673102"/>
                  <a:gd name="connsiteX122" fmla="*/ 535983 w 1739754"/>
                  <a:gd name="connsiteY122" fmla="*/ 291851 h 2673102"/>
                  <a:gd name="connsiteX123" fmla="*/ 640758 w 1739754"/>
                  <a:gd name="connsiteY123" fmla="*/ 229939 h 2673102"/>
                  <a:gd name="connsiteX124" fmla="*/ 733628 w 1739754"/>
                  <a:gd name="connsiteY124" fmla="*/ 168026 h 2673102"/>
                  <a:gd name="connsiteX125" fmla="*/ 978896 w 1739754"/>
                  <a:gd name="connsiteY125" fmla="*/ 63251 h 2673102"/>
                  <a:gd name="connsiteX126" fmla="*/ 1159871 w 1739754"/>
                  <a:gd name="connsiteY126" fmla="*/ 6102 h 2673102"/>
                  <a:gd name="connsiteX127" fmla="*/ 1202733 w 1739754"/>
                  <a:gd name="connsiteY12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12133 w 1739754"/>
                  <a:gd name="connsiteY92" fmla="*/ 2492127 h 2673102"/>
                  <a:gd name="connsiteX93" fmla="*/ 154983 w 1739754"/>
                  <a:gd name="connsiteY93" fmla="*/ 2439739 h 2673102"/>
                  <a:gd name="connsiteX94" fmla="*/ 150221 w 1739754"/>
                  <a:gd name="connsiteY94" fmla="*/ 2415927 h 2673102"/>
                  <a:gd name="connsiteX95" fmla="*/ 135933 w 1739754"/>
                  <a:gd name="connsiteY95" fmla="*/ 2358777 h 2673102"/>
                  <a:gd name="connsiteX96" fmla="*/ 121646 w 1739754"/>
                  <a:gd name="connsiteY96" fmla="*/ 2315914 h 2673102"/>
                  <a:gd name="connsiteX97" fmla="*/ 88308 w 1739754"/>
                  <a:gd name="connsiteY97" fmla="*/ 2187327 h 2673102"/>
                  <a:gd name="connsiteX98" fmla="*/ 78783 w 1739754"/>
                  <a:gd name="connsiteY98" fmla="*/ 2111127 h 2673102"/>
                  <a:gd name="connsiteX99" fmla="*/ 97833 w 1739754"/>
                  <a:gd name="connsiteY99" fmla="*/ 1944439 h 2673102"/>
                  <a:gd name="connsiteX100" fmla="*/ 135933 w 1739754"/>
                  <a:gd name="connsiteY100" fmla="*/ 1868239 h 2673102"/>
                  <a:gd name="connsiteX101" fmla="*/ 131171 w 1739754"/>
                  <a:gd name="connsiteY101" fmla="*/ 1825377 h 2673102"/>
                  <a:gd name="connsiteX102" fmla="*/ 112121 w 1739754"/>
                  <a:gd name="connsiteY102" fmla="*/ 1820614 h 2673102"/>
                  <a:gd name="connsiteX103" fmla="*/ 102596 w 1739754"/>
                  <a:gd name="connsiteY103" fmla="*/ 1806327 h 2673102"/>
                  <a:gd name="connsiteX104" fmla="*/ 145458 w 1739754"/>
                  <a:gd name="connsiteY104" fmla="*/ 1720602 h 2673102"/>
                  <a:gd name="connsiteX105" fmla="*/ 188321 w 1739754"/>
                  <a:gd name="connsiteY105" fmla="*/ 1687264 h 2673102"/>
                  <a:gd name="connsiteX106" fmla="*/ 202608 w 1739754"/>
                  <a:gd name="connsiteY106" fmla="*/ 1653927 h 2673102"/>
                  <a:gd name="connsiteX107" fmla="*/ 193083 w 1739754"/>
                  <a:gd name="connsiteY107" fmla="*/ 1606302 h 2673102"/>
                  <a:gd name="connsiteX108" fmla="*/ 154983 w 1739754"/>
                  <a:gd name="connsiteY108" fmla="*/ 1549152 h 2673102"/>
                  <a:gd name="connsiteX109" fmla="*/ 140696 w 1739754"/>
                  <a:gd name="connsiteY109" fmla="*/ 1377702 h 2673102"/>
                  <a:gd name="connsiteX110" fmla="*/ 121646 w 1739754"/>
                  <a:gd name="connsiteY110" fmla="*/ 1311027 h 2673102"/>
                  <a:gd name="connsiteX111" fmla="*/ 107358 w 1739754"/>
                  <a:gd name="connsiteY111" fmla="*/ 1244352 h 2673102"/>
                  <a:gd name="connsiteX112" fmla="*/ 78783 w 1739754"/>
                  <a:gd name="connsiteY112" fmla="*/ 1177677 h 2673102"/>
                  <a:gd name="connsiteX113" fmla="*/ 45446 w 1739754"/>
                  <a:gd name="connsiteY113" fmla="*/ 1096714 h 2673102"/>
                  <a:gd name="connsiteX114" fmla="*/ 21633 w 1739754"/>
                  <a:gd name="connsiteY114" fmla="*/ 1025277 h 2673102"/>
                  <a:gd name="connsiteX115" fmla="*/ 202 w 1739754"/>
                  <a:gd name="connsiteY115" fmla="*/ 980033 h 2673102"/>
                  <a:gd name="connsiteX116" fmla="*/ 14490 w 1739754"/>
                  <a:gd name="connsiteY116" fmla="*/ 930027 h 2673102"/>
                  <a:gd name="connsiteX117" fmla="*/ 69259 w 1739754"/>
                  <a:gd name="connsiteY117" fmla="*/ 810964 h 2673102"/>
                  <a:gd name="connsiteX118" fmla="*/ 221658 w 1739754"/>
                  <a:gd name="connsiteY118" fmla="*/ 601414 h 2673102"/>
                  <a:gd name="connsiteX119" fmla="*/ 288333 w 1739754"/>
                  <a:gd name="connsiteY119" fmla="*/ 515689 h 2673102"/>
                  <a:gd name="connsiteX120" fmla="*/ 412158 w 1739754"/>
                  <a:gd name="connsiteY120" fmla="*/ 406152 h 2673102"/>
                  <a:gd name="connsiteX121" fmla="*/ 535983 w 1739754"/>
                  <a:gd name="connsiteY121" fmla="*/ 291851 h 2673102"/>
                  <a:gd name="connsiteX122" fmla="*/ 640758 w 1739754"/>
                  <a:gd name="connsiteY122" fmla="*/ 229939 h 2673102"/>
                  <a:gd name="connsiteX123" fmla="*/ 733628 w 1739754"/>
                  <a:gd name="connsiteY123" fmla="*/ 168026 h 2673102"/>
                  <a:gd name="connsiteX124" fmla="*/ 978896 w 1739754"/>
                  <a:gd name="connsiteY124" fmla="*/ 63251 h 2673102"/>
                  <a:gd name="connsiteX125" fmla="*/ 1159871 w 1739754"/>
                  <a:gd name="connsiteY125" fmla="*/ 6102 h 2673102"/>
                  <a:gd name="connsiteX126" fmla="*/ 1202733 w 1739754"/>
                  <a:gd name="connsiteY12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12133 w 1739754"/>
                  <a:gd name="connsiteY91" fmla="*/ 2492127 h 2673102"/>
                  <a:gd name="connsiteX92" fmla="*/ 154983 w 1739754"/>
                  <a:gd name="connsiteY92" fmla="*/ 2439739 h 2673102"/>
                  <a:gd name="connsiteX93" fmla="*/ 150221 w 1739754"/>
                  <a:gd name="connsiteY93" fmla="*/ 2415927 h 2673102"/>
                  <a:gd name="connsiteX94" fmla="*/ 135933 w 1739754"/>
                  <a:gd name="connsiteY94" fmla="*/ 2358777 h 2673102"/>
                  <a:gd name="connsiteX95" fmla="*/ 121646 w 1739754"/>
                  <a:gd name="connsiteY95" fmla="*/ 2315914 h 2673102"/>
                  <a:gd name="connsiteX96" fmla="*/ 88308 w 1739754"/>
                  <a:gd name="connsiteY96" fmla="*/ 2187327 h 2673102"/>
                  <a:gd name="connsiteX97" fmla="*/ 78783 w 1739754"/>
                  <a:gd name="connsiteY97" fmla="*/ 2111127 h 2673102"/>
                  <a:gd name="connsiteX98" fmla="*/ 97833 w 1739754"/>
                  <a:gd name="connsiteY98" fmla="*/ 1944439 h 2673102"/>
                  <a:gd name="connsiteX99" fmla="*/ 135933 w 1739754"/>
                  <a:gd name="connsiteY99" fmla="*/ 1868239 h 2673102"/>
                  <a:gd name="connsiteX100" fmla="*/ 131171 w 1739754"/>
                  <a:gd name="connsiteY100" fmla="*/ 1825377 h 2673102"/>
                  <a:gd name="connsiteX101" fmla="*/ 112121 w 1739754"/>
                  <a:gd name="connsiteY101" fmla="*/ 1820614 h 2673102"/>
                  <a:gd name="connsiteX102" fmla="*/ 102596 w 1739754"/>
                  <a:gd name="connsiteY102" fmla="*/ 1806327 h 2673102"/>
                  <a:gd name="connsiteX103" fmla="*/ 145458 w 1739754"/>
                  <a:gd name="connsiteY103" fmla="*/ 1720602 h 2673102"/>
                  <a:gd name="connsiteX104" fmla="*/ 188321 w 1739754"/>
                  <a:gd name="connsiteY104" fmla="*/ 1687264 h 2673102"/>
                  <a:gd name="connsiteX105" fmla="*/ 202608 w 1739754"/>
                  <a:gd name="connsiteY105" fmla="*/ 1653927 h 2673102"/>
                  <a:gd name="connsiteX106" fmla="*/ 193083 w 1739754"/>
                  <a:gd name="connsiteY106" fmla="*/ 1606302 h 2673102"/>
                  <a:gd name="connsiteX107" fmla="*/ 154983 w 1739754"/>
                  <a:gd name="connsiteY107" fmla="*/ 1549152 h 2673102"/>
                  <a:gd name="connsiteX108" fmla="*/ 140696 w 1739754"/>
                  <a:gd name="connsiteY108" fmla="*/ 1377702 h 2673102"/>
                  <a:gd name="connsiteX109" fmla="*/ 121646 w 1739754"/>
                  <a:gd name="connsiteY109" fmla="*/ 1311027 h 2673102"/>
                  <a:gd name="connsiteX110" fmla="*/ 107358 w 1739754"/>
                  <a:gd name="connsiteY110" fmla="*/ 1244352 h 2673102"/>
                  <a:gd name="connsiteX111" fmla="*/ 78783 w 1739754"/>
                  <a:gd name="connsiteY111" fmla="*/ 1177677 h 2673102"/>
                  <a:gd name="connsiteX112" fmla="*/ 45446 w 1739754"/>
                  <a:gd name="connsiteY112" fmla="*/ 1096714 h 2673102"/>
                  <a:gd name="connsiteX113" fmla="*/ 21633 w 1739754"/>
                  <a:gd name="connsiteY113" fmla="*/ 1025277 h 2673102"/>
                  <a:gd name="connsiteX114" fmla="*/ 202 w 1739754"/>
                  <a:gd name="connsiteY114" fmla="*/ 980033 h 2673102"/>
                  <a:gd name="connsiteX115" fmla="*/ 14490 w 1739754"/>
                  <a:gd name="connsiteY115" fmla="*/ 930027 h 2673102"/>
                  <a:gd name="connsiteX116" fmla="*/ 69259 w 1739754"/>
                  <a:gd name="connsiteY116" fmla="*/ 810964 h 2673102"/>
                  <a:gd name="connsiteX117" fmla="*/ 221658 w 1739754"/>
                  <a:gd name="connsiteY117" fmla="*/ 601414 h 2673102"/>
                  <a:gd name="connsiteX118" fmla="*/ 288333 w 1739754"/>
                  <a:gd name="connsiteY118" fmla="*/ 515689 h 2673102"/>
                  <a:gd name="connsiteX119" fmla="*/ 412158 w 1739754"/>
                  <a:gd name="connsiteY119" fmla="*/ 406152 h 2673102"/>
                  <a:gd name="connsiteX120" fmla="*/ 535983 w 1739754"/>
                  <a:gd name="connsiteY120" fmla="*/ 291851 h 2673102"/>
                  <a:gd name="connsiteX121" fmla="*/ 640758 w 1739754"/>
                  <a:gd name="connsiteY121" fmla="*/ 229939 h 2673102"/>
                  <a:gd name="connsiteX122" fmla="*/ 733628 w 1739754"/>
                  <a:gd name="connsiteY122" fmla="*/ 168026 h 2673102"/>
                  <a:gd name="connsiteX123" fmla="*/ 978896 w 1739754"/>
                  <a:gd name="connsiteY123" fmla="*/ 63251 h 2673102"/>
                  <a:gd name="connsiteX124" fmla="*/ 1159871 w 1739754"/>
                  <a:gd name="connsiteY124" fmla="*/ 6102 h 2673102"/>
                  <a:gd name="connsiteX125" fmla="*/ 1202733 w 1739754"/>
                  <a:gd name="connsiteY12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12133 w 1739754"/>
                  <a:gd name="connsiteY90" fmla="*/ 2492127 h 2673102"/>
                  <a:gd name="connsiteX91" fmla="*/ 154983 w 1739754"/>
                  <a:gd name="connsiteY91" fmla="*/ 2439739 h 2673102"/>
                  <a:gd name="connsiteX92" fmla="*/ 150221 w 1739754"/>
                  <a:gd name="connsiteY92" fmla="*/ 2415927 h 2673102"/>
                  <a:gd name="connsiteX93" fmla="*/ 135933 w 1739754"/>
                  <a:gd name="connsiteY93" fmla="*/ 2358777 h 2673102"/>
                  <a:gd name="connsiteX94" fmla="*/ 121646 w 1739754"/>
                  <a:gd name="connsiteY94" fmla="*/ 2315914 h 2673102"/>
                  <a:gd name="connsiteX95" fmla="*/ 88308 w 1739754"/>
                  <a:gd name="connsiteY95" fmla="*/ 2187327 h 2673102"/>
                  <a:gd name="connsiteX96" fmla="*/ 78783 w 1739754"/>
                  <a:gd name="connsiteY96" fmla="*/ 2111127 h 2673102"/>
                  <a:gd name="connsiteX97" fmla="*/ 97833 w 1739754"/>
                  <a:gd name="connsiteY97" fmla="*/ 1944439 h 2673102"/>
                  <a:gd name="connsiteX98" fmla="*/ 135933 w 1739754"/>
                  <a:gd name="connsiteY98" fmla="*/ 1868239 h 2673102"/>
                  <a:gd name="connsiteX99" fmla="*/ 131171 w 1739754"/>
                  <a:gd name="connsiteY99" fmla="*/ 1825377 h 2673102"/>
                  <a:gd name="connsiteX100" fmla="*/ 112121 w 1739754"/>
                  <a:gd name="connsiteY100" fmla="*/ 1820614 h 2673102"/>
                  <a:gd name="connsiteX101" fmla="*/ 102596 w 1739754"/>
                  <a:gd name="connsiteY101" fmla="*/ 1806327 h 2673102"/>
                  <a:gd name="connsiteX102" fmla="*/ 145458 w 1739754"/>
                  <a:gd name="connsiteY102" fmla="*/ 1720602 h 2673102"/>
                  <a:gd name="connsiteX103" fmla="*/ 188321 w 1739754"/>
                  <a:gd name="connsiteY103" fmla="*/ 1687264 h 2673102"/>
                  <a:gd name="connsiteX104" fmla="*/ 202608 w 1739754"/>
                  <a:gd name="connsiteY104" fmla="*/ 1653927 h 2673102"/>
                  <a:gd name="connsiteX105" fmla="*/ 193083 w 1739754"/>
                  <a:gd name="connsiteY105" fmla="*/ 1606302 h 2673102"/>
                  <a:gd name="connsiteX106" fmla="*/ 154983 w 1739754"/>
                  <a:gd name="connsiteY106" fmla="*/ 1549152 h 2673102"/>
                  <a:gd name="connsiteX107" fmla="*/ 140696 w 1739754"/>
                  <a:gd name="connsiteY107" fmla="*/ 1377702 h 2673102"/>
                  <a:gd name="connsiteX108" fmla="*/ 121646 w 1739754"/>
                  <a:gd name="connsiteY108" fmla="*/ 1311027 h 2673102"/>
                  <a:gd name="connsiteX109" fmla="*/ 107358 w 1739754"/>
                  <a:gd name="connsiteY109" fmla="*/ 1244352 h 2673102"/>
                  <a:gd name="connsiteX110" fmla="*/ 78783 w 1739754"/>
                  <a:gd name="connsiteY110" fmla="*/ 1177677 h 2673102"/>
                  <a:gd name="connsiteX111" fmla="*/ 45446 w 1739754"/>
                  <a:gd name="connsiteY111" fmla="*/ 1096714 h 2673102"/>
                  <a:gd name="connsiteX112" fmla="*/ 21633 w 1739754"/>
                  <a:gd name="connsiteY112" fmla="*/ 1025277 h 2673102"/>
                  <a:gd name="connsiteX113" fmla="*/ 202 w 1739754"/>
                  <a:gd name="connsiteY113" fmla="*/ 980033 h 2673102"/>
                  <a:gd name="connsiteX114" fmla="*/ 14490 w 1739754"/>
                  <a:gd name="connsiteY114" fmla="*/ 930027 h 2673102"/>
                  <a:gd name="connsiteX115" fmla="*/ 69259 w 1739754"/>
                  <a:gd name="connsiteY115" fmla="*/ 810964 h 2673102"/>
                  <a:gd name="connsiteX116" fmla="*/ 221658 w 1739754"/>
                  <a:gd name="connsiteY116" fmla="*/ 601414 h 2673102"/>
                  <a:gd name="connsiteX117" fmla="*/ 288333 w 1739754"/>
                  <a:gd name="connsiteY117" fmla="*/ 515689 h 2673102"/>
                  <a:gd name="connsiteX118" fmla="*/ 412158 w 1739754"/>
                  <a:gd name="connsiteY118" fmla="*/ 406152 h 2673102"/>
                  <a:gd name="connsiteX119" fmla="*/ 535983 w 1739754"/>
                  <a:gd name="connsiteY119" fmla="*/ 291851 h 2673102"/>
                  <a:gd name="connsiteX120" fmla="*/ 640758 w 1739754"/>
                  <a:gd name="connsiteY120" fmla="*/ 229939 h 2673102"/>
                  <a:gd name="connsiteX121" fmla="*/ 733628 w 1739754"/>
                  <a:gd name="connsiteY121" fmla="*/ 168026 h 2673102"/>
                  <a:gd name="connsiteX122" fmla="*/ 978896 w 1739754"/>
                  <a:gd name="connsiteY122" fmla="*/ 63251 h 2673102"/>
                  <a:gd name="connsiteX123" fmla="*/ 1159871 w 1739754"/>
                  <a:gd name="connsiteY123" fmla="*/ 6102 h 2673102"/>
                  <a:gd name="connsiteX124" fmla="*/ 1202733 w 1739754"/>
                  <a:gd name="connsiteY12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54983 w 1739754"/>
                  <a:gd name="connsiteY90" fmla="*/ 2439739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297858 w 1739754"/>
                  <a:gd name="connsiteY88" fmla="*/ 2611189 h 2673102"/>
                  <a:gd name="connsiteX89" fmla="*/ 181177 w 1739754"/>
                  <a:gd name="connsiteY89" fmla="*/ 2456408 h 2673102"/>
                  <a:gd name="connsiteX90" fmla="*/ 150221 w 1739754"/>
                  <a:gd name="connsiteY90" fmla="*/ 2415927 h 2673102"/>
                  <a:gd name="connsiteX91" fmla="*/ 135933 w 1739754"/>
                  <a:gd name="connsiteY91" fmla="*/ 2358777 h 2673102"/>
                  <a:gd name="connsiteX92" fmla="*/ 121646 w 1739754"/>
                  <a:gd name="connsiteY92" fmla="*/ 2315914 h 2673102"/>
                  <a:gd name="connsiteX93" fmla="*/ 88308 w 1739754"/>
                  <a:gd name="connsiteY93" fmla="*/ 2187327 h 2673102"/>
                  <a:gd name="connsiteX94" fmla="*/ 78783 w 1739754"/>
                  <a:gd name="connsiteY94" fmla="*/ 2111127 h 2673102"/>
                  <a:gd name="connsiteX95" fmla="*/ 97833 w 1739754"/>
                  <a:gd name="connsiteY95" fmla="*/ 1944439 h 2673102"/>
                  <a:gd name="connsiteX96" fmla="*/ 135933 w 1739754"/>
                  <a:gd name="connsiteY96" fmla="*/ 1868239 h 2673102"/>
                  <a:gd name="connsiteX97" fmla="*/ 131171 w 1739754"/>
                  <a:gd name="connsiteY97" fmla="*/ 1825377 h 2673102"/>
                  <a:gd name="connsiteX98" fmla="*/ 112121 w 1739754"/>
                  <a:gd name="connsiteY98" fmla="*/ 1820614 h 2673102"/>
                  <a:gd name="connsiteX99" fmla="*/ 102596 w 1739754"/>
                  <a:gd name="connsiteY99" fmla="*/ 1806327 h 2673102"/>
                  <a:gd name="connsiteX100" fmla="*/ 145458 w 1739754"/>
                  <a:gd name="connsiteY100" fmla="*/ 1720602 h 2673102"/>
                  <a:gd name="connsiteX101" fmla="*/ 188321 w 1739754"/>
                  <a:gd name="connsiteY101" fmla="*/ 1687264 h 2673102"/>
                  <a:gd name="connsiteX102" fmla="*/ 202608 w 1739754"/>
                  <a:gd name="connsiteY102" fmla="*/ 1653927 h 2673102"/>
                  <a:gd name="connsiteX103" fmla="*/ 193083 w 1739754"/>
                  <a:gd name="connsiteY103" fmla="*/ 1606302 h 2673102"/>
                  <a:gd name="connsiteX104" fmla="*/ 154983 w 1739754"/>
                  <a:gd name="connsiteY104" fmla="*/ 1549152 h 2673102"/>
                  <a:gd name="connsiteX105" fmla="*/ 140696 w 1739754"/>
                  <a:gd name="connsiteY105" fmla="*/ 1377702 h 2673102"/>
                  <a:gd name="connsiteX106" fmla="*/ 121646 w 1739754"/>
                  <a:gd name="connsiteY106" fmla="*/ 1311027 h 2673102"/>
                  <a:gd name="connsiteX107" fmla="*/ 107358 w 1739754"/>
                  <a:gd name="connsiteY107" fmla="*/ 1244352 h 2673102"/>
                  <a:gd name="connsiteX108" fmla="*/ 78783 w 1739754"/>
                  <a:gd name="connsiteY108" fmla="*/ 1177677 h 2673102"/>
                  <a:gd name="connsiteX109" fmla="*/ 45446 w 1739754"/>
                  <a:gd name="connsiteY109" fmla="*/ 1096714 h 2673102"/>
                  <a:gd name="connsiteX110" fmla="*/ 21633 w 1739754"/>
                  <a:gd name="connsiteY110" fmla="*/ 1025277 h 2673102"/>
                  <a:gd name="connsiteX111" fmla="*/ 202 w 1739754"/>
                  <a:gd name="connsiteY111" fmla="*/ 980033 h 2673102"/>
                  <a:gd name="connsiteX112" fmla="*/ 14490 w 1739754"/>
                  <a:gd name="connsiteY112" fmla="*/ 930027 h 2673102"/>
                  <a:gd name="connsiteX113" fmla="*/ 69259 w 1739754"/>
                  <a:gd name="connsiteY113" fmla="*/ 810964 h 2673102"/>
                  <a:gd name="connsiteX114" fmla="*/ 221658 w 1739754"/>
                  <a:gd name="connsiteY114" fmla="*/ 601414 h 2673102"/>
                  <a:gd name="connsiteX115" fmla="*/ 288333 w 1739754"/>
                  <a:gd name="connsiteY115" fmla="*/ 515689 h 2673102"/>
                  <a:gd name="connsiteX116" fmla="*/ 412158 w 1739754"/>
                  <a:gd name="connsiteY116" fmla="*/ 406152 h 2673102"/>
                  <a:gd name="connsiteX117" fmla="*/ 535983 w 1739754"/>
                  <a:gd name="connsiteY117" fmla="*/ 291851 h 2673102"/>
                  <a:gd name="connsiteX118" fmla="*/ 640758 w 1739754"/>
                  <a:gd name="connsiteY118" fmla="*/ 229939 h 2673102"/>
                  <a:gd name="connsiteX119" fmla="*/ 733628 w 1739754"/>
                  <a:gd name="connsiteY119" fmla="*/ 168026 h 2673102"/>
                  <a:gd name="connsiteX120" fmla="*/ 978896 w 1739754"/>
                  <a:gd name="connsiteY120" fmla="*/ 63251 h 2673102"/>
                  <a:gd name="connsiteX121" fmla="*/ 1159871 w 1739754"/>
                  <a:gd name="connsiteY121" fmla="*/ 6102 h 2673102"/>
                  <a:gd name="connsiteX122" fmla="*/ 1202733 w 1739754"/>
                  <a:gd name="connsiteY12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11189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01664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83596 w 1739754"/>
                  <a:gd name="connsiteY81" fmla="*/ 2601664 h 2666451"/>
                  <a:gd name="connsiteX82" fmla="*/ 459783 w 1739754"/>
                  <a:gd name="connsiteY82" fmla="*/ 2620714 h 2666451"/>
                  <a:gd name="connsiteX83" fmla="*/ 450258 w 1739754"/>
                  <a:gd name="connsiteY83" fmla="*/ 2635002 h 2666451"/>
                  <a:gd name="connsiteX84" fmla="*/ 416921 w 1739754"/>
                  <a:gd name="connsiteY84" fmla="*/ 2654052 h 2666451"/>
                  <a:gd name="connsiteX85" fmla="*/ 359771 w 1739754"/>
                  <a:gd name="connsiteY85" fmla="*/ 2663577 h 2666451"/>
                  <a:gd name="connsiteX86" fmla="*/ 297858 w 1739754"/>
                  <a:gd name="connsiteY86" fmla="*/ 2601664 h 2666451"/>
                  <a:gd name="connsiteX87" fmla="*/ 181177 w 1739754"/>
                  <a:gd name="connsiteY87" fmla="*/ 2456408 h 2666451"/>
                  <a:gd name="connsiteX88" fmla="*/ 150221 w 1739754"/>
                  <a:gd name="connsiteY88" fmla="*/ 2415927 h 2666451"/>
                  <a:gd name="connsiteX89" fmla="*/ 135933 w 1739754"/>
                  <a:gd name="connsiteY89" fmla="*/ 2358777 h 2666451"/>
                  <a:gd name="connsiteX90" fmla="*/ 121646 w 1739754"/>
                  <a:gd name="connsiteY90" fmla="*/ 2315914 h 2666451"/>
                  <a:gd name="connsiteX91" fmla="*/ 88308 w 1739754"/>
                  <a:gd name="connsiteY91" fmla="*/ 2187327 h 2666451"/>
                  <a:gd name="connsiteX92" fmla="*/ 78783 w 1739754"/>
                  <a:gd name="connsiteY92" fmla="*/ 2111127 h 2666451"/>
                  <a:gd name="connsiteX93" fmla="*/ 97833 w 1739754"/>
                  <a:gd name="connsiteY93" fmla="*/ 1944439 h 2666451"/>
                  <a:gd name="connsiteX94" fmla="*/ 135933 w 1739754"/>
                  <a:gd name="connsiteY94" fmla="*/ 1868239 h 2666451"/>
                  <a:gd name="connsiteX95" fmla="*/ 131171 w 1739754"/>
                  <a:gd name="connsiteY95" fmla="*/ 1825377 h 2666451"/>
                  <a:gd name="connsiteX96" fmla="*/ 112121 w 1739754"/>
                  <a:gd name="connsiteY96" fmla="*/ 1820614 h 2666451"/>
                  <a:gd name="connsiteX97" fmla="*/ 102596 w 1739754"/>
                  <a:gd name="connsiteY97" fmla="*/ 1806327 h 2666451"/>
                  <a:gd name="connsiteX98" fmla="*/ 145458 w 1739754"/>
                  <a:gd name="connsiteY98" fmla="*/ 1720602 h 2666451"/>
                  <a:gd name="connsiteX99" fmla="*/ 188321 w 1739754"/>
                  <a:gd name="connsiteY99" fmla="*/ 1687264 h 2666451"/>
                  <a:gd name="connsiteX100" fmla="*/ 202608 w 1739754"/>
                  <a:gd name="connsiteY100" fmla="*/ 1653927 h 2666451"/>
                  <a:gd name="connsiteX101" fmla="*/ 193083 w 1739754"/>
                  <a:gd name="connsiteY101" fmla="*/ 1606302 h 2666451"/>
                  <a:gd name="connsiteX102" fmla="*/ 154983 w 1739754"/>
                  <a:gd name="connsiteY102" fmla="*/ 1549152 h 2666451"/>
                  <a:gd name="connsiteX103" fmla="*/ 140696 w 1739754"/>
                  <a:gd name="connsiteY103" fmla="*/ 1377702 h 2666451"/>
                  <a:gd name="connsiteX104" fmla="*/ 121646 w 1739754"/>
                  <a:gd name="connsiteY104" fmla="*/ 1311027 h 2666451"/>
                  <a:gd name="connsiteX105" fmla="*/ 107358 w 1739754"/>
                  <a:gd name="connsiteY105" fmla="*/ 1244352 h 2666451"/>
                  <a:gd name="connsiteX106" fmla="*/ 78783 w 1739754"/>
                  <a:gd name="connsiteY106" fmla="*/ 1177677 h 2666451"/>
                  <a:gd name="connsiteX107" fmla="*/ 45446 w 1739754"/>
                  <a:gd name="connsiteY107" fmla="*/ 1096714 h 2666451"/>
                  <a:gd name="connsiteX108" fmla="*/ 21633 w 1739754"/>
                  <a:gd name="connsiteY108" fmla="*/ 1025277 h 2666451"/>
                  <a:gd name="connsiteX109" fmla="*/ 202 w 1739754"/>
                  <a:gd name="connsiteY109" fmla="*/ 980033 h 2666451"/>
                  <a:gd name="connsiteX110" fmla="*/ 14490 w 1739754"/>
                  <a:gd name="connsiteY110" fmla="*/ 930027 h 2666451"/>
                  <a:gd name="connsiteX111" fmla="*/ 69259 w 1739754"/>
                  <a:gd name="connsiteY111" fmla="*/ 810964 h 2666451"/>
                  <a:gd name="connsiteX112" fmla="*/ 221658 w 1739754"/>
                  <a:gd name="connsiteY112" fmla="*/ 601414 h 2666451"/>
                  <a:gd name="connsiteX113" fmla="*/ 288333 w 1739754"/>
                  <a:gd name="connsiteY113" fmla="*/ 515689 h 2666451"/>
                  <a:gd name="connsiteX114" fmla="*/ 412158 w 1739754"/>
                  <a:gd name="connsiteY114" fmla="*/ 406152 h 2666451"/>
                  <a:gd name="connsiteX115" fmla="*/ 535983 w 1739754"/>
                  <a:gd name="connsiteY115" fmla="*/ 291851 h 2666451"/>
                  <a:gd name="connsiteX116" fmla="*/ 640758 w 1739754"/>
                  <a:gd name="connsiteY116" fmla="*/ 229939 h 2666451"/>
                  <a:gd name="connsiteX117" fmla="*/ 733628 w 1739754"/>
                  <a:gd name="connsiteY117" fmla="*/ 168026 h 2666451"/>
                  <a:gd name="connsiteX118" fmla="*/ 978896 w 1739754"/>
                  <a:gd name="connsiteY118" fmla="*/ 63251 h 2666451"/>
                  <a:gd name="connsiteX119" fmla="*/ 1159871 w 1739754"/>
                  <a:gd name="connsiteY119" fmla="*/ 6102 h 2666451"/>
                  <a:gd name="connsiteX120" fmla="*/ 1202733 w 1739754"/>
                  <a:gd name="connsiteY120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9783 w 1739754"/>
                  <a:gd name="connsiteY81" fmla="*/ 2620714 h 2666451"/>
                  <a:gd name="connsiteX82" fmla="*/ 450258 w 1739754"/>
                  <a:gd name="connsiteY82" fmla="*/ 2635002 h 2666451"/>
                  <a:gd name="connsiteX83" fmla="*/ 416921 w 1739754"/>
                  <a:gd name="connsiteY83" fmla="*/ 2654052 h 2666451"/>
                  <a:gd name="connsiteX84" fmla="*/ 359771 w 1739754"/>
                  <a:gd name="connsiteY84" fmla="*/ 2663577 h 2666451"/>
                  <a:gd name="connsiteX85" fmla="*/ 297858 w 1739754"/>
                  <a:gd name="connsiteY85" fmla="*/ 2601664 h 2666451"/>
                  <a:gd name="connsiteX86" fmla="*/ 181177 w 1739754"/>
                  <a:gd name="connsiteY86" fmla="*/ 2456408 h 2666451"/>
                  <a:gd name="connsiteX87" fmla="*/ 150221 w 1739754"/>
                  <a:gd name="connsiteY87" fmla="*/ 2415927 h 2666451"/>
                  <a:gd name="connsiteX88" fmla="*/ 135933 w 1739754"/>
                  <a:gd name="connsiteY88" fmla="*/ 2358777 h 2666451"/>
                  <a:gd name="connsiteX89" fmla="*/ 121646 w 1739754"/>
                  <a:gd name="connsiteY89" fmla="*/ 2315914 h 2666451"/>
                  <a:gd name="connsiteX90" fmla="*/ 88308 w 1739754"/>
                  <a:gd name="connsiteY90" fmla="*/ 2187327 h 2666451"/>
                  <a:gd name="connsiteX91" fmla="*/ 78783 w 1739754"/>
                  <a:gd name="connsiteY91" fmla="*/ 2111127 h 2666451"/>
                  <a:gd name="connsiteX92" fmla="*/ 97833 w 1739754"/>
                  <a:gd name="connsiteY92" fmla="*/ 1944439 h 2666451"/>
                  <a:gd name="connsiteX93" fmla="*/ 135933 w 1739754"/>
                  <a:gd name="connsiteY93" fmla="*/ 1868239 h 2666451"/>
                  <a:gd name="connsiteX94" fmla="*/ 131171 w 1739754"/>
                  <a:gd name="connsiteY94" fmla="*/ 1825377 h 2666451"/>
                  <a:gd name="connsiteX95" fmla="*/ 112121 w 1739754"/>
                  <a:gd name="connsiteY95" fmla="*/ 1820614 h 2666451"/>
                  <a:gd name="connsiteX96" fmla="*/ 102596 w 1739754"/>
                  <a:gd name="connsiteY96" fmla="*/ 1806327 h 2666451"/>
                  <a:gd name="connsiteX97" fmla="*/ 145458 w 1739754"/>
                  <a:gd name="connsiteY97" fmla="*/ 1720602 h 2666451"/>
                  <a:gd name="connsiteX98" fmla="*/ 188321 w 1739754"/>
                  <a:gd name="connsiteY98" fmla="*/ 1687264 h 2666451"/>
                  <a:gd name="connsiteX99" fmla="*/ 202608 w 1739754"/>
                  <a:gd name="connsiteY99" fmla="*/ 1653927 h 2666451"/>
                  <a:gd name="connsiteX100" fmla="*/ 193083 w 1739754"/>
                  <a:gd name="connsiteY100" fmla="*/ 1606302 h 2666451"/>
                  <a:gd name="connsiteX101" fmla="*/ 154983 w 1739754"/>
                  <a:gd name="connsiteY101" fmla="*/ 1549152 h 2666451"/>
                  <a:gd name="connsiteX102" fmla="*/ 140696 w 1739754"/>
                  <a:gd name="connsiteY102" fmla="*/ 1377702 h 2666451"/>
                  <a:gd name="connsiteX103" fmla="*/ 121646 w 1739754"/>
                  <a:gd name="connsiteY103" fmla="*/ 1311027 h 2666451"/>
                  <a:gd name="connsiteX104" fmla="*/ 107358 w 1739754"/>
                  <a:gd name="connsiteY104" fmla="*/ 1244352 h 2666451"/>
                  <a:gd name="connsiteX105" fmla="*/ 78783 w 1739754"/>
                  <a:gd name="connsiteY105" fmla="*/ 1177677 h 2666451"/>
                  <a:gd name="connsiteX106" fmla="*/ 45446 w 1739754"/>
                  <a:gd name="connsiteY106" fmla="*/ 1096714 h 2666451"/>
                  <a:gd name="connsiteX107" fmla="*/ 21633 w 1739754"/>
                  <a:gd name="connsiteY107" fmla="*/ 1025277 h 2666451"/>
                  <a:gd name="connsiteX108" fmla="*/ 202 w 1739754"/>
                  <a:gd name="connsiteY108" fmla="*/ 980033 h 2666451"/>
                  <a:gd name="connsiteX109" fmla="*/ 14490 w 1739754"/>
                  <a:gd name="connsiteY109" fmla="*/ 930027 h 2666451"/>
                  <a:gd name="connsiteX110" fmla="*/ 69259 w 1739754"/>
                  <a:gd name="connsiteY110" fmla="*/ 810964 h 2666451"/>
                  <a:gd name="connsiteX111" fmla="*/ 221658 w 1739754"/>
                  <a:gd name="connsiteY111" fmla="*/ 601414 h 2666451"/>
                  <a:gd name="connsiteX112" fmla="*/ 288333 w 1739754"/>
                  <a:gd name="connsiteY112" fmla="*/ 515689 h 2666451"/>
                  <a:gd name="connsiteX113" fmla="*/ 412158 w 1739754"/>
                  <a:gd name="connsiteY113" fmla="*/ 406152 h 2666451"/>
                  <a:gd name="connsiteX114" fmla="*/ 535983 w 1739754"/>
                  <a:gd name="connsiteY114" fmla="*/ 291851 h 2666451"/>
                  <a:gd name="connsiteX115" fmla="*/ 640758 w 1739754"/>
                  <a:gd name="connsiteY115" fmla="*/ 229939 h 2666451"/>
                  <a:gd name="connsiteX116" fmla="*/ 733628 w 1739754"/>
                  <a:gd name="connsiteY116" fmla="*/ 168026 h 2666451"/>
                  <a:gd name="connsiteX117" fmla="*/ 978896 w 1739754"/>
                  <a:gd name="connsiteY117" fmla="*/ 63251 h 2666451"/>
                  <a:gd name="connsiteX118" fmla="*/ 1159871 w 1739754"/>
                  <a:gd name="connsiteY118" fmla="*/ 6102 h 2666451"/>
                  <a:gd name="connsiteX119" fmla="*/ 1202733 w 1739754"/>
                  <a:gd name="connsiteY119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0258 w 1739754"/>
                  <a:gd name="connsiteY81" fmla="*/ 2635002 h 2666451"/>
                  <a:gd name="connsiteX82" fmla="*/ 416921 w 1739754"/>
                  <a:gd name="connsiteY82" fmla="*/ 2654052 h 2666451"/>
                  <a:gd name="connsiteX83" fmla="*/ 359771 w 1739754"/>
                  <a:gd name="connsiteY83" fmla="*/ 2663577 h 2666451"/>
                  <a:gd name="connsiteX84" fmla="*/ 297858 w 1739754"/>
                  <a:gd name="connsiteY84" fmla="*/ 2601664 h 2666451"/>
                  <a:gd name="connsiteX85" fmla="*/ 181177 w 1739754"/>
                  <a:gd name="connsiteY85" fmla="*/ 2456408 h 2666451"/>
                  <a:gd name="connsiteX86" fmla="*/ 150221 w 1739754"/>
                  <a:gd name="connsiteY86" fmla="*/ 2415927 h 2666451"/>
                  <a:gd name="connsiteX87" fmla="*/ 135933 w 1739754"/>
                  <a:gd name="connsiteY87" fmla="*/ 2358777 h 2666451"/>
                  <a:gd name="connsiteX88" fmla="*/ 121646 w 1739754"/>
                  <a:gd name="connsiteY88" fmla="*/ 2315914 h 2666451"/>
                  <a:gd name="connsiteX89" fmla="*/ 88308 w 1739754"/>
                  <a:gd name="connsiteY89" fmla="*/ 2187327 h 2666451"/>
                  <a:gd name="connsiteX90" fmla="*/ 78783 w 1739754"/>
                  <a:gd name="connsiteY90" fmla="*/ 2111127 h 2666451"/>
                  <a:gd name="connsiteX91" fmla="*/ 97833 w 1739754"/>
                  <a:gd name="connsiteY91" fmla="*/ 1944439 h 2666451"/>
                  <a:gd name="connsiteX92" fmla="*/ 135933 w 1739754"/>
                  <a:gd name="connsiteY92" fmla="*/ 1868239 h 2666451"/>
                  <a:gd name="connsiteX93" fmla="*/ 131171 w 1739754"/>
                  <a:gd name="connsiteY93" fmla="*/ 1825377 h 2666451"/>
                  <a:gd name="connsiteX94" fmla="*/ 112121 w 1739754"/>
                  <a:gd name="connsiteY94" fmla="*/ 1820614 h 2666451"/>
                  <a:gd name="connsiteX95" fmla="*/ 102596 w 1739754"/>
                  <a:gd name="connsiteY95" fmla="*/ 1806327 h 2666451"/>
                  <a:gd name="connsiteX96" fmla="*/ 145458 w 1739754"/>
                  <a:gd name="connsiteY96" fmla="*/ 1720602 h 2666451"/>
                  <a:gd name="connsiteX97" fmla="*/ 188321 w 1739754"/>
                  <a:gd name="connsiteY97" fmla="*/ 1687264 h 2666451"/>
                  <a:gd name="connsiteX98" fmla="*/ 202608 w 1739754"/>
                  <a:gd name="connsiteY98" fmla="*/ 1653927 h 2666451"/>
                  <a:gd name="connsiteX99" fmla="*/ 193083 w 1739754"/>
                  <a:gd name="connsiteY99" fmla="*/ 1606302 h 2666451"/>
                  <a:gd name="connsiteX100" fmla="*/ 154983 w 1739754"/>
                  <a:gd name="connsiteY100" fmla="*/ 1549152 h 2666451"/>
                  <a:gd name="connsiteX101" fmla="*/ 140696 w 1739754"/>
                  <a:gd name="connsiteY101" fmla="*/ 1377702 h 2666451"/>
                  <a:gd name="connsiteX102" fmla="*/ 121646 w 1739754"/>
                  <a:gd name="connsiteY102" fmla="*/ 1311027 h 2666451"/>
                  <a:gd name="connsiteX103" fmla="*/ 107358 w 1739754"/>
                  <a:gd name="connsiteY103" fmla="*/ 1244352 h 2666451"/>
                  <a:gd name="connsiteX104" fmla="*/ 78783 w 1739754"/>
                  <a:gd name="connsiteY104" fmla="*/ 1177677 h 2666451"/>
                  <a:gd name="connsiteX105" fmla="*/ 45446 w 1739754"/>
                  <a:gd name="connsiteY105" fmla="*/ 1096714 h 2666451"/>
                  <a:gd name="connsiteX106" fmla="*/ 21633 w 1739754"/>
                  <a:gd name="connsiteY106" fmla="*/ 1025277 h 2666451"/>
                  <a:gd name="connsiteX107" fmla="*/ 202 w 1739754"/>
                  <a:gd name="connsiteY107" fmla="*/ 980033 h 2666451"/>
                  <a:gd name="connsiteX108" fmla="*/ 14490 w 1739754"/>
                  <a:gd name="connsiteY108" fmla="*/ 930027 h 2666451"/>
                  <a:gd name="connsiteX109" fmla="*/ 69259 w 1739754"/>
                  <a:gd name="connsiteY109" fmla="*/ 810964 h 2666451"/>
                  <a:gd name="connsiteX110" fmla="*/ 221658 w 1739754"/>
                  <a:gd name="connsiteY110" fmla="*/ 601414 h 2666451"/>
                  <a:gd name="connsiteX111" fmla="*/ 288333 w 1739754"/>
                  <a:gd name="connsiteY111" fmla="*/ 515689 h 2666451"/>
                  <a:gd name="connsiteX112" fmla="*/ 412158 w 1739754"/>
                  <a:gd name="connsiteY112" fmla="*/ 406152 h 2666451"/>
                  <a:gd name="connsiteX113" fmla="*/ 535983 w 1739754"/>
                  <a:gd name="connsiteY113" fmla="*/ 291851 h 2666451"/>
                  <a:gd name="connsiteX114" fmla="*/ 640758 w 1739754"/>
                  <a:gd name="connsiteY114" fmla="*/ 229939 h 2666451"/>
                  <a:gd name="connsiteX115" fmla="*/ 733628 w 1739754"/>
                  <a:gd name="connsiteY115" fmla="*/ 168026 h 2666451"/>
                  <a:gd name="connsiteX116" fmla="*/ 978896 w 1739754"/>
                  <a:gd name="connsiteY116" fmla="*/ 63251 h 2666451"/>
                  <a:gd name="connsiteX117" fmla="*/ 1159871 w 1739754"/>
                  <a:gd name="connsiteY117" fmla="*/ 6102 h 2666451"/>
                  <a:gd name="connsiteX118" fmla="*/ 1202733 w 1739754"/>
                  <a:gd name="connsiteY118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40746 w 1739754"/>
                  <a:gd name="connsiteY78" fmla="*/ 2554039 h 2666451"/>
                  <a:gd name="connsiteX79" fmla="*/ 497883 w 1739754"/>
                  <a:gd name="connsiteY79" fmla="*/ 2587377 h 2666451"/>
                  <a:gd name="connsiteX80" fmla="*/ 450258 w 1739754"/>
                  <a:gd name="connsiteY80" fmla="*/ 2635002 h 2666451"/>
                  <a:gd name="connsiteX81" fmla="*/ 416921 w 1739754"/>
                  <a:gd name="connsiteY81" fmla="*/ 2654052 h 2666451"/>
                  <a:gd name="connsiteX82" fmla="*/ 359771 w 1739754"/>
                  <a:gd name="connsiteY82" fmla="*/ 2663577 h 2666451"/>
                  <a:gd name="connsiteX83" fmla="*/ 297858 w 1739754"/>
                  <a:gd name="connsiteY83" fmla="*/ 2601664 h 2666451"/>
                  <a:gd name="connsiteX84" fmla="*/ 181177 w 1739754"/>
                  <a:gd name="connsiteY84" fmla="*/ 2456408 h 2666451"/>
                  <a:gd name="connsiteX85" fmla="*/ 150221 w 1739754"/>
                  <a:gd name="connsiteY85" fmla="*/ 2415927 h 2666451"/>
                  <a:gd name="connsiteX86" fmla="*/ 135933 w 1739754"/>
                  <a:gd name="connsiteY86" fmla="*/ 2358777 h 2666451"/>
                  <a:gd name="connsiteX87" fmla="*/ 121646 w 1739754"/>
                  <a:gd name="connsiteY87" fmla="*/ 2315914 h 2666451"/>
                  <a:gd name="connsiteX88" fmla="*/ 88308 w 1739754"/>
                  <a:gd name="connsiteY88" fmla="*/ 2187327 h 2666451"/>
                  <a:gd name="connsiteX89" fmla="*/ 78783 w 1739754"/>
                  <a:gd name="connsiteY89" fmla="*/ 2111127 h 2666451"/>
                  <a:gd name="connsiteX90" fmla="*/ 97833 w 1739754"/>
                  <a:gd name="connsiteY90" fmla="*/ 1944439 h 2666451"/>
                  <a:gd name="connsiteX91" fmla="*/ 135933 w 1739754"/>
                  <a:gd name="connsiteY91" fmla="*/ 1868239 h 2666451"/>
                  <a:gd name="connsiteX92" fmla="*/ 131171 w 1739754"/>
                  <a:gd name="connsiteY92" fmla="*/ 1825377 h 2666451"/>
                  <a:gd name="connsiteX93" fmla="*/ 112121 w 1739754"/>
                  <a:gd name="connsiteY93" fmla="*/ 1820614 h 2666451"/>
                  <a:gd name="connsiteX94" fmla="*/ 102596 w 1739754"/>
                  <a:gd name="connsiteY94" fmla="*/ 1806327 h 2666451"/>
                  <a:gd name="connsiteX95" fmla="*/ 145458 w 1739754"/>
                  <a:gd name="connsiteY95" fmla="*/ 1720602 h 2666451"/>
                  <a:gd name="connsiteX96" fmla="*/ 188321 w 1739754"/>
                  <a:gd name="connsiteY96" fmla="*/ 1687264 h 2666451"/>
                  <a:gd name="connsiteX97" fmla="*/ 202608 w 1739754"/>
                  <a:gd name="connsiteY97" fmla="*/ 1653927 h 2666451"/>
                  <a:gd name="connsiteX98" fmla="*/ 193083 w 1739754"/>
                  <a:gd name="connsiteY98" fmla="*/ 1606302 h 2666451"/>
                  <a:gd name="connsiteX99" fmla="*/ 154983 w 1739754"/>
                  <a:gd name="connsiteY99" fmla="*/ 1549152 h 2666451"/>
                  <a:gd name="connsiteX100" fmla="*/ 140696 w 1739754"/>
                  <a:gd name="connsiteY100" fmla="*/ 1377702 h 2666451"/>
                  <a:gd name="connsiteX101" fmla="*/ 121646 w 1739754"/>
                  <a:gd name="connsiteY101" fmla="*/ 1311027 h 2666451"/>
                  <a:gd name="connsiteX102" fmla="*/ 107358 w 1739754"/>
                  <a:gd name="connsiteY102" fmla="*/ 1244352 h 2666451"/>
                  <a:gd name="connsiteX103" fmla="*/ 78783 w 1739754"/>
                  <a:gd name="connsiteY103" fmla="*/ 1177677 h 2666451"/>
                  <a:gd name="connsiteX104" fmla="*/ 45446 w 1739754"/>
                  <a:gd name="connsiteY104" fmla="*/ 1096714 h 2666451"/>
                  <a:gd name="connsiteX105" fmla="*/ 21633 w 1739754"/>
                  <a:gd name="connsiteY105" fmla="*/ 1025277 h 2666451"/>
                  <a:gd name="connsiteX106" fmla="*/ 202 w 1739754"/>
                  <a:gd name="connsiteY106" fmla="*/ 980033 h 2666451"/>
                  <a:gd name="connsiteX107" fmla="*/ 14490 w 1739754"/>
                  <a:gd name="connsiteY107" fmla="*/ 930027 h 2666451"/>
                  <a:gd name="connsiteX108" fmla="*/ 69259 w 1739754"/>
                  <a:gd name="connsiteY108" fmla="*/ 810964 h 2666451"/>
                  <a:gd name="connsiteX109" fmla="*/ 221658 w 1739754"/>
                  <a:gd name="connsiteY109" fmla="*/ 601414 h 2666451"/>
                  <a:gd name="connsiteX110" fmla="*/ 288333 w 1739754"/>
                  <a:gd name="connsiteY110" fmla="*/ 515689 h 2666451"/>
                  <a:gd name="connsiteX111" fmla="*/ 412158 w 1739754"/>
                  <a:gd name="connsiteY111" fmla="*/ 406152 h 2666451"/>
                  <a:gd name="connsiteX112" fmla="*/ 535983 w 1739754"/>
                  <a:gd name="connsiteY112" fmla="*/ 291851 h 2666451"/>
                  <a:gd name="connsiteX113" fmla="*/ 640758 w 1739754"/>
                  <a:gd name="connsiteY113" fmla="*/ 229939 h 2666451"/>
                  <a:gd name="connsiteX114" fmla="*/ 733628 w 1739754"/>
                  <a:gd name="connsiteY114" fmla="*/ 168026 h 2666451"/>
                  <a:gd name="connsiteX115" fmla="*/ 978896 w 1739754"/>
                  <a:gd name="connsiteY115" fmla="*/ 63251 h 2666451"/>
                  <a:gd name="connsiteX116" fmla="*/ 1159871 w 1739754"/>
                  <a:gd name="connsiteY116" fmla="*/ 6102 h 2666451"/>
                  <a:gd name="connsiteX117" fmla="*/ 1202733 w 1739754"/>
                  <a:gd name="connsiteY117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893171 w 1739754"/>
                  <a:gd name="connsiteY71" fmla="*/ 2239714 h 2666451"/>
                  <a:gd name="connsiteX72" fmla="*/ 897933 w 1739754"/>
                  <a:gd name="connsiteY72" fmla="*/ 2287339 h 2666451"/>
                  <a:gd name="connsiteX73" fmla="*/ 893171 w 1739754"/>
                  <a:gd name="connsiteY73" fmla="*/ 2396877 h 2666451"/>
                  <a:gd name="connsiteX74" fmla="*/ 688383 w 1739754"/>
                  <a:gd name="connsiteY74" fmla="*/ 2449264 h 2666451"/>
                  <a:gd name="connsiteX75" fmla="*/ 607421 w 1739754"/>
                  <a:gd name="connsiteY75" fmla="*/ 2511177 h 2666451"/>
                  <a:gd name="connsiteX76" fmla="*/ 540746 w 1739754"/>
                  <a:gd name="connsiteY76" fmla="*/ 2554039 h 2666451"/>
                  <a:gd name="connsiteX77" fmla="*/ 497883 w 1739754"/>
                  <a:gd name="connsiteY77" fmla="*/ 2587377 h 2666451"/>
                  <a:gd name="connsiteX78" fmla="*/ 450258 w 1739754"/>
                  <a:gd name="connsiteY78" fmla="*/ 2635002 h 2666451"/>
                  <a:gd name="connsiteX79" fmla="*/ 416921 w 1739754"/>
                  <a:gd name="connsiteY79" fmla="*/ 2654052 h 2666451"/>
                  <a:gd name="connsiteX80" fmla="*/ 359771 w 1739754"/>
                  <a:gd name="connsiteY80" fmla="*/ 2663577 h 2666451"/>
                  <a:gd name="connsiteX81" fmla="*/ 297858 w 1739754"/>
                  <a:gd name="connsiteY81" fmla="*/ 2601664 h 2666451"/>
                  <a:gd name="connsiteX82" fmla="*/ 181177 w 1739754"/>
                  <a:gd name="connsiteY82" fmla="*/ 2456408 h 2666451"/>
                  <a:gd name="connsiteX83" fmla="*/ 150221 w 1739754"/>
                  <a:gd name="connsiteY83" fmla="*/ 2415927 h 2666451"/>
                  <a:gd name="connsiteX84" fmla="*/ 135933 w 1739754"/>
                  <a:gd name="connsiteY84" fmla="*/ 2358777 h 2666451"/>
                  <a:gd name="connsiteX85" fmla="*/ 121646 w 1739754"/>
                  <a:gd name="connsiteY85" fmla="*/ 2315914 h 2666451"/>
                  <a:gd name="connsiteX86" fmla="*/ 88308 w 1739754"/>
                  <a:gd name="connsiteY86" fmla="*/ 2187327 h 2666451"/>
                  <a:gd name="connsiteX87" fmla="*/ 78783 w 1739754"/>
                  <a:gd name="connsiteY87" fmla="*/ 2111127 h 2666451"/>
                  <a:gd name="connsiteX88" fmla="*/ 97833 w 1739754"/>
                  <a:gd name="connsiteY88" fmla="*/ 1944439 h 2666451"/>
                  <a:gd name="connsiteX89" fmla="*/ 135933 w 1739754"/>
                  <a:gd name="connsiteY89" fmla="*/ 1868239 h 2666451"/>
                  <a:gd name="connsiteX90" fmla="*/ 131171 w 1739754"/>
                  <a:gd name="connsiteY90" fmla="*/ 1825377 h 2666451"/>
                  <a:gd name="connsiteX91" fmla="*/ 112121 w 1739754"/>
                  <a:gd name="connsiteY91" fmla="*/ 1820614 h 2666451"/>
                  <a:gd name="connsiteX92" fmla="*/ 102596 w 1739754"/>
                  <a:gd name="connsiteY92" fmla="*/ 1806327 h 2666451"/>
                  <a:gd name="connsiteX93" fmla="*/ 145458 w 1739754"/>
                  <a:gd name="connsiteY93" fmla="*/ 1720602 h 2666451"/>
                  <a:gd name="connsiteX94" fmla="*/ 188321 w 1739754"/>
                  <a:gd name="connsiteY94" fmla="*/ 1687264 h 2666451"/>
                  <a:gd name="connsiteX95" fmla="*/ 202608 w 1739754"/>
                  <a:gd name="connsiteY95" fmla="*/ 1653927 h 2666451"/>
                  <a:gd name="connsiteX96" fmla="*/ 193083 w 1739754"/>
                  <a:gd name="connsiteY96" fmla="*/ 1606302 h 2666451"/>
                  <a:gd name="connsiteX97" fmla="*/ 154983 w 1739754"/>
                  <a:gd name="connsiteY97" fmla="*/ 1549152 h 2666451"/>
                  <a:gd name="connsiteX98" fmla="*/ 140696 w 1739754"/>
                  <a:gd name="connsiteY98" fmla="*/ 1377702 h 2666451"/>
                  <a:gd name="connsiteX99" fmla="*/ 121646 w 1739754"/>
                  <a:gd name="connsiteY99" fmla="*/ 1311027 h 2666451"/>
                  <a:gd name="connsiteX100" fmla="*/ 107358 w 1739754"/>
                  <a:gd name="connsiteY100" fmla="*/ 1244352 h 2666451"/>
                  <a:gd name="connsiteX101" fmla="*/ 78783 w 1739754"/>
                  <a:gd name="connsiteY101" fmla="*/ 1177677 h 2666451"/>
                  <a:gd name="connsiteX102" fmla="*/ 45446 w 1739754"/>
                  <a:gd name="connsiteY102" fmla="*/ 1096714 h 2666451"/>
                  <a:gd name="connsiteX103" fmla="*/ 21633 w 1739754"/>
                  <a:gd name="connsiteY103" fmla="*/ 1025277 h 2666451"/>
                  <a:gd name="connsiteX104" fmla="*/ 202 w 1739754"/>
                  <a:gd name="connsiteY104" fmla="*/ 980033 h 2666451"/>
                  <a:gd name="connsiteX105" fmla="*/ 14490 w 1739754"/>
                  <a:gd name="connsiteY105" fmla="*/ 930027 h 2666451"/>
                  <a:gd name="connsiteX106" fmla="*/ 69259 w 1739754"/>
                  <a:gd name="connsiteY106" fmla="*/ 810964 h 2666451"/>
                  <a:gd name="connsiteX107" fmla="*/ 221658 w 1739754"/>
                  <a:gd name="connsiteY107" fmla="*/ 601414 h 2666451"/>
                  <a:gd name="connsiteX108" fmla="*/ 288333 w 1739754"/>
                  <a:gd name="connsiteY108" fmla="*/ 515689 h 2666451"/>
                  <a:gd name="connsiteX109" fmla="*/ 412158 w 1739754"/>
                  <a:gd name="connsiteY109" fmla="*/ 406152 h 2666451"/>
                  <a:gd name="connsiteX110" fmla="*/ 535983 w 1739754"/>
                  <a:gd name="connsiteY110" fmla="*/ 291851 h 2666451"/>
                  <a:gd name="connsiteX111" fmla="*/ 640758 w 1739754"/>
                  <a:gd name="connsiteY111" fmla="*/ 229939 h 2666451"/>
                  <a:gd name="connsiteX112" fmla="*/ 733628 w 1739754"/>
                  <a:gd name="connsiteY112" fmla="*/ 168026 h 2666451"/>
                  <a:gd name="connsiteX113" fmla="*/ 978896 w 1739754"/>
                  <a:gd name="connsiteY113" fmla="*/ 63251 h 2666451"/>
                  <a:gd name="connsiteX114" fmla="*/ 1159871 w 1739754"/>
                  <a:gd name="connsiteY114" fmla="*/ 6102 h 2666451"/>
                  <a:gd name="connsiteX115" fmla="*/ 1202733 w 1739754"/>
                  <a:gd name="connsiteY115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907458 w 1739754"/>
                  <a:gd name="connsiteY69" fmla="*/ 2192089 h 2666451"/>
                  <a:gd name="connsiteX70" fmla="*/ 893171 w 1739754"/>
                  <a:gd name="connsiteY70" fmla="*/ 2239714 h 2666451"/>
                  <a:gd name="connsiteX71" fmla="*/ 897933 w 1739754"/>
                  <a:gd name="connsiteY71" fmla="*/ 2287339 h 2666451"/>
                  <a:gd name="connsiteX72" fmla="*/ 893171 w 1739754"/>
                  <a:gd name="connsiteY72" fmla="*/ 2396877 h 2666451"/>
                  <a:gd name="connsiteX73" fmla="*/ 688383 w 1739754"/>
                  <a:gd name="connsiteY73" fmla="*/ 2449264 h 2666451"/>
                  <a:gd name="connsiteX74" fmla="*/ 607421 w 1739754"/>
                  <a:gd name="connsiteY74" fmla="*/ 2511177 h 2666451"/>
                  <a:gd name="connsiteX75" fmla="*/ 540746 w 1739754"/>
                  <a:gd name="connsiteY75" fmla="*/ 2554039 h 2666451"/>
                  <a:gd name="connsiteX76" fmla="*/ 497883 w 1739754"/>
                  <a:gd name="connsiteY76" fmla="*/ 2587377 h 2666451"/>
                  <a:gd name="connsiteX77" fmla="*/ 450258 w 1739754"/>
                  <a:gd name="connsiteY77" fmla="*/ 2635002 h 2666451"/>
                  <a:gd name="connsiteX78" fmla="*/ 416921 w 1739754"/>
                  <a:gd name="connsiteY78" fmla="*/ 2654052 h 2666451"/>
                  <a:gd name="connsiteX79" fmla="*/ 359771 w 1739754"/>
                  <a:gd name="connsiteY79" fmla="*/ 2663577 h 2666451"/>
                  <a:gd name="connsiteX80" fmla="*/ 297858 w 1739754"/>
                  <a:gd name="connsiteY80" fmla="*/ 2601664 h 2666451"/>
                  <a:gd name="connsiteX81" fmla="*/ 181177 w 1739754"/>
                  <a:gd name="connsiteY81" fmla="*/ 2456408 h 2666451"/>
                  <a:gd name="connsiteX82" fmla="*/ 150221 w 1739754"/>
                  <a:gd name="connsiteY82" fmla="*/ 2415927 h 2666451"/>
                  <a:gd name="connsiteX83" fmla="*/ 135933 w 1739754"/>
                  <a:gd name="connsiteY83" fmla="*/ 2358777 h 2666451"/>
                  <a:gd name="connsiteX84" fmla="*/ 121646 w 1739754"/>
                  <a:gd name="connsiteY84" fmla="*/ 2315914 h 2666451"/>
                  <a:gd name="connsiteX85" fmla="*/ 88308 w 1739754"/>
                  <a:gd name="connsiteY85" fmla="*/ 2187327 h 2666451"/>
                  <a:gd name="connsiteX86" fmla="*/ 78783 w 1739754"/>
                  <a:gd name="connsiteY86" fmla="*/ 2111127 h 2666451"/>
                  <a:gd name="connsiteX87" fmla="*/ 97833 w 1739754"/>
                  <a:gd name="connsiteY87" fmla="*/ 1944439 h 2666451"/>
                  <a:gd name="connsiteX88" fmla="*/ 135933 w 1739754"/>
                  <a:gd name="connsiteY88" fmla="*/ 1868239 h 2666451"/>
                  <a:gd name="connsiteX89" fmla="*/ 131171 w 1739754"/>
                  <a:gd name="connsiteY89" fmla="*/ 1825377 h 2666451"/>
                  <a:gd name="connsiteX90" fmla="*/ 112121 w 1739754"/>
                  <a:gd name="connsiteY90" fmla="*/ 1820614 h 2666451"/>
                  <a:gd name="connsiteX91" fmla="*/ 102596 w 1739754"/>
                  <a:gd name="connsiteY91" fmla="*/ 1806327 h 2666451"/>
                  <a:gd name="connsiteX92" fmla="*/ 145458 w 1739754"/>
                  <a:gd name="connsiteY92" fmla="*/ 1720602 h 2666451"/>
                  <a:gd name="connsiteX93" fmla="*/ 188321 w 1739754"/>
                  <a:gd name="connsiteY93" fmla="*/ 1687264 h 2666451"/>
                  <a:gd name="connsiteX94" fmla="*/ 202608 w 1739754"/>
                  <a:gd name="connsiteY94" fmla="*/ 1653927 h 2666451"/>
                  <a:gd name="connsiteX95" fmla="*/ 193083 w 1739754"/>
                  <a:gd name="connsiteY95" fmla="*/ 1606302 h 2666451"/>
                  <a:gd name="connsiteX96" fmla="*/ 154983 w 1739754"/>
                  <a:gd name="connsiteY96" fmla="*/ 1549152 h 2666451"/>
                  <a:gd name="connsiteX97" fmla="*/ 140696 w 1739754"/>
                  <a:gd name="connsiteY97" fmla="*/ 1377702 h 2666451"/>
                  <a:gd name="connsiteX98" fmla="*/ 121646 w 1739754"/>
                  <a:gd name="connsiteY98" fmla="*/ 1311027 h 2666451"/>
                  <a:gd name="connsiteX99" fmla="*/ 107358 w 1739754"/>
                  <a:gd name="connsiteY99" fmla="*/ 1244352 h 2666451"/>
                  <a:gd name="connsiteX100" fmla="*/ 78783 w 1739754"/>
                  <a:gd name="connsiteY100" fmla="*/ 1177677 h 2666451"/>
                  <a:gd name="connsiteX101" fmla="*/ 45446 w 1739754"/>
                  <a:gd name="connsiteY101" fmla="*/ 1096714 h 2666451"/>
                  <a:gd name="connsiteX102" fmla="*/ 21633 w 1739754"/>
                  <a:gd name="connsiteY102" fmla="*/ 1025277 h 2666451"/>
                  <a:gd name="connsiteX103" fmla="*/ 202 w 1739754"/>
                  <a:gd name="connsiteY103" fmla="*/ 980033 h 2666451"/>
                  <a:gd name="connsiteX104" fmla="*/ 14490 w 1739754"/>
                  <a:gd name="connsiteY104" fmla="*/ 930027 h 2666451"/>
                  <a:gd name="connsiteX105" fmla="*/ 69259 w 1739754"/>
                  <a:gd name="connsiteY105" fmla="*/ 810964 h 2666451"/>
                  <a:gd name="connsiteX106" fmla="*/ 221658 w 1739754"/>
                  <a:gd name="connsiteY106" fmla="*/ 601414 h 2666451"/>
                  <a:gd name="connsiteX107" fmla="*/ 288333 w 1739754"/>
                  <a:gd name="connsiteY107" fmla="*/ 515689 h 2666451"/>
                  <a:gd name="connsiteX108" fmla="*/ 412158 w 1739754"/>
                  <a:gd name="connsiteY108" fmla="*/ 406152 h 2666451"/>
                  <a:gd name="connsiteX109" fmla="*/ 535983 w 1739754"/>
                  <a:gd name="connsiteY109" fmla="*/ 291851 h 2666451"/>
                  <a:gd name="connsiteX110" fmla="*/ 640758 w 1739754"/>
                  <a:gd name="connsiteY110" fmla="*/ 229939 h 2666451"/>
                  <a:gd name="connsiteX111" fmla="*/ 733628 w 1739754"/>
                  <a:gd name="connsiteY111" fmla="*/ 168026 h 2666451"/>
                  <a:gd name="connsiteX112" fmla="*/ 978896 w 1739754"/>
                  <a:gd name="connsiteY112" fmla="*/ 63251 h 2666451"/>
                  <a:gd name="connsiteX113" fmla="*/ 1159871 w 1739754"/>
                  <a:gd name="connsiteY113" fmla="*/ 6102 h 2666451"/>
                  <a:gd name="connsiteX114" fmla="*/ 1202733 w 1739754"/>
                  <a:gd name="connsiteY114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76514 w 1739754"/>
                  <a:gd name="connsiteY67" fmla="*/ 2080171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74133 w 1739754"/>
                  <a:gd name="connsiteY65" fmla="*/ 1977777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90801 w 1739754"/>
                  <a:gd name="connsiteY65" fmla="*/ 1975396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4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DM Sans 14pt ExtraBold"/>
                </a:endParaRPr>
              </a:p>
            </p:txBody>
          </p:sp>
          <p:sp>
            <p:nvSpPr>
              <p:cNvPr id="40" name="Freeform: Shape 57">
                <a:extLst>
                  <a:ext uri="{FF2B5EF4-FFF2-40B4-BE49-F238E27FC236}">
                    <a16:creationId xmlns:a16="http://schemas.microsoft.com/office/drawing/2014/main" id="{C056F064-807D-E50F-E7FB-755B85499558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33500 w 1602771"/>
                  <a:gd name="connsiteY145" fmla="*/ 1639652 h 2249252"/>
                  <a:gd name="connsiteX146" fmla="*/ 1352550 w 1602771"/>
                  <a:gd name="connsiteY146" fmla="*/ 1596790 h 2249252"/>
                  <a:gd name="connsiteX147" fmla="*/ 1357313 w 1602771"/>
                  <a:gd name="connsiteY147" fmla="*/ 1577740 h 2249252"/>
                  <a:gd name="connsiteX148" fmla="*/ 1371600 w 1602771"/>
                  <a:gd name="connsiteY148" fmla="*/ 1544402 h 2249252"/>
                  <a:gd name="connsiteX149" fmla="*/ 1376363 w 1602771"/>
                  <a:gd name="connsiteY149" fmla="*/ 1525352 h 2249252"/>
                  <a:gd name="connsiteX150" fmla="*/ 1400175 w 1602771"/>
                  <a:gd name="connsiteY150" fmla="*/ 1492015 h 2249252"/>
                  <a:gd name="connsiteX151" fmla="*/ 1414463 w 1602771"/>
                  <a:gd name="connsiteY151" fmla="*/ 1458677 h 2249252"/>
                  <a:gd name="connsiteX152" fmla="*/ 1433513 w 1602771"/>
                  <a:gd name="connsiteY152" fmla="*/ 1434865 h 2249252"/>
                  <a:gd name="connsiteX153" fmla="*/ 1462088 w 1602771"/>
                  <a:gd name="connsiteY153" fmla="*/ 1368190 h 2249252"/>
                  <a:gd name="connsiteX154" fmla="*/ 1471613 w 1602771"/>
                  <a:gd name="connsiteY154" fmla="*/ 1334852 h 2249252"/>
                  <a:gd name="connsiteX155" fmla="*/ 1481138 w 1602771"/>
                  <a:gd name="connsiteY155" fmla="*/ 1311040 h 2249252"/>
                  <a:gd name="connsiteX156" fmla="*/ 1490663 w 1602771"/>
                  <a:gd name="connsiteY156" fmla="*/ 1282465 h 2249252"/>
                  <a:gd name="connsiteX157" fmla="*/ 1504950 w 1602771"/>
                  <a:gd name="connsiteY157" fmla="*/ 1225315 h 2249252"/>
                  <a:gd name="connsiteX158" fmla="*/ 1514475 w 1602771"/>
                  <a:gd name="connsiteY158" fmla="*/ 1211027 h 2249252"/>
                  <a:gd name="connsiteX159" fmla="*/ 1528763 w 1602771"/>
                  <a:gd name="connsiteY159" fmla="*/ 1149115 h 2249252"/>
                  <a:gd name="connsiteX160" fmla="*/ 1533525 w 1602771"/>
                  <a:gd name="connsiteY160" fmla="*/ 1120540 h 2249252"/>
                  <a:gd name="connsiteX161" fmla="*/ 1538288 w 1602771"/>
                  <a:gd name="connsiteY161" fmla="*/ 1101490 h 2249252"/>
                  <a:gd name="connsiteX162" fmla="*/ 1543050 w 1602771"/>
                  <a:gd name="connsiteY162" fmla="*/ 1063390 h 2249252"/>
                  <a:gd name="connsiteX163" fmla="*/ 1552575 w 1602771"/>
                  <a:gd name="connsiteY163" fmla="*/ 1049102 h 2249252"/>
                  <a:gd name="connsiteX164" fmla="*/ 1557338 w 1602771"/>
                  <a:gd name="connsiteY164" fmla="*/ 1015765 h 2249252"/>
                  <a:gd name="connsiteX165" fmla="*/ 1566863 w 1602771"/>
                  <a:gd name="connsiteY165" fmla="*/ 987190 h 2249252"/>
                  <a:gd name="connsiteX166" fmla="*/ 1571625 w 1602771"/>
                  <a:gd name="connsiteY166" fmla="*/ 968140 h 2249252"/>
                  <a:gd name="connsiteX167" fmla="*/ 1581150 w 1602771"/>
                  <a:gd name="connsiteY167" fmla="*/ 920515 h 2249252"/>
                  <a:gd name="connsiteX168" fmla="*/ 1590675 w 1602771"/>
                  <a:gd name="connsiteY168" fmla="*/ 868127 h 2249252"/>
                  <a:gd name="connsiteX169" fmla="*/ 1590675 w 1602771"/>
                  <a:gd name="connsiteY169" fmla="*/ 596665 h 2249252"/>
                  <a:gd name="connsiteX170" fmla="*/ 1581150 w 1602771"/>
                  <a:gd name="connsiteY170" fmla="*/ 525227 h 2249252"/>
                  <a:gd name="connsiteX171" fmla="*/ 1576388 w 1602771"/>
                  <a:gd name="connsiteY171" fmla="*/ 510940 h 2249252"/>
                  <a:gd name="connsiteX172" fmla="*/ 1571625 w 1602771"/>
                  <a:gd name="connsiteY172" fmla="*/ 491890 h 2249252"/>
                  <a:gd name="connsiteX173" fmla="*/ 1557338 w 1602771"/>
                  <a:gd name="connsiteY173" fmla="*/ 458552 h 2249252"/>
                  <a:gd name="connsiteX174" fmla="*/ 1538288 w 1602771"/>
                  <a:gd name="connsiteY174" fmla="*/ 401402 h 2249252"/>
                  <a:gd name="connsiteX175" fmla="*/ 1533525 w 1602771"/>
                  <a:gd name="connsiteY175" fmla="*/ 377590 h 2249252"/>
                  <a:gd name="connsiteX176" fmla="*/ 1524000 w 1602771"/>
                  <a:gd name="connsiteY176" fmla="*/ 353777 h 2249252"/>
                  <a:gd name="connsiteX177" fmla="*/ 1514475 w 1602771"/>
                  <a:gd name="connsiteY177" fmla="*/ 325202 h 2249252"/>
                  <a:gd name="connsiteX178" fmla="*/ 1500188 w 1602771"/>
                  <a:gd name="connsiteY178" fmla="*/ 291865 h 2249252"/>
                  <a:gd name="connsiteX179" fmla="*/ 1481138 w 1602771"/>
                  <a:gd name="connsiteY179" fmla="*/ 244240 h 2249252"/>
                  <a:gd name="connsiteX180" fmla="*/ 1471613 w 1602771"/>
                  <a:gd name="connsiteY180" fmla="*/ 201377 h 2249252"/>
                  <a:gd name="connsiteX181" fmla="*/ 1462088 w 1602771"/>
                  <a:gd name="connsiteY181" fmla="*/ 177565 h 2249252"/>
                  <a:gd name="connsiteX182" fmla="*/ 1447800 w 1602771"/>
                  <a:gd name="connsiteY182" fmla="*/ 125177 h 2249252"/>
                  <a:gd name="connsiteX183" fmla="*/ 1443038 w 1602771"/>
                  <a:gd name="connsiteY183" fmla="*/ 110890 h 2249252"/>
                  <a:gd name="connsiteX184" fmla="*/ 1419225 w 1602771"/>
                  <a:gd name="connsiteY184" fmla="*/ 68027 h 2249252"/>
                  <a:gd name="connsiteX185" fmla="*/ 1395413 w 1602771"/>
                  <a:gd name="connsiteY18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52550 w 1602771"/>
                  <a:gd name="connsiteY145" fmla="*/ 1596790 h 2249252"/>
                  <a:gd name="connsiteX146" fmla="*/ 1357313 w 1602771"/>
                  <a:gd name="connsiteY146" fmla="*/ 1577740 h 2249252"/>
                  <a:gd name="connsiteX147" fmla="*/ 1371600 w 1602771"/>
                  <a:gd name="connsiteY147" fmla="*/ 1544402 h 2249252"/>
                  <a:gd name="connsiteX148" fmla="*/ 1376363 w 1602771"/>
                  <a:gd name="connsiteY148" fmla="*/ 1525352 h 2249252"/>
                  <a:gd name="connsiteX149" fmla="*/ 1400175 w 1602771"/>
                  <a:gd name="connsiteY149" fmla="*/ 1492015 h 2249252"/>
                  <a:gd name="connsiteX150" fmla="*/ 1414463 w 1602771"/>
                  <a:gd name="connsiteY150" fmla="*/ 1458677 h 2249252"/>
                  <a:gd name="connsiteX151" fmla="*/ 1433513 w 1602771"/>
                  <a:gd name="connsiteY151" fmla="*/ 1434865 h 2249252"/>
                  <a:gd name="connsiteX152" fmla="*/ 1462088 w 1602771"/>
                  <a:gd name="connsiteY152" fmla="*/ 1368190 h 2249252"/>
                  <a:gd name="connsiteX153" fmla="*/ 1471613 w 1602771"/>
                  <a:gd name="connsiteY153" fmla="*/ 1334852 h 2249252"/>
                  <a:gd name="connsiteX154" fmla="*/ 1481138 w 1602771"/>
                  <a:gd name="connsiteY154" fmla="*/ 1311040 h 2249252"/>
                  <a:gd name="connsiteX155" fmla="*/ 1490663 w 1602771"/>
                  <a:gd name="connsiteY155" fmla="*/ 1282465 h 2249252"/>
                  <a:gd name="connsiteX156" fmla="*/ 1504950 w 1602771"/>
                  <a:gd name="connsiteY156" fmla="*/ 1225315 h 2249252"/>
                  <a:gd name="connsiteX157" fmla="*/ 1514475 w 1602771"/>
                  <a:gd name="connsiteY157" fmla="*/ 1211027 h 2249252"/>
                  <a:gd name="connsiteX158" fmla="*/ 1528763 w 1602771"/>
                  <a:gd name="connsiteY158" fmla="*/ 1149115 h 2249252"/>
                  <a:gd name="connsiteX159" fmla="*/ 1533525 w 1602771"/>
                  <a:gd name="connsiteY159" fmla="*/ 1120540 h 2249252"/>
                  <a:gd name="connsiteX160" fmla="*/ 1538288 w 1602771"/>
                  <a:gd name="connsiteY160" fmla="*/ 1101490 h 2249252"/>
                  <a:gd name="connsiteX161" fmla="*/ 1543050 w 1602771"/>
                  <a:gd name="connsiteY161" fmla="*/ 1063390 h 2249252"/>
                  <a:gd name="connsiteX162" fmla="*/ 1552575 w 1602771"/>
                  <a:gd name="connsiteY162" fmla="*/ 1049102 h 2249252"/>
                  <a:gd name="connsiteX163" fmla="*/ 1557338 w 1602771"/>
                  <a:gd name="connsiteY163" fmla="*/ 1015765 h 2249252"/>
                  <a:gd name="connsiteX164" fmla="*/ 1566863 w 1602771"/>
                  <a:gd name="connsiteY164" fmla="*/ 987190 h 2249252"/>
                  <a:gd name="connsiteX165" fmla="*/ 1571625 w 1602771"/>
                  <a:gd name="connsiteY165" fmla="*/ 968140 h 2249252"/>
                  <a:gd name="connsiteX166" fmla="*/ 1581150 w 1602771"/>
                  <a:gd name="connsiteY166" fmla="*/ 920515 h 2249252"/>
                  <a:gd name="connsiteX167" fmla="*/ 1590675 w 1602771"/>
                  <a:gd name="connsiteY167" fmla="*/ 868127 h 2249252"/>
                  <a:gd name="connsiteX168" fmla="*/ 1590675 w 1602771"/>
                  <a:gd name="connsiteY168" fmla="*/ 596665 h 2249252"/>
                  <a:gd name="connsiteX169" fmla="*/ 1581150 w 1602771"/>
                  <a:gd name="connsiteY169" fmla="*/ 525227 h 2249252"/>
                  <a:gd name="connsiteX170" fmla="*/ 1576388 w 1602771"/>
                  <a:gd name="connsiteY170" fmla="*/ 510940 h 2249252"/>
                  <a:gd name="connsiteX171" fmla="*/ 1571625 w 1602771"/>
                  <a:gd name="connsiteY171" fmla="*/ 491890 h 2249252"/>
                  <a:gd name="connsiteX172" fmla="*/ 1557338 w 1602771"/>
                  <a:gd name="connsiteY172" fmla="*/ 458552 h 2249252"/>
                  <a:gd name="connsiteX173" fmla="*/ 1538288 w 1602771"/>
                  <a:gd name="connsiteY173" fmla="*/ 401402 h 2249252"/>
                  <a:gd name="connsiteX174" fmla="*/ 1533525 w 1602771"/>
                  <a:gd name="connsiteY174" fmla="*/ 377590 h 2249252"/>
                  <a:gd name="connsiteX175" fmla="*/ 1524000 w 1602771"/>
                  <a:gd name="connsiteY175" fmla="*/ 353777 h 2249252"/>
                  <a:gd name="connsiteX176" fmla="*/ 1514475 w 1602771"/>
                  <a:gd name="connsiteY176" fmla="*/ 325202 h 2249252"/>
                  <a:gd name="connsiteX177" fmla="*/ 1500188 w 1602771"/>
                  <a:gd name="connsiteY177" fmla="*/ 291865 h 2249252"/>
                  <a:gd name="connsiteX178" fmla="*/ 1481138 w 1602771"/>
                  <a:gd name="connsiteY178" fmla="*/ 244240 h 2249252"/>
                  <a:gd name="connsiteX179" fmla="*/ 1471613 w 1602771"/>
                  <a:gd name="connsiteY179" fmla="*/ 201377 h 2249252"/>
                  <a:gd name="connsiteX180" fmla="*/ 1462088 w 1602771"/>
                  <a:gd name="connsiteY180" fmla="*/ 177565 h 2249252"/>
                  <a:gd name="connsiteX181" fmla="*/ 1447800 w 1602771"/>
                  <a:gd name="connsiteY181" fmla="*/ 125177 h 2249252"/>
                  <a:gd name="connsiteX182" fmla="*/ 1443038 w 1602771"/>
                  <a:gd name="connsiteY182" fmla="*/ 110890 h 2249252"/>
                  <a:gd name="connsiteX183" fmla="*/ 1419225 w 1602771"/>
                  <a:gd name="connsiteY183" fmla="*/ 68027 h 2249252"/>
                  <a:gd name="connsiteX184" fmla="*/ 1395413 w 1602771"/>
                  <a:gd name="connsiteY18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52550 w 1602771"/>
                  <a:gd name="connsiteY144" fmla="*/ 1596790 h 2249252"/>
                  <a:gd name="connsiteX145" fmla="*/ 1357313 w 1602771"/>
                  <a:gd name="connsiteY145" fmla="*/ 1577740 h 2249252"/>
                  <a:gd name="connsiteX146" fmla="*/ 1371600 w 1602771"/>
                  <a:gd name="connsiteY146" fmla="*/ 1544402 h 2249252"/>
                  <a:gd name="connsiteX147" fmla="*/ 1376363 w 1602771"/>
                  <a:gd name="connsiteY147" fmla="*/ 1525352 h 2249252"/>
                  <a:gd name="connsiteX148" fmla="*/ 1400175 w 1602771"/>
                  <a:gd name="connsiteY148" fmla="*/ 1492015 h 2249252"/>
                  <a:gd name="connsiteX149" fmla="*/ 1414463 w 1602771"/>
                  <a:gd name="connsiteY149" fmla="*/ 1458677 h 2249252"/>
                  <a:gd name="connsiteX150" fmla="*/ 1433513 w 1602771"/>
                  <a:gd name="connsiteY150" fmla="*/ 1434865 h 2249252"/>
                  <a:gd name="connsiteX151" fmla="*/ 1462088 w 1602771"/>
                  <a:gd name="connsiteY151" fmla="*/ 1368190 h 2249252"/>
                  <a:gd name="connsiteX152" fmla="*/ 1471613 w 1602771"/>
                  <a:gd name="connsiteY152" fmla="*/ 1334852 h 2249252"/>
                  <a:gd name="connsiteX153" fmla="*/ 1481138 w 1602771"/>
                  <a:gd name="connsiteY153" fmla="*/ 1311040 h 2249252"/>
                  <a:gd name="connsiteX154" fmla="*/ 1490663 w 1602771"/>
                  <a:gd name="connsiteY154" fmla="*/ 1282465 h 2249252"/>
                  <a:gd name="connsiteX155" fmla="*/ 1504950 w 1602771"/>
                  <a:gd name="connsiteY155" fmla="*/ 1225315 h 2249252"/>
                  <a:gd name="connsiteX156" fmla="*/ 1514475 w 1602771"/>
                  <a:gd name="connsiteY156" fmla="*/ 1211027 h 2249252"/>
                  <a:gd name="connsiteX157" fmla="*/ 1528763 w 1602771"/>
                  <a:gd name="connsiteY157" fmla="*/ 1149115 h 2249252"/>
                  <a:gd name="connsiteX158" fmla="*/ 1533525 w 1602771"/>
                  <a:gd name="connsiteY158" fmla="*/ 1120540 h 2249252"/>
                  <a:gd name="connsiteX159" fmla="*/ 1538288 w 1602771"/>
                  <a:gd name="connsiteY159" fmla="*/ 1101490 h 2249252"/>
                  <a:gd name="connsiteX160" fmla="*/ 1543050 w 1602771"/>
                  <a:gd name="connsiteY160" fmla="*/ 1063390 h 2249252"/>
                  <a:gd name="connsiteX161" fmla="*/ 1552575 w 1602771"/>
                  <a:gd name="connsiteY161" fmla="*/ 1049102 h 2249252"/>
                  <a:gd name="connsiteX162" fmla="*/ 1557338 w 1602771"/>
                  <a:gd name="connsiteY162" fmla="*/ 1015765 h 2249252"/>
                  <a:gd name="connsiteX163" fmla="*/ 1566863 w 1602771"/>
                  <a:gd name="connsiteY163" fmla="*/ 987190 h 2249252"/>
                  <a:gd name="connsiteX164" fmla="*/ 1571625 w 1602771"/>
                  <a:gd name="connsiteY164" fmla="*/ 968140 h 2249252"/>
                  <a:gd name="connsiteX165" fmla="*/ 1581150 w 1602771"/>
                  <a:gd name="connsiteY165" fmla="*/ 920515 h 2249252"/>
                  <a:gd name="connsiteX166" fmla="*/ 1590675 w 1602771"/>
                  <a:gd name="connsiteY166" fmla="*/ 868127 h 2249252"/>
                  <a:gd name="connsiteX167" fmla="*/ 1590675 w 1602771"/>
                  <a:gd name="connsiteY167" fmla="*/ 596665 h 2249252"/>
                  <a:gd name="connsiteX168" fmla="*/ 1581150 w 1602771"/>
                  <a:gd name="connsiteY168" fmla="*/ 525227 h 2249252"/>
                  <a:gd name="connsiteX169" fmla="*/ 1576388 w 1602771"/>
                  <a:gd name="connsiteY169" fmla="*/ 510940 h 2249252"/>
                  <a:gd name="connsiteX170" fmla="*/ 1571625 w 1602771"/>
                  <a:gd name="connsiteY170" fmla="*/ 491890 h 2249252"/>
                  <a:gd name="connsiteX171" fmla="*/ 1557338 w 1602771"/>
                  <a:gd name="connsiteY171" fmla="*/ 458552 h 2249252"/>
                  <a:gd name="connsiteX172" fmla="*/ 1538288 w 1602771"/>
                  <a:gd name="connsiteY172" fmla="*/ 401402 h 2249252"/>
                  <a:gd name="connsiteX173" fmla="*/ 1533525 w 1602771"/>
                  <a:gd name="connsiteY173" fmla="*/ 377590 h 2249252"/>
                  <a:gd name="connsiteX174" fmla="*/ 1524000 w 1602771"/>
                  <a:gd name="connsiteY174" fmla="*/ 353777 h 2249252"/>
                  <a:gd name="connsiteX175" fmla="*/ 1514475 w 1602771"/>
                  <a:gd name="connsiteY175" fmla="*/ 325202 h 2249252"/>
                  <a:gd name="connsiteX176" fmla="*/ 1500188 w 1602771"/>
                  <a:gd name="connsiteY176" fmla="*/ 291865 h 2249252"/>
                  <a:gd name="connsiteX177" fmla="*/ 1481138 w 1602771"/>
                  <a:gd name="connsiteY177" fmla="*/ 244240 h 2249252"/>
                  <a:gd name="connsiteX178" fmla="*/ 1471613 w 1602771"/>
                  <a:gd name="connsiteY178" fmla="*/ 201377 h 2249252"/>
                  <a:gd name="connsiteX179" fmla="*/ 1462088 w 1602771"/>
                  <a:gd name="connsiteY179" fmla="*/ 177565 h 2249252"/>
                  <a:gd name="connsiteX180" fmla="*/ 1447800 w 1602771"/>
                  <a:gd name="connsiteY180" fmla="*/ 125177 h 2249252"/>
                  <a:gd name="connsiteX181" fmla="*/ 1443038 w 1602771"/>
                  <a:gd name="connsiteY181" fmla="*/ 110890 h 2249252"/>
                  <a:gd name="connsiteX182" fmla="*/ 1419225 w 1602771"/>
                  <a:gd name="connsiteY182" fmla="*/ 68027 h 2249252"/>
                  <a:gd name="connsiteX183" fmla="*/ 1395413 w 1602771"/>
                  <a:gd name="connsiteY18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352550 w 1602771"/>
                  <a:gd name="connsiteY143" fmla="*/ 1596790 h 2249252"/>
                  <a:gd name="connsiteX144" fmla="*/ 1357313 w 1602771"/>
                  <a:gd name="connsiteY144" fmla="*/ 1577740 h 2249252"/>
                  <a:gd name="connsiteX145" fmla="*/ 1371600 w 1602771"/>
                  <a:gd name="connsiteY145" fmla="*/ 1544402 h 2249252"/>
                  <a:gd name="connsiteX146" fmla="*/ 1376363 w 1602771"/>
                  <a:gd name="connsiteY146" fmla="*/ 1525352 h 2249252"/>
                  <a:gd name="connsiteX147" fmla="*/ 1400175 w 1602771"/>
                  <a:gd name="connsiteY147" fmla="*/ 1492015 h 2249252"/>
                  <a:gd name="connsiteX148" fmla="*/ 1414463 w 1602771"/>
                  <a:gd name="connsiteY148" fmla="*/ 1458677 h 2249252"/>
                  <a:gd name="connsiteX149" fmla="*/ 1433513 w 1602771"/>
                  <a:gd name="connsiteY149" fmla="*/ 1434865 h 2249252"/>
                  <a:gd name="connsiteX150" fmla="*/ 1462088 w 1602771"/>
                  <a:gd name="connsiteY150" fmla="*/ 1368190 h 2249252"/>
                  <a:gd name="connsiteX151" fmla="*/ 1471613 w 1602771"/>
                  <a:gd name="connsiteY151" fmla="*/ 1334852 h 2249252"/>
                  <a:gd name="connsiteX152" fmla="*/ 1481138 w 1602771"/>
                  <a:gd name="connsiteY152" fmla="*/ 1311040 h 2249252"/>
                  <a:gd name="connsiteX153" fmla="*/ 1490663 w 1602771"/>
                  <a:gd name="connsiteY153" fmla="*/ 1282465 h 2249252"/>
                  <a:gd name="connsiteX154" fmla="*/ 1504950 w 1602771"/>
                  <a:gd name="connsiteY154" fmla="*/ 1225315 h 2249252"/>
                  <a:gd name="connsiteX155" fmla="*/ 1514475 w 1602771"/>
                  <a:gd name="connsiteY155" fmla="*/ 1211027 h 2249252"/>
                  <a:gd name="connsiteX156" fmla="*/ 1528763 w 1602771"/>
                  <a:gd name="connsiteY156" fmla="*/ 1149115 h 2249252"/>
                  <a:gd name="connsiteX157" fmla="*/ 1533525 w 1602771"/>
                  <a:gd name="connsiteY157" fmla="*/ 1120540 h 2249252"/>
                  <a:gd name="connsiteX158" fmla="*/ 1538288 w 1602771"/>
                  <a:gd name="connsiteY158" fmla="*/ 1101490 h 2249252"/>
                  <a:gd name="connsiteX159" fmla="*/ 1543050 w 1602771"/>
                  <a:gd name="connsiteY159" fmla="*/ 1063390 h 2249252"/>
                  <a:gd name="connsiteX160" fmla="*/ 1552575 w 1602771"/>
                  <a:gd name="connsiteY160" fmla="*/ 1049102 h 2249252"/>
                  <a:gd name="connsiteX161" fmla="*/ 1557338 w 1602771"/>
                  <a:gd name="connsiteY161" fmla="*/ 1015765 h 2249252"/>
                  <a:gd name="connsiteX162" fmla="*/ 1566863 w 1602771"/>
                  <a:gd name="connsiteY162" fmla="*/ 987190 h 2249252"/>
                  <a:gd name="connsiteX163" fmla="*/ 1571625 w 1602771"/>
                  <a:gd name="connsiteY163" fmla="*/ 968140 h 2249252"/>
                  <a:gd name="connsiteX164" fmla="*/ 1581150 w 1602771"/>
                  <a:gd name="connsiteY164" fmla="*/ 920515 h 2249252"/>
                  <a:gd name="connsiteX165" fmla="*/ 1590675 w 1602771"/>
                  <a:gd name="connsiteY165" fmla="*/ 868127 h 2249252"/>
                  <a:gd name="connsiteX166" fmla="*/ 1590675 w 1602771"/>
                  <a:gd name="connsiteY166" fmla="*/ 596665 h 2249252"/>
                  <a:gd name="connsiteX167" fmla="*/ 1581150 w 1602771"/>
                  <a:gd name="connsiteY167" fmla="*/ 525227 h 2249252"/>
                  <a:gd name="connsiteX168" fmla="*/ 1576388 w 1602771"/>
                  <a:gd name="connsiteY168" fmla="*/ 510940 h 2249252"/>
                  <a:gd name="connsiteX169" fmla="*/ 1571625 w 1602771"/>
                  <a:gd name="connsiteY169" fmla="*/ 491890 h 2249252"/>
                  <a:gd name="connsiteX170" fmla="*/ 1557338 w 1602771"/>
                  <a:gd name="connsiteY170" fmla="*/ 458552 h 2249252"/>
                  <a:gd name="connsiteX171" fmla="*/ 1538288 w 1602771"/>
                  <a:gd name="connsiteY171" fmla="*/ 401402 h 2249252"/>
                  <a:gd name="connsiteX172" fmla="*/ 1533525 w 1602771"/>
                  <a:gd name="connsiteY172" fmla="*/ 377590 h 2249252"/>
                  <a:gd name="connsiteX173" fmla="*/ 1524000 w 1602771"/>
                  <a:gd name="connsiteY173" fmla="*/ 353777 h 2249252"/>
                  <a:gd name="connsiteX174" fmla="*/ 1514475 w 1602771"/>
                  <a:gd name="connsiteY174" fmla="*/ 325202 h 2249252"/>
                  <a:gd name="connsiteX175" fmla="*/ 1500188 w 1602771"/>
                  <a:gd name="connsiteY175" fmla="*/ 291865 h 2249252"/>
                  <a:gd name="connsiteX176" fmla="*/ 1481138 w 1602771"/>
                  <a:gd name="connsiteY176" fmla="*/ 244240 h 2249252"/>
                  <a:gd name="connsiteX177" fmla="*/ 1471613 w 1602771"/>
                  <a:gd name="connsiteY177" fmla="*/ 201377 h 2249252"/>
                  <a:gd name="connsiteX178" fmla="*/ 1462088 w 1602771"/>
                  <a:gd name="connsiteY178" fmla="*/ 177565 h 2249252"/>
                  <a:gd name="connsiteX179" fmla="*/ 1447800 w 1602771"/>
                  <a:gd name="connsiteY179" fmla="*/ 125177 h 2249252"/>
                  <a:gd name="connsiteX180" fmla="*/ 1443038 w 1602771"/>
                  <a:gd name="connsiteY180" fmla="*/ 110890 h 2249252"/>
                  <a:gd name="connsiteX181" fmla="*/ 1419225 w 1602771"/>
                  <a:gd name="connsiteY181" fmla="*/ 68027 h 2249252"/>
                  <a:gd name="connsiteX182" fmla="*/ 1395413 w 1602771"/>
                  <a:gd name="connsiteY18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6363 w 1602771"/>
                  <a:gd name="connsiteY144" fmla="*/ 1525352 h 2249252"/>
                  <a:gd name="connsiteX145" fmla="*/ 1400175 w 1602771"/>
                  <a:gd name="connsiteY145" fmla="*/ 1492015 h 2249252"/>
                  <a:gd name="connsiteX146" fmla="*/ 1414463 w 1602771"/>
                  <a:gd name="connsiteY146" fmla="*/ 1458677 h 2249252"/>
                  <a:gd name="connsiteX147" fmla="*/ 1433513 w 1602771"/>
                  <a:gd name="connsiteY147" fmla="*/ 1434865 h 2249252"/>
                  <a:gd name="connsiteX148" fmla="*/ 1462088 w 1602771"/>
                  <a:gd name="connsiteY148" fmla="*/ 1368190 h 2249252"/>
                  <a:gd name="connsiteX149" fmla="*/ 1471613 w 1602771"/>
                  <a:gd name="connsiteY149" fmla="*/ 1334852 h 2249252"/>
                  <a:gd name="connsiteX150" fmla="*/ 1481138 w 1602771"/>
                  <a:gd name="connsiteY150" fmla="*/ 1311040 h 2249252"/>
                  <a:gd name="connsiteX151" fmla="*/ 1490663 w 1602771"/>
                  <a:gd name="connsiteY151" fmla="*/ 1282465 h 2249252"/>
                  <a:gd name="connsiteX152" fmla="*/ 1504950 w 1602771"/>
                  <a:gd name="connsiteY152" fmla="*/ 1225315 h 2249252"/>
                  <a:gd name="connsiteX153" fmla="*/ 1514475 w 1602771"/>
                  <a:gd name="connsiteY153" fmla="*/ 1211027 h 2249252"/>
                  <a:gd name="connsiteX154" fmla="*/ 1528763 w 1602771"/>
                  <a:gd name="connsiteY154" fmla="*/ 1149115 h 2249252"/>
                  <a:gd name="connsiteX155" fmla="*/ 1533525 w 1602771"/>
                  <a:gd name="connsiteY155" fmla="*/ 1120540 h 2249252"/>
                  <a:gd name="connsiteX156" fmla="*/ 1538288 w 1602771"/>
                  <a:gd name="connsiteY156" fmla="*/ 1101490 h 2249252"/>
                  <a:gd name="connsiteX157" fmla="*/ 1543050 w 1602771"/>
                  <a:gd name="connsiteY157" fmla="*/ 1063390 h 2249252"/>
                  <a:gd name="connsiteX158" fmla="*/ 1552575 w 1602771"/>
                  <a:gd name="connsiteY158" fmla="*/ 1049102 h 2249252"/>
                  <a:gd name="connsiteX159" fmla="*/ 1557338 w 1602771"/>
                  <a:gd name="connsiteY159" fmla="*/ 1015765 h 2249252"/>
                  <a:gd name="connsiteX160" fmla="*/ 1566863 w 1602771"/>
                  <a:gd name="connsiteY160" fmla="*/ 987190 h 2249252"/>
                  <a:gd name="connsiteX161" fmla="*/ 1571625 w 1602771"/>
                  <a:gd name="connsiteY161" fmla="*/ 968140 h 2249252"/>
                  <a:gd name="connsiteX162" fmla="*/ 1581150 w 1602771"/>
                  <a:gd name="connsiteY162" fmla="*/ 920515 h 2249252"/>
                  <a:gd name="connsiteX163" fmla="*/ 1590675 w 1602771"/>
                  <a:gd name="connsiteY163" fmla="*/ 868127 h 2249252"/>
                  <a:gd name="connsiteX164" fmla="*/ 1590675 w 1602771"/>
                  <a:gd name="connsiteY164" fmla="*/ 596665 h 2249252"/>
                  <a:gd name="connsiteX165" fmla="*/ 1581150 w 1602771"/>
                  <a:gd name="connsiteY165" fmla="*/ 525227 h 2249252"/>
                  <a:gd name="connsiteX166" fmla="*/ 1576388 w 1602771"/>
                  <a:gd name="connsiteY166" fmla="*/ 510940 h 2249252"/>
                  <a:gd name="connsiteX167" fmla="*/ 1571625 w 1602771"/>
                  <a:gd name="connsiteY167" fmla="*/ 491890 h 2249252"/>
                  <a:gd name="connsiteX168" fmla="*/ 1557338 w 1602771"/>
                  <a:gd name="connsiteY168" fmla="*/ 458552 h 2249252"/>
                  <a:gd name="connsiteX169" fmla="*/ 1538288 w 1602771"/>
                  <a:gd name="connsiteY169" fmla="*/ 401402 h 2249252"/>
                  <a:gd name="connsiteX170" fmla="*/ 1533525 w 1602771"/>
                  <a:gd name="connsiteY170" fmla="*/ 377590 h 2249252"/>
                  <a:gd name="connsiteX171" fmla="*/ 1524000 w 1602771"/>
                  <a:gd name="connsiteY171" fmla="*/ 353777 h 2249252"/>
                  <a:gd name="connsiteX172" fmla="*/ 1514475 w 1602771"/>
                  <a:gd name="connsiteY172" fmla="*/ 325202 h 2249252"/>
                  <a:gd name="connsiteX173" fmla="*/ 1500188 w 1602771"/>
                  <a:gd name="connsiteY173" fmla="*/ 291865 h 2249252"/>
                  <a:gd name="connsiteX174" fmla="*/ 1481138 w 1602771"/>
                  <a:gd name="connsiteY174" fmla="*/ 244240 h 2249252"/>
                  <a:gd name="connsiteX175" fmla="*/ 1471613 w 1602771"/>
                  <a:gd name="connsiteY175" fmla="*/ 201377 h 2249252"/>
                  <a:gd name="connsiteX176" fmla="*/ 1462088 w 1602771"/>
                  <a:gd name="connsiteY176" fmla="*/ 177565 h 2249252"/>
                  <a:gd name="connsiteX177" fmla="*/ 1447800 w 1602771"/>
                  <a:gd name="connsiteY177" fmla="*/ 125177 h 2249252"/>
                  <a:gd name="connsiteX178" fmla="*/ 1443038 w 1602771"/>
                  <a:gd name="connsiteY178" fmla="*/ 110890 h 2249252"/>
                  <a:gd name="connsiteX179" fmla="*/ 1419225 w 1602771"/>
                  <a:gd name="connsiteY179" fmla="*/ 68027 h 2249252"/>
                  <a:gd name="connsiteX180" fmla="*/ 1395413 w 1602771"/>
                  <a:gd name="connsiteY18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76363 w 1602771"/>
                  <a:gd name="connsiteY143" fmla="*/ 1525352 h 2249252"/>
                  <a:gd name="connsiteX144" fmla="*/ 1400175 w 1602771"/>
                  <a:gd name="connsiteY144" fmla="*/ 1492015 h 2249252"/>
                  <a:gd name="connsiteX145" fmla="*/ 1414463 w 1602771"/>
                  <a:gd name="connsiteY145" fmla="*/ 1458677 h 2249252"/>
                  <a:gd name="connsiteX146" fmla="*/ 1433513 w 1602771"/>
                  <a:gd name="connsiteY146" fmla="*/ 1434865 h 2249252"/>
                  <a:gd name="connsiteX147" fmla="*/ 1462088 w 1602771"/>
                  <a:gd name="connsiteY147" fmla="*/ 1368190 h 2249252"/>
                  <a:gd name="connsiteX148" fmla="*/ 1471613 w 1602771"/>
                  <a:gd name="connsiteY148" fmla="*/ 1334852 h 2249252"/>
                  <a:gd name="connsiteX149" fmla="*/ 1481138 w 1602771"/>
                  <a:gd name="connsiteY149" fmla="*/ 1311040 h 2249252"/>
                  <a:gd name="connsiteX150" fmla="*/ 1490663 w 1602771"/>
                  <a:gd name="connsiteY150" fmla="*/ 1282465 h 2249252"/>
                  <a:gd name="connsiteX151" fmla="*/ 1504950 w 1602771"/>
                  <a:gd name="connsiteY151" fmla="*/ 1225315 h 2249252"/>
                  <a:gd name="connsiteX152" fmla="*/ 1514475 w 1602771"/>
                  <a:gd name="connsiteY152" fmla="*/ 1211027 h 2249252"/>
                  <a:gd name="connsiteX153" fmla="*/ 1528763 w 1602771"/>
                  <a:gd name="connsiteY153" fmla="*/ 1149115 h 2249252"/>
                  <a:gd name="connsiteX154" fmla="*/ 1533525 w 1602771"/>
                  <a:gd name="connsiteY154" fmla="*/ 1120540 h 2249252"/>
                  <a:gd name="connsiteX155" fmla="*/ 1538288 w 1602771"/>
                  <a:gd name="connsiteY155" fmla="*/ 1101490 h 2249252"/>
                  <a:gd name="connsiteX156" fmla="*/ 1543050 w 1602771"/>
                  <a:gd name="connsiteY156" fmla="*/ 1063390 h 2249252"/>
                  <a:gd name="connsiteX157" fmla="*/ 1552575 w 1602771"/>
                  <a:gd name="connsiteY157" fmla="*/ 1049102 h 2249252"/>
                  <a:gd name="connsiteX158" fmla="*/ 1557338 w 1602771"/>
                  <a:gd name="connsiteY158" fmla="*/ 1015765 h 2249252"/>
                  <a:gd name="connsiteX159" fmla="*/ 1566863 w 1602771"/>
                  <a:gd name="connsiteY159" fmla="*/ 987190 h 2249252"/>
                  <a:gd name="connsiteX160" fmla="*/ 1571625 w 1602771"/>
                  <a:gd name="connsiteY160" fmla="*/ 968140 h 2249252"/>
                  <a:gd name="connsiteX161" fmla="*/ 1581150 w 1602771"/>
                  <a:gd name="connsiteY161" fmla="*/ 920515 h 2249252"/>
                  <a:gd name="connsiteX162" fmla="*/ 1590675 w 1602771"/>
                  <a:gd name="connsiteY162" fmla="*/ 868127 h 2249252"/>
                  <a:gd name="connsiteX163" fmla="*/ 1590675 w 1602771"/>
                  <a:gd name="connsiteY163" fmla="*/ 596665 h 2249252"/>
                  <a:gd name="connsiteX164" fmla="*/ 1581150 w 1602771"/>
                  <a:gd name="connsiteY164" fmla="*/ 525227 h 2249252"/>
                  <a:gd name="connsiteX165" fmla="*/ 1576388 w 1602771"/>
                  <a:gd name="connsiteY165" fmla="*/ 510940 h 2249252"/>
                  <a:gd name="connsiteX166" fmla="*/ 1571625 w 1602771"/>
                  <a:gd name="connsiteY166" fmla="*/ 491890 h 2249252"/>
                  <a:gd name="connsiteX167" fmla="*/ 1557338 w 1602771"/>
                  <a:gd name="connsiteY167" fmla="*/ 458552 h 2249252"/>
                  <a:gd name="connsiteX168" fmla="*/ 1538288 w 1602771"/>
                  <a:gd name="connsiteY168" fmla="*/ 401402 h 2249252"/>
                  <a:gd name="connsiteX169" fmla="*/ 1533525 w 1602771"/>
                  <a:gd name="connsiteY169" fmla="*/ 377590 h 2249252"/>
                  <a:gd name="connsiteX170" fmla="*/ 1524000 w 1602771"/>
                  <a:gd name="connsiteY170" fmla="*/ 353777 h 2249252"/>
                  <a:gd name="connsiteX171" fmla="*/ 1514475 w 1602771"/>
                  <a:gd name="connsiteY171" fmla="*/ 325202 h 2249252"/>
                  <a:gd name="connsiteX172" fmla="*/ 1500188 w 1602771"/>
                  <a:gd name="connsiteY172" fmla="*/ 291865 h 2249252"/>
                  <a:gd name="connsiteX173" fmla="*/ 1481138 w 1602771"/>
                  <a:gd name="connsiteY173" fmla="*/ 244240 h 2249252"/>
                  <a:gd name="connsiteX174" fmla="*/ 1471613 w 1602771"/>
                  <a:gd name="connsiteY174" fmla="*/ 201377 h 2249252"/>
                  <a:gd name="connsiteX175" fmla="*/ 1462088 w 1602771"/>
                  <a:gd name="connsiteY175" fmla="*/ 177565 h 2249252"/>
                  <a:gd name="connsiteX176" fmla="*/ 1447800 w 1602771"/>
                  <a:gd name="connsiteY176" fmla="*/ 125177 h 2249252"/>
                  <a:gd name="connsiteX177" fmla="*/ 1443038 w 1602771"/>
                  <a:gd name="connsiteY177" fmla="*/ 110890 h 2249252"/>
                  <a:gd name="connsiteX178" fmla="*/ 1419225 w 1602771"/>
                  <a:gd name="connsiteY178" fmla="*/ 68027 h 2249252"/>
                  <a:gd name="connsiteX179" fmla="*/ 1395413 w 1602771"/>
                  <a:gd name="connsiteY17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00175 w 1602771"/>
                  <a:gd name="connsiteY143" fmla="*/ 1492015 h 2249252"/>
                  <a:gd name="connsiteX144" fmla="*/ 1414463 w 1602771"/>
                  <a:gd name="connsiteY144" fmla="*/ 1458677 h 2249252"/>
                  <a:gd name="connsiteX145" fmla="*/ 1433513 w 1602771"/>
                  <a:gd name="connsiteY145" fmla="*/ 1434865 h 2249252"/>
                  <a:gd name="connsiteX146" fmla="*/ 1462088 w 1602771"/>
                  <a:gd name="connsiteY146" fmla="*/ 1368190 h 2249252"/>
                  <a:gd name="connsiteX147" fmla="*/ 1471613 w 1602771"/>
                  <a:gd name="connsiteY147" fmla="*/ 1334852 h 2249252"/>
                  <a:gd name="connsiteX148" fmla="*/ 1481138 w 1602771"/>
                  <a:gd name="connsiteY148" fmla="*/ 1311040 h 2249252"/>
                  <a:gd name="connsiteX149" fmla="*/ 1490663 w 1602771"/>
                  <a:gd name="connsiteY149" fmla="*/ 1282465 h 2249252"/>
                  <a:gd name="connsiteX150" fmla="*/ 1504950 w 1602771"/>
                  <a:gd name="connsiteY150" fmla="*/ 1225315 h 2249252"/>
                  <a:gd name="connsiteX151" fmla="*/ 1514475 w 1602771"/>
                  <a:gd name="connsiteY151" fmla="*/ 1211027 h 2249252"/>
                  <a:gd name="connsiteX152" fmla="*/ 1528763 w 1602771"/>
                  <a:gd name="connsiteY152" fmla="*/ 1149115 h 2249252"/>
                  <a:gd name="connsiteX153" fmla="*/ 1533525 w 1602771"/>
                  <a:gd name="connsiteY153" fmla="*/ 1120540 h 2249252"/>
                  <a:gd name="connsiteX154" fmla="*/ 1538288 w 1602771"/>
                  <a:gd name="connsiteY154" fmla="*/ 1101490 h 2249252"/>
                  <a:gd name="connsiteX155" fmla="*/ 1543050 w 1602771"/>
                  <a:gd name="connsiteY155" fmla="*/ 1063390 h 2249252"/>
                  <a:gd name="connsiteX156" fmla="*/ 1552575 w 1602771"/>
                  <a:gd name="connsiteY156" fmla="*/ 1049102 h 2249252"/>
                  <a:gd name="connsiteX157" fmla="*/ 1557338 w 1602771"/>
                  <a:gd name="connsiteY157" fmla="*/ 1015765 h 2249252"/>
                  <a:gd name="connsiteX158" fmla="*/ 1566863 w 1602771"/>
                  <a:gd name="connsiteY158" fmla="*/ 987190 h 2249252"/>
                  <a:gd name="connsiteX159" fmla="*/ 1571625 w 1602771"/>
                  <a:gd name="connsiteY159" fmla="*/ 968140 h 2249252"/>
                  <a:gd name="connsiteX160" fmla="*/ 1581150 w 1602771"/>
                  <a:gd name="connsiteY160" fmla="*/ 920515 h 2249252"/>
                  <a:gd name="connsiteX161" fmla="*/ 1590675 w 1602771"/>
                  <a:gd name="connsiteY161" fmla="*/ 868127 h 2249252"/>
                  <a:gd name="connsiteX162" fmla="*/ 1590675 w 1602771"/>
                  <a:gd name="connsiteY162" fmla="*/ 596665 h 2249252"/>
                  <a:gd name="connsiteX163" fmla="*/ 1581150 w 1602771"/>
                  <a:gd name="connsiteY163" fmla="*/ 525227 h 2249252"/>
                  <a:gd name="connsiteX164" fmla="*/ 1576388 w 1602771"/>
                  <a:gd name="connsiteY164" fmla="*/ 510940 h 2249252"/>
                  <a:gd name="connsiteX165" fmla="*/ 1571625 w 1602771"/>
                  <a:gd name="connsiteY165" fmla="*/ 491890 h 2249252"/>
                  <a:gd name="connsiteX166" fmla="*/ 1557338 w 1602771"/>
                  <a:gd name="connsiteY166" fmla="*/ 458552 h 2249252"/>
                  <a:gd name="connsiteX167" fmla="*/ 1538288 w 1602771"/>
                  <a:gd name="connsiteY167" fmla="*/ 401402 h 2249252"/>
                  <a:gd name="connsiteX168" fmla="*/ 1533525 w 1602771"/>
                  <a:gd name="connsiteY168" fmla="*/ 377590 h 2249252"/>
                  <a:gd name="connsiteX169" fmla="*/ 1524000 w 1602771"/>
                  <a:gd name="connsiteY169" fmla="*/ 353777 h 2249252"/>
                  <a:gd name="connsiteX170" fmla="*/ 1514475 w 1602771"/>
                  <a:gd name="connsiteY170" fmla="*/ 325202 h 2249252"/>
                  <a:gd name="connsiteX171" fmla="*/ 1500188 w 1602771"/>
                  <a:gd name="connsiteY171" fmla="*/ 291865 h 2249252"/>
                  <a:gd name="connsiteX172" fmla="*/ 1481138 w 1602771"/>
                  <a:gd name="connsiteY172" fmla="*/ 244240 h 2249252"/>
                  <a:gd name="connsiteX173" fmla="*/ 1471613 w 1602771"/>
                  <a:gd name="connsiteY173" fmla="*/ 201377 h 2249252"/>
                  <a:gd name="connsiteX174" fmla="*/ 1462088 w 1602771"/>
                  <a:gd name="connsiteY174" fmla="*/ 177565 h 2249252"/>
                  <a:gd name="connsiteX175" fmla="*/ 1447800 w 1602771"/>
                  <a:gd name="connsiteY175" fmla="*/ 125177 h 2249252"/>
                  <a:gd name="connsiteX176" fmla="*/ 1443038 w 1602771"/>
                  <a:gd name="connsiteY176" fmla="*/ 110890 h 2249252"/>
                  <a:gd name="connsiteX177" fmla="*/ 1419225 w 1602771"/>
                  <a:gd name="connsiteY177" fmla="*/ 68027 h 2249252"/>
                  <a:gd name="connsiteX178" fmla="*/ 1395413 w 1602771"/>
                  <a:gd name="connsiteY17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14463 w 1602771"/>
                  <a:gd name="connsiteY143" fmla="*/ 1458677 h 2249252"/>
                  <a:gd name="connsiteX144" fmla="*/ 1433513 w 1602771"/>
                  <a:gd name="connsiteY144" fmla="*/ 1434865 h 2249252"/>
                  <a:gd name="connsiteX145" fmla="*/ 1462088 w 1602771"/>
                  <a:gd name="connsiteY145" fmla="*/ 1368190 h 2249252"/>
                  <a:gd name="connsiteX146" fmla="*/ 1471613 w 1602771"/>
                  <a:gd name="connsiteY146" fmla="*/ 1334852 h 2249252"/>
                  <a:gd name="connsiteX147" fmla="*/ 1481138 w 1602771"/>
                  <a:gd name="connsiteY147" fmla="*/ 1311040 h 2249252"/>
                  <a:gd name="connsiteX148" fmla="*/ 1490663 w 1602771"/>
                  <a:gd name="connsiteY148" fmla="*/ 1282465 h 2249252"/>
                  <a:gd name="connsiteX149" fmla="*/ 1504950 w 1602771"/>
                  <a:gd name="connsiteY149" fmla="*/ 1225315 h 2249252"/>
                  <a:gd name="connsiteX150" fmla="*/ 1514475 w 1602771"/>
                  <a:gd name="connsiteY150" fmla="*/ 1211027 h 2249252"/>
                  <a:gd name="connsiteX151" fmla="*/ 1528763 w 1602771"/>
                  <a:gd name="connsiteY151" fmla="*/ 1149115 h 2249252"/>
                  <a:gd name="connsiteX152" fmla="*/ 1533525 w 1602771"/>
                  <a:gd name="connsiteY152" fmla="*/ 1120540 h 2249252"/>
                  <a:gd name="connsiteX153" fmla="*/ 1538288 w 1602771"/>
                  <a:gd name="connsiteY153" fmla="*/ 1101490 h 2249252"/>
                  <a:gd name="connsiteX154" fmla="*/ 1543050 w 1602771"/>
                  <a:gd name="connsiteY154" fmla="*/ 1063390 h 2249252"/>
                  <a:gd name="connsiteX155" fmla="*/ 1552575 w 1602771"/>
                  <a:gd name="connsiteY155" fmla="*/ 1049102 h 2249252"/>
                  <a:gd name="connsiteX156" fmla="*/ 1557338 w 1602771"/>
                  <a:gd name="connsiteY156" fmla="*/ 1015765 h 2249252"/>
                  <a:gd name="connsiteX157" fmla="*/ 1566863 w 1602771"/>
                  <a:gd name="connsiteY157" fmla="*/ 987190 h 2249252"/>
                  <a:gd name="connsiteX158" fmla="*/ 1571625 w 1602771"/>
                  <a:gd name="connsiteY158" fmla="*/ 968140 h 2249252"/>
                  <a:gd name="connsiteX159" fmla="*/ 1581150 w 1602771"/>
                  <a:gd name="connsiteY159" fmla="*/ 920515 h 2249252"/>
                  <a:gd name="connsiteX160" fmla="*/ 1590675 w 1602771"/>
                  <a:gd name="connsiteY160" fmla="*/ 868127 h 2249252"/>
                  <a:gd name="connsiteX161" fmla="*/ 1590675 w 1602771"/>
                  <a:gd name="connsiteY161" fmla="*/ 596665 h 2249252"/>
                  <a:gd name="connsiteX162" fmla="*/ 1581150 w 1602771"/>
                  <a:gd name="connsiteY162" fmla="*/ 525227 h 2249252"/>
                  <a:gd name="connsiteX163" fmla="*/ 1576388 w 1602771"/>
                  <a:gd name="connsiteY163" fmla="*/ 510940 h 2249252"/>
                  <a:gd name="connsiteX164" fmla="*/ 1571625 w 1602771"/>
                  <a:gd name="connsiteY164" fmla="*/ 491890 h 2249252"/>
                  <a:gd name="connsiteX165" fmla="*/ 1557338 w 1602771"/>
                  <a:gd name="connsiteY165" fmla="*/ 458552 h 2249252"/>
                  <a:gd name="connsiteX166" fmla="*/ 1538288 w 1602771"/>
                  <a:gd name="connsiteY166" fmla="*/ 401402 h 2249252"/>
                  <a:gd name="connsiteX167" fmla="*/ 1533525 w 1602771"/>
                  <a:gd name="connsiteY167" fmla="*/ 377590 h 2249252"/>
                  <a:gd name="connsiteX168" fmla="*/ 1524000 w 1602771"/>
                  <a:gd name="connsiteY168" fmla="*/ 353777 h 2249252"/>
                  <a:gd name="connsiteX169" fmla="*/ 1514475 w 1602771"/>
                  <a:gd name="connsiteY169" fmla="*/ 325202 h 2249252"/>
                  <a:gd name="connsiteX170" fmla="*/ 1500188 w 1602771"/>
                  <a:gd name="connsiteY170" fmla="*/ 291865 h 2249252"/>
                  <a:gd name="connsiteX171" fmla="*/ 1481138 w 1602771"/>
                  <a:gd name="connsiteY171" fmla="*/ 244240 h 2249252"/>
                  <a:gd name="connsiteX172" fmla="*/ 1471613 w 1602771"/>
                  <a:gd name="connsiteY172" fmla="*/ 201377 h 2249252"/>
                  <a:gd name="connsiteX173" fmla="*/ 1462088 w 1602771"/>
                  <a:gd name="connsiteY173" fmla="*/ 177565 h 2249252"/>
                  <a:gd name="connsiteX174" fmla="*/ 1447800 w 1602771"/>
                  <a:gd name="connsiteY174" fmla="*/ 125177 h 2249252"/>
                  <a:gd name="connsiteX175" fmla="*/ 1443038 w 1602771"/>
                  <a:gd name="connsiteY175" fmla="*/ 110890 h 2249252"/>
                  <a:gd name="connsiteX176" fmla="*/ 1419225 w 1602771"/>
                  <a:gd name="connsiteY176" fmla="*/ 68027 h 2249252"/>
                  <a:gd name="connsiteX177" fmla="*/ 1395413 w 1602771"/>
                  <a:gd name="connsiteY17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62088 w 1602771"/>
                  <a:gd name="connsiteY144" fmla="*/ 1368190 h 2249252"/>
                  <a:gd name="connsiteX145" fmla="*/ 1471613 w 1602771"/>
                  <a:gd name="connsiteY145" fmla="*/ 1334852 h 2249252"/>
                  <a:gd name="connsiteX146" fmla="*/ 1481138 w 1602771"/>
                  <a:gd name="connsiteY146" fmla="*/ 1311040 h 2249252"/>
                  <a:gd name="connsiteX147" fmla="*/ 1490663 w 1602771"/>
                  <a:gd name="connsiteY147" fmla="*/ 1282465 h 2249252"/>
                  <a:gd name="connsiteX148" fmla="*/ 1504950 w 1602771"/>
                  <a:gd name="connsiteY148" fmla="*/ 1225315 h 2249252"/>
                  <a:gd name="connsiteX149" fmla="*/ 1514475 w 1602771"/>
                  <a:gd name="connsiteY149" fmla="*/ 1211027 h 2249252"/>
                  <a:gd name="connsiteX150" fmla="*/ 1528763 w 1602771"/>
                  <a:gd name="connsiteY150" fmla="*/ 1149115 h 2249252"/>
                  <a:gd name="connsiteX151" fmla="*/ 1533525 w 1602771"/>
                  <a:gd name="connsiteY151" fmla="*/ 1120540 h 2249252"/>
                  <a:gd name="connsiteX152" fmla="*/ 1538288 w 1602771"/>
                  <a:gd name="connsiteY152" fmla="*/ 1101490 h 2249252"/>
                  <a:gd name="connsiteX153" fmla="*/ 1543050 w 1602771"/>
                  <a:gd name="connsiteY153" fmla="*/ 1063390 h 2249252"/>
                  <a:gd name="connsiteX154" fmla="*/ 1552575 w 1602771"/>
                  <a:gd name="connsiteY154" fmla="*/ 1049102 h 2249252"/>
                  <a:gd name="connsiteX155" fmla="*/ 1557338 w 1602771"/>
                  <a:gd name="connsiteY155" fmla="*/ 1015765 h 2249252"/>
                  <a:gd name="connsiteX156" fmla="*/ 1566863 w 1602771"/>
                  <a:gd name="connsiteY156" fmla="*/ 987190 h 2249252"/>
                  <a:gd name="connsiteX157" fmla="*/ 1571625 w 1602771"/>
                  <a:gd name="connsiteY157" fmla="*/ 968140 h 2249252"/>
                  <a:gd name="connsiteX158" fmla="*/ 1581150 w 1602771"/>
                  <a:gd name="connsiteY158" fmla="*/ 920515 h 2249252"/>
                  <a:gd name="connsiteX159" fmla="*/ 1590675 w 1602771"/>
                  <a:gd name="connsiteY159" fmla="*/ 868127 h 2249252"/>
                  <a:gd name="connsiteX160" fmla="*/ 1590675 w 1602771"/>
                  <a:gd name="connsiteY160" fmla="*/ 596665 h 2249252"/>
                  <a:gd name="connsiteX161" fmla="*/ 1581150 w 1602771"/>
                  <a:gd name="connsiteY161" fmla="*/ 525227 h 2249252"/>
                  <a:gd name="connsiteX162" fmla="*/ 1576388 w 1602771"/>
                  <a:gd name="connsiteY162" fmla="*/ 510940 h 2249252"/>
                  <a:gd name="connsiteX163" fmla="*/ 1571625 w 1602771"/>
                  <a:gd name="connsiteY163" fmla="*/ 491890 h 2249252"/>
                  <a:gd name="connsiteX164" fmla="*/ 1557338 w 1602771"/>
                  <a:gd name="connsiteY164" fmla="*/ 458552 h 2249252"/>
                  <a:gd name="connsiteX165" fmla="*/ 1538288 w 1602771"/>
                  <a:gd name="connsiteY165" fmla="*/ 401402 h 2249252"/>
                  <a:gd name="connsiteX166" fmla="*/ 1533525 w 1602771"/>
                  <a:gd name="connsiteY166" fmla="*/ 377590 h 2249252"/>
                  <a:gd name="connsiteX167" fmla="*/ 1524000 w 1602771"/>
                  <a:gd name="connsiteY167" fmla="*/ 353777 h 2249252"/>
                  <a:gd name="connsiteX168" fmla="*/ 1514475 w 1602771"/>
                  <a:gd name="connsiteY168" fmla="*/ 325202 h 2249252"/>
                  <a:gd name="connsiteX169" fmla="*/ 1500188 w 1602771"/>
                  <a:gd name="connsiteY169" fmla="*/ 291865 h 2249252"/>
                  <a:gd name="connsiteX170" fmla="*/ 1481138 w 1602771"/>
                  <a:gd name="connsiteY170" fmla="*/ 244240 h 2249252"/>
                  <a:gd name="connsiteX171" fmla="*/ 1471613 w 1602771"/>
                  <a:gd name="connsiteY171" fmla="*/ 201377 h 2249252"/>
                  <a:gd name="connsiteX172" fmla="*/ 1462088 w 1602771"/>
                  <a:gd name="connsiteY172" fmla="*/ 177565 h 2249252"/>
                  <a:gd name="connsiteX173" fmla="*/ 1447800 w 1602771"/>
                  <a:gd name="connsiteY173" fmla="*/ 125177 h 2249252"/>
                  <a:gd name="connsiteX174" fmla="*/ 1443038 w 1602771"/>
                  <a:gd name="connsiteY174" fmla="*/ 110890 h 2249252"/>
                  <a:gd name="connsiteX175" fmla="*/ 1419225 w 1602771"/>
                  <a:gd name="connsiteY175" fmla="*/ 68027 h 2249252"/>
                  <a:gd name="connsiteX176" fmla="*/ 1395413 w 1602771"/>
                  <a:gd name="connsiteY17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81138 w 1602771"/>
                  <a:gd name="connsiteY145" fmla="*/ 1311040 h 2249252"/>
                  <a:gd name="connsiteX146" fmla="*/ 1490663 w 1602771"/>
                  <a:gd name="connsiteY146" fmla="*/ 1282465 h 2249252"/>
                  <a:gd name="connsiteX147" fmla="*/ 1504950 w 1602771"/>
                  <a:gd name="connsiteY147" fmla="*/ 1225315 h 2249252"/>
                  <a:gd name="connsiteX148" fmla="*/ 1514475 w 1602771"/>
                  <a:gd name="connsiteY148" fmla="*/ 1211027 h 2249252"/>
                  <a:gd name="connsiteX149" fmla="*/ 1528763 w 1602771"/>
                  <a:gd name="connsiteY149" fmla="*/ 1149115 h 2249252"/>
                  <a:gd name="connsiteX150" fmla="*/ 1533525 w 1602771"/>
                  <a:gd name="connsiteY150" fmla="*/ 1120540 h 2249252"/>
                  <a:gd name="connsiteX151" fmla="*/ 1538288 w 1602771"/>
                  <a:gd name="connsiteY151" fmla="*/ 1101490 h 2249252"/>
                  <a:gd name="connsiteX152" fmla="*/ 1543050 w 1602771"/>
                  <a:gd name="connsiteY152" fmla="*/ 1063390 h 2249252"/>
                  <a:gd name="connsiteX153" fmla="*/ 1552575 w 1602771"/>
                  <a:gd name="connsiteY153" fmla="*/ 1049102 h 2249252"/>
                  <a:gd name="connsiteX154" fmla="*/ 1557338 w 1602771"/>
                  <a:gd name="connsiteY154" fmla="*/ 1015765 h 2249252"/>
                  <a:gd name="connsiteX155" fmla="*/ 1566863 w 1602771"/>
                  <a:gd name="connsiteY155" fmla="*/ 987190 h 2249252"/>
                  <a:gd name="connsiteX156" fmla="*/ 1571625 w 1602771"/>
                  <a:gd name="connsiteY156" fmla="*/ 968140 h 2249252"/>
                  <a:gd name="connsiteX157" fmla="*/ 1581150 w 1602771"/>
                  <a:gd name="connsiteY157" fmla="*/ 920515 h 2249252"/>
                  <a:gd name="connsiteX158" fmla="*/ 1590675 w 1602771"/>
                  <a:gd name="connsiteY158" fmla="*/ 868127 h 2249252"/>
                  <a:gd name="connsiteX159" fmla="*/ 1590675 w 1602771"/>
                  <a:gd name="connsiteY159" fmla="*/ 596665 h 2249252"/>
                  <a:gd name="connsiteX160" fmla="*/ 1581150 w 1602771"/>
                  <a:gd name="connsiteY160" fmla="*/ 525227 h 2249252"/>
                  <a:gd name="connsiteX161" fmla="*/ 1576388 w 1602771"/>
                  <a:gd name="connsiteY161" fmla="*/ 510940 h 2249252"/>
                  <a:gd name="connsiteX162" fmla="*/ 1571625 w 1602771"/>
                  <a:gd name="connsiteY162" fmla="*/ 491890 h 2249252"/>
                  <a:gd name="connsiteX163" fmla="*/ 1557338 w 1602771"/>
                  <a:gd name="connsiteY163" fmla="*/ 458552 h 2249252"/>
                  <a:gd name="connsiteX164" fmla="*/ 1538288 w 1602771"/>
                  <a:gd name="connsiteY164" fmla="*/ 401402 h 2249252"/>
                  <a:gd name="connsiteX165" fmla="*/ 1533525 w 1602771"/>
                  <a:gd name="connsiteY165" fmla="*/ 377590 h 2249252"/>
                  <a:gd name="connsiteX166" fmla="*/ 1524000 w 1602771"/>
                  <a:gd name="connsiteY166" fmla="*/ 353777 h 2249252"/>
                  <a:gd name="connsiteX167" fmla="*/ 1514475 w 1602771"/>
                  <a:gd name="connsiteY167" fmla="*/ 325202 h 2249252"/>
                  <a:gd name="connsiteX168" fmla="*/ 1500188 w 1602771"/>
                  <a:gd name="connsiteY168" fmla="*/ 291865 h 2249252"/>
                  <a:gd name="connsiteX169" fmla="*/ 1481138 w 1602771"/>
                  <a:gd name="connsiteY169" fmla="*/ 244240 h 2249252"/>
                  <a:gd name="connsiteX170" fmla="*/ 1471613 w 1602771"/>
                  <a:gd name="connsiteY170" fmla="*/ 201377 h 2249252"/>
                  <a:gd name="connsiteX171" fmla="*/ 1462088 w 1602771"/>
                  <a:gd name="connsiteY171" fmla="*/ 177565 h 2249252"/>
                  <a:gd name="connsiteX172" fmla="*/ 1447800 w 1602771"/>
                  <a:gd name="connsiteY172" fmla="*/ 125177 h 2249252"/>
                  <a:gd name="connsiteX173" fmla="*/ 1443038 w 1602771"/>
                  <a:gd name="connsiteY173" fmla="*/ 110890 h 2249252"/>
                  <a:gd name="connsiteX174" fmla="*/ 1419225 w 1602771"/>
                  <a:gd name="connsiteY174" fmla="*/ 68027 h 2249252"/>
                  <a:gd name="connsiteX175" fmla="*/ 1395413 w 1602771"/>
                  <a:gd name="connsiteY17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04950 w 1602771"/>
                  <a:gd name="connsiteY146" fmla="*/ 1225315 h 2249252"/>
                  <a:gd name="connsiteX147" fmla="*/ 1514475 w 1602771"/>
                  <a:gd name="connsiteY147" fmla="*/ 1211027 h 2249252"/>
                  <a:gd name="connsiteX148" fmla="*/ 1528763 w 1602771"/>
                  <a:gd name="connsiteY148" fmla="*/ 1149115 h 2249252"/>
                  <a:gd name="connsiteX149" fmla="*/ 1533525 w 1602771"/>
                  <a:gd name="connsiteY149" fmla="*/ 1120540 h 2249252"/>
                  <a:gd name="connsiteX150" fmla="*/ 1538288 w 1602771"/>
                  <a:gd name="connsiteY150" fmla="*/ 1101490 h 2249252"/>
                  <a:gd name="connsiteX151" fmla="*/ 1543050 w 1602771"/>
                  <a:gd name="connsiteY151" fmla="*/ 1063390 h 2249252"/>
                  <a:gd name="connsiteX152" fmla="*/ 1552575 w 1602771"/>
                  <a:gd name="connsiteY152" fmla="*/ 1049102 h 2249252"/>
                  <a:gd name="connsiteX153" fmla="*/ 1557338 w 1602771"/>
                  <a:gd name="connsiteY153" fmla="*/ 1015765 h 2249252"/>
                  <a:gd name="connsiteX154" fmla="*/ 1566863 w 1602771"/>
                  <a:gd name="connsiteY154" fmla="*/ 987190 h 2249252"/>
                  <a:gd name="connsiteX155" fmla="*/ 1571625 w 1602771"/>
                  <a:gd name="connsiteY155" fmla="*/ 968140 h 2249252"/>
                  <a:gd name="connsiteX156" fmla="*/ 1581150 w 1602771"/>
                  <a:gd name="connsiteY156" fmla="*/ 920515 h 2249252"/>
                  <a:gd name="connsiteX157" fmla="*/ 1590675 w 1602771"/>
                  <a:gd name="connsiteY157" fmla="*/ 868127 h 2249252"/>
                  <a:gd name="connsiteX158" fmla="*/ 1590675 w 1602771"/>
                  <a:gd name="connsiteY158" fmla="*/ 596665 h 2249252"/>
                  <a:gd name="connsiteX159" fmla="*/ 1581150 w 1602771"/>
                  <a:gd name="connsiteY159" fmla="*/ 525227 h 2249252"/>
                  <a:gd name="connsiteX160" fmla="*/ 1576388 w 1602771"/>
                  <a:gd name="connsiteY160" fmla="*/ 510940 h 2249252"/>
                  <a:gd name="connsiteX161" fmla="*/ 1571625 w 1602771"/>
                  <a:gd name="connsiteY161" fmla="*/ 491890 h 2249252"/>
                  <a:gd name="connsiteX162" fmla="*/ 1557338 w 1602771"/>
                  <a:gd name="connsiteY162" fmla="*/ 458552 h 2249252"/>
                  <a:gd name="connsiteX163" fmla="*/ 1538288 w 1602771"/>
                  <a:gd name="connsiteY163" fmla="*/ 401402 h 2249252"/>
                  <a:gd name="connsiteX164" fmla="*/ 1533525 w 1602771"/>
                  <a:gd name="connsiteY164" fmla="*/ 377590 h 2249252"/>
                  <a:gd name="connsiteX165" fmla="*/ 1524000 w 1602771"/>
                  <a:gd name="connsiteY165" fmla="*/ 353777 h 2249252"/>
                  <a:gd name="connsiteX166" fmla="*/ 1514475 w 1602771"/>
                  <a:gd name="connsiteY166" fmla="*/ 325202 h 2249252"/>
                  <a:gd name="connsiteX167" fmla="*/ 1500188 w 1602771"/>
                  <a:gd name="connsiteY167" fmla="*/ 291865 h 2249252"/>
                  <a:gd name="connsiteX168" fmla="*/ 1481138 w 1602771"/>
                  <a:gd name="connsiteY168" fmla="*/ 244240 h 2249252"/>
                  <a:gd name="connsiteX169" fmla="*/ 1471613 w 1602771"/>
                  <a:gd name="connsiteY169" fmla="*/ 201377 h 2249252"/>
                  <a:gd name="connsiteX170" fmla="*/ 1462088 w 1602771"/>
                  <a:gd name="connsiteY170" fmla="*/ 177565 h 2249252"/>
                  <a:gd name="connsiteX171" fmla="*/ 1447800 w 1602771"/>
                  <a:gd name="connsiteY171" fmla="*/ 125177 h 2249252"/>
                  <a:gd name="connsiteX172" fmla="*/ 1443038 w 1602771"/>
                  <a:gd name="connsiteY172" fmla="*/ 110890 h 2249252"/>
                  <a:gd name="connsiteX173" fmla="*/ 1419225 w 1602771"/>
                  <a:gd name="connsiteY173" fmla="*/ 68027 h 2249252"/>
                  <a:gd name="connsiteX174" fmla="*/ 1395413 w 1602771"/>
                  <a:gd name="connsiteY17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38288 w 1602771"/>
                  <a:gd name="connsiteY149" fmla="*/ 1101490 h 2249252"/>
                  <a:gd name="connsiteX150" fmla="*/ 1543050 w 1602771"/>
                  <a:gd name="connsiteY150" fmla="*/ 1063390 h 2249252"/>
                  <a:gd name="connsiteX151" fmla="*/ 1552575 w 1602771"/>
                  <a:gd name="connsiteY151" fmla="*/ 1049102 h 2249252"/>
                  <a:gd name="connsiteX152" fmla="*/ 1557338 w 1602771"/>
                  <a:gd name="connsiteY152" fmla="*/ 1015765 h 2249252"/>
                  <a:gd name="connsiteX153" fmla="*/ 1566863 w 1602771"/>
                  <a:gd name="connsiteY153" fmla="*/ 987190 h 2249252"/>
                  <a:gd name="connsiteX154" fmla="*/ 1571625 w 1602771"/>
                  <a:gd name="connsiteY154" fmla="*/ 968140 h 2249252"/>
                  <a:gd name="connsiteX155" fmla="*/ 1581150 w 1602771"/>
                  <a:gd name="connsiteY155" fmla="*/ 920515 h 2249252"/>
                  <a:gd name="connsiteX156" fmla="*/ 1590675 w 1602771"/>
                  <a:gd name="connsiteY156" fmla="*/ 868127 h 2249252"/>
                  <a:gd name="connsiteX157" fmla="*/ 1590675 w 1602771"/>
                  <a:gd name="connsiteY157" fmla="*/ 596665 h 2249252"/>
                  <a:gd name="connsiteX158" fmla="*/ 1581150 w 1602771"/>
                  <a:gd name="connsiteY158" fmla="*/ 525227 h 2249252"/>
                  <a:gd name="connsiteX159" fmla="*/ 1576388 w 1602771"/>
                  <a:gd name="connsiteY159" fmla="*/ 510940 h 2249252"/>
                  <a:gd name="connsiteX160" fmla="*/ 1571625 w 1602771"/>
                  <a:gd name="connsiteY160" fmla="*/ 491890 h 2249252"/>
                  <a:gd name="connsiteX161" fmla="*/ 1557338 w 1602771"/>
                  <a:gd name="connsiteY161" fmla="*/ 458552 h 2249252"/>
                  <a:gd name="connsiteX162" fmla="*/ 1538288 w 1602771"/>
                  <a:gd name="connsiteY162" fmla="*/ 401402 h 2249252"/>
                  <a:gd name="connsiteX163" fmla="*/ 1533525 w 1602771"/>
                  <a:gd name="connsiteY163" fmla="*/ 377590 h 2249252"/>
                  <a:gd name="connsiteX164" fmla="*/ 1524000 w 1602771"/>
                  <a:gd name="connsiteY164" fmla="*/ 353777 h 2249252"/>
                  <a:gd name="connsiteX165" fmla="*/ 1514475 w 1602771"/>
                  <a:gd name="connsiteY165" fmla="*/ 325202 h 2249252"/>
                  <a:gd name="connsiteX166" fmla="*/ 1500188 w 1602771"/>
                  <a:gd name="connsiteY166" fmla="*/ 291865 h 2249252"/>
                  <a:gd name="connsiteX167" fmla="*/ 1481138 w 1602771"/>
                  <a:gd name="connsiteY167" fmla="*/ 244240 h 2249252"/>
                  <a:gd name="connsiteX168" fmla="*/ 1471613 w 1602771"/>
                  <a:gd name="connsiteY168" fmla="*/ 201377 h 2249252"/>
                  <a:gd name="connsiteX169" fmla="*/ 1462088 w 1602771"/>
                  <a:gd name="connsiteY169" fmla="*/ 177565 h 2249252"/>
                  <a:gd name="connsiteX170" fmla="*/ 1447800 w 1602771"/>
                  <a:gd name="connsiteY170" fmla="*/ 125177 h 2249252"/>
                  <a:gd name="connsiteX171" fmla="*/ 1443038 w 1602771"/>
                  <a:gd name="connsiteY171" fmla="*/ 110890 h 2249252"/>
                  <a:gd name="connsiteX172" fmla="*/ 1419225 w 1602771"/>
                  <a:gd name="connsiteY172" fmla="*/ 68027 h 2249252"/>
                  <a:gd name="connsiteX173" fmla="*/ 1395413 w 1602771"/>
                  <a:gd name="connsiteY17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43050 w 1602771"/>
                  <a:gd name="connsiteY149" fmla="*/ 1063390 h 2249252"/>
                  <a:gd name="connsiteX150" fmla="*/ 1552575 w 1602771"/>
                  <a:gd name="connsiteY150" fmla="*/ 1049102 h 2249252"/>
                  <a:gd name="connsiteX151" fmla="*/ 1557338 w 1602771"/>
                  <a:gd name="connsiteY151" fmla="*/ 1015765 h 2249252"/>
                  <a:gd name="connsiteX152" fmla="*/ 1566863 w 1602771"/>
                  <a:gd name="connsiteY152" fmla="*/ 987190 h 2249252"/>
                  <a:gd name="connsiteX153" fmla="*/ 1571625 w 1602771"/>
                  <a:gd name="connsiteY153" fmla="*/ 968140 h 2249252"/>
                  <a:gd name="connsiteX154" fmla="*/ 1581150 w 1602771"/>
                  <a:gd name="connsiteY154" fmla="*/ 920515 h 2249252"/>
                  <a:gd name="connsiteX155" fmla="*/ 1590675 w 1602771"/>
                  <a:gd name="connsiteY155" fmla="*/ 868127 h 2249252"/>
                  <a:gd name="connsiteX156" fmla="*/ 1590675 w 1602771"/>
                  <a:gd name="connsiteY156" fmla="*/ 596665 h 2249252"/>
                  <a:gd name="connsiteX157" fmla="*/ 1581150 w 1602771"/>
                  <a:gd name="connsiteY157" fmla="*/ 525227 h 2249252"/>
                  <a:gd name="connsiteX158" fmla="*/ 1576388 w 1602771"/>
                  <a:gd name="connsiteY158" fmla="*/ 510940 h 2249252"/>
                  <a:gd name="connsiteX159" fmla="*/ 1571625 w 1602771"/>
                  <a:gd name="connsiteY159" fmla="*/ 491890 h 2249252"/>
                  <a:gd name="connsiteX160" fmla="*/ 1557338 w 1602771"/>
                  <a:gd name="connsiteY160" fmla="*/ 458552 h 2249252"/>
                  <a:gd name="connsiteX161" fmla="*/ 1538288 w 1602771"/>
                  <a:gd name="connsiteY161" fmla="*/ 401402 h 2249252"/>
                  <a:gd name="connsiteX162" fmla="*/ 1533525 w 1602771"/>
                  <a:gd name="connsiteY162" fmla="*/ 377590 h 2249252"/>
                  <a:gd name="connsiteX163" fmla="*/ 1524000 w 1602771"/>
                  <a:gd name="connsiteY163" fmla="*/ 353777 h 2249252"/>
                  <a:gd name="connsiteX164" fmla="*/ 1514475 w 1602771"/>
                  <a:gd name="connsiteY164" fmla="*/ 325202 h 2249252"/>
                  <a:gd name="connsiteX165" fmla="*/ 1500188 w 1602771"/>
                  <a:gd name="connsiteY165" fmla="*/ 291865 h 2249252"/>
                  <a:gd name="connsiteX166" fmla="*/ 1481138 w 1602771"/>
                  <a:gd name="connsiteY166" fmla="*/ 244240 h 2249252"/>
                  <a:gd name="connsiteX167" fmla="*/ 1471613 w 1602771"/>
                  <a:gd name="connsiteY167" fmla="*/ 201377 h 2249252"/>
                  <a:gd name="connsiteX168" fmla="*/ 1462088 w 1602771"/>
                  <a:gd name="connsiteY168" fmla="*/ 177565 h 2249252"/>
                  <a:gd name="connsiteX169" fmla="*/ 1447800 w 1602771"/>
                  <a:gd name="connsiteY169" fmla="*/ 125177 h 2249252"/>
                  <a:gd name="connsiteX170" fmla="*/ 1443038 w 1602771"/>
                  <a:gd name="connsiteY170" fmla="*/ 110890 h 2249252"/>
                  <a:gd name="connsiteX171" fmla="*/ 1419225 w 1602771"/>
                  <a:gd name="connsiteY171" fmla="*/ 68027 h 2249252"/>
                  <a:gd name="connsiteX172" fmla="*/ 1395413 w 1602771"/>
                  <a:gd name="connsiteY17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43050 w 1602771"/>
                  <a:gd name="connsiteY148" fmla="*/ 1063390 h 2249252"/>
                  <a:gd name="connsiteX149" fmla="*/ 1552575 w 1602771"/>
                  <a:gd name="connsiteY149" fmla="*/ 1049102 h 2249252"/>
                  <a:gd name="connsiteX150" fmla="*/ 1557338 w 1602771"/>
                  <a:gd name="connsiteY150" fmla="*/ 1015765 h 2249252"/>
                  <a:gd name="connsiteX151" fmla="*/ 1566863 w 1602771"/>
                  <a:gd name="connsiteY151" fmla="*/ 987190 h 2249252"/>
                  <a:gd name="connsiteX152" fmla="*/ 1571625 w 1602771"/>
                  <a:gd name="connsiteY152" fmla="*/ 968140 h 2249252"/>
                  <a:gd name="connsiteX153" fmla="*/ 1581150 w 1602771"/>
                  <a:gd name="connsiteY153" fmla="*/ 920515 h 2249252"/>
                  <a:gd name="connsiteX154" fmla="*/ 1590675 w 1602771"/>
                  <a:gd name="connsiteY154" fmla="*/ 868127 h 2249252"/>
                  <a:gd name="connsiteX155" fmla="*/ 1590675 w 1602771"/>
                  <a:gd name="connsiteY155" fmla="*/ 596665 h 2249252"/>
                  <a:gd name="connsiteX156" fmla="*/ 1581150 w 1602771"/>
                  <a:gd name="connsiteY156" fmla="*/ 525227 h 2249252"/>
                  <a:gd name="connsiteX157" fmla="*/ 1576388 w 1602771"/>
                  <a:gd name="connsiteY157" fmla="*/ 510940 h 2249252"/>
                  <a:gd name="connsiteX158" fmla="*/ 1571625 w 1602771"/>
                  <a:gd name="connsiteY158" fmla="*/ 491890 h 2249252"/>
                  <a:gd name="connsiteX159" fmla="*/ 1557338 w 1602771"/>
                  <a:gd name="connsiteY159" fmla="*/ 458552 h 2249252"/>
                  <a:gd name="connsiteX160" fmla="*/ 1538288 w 1602771"/>
                  <a:gd name="connsiteY160" fmla="*/ 401402 h 2249252"/>
                  <a:gd name="connsiteX161" fmla="*/ 1533525 w 1602771"/>
                  <a:gd name="connsiteY161" fmla="*/ 377590 h 2249252"/>
                  <a:gd name="connsiteX162" fmla="*/ 1524000 w 1602771"/>
                  <a:gd name="connsiteY162" fmla="*/ 353777 h 2249252"/>
                  <a:gd name="connsiteX163" fmla="*/ 1514475 w 1602771"/>
                  <a:gd name="connsiteY163" fmla="*/ 325202 h 2249252"/>
                  <a:gd name="connsiteX164" fmla="*/ 1500188 w 1602771"/>
                  <a:gd name="connsiteY164" fmla="*/ 291865 h 2249252"/>
                  <a:gd name="connsiteX165" fmla="*/ 1481138 w 1602771"/>
                  <a:gd name="connsiteY165" fmla="*/ 244240 h 2249252"/>
                  <a:gd name="connsiteX166" fmla="*/ 1471613 w 1602771"/>
                  <a:gd name="connsiteY166" fmla="*/ 201377 h 2249252"/>
                  <a:gd name="connsiteX167" fmla="*/ 1462088 w 1602771"/>
                  <a:gd name="connsiteY167" fmla="*/ 177565 h 2249252"/>
                  <a:gd name="connsiteX168" fmla="*/ 1447800 w 1602771"/>
                  <a:gd name="connsiteY168" fmla="*/ 125177 h 2249252"/>
                  <a:gd name="connsiteX169" fmla="*/ 1443038 w 1602771"/>
                  <a:gd name="connsiteY169" fmla="*/ 110890 h 2249252"/>
                  <a:gd name="connsiteX170" fmla="*/ 1419225 w 1602771"/>
                  <a:gd name="connsiteY170" fmla="*/ 68027 h 2249252"/>
                  <a:gd name="connsiteX171" fmla="*/ 1395413 w 1602771"/>
                  <a:gd name="connsiteY17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2575 w 1602771"/>
                  <a:gd name="connsiteY148" fmla="*/ 1049102 h 2249252"/>
                  <a:gd name="connsiteX149" fmla="*/ 1557338 w 1602771"/>
                  <a:gd name="connsiteY149" fmla="*/ 1015765 h 2249252"/>
                  <a:gd name="connsiteX150" fmla="*/ 1566863 w 1602771"/>
                  <a:gd name="connsiteY150" fmla="*/ 987190 h 2249252"/>
                  <a:gd name="connsiteX151" fmla="*/ 1571625 w 1602771"/>
                  <a:gd name="connsiteY151" fmla="*/ 968140 h 2249252"/>
                  <a:gd name="connsiteX152" fmla="*/ 1581150 w 1602771"/>
                  <a:gd name="connsiteY152" fmla="*/ 920515 h 2249252"/>
                  <a:gd name="connsiteX153" fmla="*/ 1590675 w 1602771"/>
                  <a:gd name="connsiteY153" fmla="*/ 868127 h 2249252"/>
                  <a:gd name="connsiteX154" fmla="*/ 1590675 w 1602771"/>
                  <a:gd name="connsiteY154" fmla="*/ 596665 h 2249252"/>
                  <a:gd name="connsiteX155" fmla="*/ 1581150 w 1602771"/>
                  <a:gd name="connsiteY155" fmla="*/ 525227 h 2249252"/>
                  <a:gd name="connsiteX156" fmla="*/ 1576388 w 1602771"/>
                  <a:gd name="connsiteY156" fmla="*/ 510940 h 2249252"/>
                  <a:gd name="connsiteX157" fmla="*/ 1571625 w 1602771"/>
                  <a:gd name="connsiteY157" fmla="*/ 491890 h 2249252"/>
                  <a:gd name="connsiteX158" fmla="*/ 1557338 w 1602771"/>
                  <a:gd name="connsiteY158" fmla="*/ 458552 h 2249252"/>
                  <a:gd name="connsiteX159" fmla="*/ 1538288 w 1602771"/>
                  <a:gd name="connsiteY159" fmla="*/ 401402 h 2249252"/>
                  <a:gd name="connsiteX160" fmla="*/ 1533525 w 1602771"/>
                  <a:gd name="connsiteY160" fmla="*/ 377590 h 2249252"/>
                  <a:gd name="connsiteX161" fmla="*/ 1524000 w 1602771"/>
                  <a:gd name="connsiteY161" fmla="*/ 353777 h 2249252"/>
                  <a:gd name="connsiteX162" fmla="*/ 1514475 w 1602771"/>
                  <a:gd name="connsiteY162" fmla="*/ 325202 h 2249252"/>
                  <a:gd name="connsiteX163" fmla="*/ 1500188 w 1602771"/>
                  <a:gd name="connsiteY163" fmla="*/ 291865 h 2249252"/>
                  <a:gd name="connsiteX164" fmla="*/ 1481138 w 1602771"/>
                  <a:gd name="connsiteY164" fmla="*/ 244240 h 2249252"/>
                  <a:gd name="connsiteX165" fmla="*/ 1471613 w 1602771"/>
                  <a:gd name="connsiteY165" fmla="*/ 201377 h 2249252"/>
                  <a:gd name="connsiteX166" fmla="*/ 1462088 w 1602771"/>
                  <a:gd name="connsiteY166" fmla="*/ 177565 h 2249252"/>
                  <a:gd name="connsiteX167" fmla="*/ 1447800 w 1602771"/>
                  <a:gd name="connsiteY167" fmla="*/ 125177 h 2249252"/>
                  <a:gd name="connsiteX168" fmla="*/ 1443038 w 1602771"/>
                  <a:gd name="connsiteY168" fmla="*/ 110890 h 2249252"/>
                  <a:gd name="connsiteX169" fmla="*/ 1419225 w 1602771"/>
                  <a:gd name="connsiteY169" fmla="*/ 68027 h 2249252"/>
                  <a:gd name="connsiteX170" fmla="*/ 1395413 w 1602771"/>
                  <a:gd name="connsiteY17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7338 w 1602771"/>
                  <a:gd name="connsiteY148" fmla="*/ 1015765 h 2249252"/>
                  <a:gd name="connsiteX149" fmla="*/ 1566863 w 1602771"/>
                  <a:gd name="connsiteY149" fmla="*/ 987190 h 2249252"/>
                  <a:gd name="connsiteX150" fmla="*/ 1571625 w 1602771"/>
                  <a:gd name="connsiteY150" fmla="*/ 968140 h 2249252"/>
                  <a:gd name="connsiteX151" fmla="*/ 1581150 w 1602771"/>
                  <a:gd name="connsiteY151" fmla="*/ 920515 h 2249252"/>
                  <a:gd name="connsiteX152" fmla="*/ 1590675 w 1602771"/>
                  <a:gd name="connsiteY152" fmla="*/ 868127 h 2249252"/>
                  <a:gd name="connsiteX153" fmla="*/ 1590675 w 1602771"/>
                  <a:gd name="connsiteY153" fmla="*/ 596665 h 2249252"/>
                  <a:gd name="connsiteX154" fmla="*/ 1581150 w 1602771"/>
                  <a:gd name="connsiteY154" fmla="*/ 525227 h 2249252"/>
                  <a:gd name="connsiteX155" fmla="*/ 1576388 w 1602771"/>
                  <a:gd name="connsiteY155" fmla="*/ 510940 h 2249252"/>
                  <a:gd name="connsiteX156" fmla="*/ 1571625 w 1602771"/>
                  <a:gd name="connsiteY156" fmla="*/ 491890 h 2249252"/>
                  <a:gd name="connsiteX157" fmla="*/ 1557338 w 1602771"/>
                  <a:gd name="connsiteY157" fmla="*/ 458552 h 2249252"/>
                  <a:gd name="connsiteX158" fmla="*/ 1538288 w 1602771"/>
                  <a:gd name="connsiteY158" fmla="*/ 401402 h 2249252"/>
                  <a:gd name="connsiteX159" fmla="*/ 1533525 w 1602771"/>
                  <a:gd name="connsiteY159" fmla="*/ 377590 h 2249252"/>
                  <a:gd name="connsiteX160" fmla="*/ 1524000 w 1602771"/>
                  <a:gd name="connsiteY160" fmla="*/ 353777 h 2249252"/>
                  <a:gd name="connsiteX161" fmla="*/ 1514475 w 1602771"/>
                  <a:gd name="connsiteY161" fmla="*/ 325202 h 2249252"/>
                  <a:gd name="connsiteX162" fmla="*/ 1500188 w 1602771"/>
                  <a:gd name="connsiteY162" fmla="*/ 291865 h 2249252"/>
                  <a:gd name="connsiteX163" fmla="*/ 1481138 w 1602771"/>
                  <a:gd name="connsiteY163" fmla="*/ 244240 h 2249252"/>
                  <a:gd name="connsiteX164" fmla="*/ 1471613 w 1602771"/>
                  <a:gd name="connsiteY164" fmla="*/ 201377 h 2249252"/>
                  <a:gd name="connsiteX165" fmla="*/ 1462088 w 1602771"/>
                  <a:gd name="connsiteY165" fmla="*/ 177565 h 2249252"/>
                  <a:gd name="connsiteX166" fmla="*/ 1447800 w 1602771"/>
                  <a:gd name="connsiteY166" fmla="*/ 125177 h 2249252"/>
                  <a:gd name="connsiteX167" fmla="*/ 1443038 w 1602771"/>
                  <a:gd name="connsiteY167" fmla="*/ 110890 h 2249252"/>
                  <a:gd name="connsiteX168" fmla="*/ 1419225 w 1602771"/>
                  <a:gd name="connsiteY168" fmla="*/ 68027 h 2249252"/>
                  <a:gd name="connsiteX169" fmla="*/ 1395413 w 1602771"/>
                  <a:gd name="connsiteY16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71625 w 1602771"/>
                  <a:gd name="connsiteY149" fmla="*/ 968140 h 2249252"/>
                  <a:gd name="connsiteX150" fmla="*/ 1581150 w 1602771"/>
                  <a:gd name="connsiteY150" fmla="*/ 920515 h 2249252"/>
                  <a:gd name="connsiteX151" fmla="*/ 1590675 w 1602771"/>
                  <a:gd name="connsiteY151" fmla="*/ 868127 h 2249252"/>
                  <a:gd name="connsiteX152" fmla="*/ 1590675 w 1602771"/>
                  <a:gd name="connsiteY152" fmla="*/ 596665 h 2249252"/>
                  <a:gd name="connsiteX153" fmla="*/ 1581150 w 1602771"/>
                  <a:gd name="connsiteY153" fmla="*/ 525227 h 2249252"/>
                  <a:gd name="connsiteX154" fmla="*/ 1576388 w 1602771"/>
                  <a:gd name="connsiteY154" fmla="*/ 510940 h 2249252"/>
                  <a:gd name="connsiteX155" fmla="*/ 1571625 w 1602771"/>
                  <a:gd name="connsiteY155" fmla="*/ 491890 h 2249252"/>
                  <a:gd name="connsiteX156" fmla="*/ 1557338 w 1602771"/>
                  <a:gd name="connsiteY156" fmla="*/ 458552 h 2249252"/>
                  <a:gd name="connsiteX157" fmla="*/ 1538288 w 1602771"/>
                  <a:gd name="connsiteY157" fmla="*/ 401402 h 2249252"/>
                  <a:gd name="connsiteX158" fmla="*/ 1533525 w 1602771"/>
                  <a:gd name="connsiteY158" fmla="*/ 377590 h 2249252"/>
                  <a:gd name="connsiteX159" fmla="*/ 1524000 w 1602771"/>
                  <a:gd name="connsiteY159" fmla="*/ 353777 h 2249252"/>
                  <a:gd name="connsiteX160" fmla="*/ 1514475 w 1602771"/>
                  <a:gd name="connsiteY160" fmla="*/ 325202 h 2249252"/>
                  <a:gd name="connsiteX161" fmla="*/ 1500188 w 1602771"/>
                  <a:gd name="connsiteY161" fmla="*/ 291865 h 2249252"/>
                  <a:gd name="connsiteX162" fmla="*/ 1481138 w 1602771"/>
                  <a:gd name="connsiteY162" fmla="*/ 244240 h 2249252"/>
                  <a:gd name="connsiteX163" fmla="*/ 1471613 w 1602771"/>
                  <a:gd name="connsiteY163" fmla="*/ 201377 h 2249252"/>
                  <a:gd name="connsiteX164" fmla="*/ 1462088 w 1602771"/>
                  <a:gd name="connsiteY164" fmla="*/ 177565 h 2249252"/>
                  <a:gd name="connsiteX165" fmla="*/ 1447800 w 1602771"/>
                  <a:gd name="connsiteY165" fmla="*/ 125177 h 2249252"/>
                  <a:gd name="connsiteX166" fmla="*/ 1443038 w 1602771"/>
                  <a:gd name="connsiteY166" fmla="*/ 110890 h 2249252"/>
                  <a:gd name="connsiteX167" fmla="*/ 1419225 w 1602771"/>
                  <a:gd name="connsiteY167" fmla="*/ 68027 h 2249252"/>
                  <a:gd name="connsiteX168" fmla="*/ 1395413 w 1602771"/>
                  <a:gd name="connsiteY16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81150 w 1602771"/>
                  <a:gd name="connsiteY149" fmla="*/ 920515 h 2249252"/>
                  <a:gd name="connsiteX150" fmla="*/ 1590675 w 1602771"/>
                  <a:gd name="connsiteY150" fmla="*/ 868127 h 2249252"/>
                  <a:gd name="connsiteX151" fmla="*/ 1590675 w 1602771"/>
                  <a:gd name="connsiteY151" fmla="*/ 596665 h 2249252"/>
                  <a:gd name="connsiteX152" fmla="*/ 1581150 w 1602771"/>
                  <a:gd name="connsiteY152" fmla="*/ 525227 h 2249252"/>
                  <a:gd name="connsiteX153" fmla="*/ 1576388 w 1602771"/>
                  <a:gd name="connsiteY153" fmla="*/ 510940 h 2249252"/>
                  <a:gd name="connsiteX154" fmla="*/ 1571625 w 1602771"/>
                  <a:gd name="connsiteY154" fmla="*/ 491890 h 2249252"/>
                  <a:gd name="connsiteX155" fmla="*/ 1557338 w 1602771"/>
                  <a:gd name="connsiteY155" fmla="*/ 458552 h 2249252"/>
                  <a:gd name="connsiteX156" fmla="*/ 1538288 w 1602771"/>
                  <a:gd name="connsiteY156" fmla="*/ 401402 h 2249252"/>
                  <a:gd name="connsiteX157" fmla="*/ 1533525 w 1602771"/>
                  <a:gd name="connsiteY157" fmla="*/ 377590 h 2249252"/>
                  <a:gd name="connsiteX158" fmla="*/ 1524000 w 1602771"/>
                  <a:gd name="connsiteY158" fmla="*/ 353777 h 2249252"/>
                  <a:gd name="connsiteX159" fmla="*/ 1514475 w 1602771"/>
                  <a:gd name="connsiteY159" fmla="*/ 325202 h 2249252"/>
                  <a:gd name="connsiteX160" fmla="*/ 1500188 w 1602771"/>
                  <a:gd name="connsiteY160" fmla="*/ 291865 h 2249252"/>
                  <a:gd name="connsiteX161" fmla="*/ 1481138 w 1602771"/>
                  <a:gd name="connsiteY161" fmla="*/ 244240 h 2249252"/>
                  <a:gd name="connsiteX162" fmla="*/ 1471613 w 1602771"/>
                  <a:gd name="connsiteY162" fmla="*/ 201377 h 2249252"/>
                  <a:gd name="connsiteX163" fmla="*/ 1462088 w 1602771"/>
                  <a:gd name="connsiteY163" fmla="*/ 177565 h 2249252"/>
                  <a:gd name="connsiteX164" fmla="*/ 1447800 w 1602771"/>
                  <a:gd name="connsiteY164" fmla="*/ 125177 h 2249252"/>
                  <a:gd name="connsiteX165" fmla="*/ 1443038 w 1602771"/>
                  <a:gd name="connsiteY165" fmla="*/ 110890 h 2249252"/>
                  <a:gd name="connsiteX166" fmla="*/ 1419225 w 1602771"/>
                  <a:gd name="connsiteY166" fmla="*/ 68027 h 2249252"/>
                  <a:gd name="connsiteX167" fmla="*/ 1395413 w 1602771"/>
                  <a:gd name="connsiteY16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71625 w 1602771"/>
                  <a:gd name="connsiteY153" fmla="*/ 491890 h 2249252"/>
                  <a:gd name="connsiteX154" fmla="*/ 1557338 w 1602771"/>
                  <a:gd name="connsiteY154" fmla="*/ 458552 h 2249252"/>
                  <a:gd name="connsiteX155" fmla="*/ 1538288 w 1602771"/>
                  <a:gd name="connsiteY155" fmla="*/ 401402 h 2249252"/>
                  <a:gd name="connsiteX156" fmla="*/ 1533525 w 1602771"/>
                  <a:gd name="connsiteY156" fmla="*/ 377590 h 2249252"/>
                  <a:gd name="connsiteX157" fmla="*/ 1524000 w 1602771"/>
                  <a:gd name="connsiteY157" fmla="*/ 353777 h 2249252"/>
                  <a:gd name="connsiteX158" fmla="*/ 1514475 w 1602771"/>
                  <a:gd name="connsiteY158" fmla="*/ 325202 h 2249252"/>
                  <a:gd name="connsiteX159" fmla="*/ 1500188 w 1602771"/>
                  <a:gd name="connsiteY159" fmla="*/ 291865 h 2249252"/>
                  <a:gd name="connsiteX160" fmla="*/ 1481138 w 1602771"/>
                  <a:gd name="connsiteY160" fmla="*/ 244240 h 2249252"/>
                  <a:gd name="connsiteX161" fmla="*/ 1471613 w 1602771"/>
                  <a:gd name="connsiteY161" fmla="*/ 201377 h 2249252"/>
                  <a:gd name="connsiteX162" fmla="*/ 1462088 w 1602771"/>
                  <a:gd name="connsiteY162" fmla="*/ 177565 h 2249252"/>
                  <a:gd name="connsiteX163" fmla="*/ 1447800 w 1602771"/>
                  <a:gd name="connsiteY163" fmla="*/ 125177 h 2249252"/>
                  <a:gd name="connsiteX164" fmla="*/ 1443038 w 1602771"/>
                  <a:gd name="connsiteY164" fmla="*/ 110890 h 2249252"/>
                  <a:gd name="connsiteX165" fmla="*/ 1419225 w 1602771"/>
                  <a:gd name="connsiteY165" fmla="*/ 68027 h 2249252"/>
                  <a:gd name="connsiteX166" fmla="*/ 1395413 w 1602771"/>
                  <a:gd name="connsiteY16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57338 w 1602771"/>
                  <a:gd name="connsiteY153" fmla="*/ 458552 h 2249252"/>
                  <a:gd name="connsiteX154" fmla="*/ 1538288 w 1602771"/>
                  <a:gd name="connsiteY154" fmla="*/ 401402 h 2249252"/>
                  <a:gd name="connsiteX155" fmla="*/ 1533525 w 1602771"/>
                  <a:gd name="connsiteY155" fmla="*/ 377590 h 2249252"/>
                  <a:gd name="connsiteX156" fmla="*/ 1524000 w 1602771"/>
                  <a:gd name="connsiteY156" fmla="*/ 353777 h 2249252"/>
                  <a:gd name="connsiteX157" fmla="*/ 1514475 w 1602771"/>
                  <a:gd name="connsiteY157" fmla="*/ 325202 h 2249252"/>
                  <a:gd name="connsiteX158" fmla="*/ 1500188 w 1602771"/>
                  <a:gd name="connsiteY158" fmla="*/ 291865 h 2249252"/>
                  <a:gd name="connsiteX159" fmla="*/ 1481138 w 1602771"/>
                  <a:gd name="connsiteY159" fmla="*/ 244240 h 2249252"/>
                  <a:gd name="connsiteX160" fmla="*/ 1471613 w 1602771"/>
                  <a:gd name="connsiteY160" fmla="*/ 201377 h 2249252"/>
                  <a:gd name="connsiteX161" fmla="*/ 1462088 w 1602771"/>
                  <a:gd name="connsiteY161" fmla="*/ 177565 h 2249252"/>
                  <a:gd name="connsiteX162" fmla="*/ 1447800 w 1602771"/>
                  <a:gd name="connsiteY162" fmla="*/ 125177 h 2249252"/>
                  <a:gd name="connsiteX163" fmla="*/ 1443038 w 1602771"/>
                  <a:gd name="connsiteY163" fmla="*/ 110890 h 2249252"/>
                  <a:gd name="connsiteX164" fmla="*/ 1419225 w 1602771"/>
                  <a:gd name="connsiteY164" fmla="*/ 68027 h 2249252"/>
                  <a:gd name="connsiteX165" fmla="*/ 1395413 w 1602771"/>
                  <a:gd name="connsiteY16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8288 w 1602771"/>
                  <a:gd name="connsiteY153" fmla="*/ 401402 h 2249252"/>
                  <a:gd name="connsiteX154" fmla="*/ 1533525 w 1602771"/>
                  <a:gd name="connsiteY154" fmla="*/ 377590 h 2249252"/>
                  <a:gd name="connsiteX155" fmla="*/ 1524000 w 1602771"/>
                  <a:gd name="connsiteY155" fmla="*/ 353777 h 2249252"/>
                  <a:gd name="connsiteX156" fmla="*/ 1514475 w 1602771"/>
                  <a:gd name="connsiteY156" fmla="*/ 325202 h 2249252"/>
                  <a:gd name="connsiteX157" fmla="*/ 1500188 w 1602771"/>
                  <a:gd name="connsiteY157" fmla="*/ 291865 h 2249252"/>
                  <a:gd name="connsiteX158" fmla="*/ 1481138 w 1602771"/>
                  <a:gd name="connsiteY158" fmla="*/ 244240 h 2249252"/>
                  <a:gd name="connsiteX159" fmla="*/ 1471613 w 1602771"/>
                  <a:gd name="connsiteY159" fmla="*/ 201377 h 2249252"/>
                  <a:gd name="connsiteX160" fmla="*/ 1462088 w 1602771"/>
                  <a:gd name="connsiteY160" fmla="*/ 177565 h 2249252"/>
                  <a:gd name="connsiteX161" fmla="*/ 1447800 w 1602771"/>
                  <a:gd name="connsiteY161" fmla="*/ 125177 h 2249252"/>
                  <a:gd name="connsiteX162" fmla="*/ 1443038 w 1602771"/>
                  <a:gd name="connsiteY162" fmla="*/ 110890 h 2249252"/>
                  <a:gd name="connsiteX163" fmla="*/ 1419225 w 1602771"/>
                  <a:gd name="connsiteY163" fmla="*/ 68027 h 2249252"/>
                  <a:gd name="connsiteX164" fmla="*/ 1395413 w 1602771"/>
                  <a:gd name="connsiteY16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3525 w 1602771"/>
                  <a:gd name="connsiteY153" fmla="*/ 377590 h 2249252"/>
                  <a:gd name="connsiteX154" fmla="*/ 1524000 w 1602771"/>
                  <a:gd name="connsiteY154" fmla="*/ 353777 h 2249252"/>
                  <a:gd name="connsiteX155" fmla="*/ 1514475 w 1602771"/>
                  <a:gd name="connsiteY155" fmla="*/ 325202 h 2249252"/>
                  <a:gd name="connsiteX156" fmla="*/ 1500188 w 1602771"/>
                  <a:gd name="connsiteY156" fmla="*/ 291865 h 2249252"/>
                  <a:gd name="connsiteX157" fmla="*/ 1481138 w 1602771"/>
                  <a:gd name="connsiteY157" fmla="*/ 244240 h 2249252"/>
                  <a:gd name="connsiteX158" fmla="*/ 1471613 w 1602771"/>
                  <a:gd name="connsiteY158" fmla="*/ 201377 h 2249252"/>
                  <a:gd name="connsiteX159" fmla="*/ 1462088 w 1602771"/>
                  <a:gd name="connsiteY159" fmla="*/ 177565 h 2249252"/>
                  <a:gd name="connsiteX160" fmla="*/ 1447800 w 1602771"/>
                  <a:gd name="connsiteY160" fmla="*/ 125177 h 2249252"/>
                  <a:gd name="connsiteX161" fmla="*/ 1443038 w 1602771"/>
                  <a:gd name="connsiteY161" fmla="*/ 110890 h 2249252"/>
                  <a:gd name="connsiteX162" fmla="*/ 1419225 w 1602771"/>
                  <a:gd name="connsiteY162" fmla="*/ 68027 h 2249252"/>
                  <a:gd name="connsiteX163" fmla="*/ 1395413 w 1602771"/>
                  <a:gd name="connsiteY16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24000 w 1602771"/>
                  <a:gd name="connsiteY153" fmla="*/ 353777 h 2249252"/>
                  <a:gd name="connsiteX154" fmla="*/ 1514475 w 1602771"/>
                  <a:gd name="connsiteY154" fmla="*/ 325202 h 2249252"/>
                  <a:gd name="connsiteX155" fmla="*/ 1500188 w 1602771"/>
                  <a:gd name="connsiteY155" fmla="*/ 291865 h 2249252"/>
                  <a:gd name="connsiteX156" fmla="*/ 1481138 w 1602771"/>
                  <a:gd name="connsiteY156" fmla="*/ 244240 h 2249252"/>
                  <a:gd name="connsiteX157" fmla="*/ 1471613 w 1602771"/>
                  <a:gd name="connsiteY157" fmla="*/ 201377 h 2249252"/>
                  <a:gd name="connsiteX158" fmla="*/ 1462088 w 1602771"/>
                  <a:gd name="connsiteY158" fmla="*/ 177565 h 2249252"/>
                  <a:gd name="connsiteX159" fmla="*/ 1447800 w 1602771"/>
                  <a:gd name="connsiteY159" fmla="*/ 125177 h 2249252"/>
                  <a:gd name="connsiteX160" fmla="*/ 1443038 w 1602771"/>
                  <a:gd name="connsiteY160" fmla="*/ 110890 h 2249252"/>
                  <a:gd name="connsiteX161" fmla="*/ 1419225 w 1602771"/>
                  <a:gd name="connsiteY161" fmla="*/ 68027 h 2249252"/>
                  <a:gd name="connsiteX162" fmla="*/ 1395413 w 1602771"/>
                  <a:gd name="connsiteY16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14475 w 1602771"/>
                  <a:gd name="connsiteY153" fmla="*/ 325202 h 2249252"/>
                  <a:gd name="connsiteX154" fmla="*/ 1500188 w 1602771"/>
                  <a:gd name="connsiteY154" fmla="*/ 291865 h 2249252"/>
                  <a:gd name="connsiteX155" fmla="*/ 1481138 w 1602771"/>
                  <a:gd name="connsiteY155" fmla="*/ 244240 h 2249252"/>
                  <a:gd name="connsiteX156" fmla="*/ 1471613 w 1602771"/>
                  <a:gd name="connsiteY156" fmla="*/ 201377 h 2249252"/>
                  <a:gd name="connsiteX157" fmla="*/ 1462088 w 1602771"/>
                  <a:gd name="connsiteY157" fmla="*/ 177565 h 2249252"/>
                  <a:gd name="connsiteX158" fmla="*/ 1447800 w 1602771"/>
                  <a:gd name="connsiteY158" fmla="*/ 125177 h 2249252"/>
                  <a:gd name="connsiteX159" fmla="*/ 1443038 w 1602771"/>
                  <a:gd name="connsiteY159" fmla="*/ 110890 h 2249252"/>
                  <a:gd name="connsiteX160" fmla="*/ 1419225 w 1602771"/>
                  <a:gd name="connsiteY160" fmla="*/ 68027 h 2249252"/>
                  <a:gd name="connsiteX161" fmla="*/ 1395413 w 1602771"/>
                  <a:gd name="connsiteY16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00188 w 1602771"/>
                  <a:gd name="connsiteY153" fmla="*/ 291865 h 2249252"/>
                  <a:gd name="connsiteX154" fmla="*/ 1481138 w 1602771"/>
                  <a:gd name="connsiteY154" fmla="*/ 244240 h 2249252"/>
                  <a:gd name="connsiteX155" fmla="*/ 1471613 w 1602771"/>
                  <a:gd name="connsiteY155" fmla="*/ 201377 h 2249252"/>
                  <a:gd name="connsiteX156" fmla="*/ 1462088 w 1602771"/>
                  <a:gd name="connsiteY156" fmla="*/ 177565 h 2249252"/>
                  <a:gd name="connsiteX157" fmla="*/ 1447800 w 1602771"/>
                  <a:gd name="connsiteY157" fmla="*/ 125177 h 2249252"/>
                  <a:gd name="connsiteX158" fmla="*/ 1443038 w 1602771"/>
                  <a:gd name="connsiteY158" fmla="*/ 110890 h 2249252"/>
                  <a:gd name="connsiteX159" fmla="*/ 1419225 w 1602771"/>
                  <a:gd name="connsiteY159" fmla="*/ 68027 h 2249252"/>
                  <a:gd name="connsiteX160" fmla="*/ 1395413 w 1602771"/>
                  <a:gd name="connsiteY16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81138 w 1602771"/>
                  <a:gd name="connsiteY153" fmla="*/ 244240 h 2249252"/>
                  <a:gd name="connsiteX154" fmla="*/ 1471613 w 1602771"/>
                  <a:gd name="connsiteY154" fmla="*/ 201377 h 2249252"/>
                  <a:gd name="connsiteX155" fmla="*/ 1462088 w 1602771"/>
                  <a:gd name="connsiteY155" fmla="*/ 177565 h 2249252"/>
                  <a:gd name="connsiteX156" fmla="*/ 1447800 w 1602771"/>
                  <a:gd name="connsiteY156" fmla="*/ 125177 h 2249252"/>
                  <a:gd name="connsiteX157" fmla="*/ 1443038 w 1602771"/>
                  <a:gd name="connsiteY157" fmla="*/ 110890 h 2249252"/>
                  <a:gd name="connsiteX158" fmla="*/ 1419225 w 1602771"/>
                  <a:gd name="connsiteY158" fmla="*/ 68027 h 2249252"/>
                  <a:gd name="connsiteX159" fmla="*/ 1395413 w 1602771"/>
                  <a:gd name="connsiteY15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71613 w 1602771"/>
                  <a:gd name="connsiteY153" fmla="*/ 201377 h 2249252"/>
                  <a:gd name="connsiteX154" fmla="*/ 1462088 w 1602771"/>
                  <a:gd name="connsiteY154" fmla="*/ 177565 h 2249252"/>
                  <a:gd name="connsiteX155" fmla="*/ 1447800 w 1602771"/>
                  <a:gd name="connsiteY155" fmla="*/ 125177 h 2249252"/>
                  <a:gd name="connsiteX156" fmla="*/ 1443038 w 1602771"/>
                  <a:gd name="connsiteY156" fmla="*/ 110890 h 2249252"/>
                  <a:gd name="connsiteX157" fmla="*/ 1419225 w 1602771"/>
                  <a:gd name="connsiteY157" fmla="*/ 68027 h 2249252"/>
                  <a:gd name="connsiteX158" fmla="*/ 1395413 w 1602771"/>
                  <a:gd name="connsiteY15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62088 w 1602771"/>
                  <a:gd name="connsiteY153" fmla="*/ 177565 h 2249252"/>
                  <a:gd name="connsiteX154" fmla="*/ 1447800 w 1602771"/>
                  <a:gd name="connsiteY154" fmla="*/ 125177 h 2249252"/>
                  <a:gd name="connsiteX155" fmla="*/ 1443038 w 1602771"/>
                  <a:gd name="connsiteY155" fmla="*/ 110890 h 2249252"/>
                  <a:gd name="connsiteX156" fmla="*/ 1419225 w 1602771"/>
                  <a:gd name="connsiteY156" fmla="*/ 68027 h 2249252"/>
                  <a:gd name="connsiteX157" fmla="*/ 1395413 w 1602771"/>
                  <a:gd name="connsiteY15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7800 w 1602771"/>
                  <a:gd name="connsiteY153" fmla="*/ 125177 h 2249252"/>
                  <a:gd name="connsiteX154" fmla="*/ 1443038 w 1602771"/>
                  <a:gd name="connsiteY154" fmla="*/ 110890 h 2249252"/>
                  <a:gd name="connsiteX155" fmla="*/ 1419225 w 1602771"/>
                  <a:gd name="connsiteY155" fmla="*/ 68027 h 2249252"/>
                  <a:gd name="connsiteX156" fmla="*/ 1395413 w 1602771"/>
                  <a:gd name="connsiteY15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3038 w 1602771"/>
                  <a:gd name="connsiteY153" fmla="*/ 110890 h 2249252"/>
                  <a:gd name="connsiteX154" fmla="*/ 1419225 w 1602771"/>
                  <a:gd name="connsiteY154" fmla="*/ 68027 h 2249252"/>
                  <a:gd name="connsiteX155" fmla="*/ 1395413 w 1602771"/>
                  <a:gd name="connsiteY15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19225 w 1602771"/>
                  <a:gd name="connsiteY153" fmla="*/ 68027 h 2249252"/>
                  <a:gd name="connsiteX154" fmla="*/ 1395413 w 1602771"/>
                  <a:gd name="connsiteY15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596224"/>
                  <a:gd name="connsiteY0" fmla="*/ 1352 h 2249252"/>
                  <a:gd name="connsiteX1" fmla="*/ 1381125 w 1596224"/>
                  <a:gd name="connsiteY1" fmla="*/ 25165 h 2249252"/>
                  <a:gd name="connsiteX2" fmla="*/ 1371600 w 1596224"/>
                  <a:gd name="connsiteY2" fmla="*/ 39452 h 2249252"/>
                  <a:gd name="connsiteX3" fmla="*/ 1347788 w 1596224"/>
                  <a:gd name="connsiteY3" fmla="*/ 58502 h 2249252"/>
                  <a:gd name="connsiteX4" fmla="*/ 1333500 w 1596224"/>
                  <a:gd name="connsiteY4" fmla="*/ 68027 h 2249252"/>
                  <a:gd name="connsiteX5" fmla="*/ 1304925 w 1596224"/>
                  <a:gd name="connsiteY5" fmla="*/ 72790 h 2249252"/>
                  <a:gd name="connsiteX6" fmla="*/ 1281113 w 1596224"/>
                  <a:gd name="connsiteY6" fmla="*/ 82315 h 2249252"/>
                  <a:gd name="connsiteX7" fmla="*/ 1195388 w 1596224"/>
                  <a:gd name="connsiteY7" fmla="*/ 63265 h 2249252"/>
                  <a:gd name="connsiteX8" fmla="*/ 1076325 w 1596224"/>
                  <a:gd name="connsiteY8" fmla="*/ 68027 h 2249252"/>
                  <a:gd name="connsiteX9" fmla="*/ 1052513 w 1596224"/>
                  <a:gd name="connsiteY9" fmla="*/ 96602 h 2249252"/>
                  <a:gd name="connsiteX10" fmla="*/ 1038225 w 1596224"/>
                  <a:gd name="connsiteY10" fmla="*/ 120415 h 2249252"/>
                  <a:gd name="connsiteX11" fmla="*/ 1023938 w 1596224"/>
                  <a:gd name="connsiteY11" fmla="*/ 139465 h 2249252"/>
                  <a:gd name="connsiteX12" fmla="*/ 1019175 w 1596224"/>
                  <a:gd name="connsiteY12" fmla="*/ 153752 h 2249252"/>
                  <a:gd name="connsiteX13" fmla="*/ 981075 w 1596224"/>
                  <a:gd name="connsiteY13" fmla="*/ 148990 h 2249252"/>
                  <a:gd name="connsiteX14" fmla="*/ 966788 w 1596224"/>
                  <a:gd name="connsiteY14" fmla="*/ 144227 h 2249252"/>
                  <a:gd name="connsiteX15" fmla="*/ 919163 w 1596224"/>
                  <a:gd name="connsiteY15" fmla="*/ 172802 h 2249252"/>
                  <a:gd name="connsiteX16" fmla="*/ 900113 w 1596224"/>
                  <a:gd name="connsiteY16" fmla="*/ 187090 h 2249252"/>
                  <a:gd name="connsiteX17" fmla="*/ 881063 w 1596224"/>
                  <a:gd name="connsiteY17" fmla="*/ 215665 h 2249252"/>
                  <a:gd name="connsiteX18" fmla="*/ 876300 w 1596224"/>
                  <a:gd name="connsiteY18" fmla="*/ 229952 h 2249252"/>
                  <a:gd name="connsiteX19" fmla="*/ 857250 w 1596224"/>
                  <a:gd name="connsiteY19" fmla="*/ 249002 h 2249252"/>
                  <a:gd name="connsiteX20" fmla="*/ 809625 w 1596224"/>
                  <a:gd name="connsiteY20" fmla="*/ 296627 h 2249252"/>
                  <a:gd name="connsiteX21" fmla="*/ 795338 w 1596224"/>
                  <a:gd name="connsiteY21" fmla="*/ 310915 h 2249252"/>
                  <a:gd name="connsiteX22" fmla="*/ 752475 w 1596224"/>
                  <a:gd name="connsiteY22" fmla="*/ 334727 h 2249252"/>
                  <a:gd name="connsiteX23" fmla="*/ 685800 w 1596224"/>
                  <a:gd name="connsiteY23" fmla="*/ 372827 h 2249252"/>
                  <a:gd name="connsiteX24" fmla="*/ 628650 w 1596224"/>
                  <a:gd name="connsiteY24" fmla="*/ 391877 h 2249252"/>
                  <a:gd name="connsiteX25" fmla="*/ 619125 w 1596224"/>
                  <a:gd name="connsiteY25" fmla="*/ 410927 h 2249252"/>
                  <a:gd name="connsiteX26" fmla="*/ 623888 w 1596224"/>
                  <a:gd name="connsiteY26" fmla="*/ 434740 h 2249252"/>
                  <a:gd name="connsiteX27" fmla="*/ 647700 w 1596224"/>
                  <a:gd name="connsiteY27" fmla="*/ 468077 h 2249252"/>
                  <a:gd name="connsiteX28" fmla="*/ 661988 w 1596224"/>
                  <a:gd name="connsiteY28" fmla="*/ 477602 h 2249252"/>
                  <a:gd name="connsiteX29" fmla="*/ 695325 w 1596224"/>
                  <a:gd name="connsiteY29" fmla="*/ 472840 h 2249252"/>
                  <a:gd name="connsiteX30" fmla="*/ 742950 w 1596224"/>
                  <a:gd name="connsiteY30" fmla="*/ 468077 h 2249252"/>
                  <a:gd name="connsiteX31" fmla="*/ 762000 w 1596224"/>
                  <a:gd name="connsiteY31" fmla="*/ 453790 h 2249252"/>
                  <a:gd name="connsiteX32" fmla="*/ 766763 w 1596224"/>
                  <a:gd name="connsiteY32" fmla="*/ 439502 h 2249252"/>
                  <a:gd name="connsiteX33" fmla="*/ 781050 w 1596224"/>
                  <a:gd name="connsiteY33" fmla="*/ 434740 h 2249252"/>
                  <a:gd name="connsiteX34" fmla="*/ 847725 w 1596224"/>
                  <a:gd name="connsiteY34" fmla="*/ 477602 h 2249252"/>
                  <a:gd name="connsiteX35" fmla="*/ 862013 w 1596224"/>
                  <a:gd name="connsiteY35" fmla="*/ 487127 h 2249252"/>
                  <a:gd name="connsiteX36" fmla="*/ 933450 w 1596224"/>
                  <a:gd name="connsiteY36" fmla="*/ 496652 h 2249252"/>
                  <a:gd name="connsiteX37" fmla="*/ 966788 w 1596224"/>
                  <a:gd name="connsiteY37" fmla="*/ 491890 h 2249252"/>
                  <a:gd name="connsiteX38" fmla="*/ 981075 w 1596224"/>
                  <a:gd name="connsiteY38" fmla="*/ 482365 h 2249252"/>
                  <a:gd name="connsiteX39" fmla="*/ 1004888 w 1596224"/>
                  <a:gd name="connsiteY39" fmla="*/ 472840 h 2249252"/>
                  <a:gd name="connsiteX40" fmla="*/ 1081088 w 1596224"/>
                  <a:gd name="connsiteY40" fmla="*/ 487127 h 2249252"/>
                  <a:gd name="connsiteX41" fmla="*/ 1100138 w 1596224"/>
                  <a:gd name="connsiteY41" fmla="*/ 506177 h 2249252"/>
                  <a:gd name="connsiteX42" fmla="*/ 1119188 w 1596224"/>
                  <a:gd name="connsiteY42" fmla="*/ 529990 h 2249252"/>
                  <a:gd name="connsiteX43" fmla="*/ 1133475 w 1596224"/>
                  <a:gd name="connsiteY43" fmla="*/ 568090 h 2249252"/>
                  <a:gd name="connsiteX44" fmla="*/ 1147763 w 1596224"/>
                  <a:gd name="connsiteY44" fmla="*/ 596665 h 2249252"/>
                  <a:gd name="connsiteX45" fmla="*/ 1162050 w 1596224"/>
                  <a:gd name="connsiteY45" fmla="*/ 625240 h 2249252"/>
                  <a:gd name="connsiteX46" fmla="*/ 1166813 w 1596224"/>
                  <a:gd name="connsiteY46" fmla="*/ 649052 h 2249252"/>
                  <a:gd name="connsiteX47" fmla="*/ 1176338 w 1596224"/>
                  <a:gd name="connsiteY47" fmla="*/ 730015 h 2249252"/>
                  <a:gd name="connsiteX48" fmla="*/ 1100138 w 1596224"/>
                  <a:gd name="connsiteY48" fmla="*/ 734777 h 2249252"/>
                  <a:gd name="connsiteX49" fmla="*/ 1085850 w 1596224"/>
                  <a:gd name="connsiteY49" fmla="*/ 725252 h 2249252"/>
                  <a:gd name="connsiteX50" fmla="*/ 1052513 w 1596224"/>
                  <a:gd name="connsiteY50" fmla="*/ 687152 h 2249252"/>
                  <a:gd name="connsiteX51" fmla="*/ 966788 w 1596224"/>
                  <a:gd name="connsiteY51" fmla="*/ 691915 h 2249252"/>
                  <a:gd name="connsiteX52" fmla="*/ 866775 w 1596224"/>
                  <a:gd name="connsiteY52" fmla="*/ 677627 h 2249252"/>
                  <a:gd name="connsiteX53" fmla="*/ 766763 w 1596224"/>
                  <a:gd name="connsiteY53" fmla="*/ 682390 h 2249252"/>
                  <a:gd name="connsiteX54" fmla="*/ 704850 w 1596224"/>
                  <a:gd name="connsiteY54" fmla="*/ 691915 h 2249252"/>
                  <a:gd name="connsiteX55" fmla="*/ 661988 w 1596224"/>
                  <a:gd name="connsiteY55" fmla="*/ 696677 h 2249252"/>
                  <a:gd name="connsiteX56" fmla="*/ 619125 w 1596224"/>
                  <a:gd name="connsiteY56" fmla="*/ 677627 h 2249252"/>
                  <a:gd name="connsiteX57" fmla="*/ 585788 w 1596224"/>
                  <a:gd name="connsiteY57" fmla="*/ 649052 h 2249252"/>
                  <a:gd name="connsiteX58" fmla="*/ 481013 w 1596224"/>
                  <a:gd name="connsiteY58" fmla="*/ 672865 h 2249252"/>
                  <a:gd name="connsiteX59" fmla="*/ 442913 w 1596224"/>
                  <a:gd name="connsiteY59" fmla="*/ 701440 h 2249252"/>
                  <a:gd name="connsiteX60" fmla="*/ 428625 w 1596224"/>
                  <a:gd name="connsiteY60" fmla="*/ 710965 h 2249252"/>
                  <a:gd name="connsiteX61" fmla="*/ 395288 w 1596224"/>
                  <a:gd name="connsiteY61" fmla="*/ 734777 h 2249252"/>
                  <a:gd name="connsiteX62" fmla="*/ 357188 w 1596224"/>
                  <a:gd name="connsiteY62" fmla="*/ 777640 h 2249252"/>
                  <a:gd name="connsiteX63" fmla="*/ 328613 w 1596224"/>
                  <a:gd name="connsiteY63" fmla="*/ 801452 h 2249252"/>
                  <a:gd name="connsiteX64" fmla="*/ 309563 w 1596224"/>
                  <a:gd name="connsiteY64" fmla="*/ 820502 h 2249252"/>
                  <a:gd name="connsiteX65" fmla="*/ 290513 w 1596224"/>
                  <a:gd name="connsiteY65" fmla="*/ 830027 h 2249252"/>
                  <a:gd name="connsiteX66" fmla="*/ 247650 w 1596224"/>
                  <a:gd name="connsiteY66" fmla="*/ 863365 h 2249252"/>
                  <a:gd name="connsiteX67" fmla="*/ 223838 w 1596224"/>
                  <a:gd name="connsiteY67" fmla="*/ 882415 h 2249252"/>
                  <a:gd name="connsiteX68" fmla="*/ 200025 w 1596224"/>
                  <a:gd name="connsiteY68" fmla="*/ 910990 h 2249252"/>
                  <a:gd name="connsiteX69" fmla="*/ 166688 w 1596224"/>
                  <a:gd name="connsiteY69" fmla="*/ 958615 h 2249252"/>
                  <a:gd name="connsiteX70" fmla="*/ 133350 w 1596224"/>
                  <a:gd name="connsiteY70" fmla="*/ 991952 h 2249252"/>
                  <a:gd name="connsiteX71" fmla="*/ 114300 w 1596224"/>
                  <a:gd name="connsiteY71" fmla="*/ 1025290 h 2249252"/>
                  <a:gd name="connsiteX72" fmla="*/ 85725 w 1596224"/>
                  <a:gd name="connsiteY72" fmla="*/ 1063390 h 2249252"/>
                  <a:gd name="connsiteX73" fmla="*/ 66675 w 1596224"/>
                  <a:gd name="connsiteY73" fmla="*/ 1082440 h 2249252"/>
                  <a:gd name="connsiteX74" fmla="*/ 57150 w 1596224"/>
                  <a:gd name="connsiteY74" fmla="*/ 1101490 h 2249252"/>
                  <a:gd name="connsiteX75" fmla="*/ 33338 w 1596224"/>
                  <a:gd name="connsiteY75" fmla="*/ 1139590 h 2249252"/>
                  <a:gd name="connsiteX76" fmla="*/ 23813 w 1596224"/>
                  <a:gd name="connsiteY76" fmla="*/ 1163402 h 2249252"/>
                  <a:gd name="connsiteX77" fmla="*/ 14288 w 1596224"/>
                  <a:gd name="connsiteY77" fmla="*/ 1182452 h 2249252"/>
                  <a:gd name="connsiteX78" fmla="*/ 9525 w 1596224"/>
                  <a:gd name="connsiteY78" fmla="*/ 1215790 h 2249252"/>
                  <a:gd name="connsiteX79" fmla="*/ 0 w 1596224"/>
                  <a:gd name="connsiteY79" fmla="*/ 1258652 h 2249252"/>
                  <a:gd name="connsiteX80" fmla="*/ 4763 w 1596224"/>
                  <a:gd name="connsiteY80" fmla="*/ 1320565 h 2249252"/>
                  <a:gd name="connsiteX81" fmla="*/ 33338 w 1596224"/>
                  <a:gd name="connsiteY81" fmla="*/ 1363427 h 2249252"/>
                  <a:gd name="connsiteX82" fmla="*/ 100013 w 1596224"/>
                  <a:gd name="connsiteY82" fmla="*/ 1411052 h 2249252"/>
                  <a:gd name="connsiteX83" fmla="*/ 157163 w 1596224"/>
                  <a:gd name="connsiteY83" fmla="*/ 1425340 h 2249252"/>
                  <a:gd name="connsiteX84" fmla="*/ 338138 w 1596224"/>
                  <a:gd name="connsiteY84" fmla="*/ 1420577 h 2249252"/>
                  <a:gd name="connsiteX85" fmla="*/ 361950 w 1596224"/>
                  <a:gd name="connsiteY85" fmla="*/ 1415815 h 2249252"/>
                  <a:gd name="connsiteX86" fmla="*/ 476250 w 1596224"/>
                  <a:gd name="connsiteY86" fmla="*/ 1425340 h 2249252"/>
                  <a:gd name="connsiteX87" fmla="*/ 495300 w 1596224"/>
                  <a:gd name="connsiteY87" fmla="*/ 1434865 h 2249252"/>
                  <a:gd name="connsiteX88" fmla="*/ 519113 w 1596224"/>
                  <a:gd name="connsiteY88" fmla="*/ 1492015 h 2249252"/>
                  <a:gd name="connsiteX89" fmla="*/ 528638 w 1596224"/>
                  <a:gd name="connsiteY89" fmla="*/ 1506302 h 2249252"/>
                  <a:gd name="connsiteX90" fmla="*/ 523875 w 1596224"/>
                  <a:gd name="connsiteY90" fmla="*/ 1606315 h 2249252"/>
                  <a:gd name="connsiteX91" fmla="*/ 514350 w 1596224"/>
                  <a:gd name="connsiteY91" fmla="*/ 1620602 h 2249252"/>
                  <a:gd name="connsiteX92" fmla="*/ 504825 w 1596224"/>
                  <a:gd name="connsiteY92" fmla="*/ 1653940 h 2249252"/>
                  <a:gd name="connsiteX93" fmla="*/ 533400 w 1596224"/>
                  <a:gd name="connsiteY93" fmla="*/ 1715852 h 2249252"/>
                  <a:gd name="connsiteX94" fmla="*/ 547688 w 1596224"/>
                  <a:gd name="connsiteY94" fmla="*/ 1725377 h 2249252"/>
                  <a:gd name="connsiteX95" fmla="*/ 566738 w 1596224"/>
                  <a:gd name="connsiteY95" fmla="*/ 1763477 h 2249252"/>
                  <a:gd name="connsiteX96" fmla="*/ 581025 w 1596224"/>
                  <a:gd name="connsiteY96" fmla="*/ 1806340 h 2249252"/>
                  <a:gd name="connsiteX97" fmla="*/ 557213 w 1596224"/>
                  <a:gd name="connsiteY97" fmla="*/ 1853965 h 2249252"/>
                  <a:gd name="connsiteX98" fmla="*/ 533400 w 1596224"/>
                  <a:gd name="connsiteY98" fmla="*/ 1858727 h 2249252"/>
                  <a:gd name="connsiteX99" fmla="*/ 490538 w 1596224"/>
                  <a:gd name="connsiteY99" fmla="*/ 1877777 h 2249252"/>
                  <a:gd name="connsiteX100" fmla="*/ 452438 w 1596224"/>
                  <a:gd name="connsiteY100" fmla="*/ 1892065 h 2249252"/>
                  <a:gd name="connsiteX101" fmla="*/ 447675 w 1596224"/>
                  <a:gd name="connsiteY101" fmla="*/ 1925402 h 2249252"/>
                  <a:gd name="connsiteX102" fmla="*/ 438150 w 1596224"/>
                  <a:gd name="connsiteY102" fmla="*/ 1939690 h 2249252"/>
                  <a:gd name="connsiteX103" fmla="*/ 428625 w 1596224"/>
                  <a:gd name="connsiteY103" fmla="*/ 1958740 h 2249252"/>
                  <a:gd name="connsiteX104" fmla="*/ 414338 w 1596224"/>
                  <a:gd name="connsiteY104" fmla="*/ 1977790 h 2249252"/>
                  <a:gd name="connsiteX105" fmla="*/ 404813 w 1596224"/>
                  <a:gd name="connsiteY105" fmla="*/ 1992077 h 2249252"/>
                  <a:gd name="connsiteX106" fmla="*/ 385763 w 1596224"/>
                  <a:gd name="connsiteY106" fmla="*/ 2011127 h 2249252"/>
                  <a:gd name="connsiteX107" fmla="*/ 352425 w 1596224"/>
                  <a:gd name="connsiteY107" fmla="*/ 2053990 h 2249252"/>
                  <a:gd name="connsiteX108" fmla="*/ 314325 w 1596224"/>
                  <a:gd name="connsiteY108" fmla="*/ 2096852 h 2249252"/>
                  <a:gd name="connsiteX109" fmla="*/ 300038 w 1596224"/>
                  <a:gd name="connsiteY109" fmla="*/ 2115902 h 2249252"/>
                  <a:gd name="connsiteX110" fmla="*/ 276225 w 1596224"/>
                  <a:gd name="connsiteY110" fmla="*/ 2130190 h 2249252"/>
                  <a:gd name="connsiteX111" fmla="*/ 261938 w 1596224"/>
                  <a:gd name="connsiteY111" fmla="*/ 2144477 h 2249252"/>
                  <a:gd name="connsiteX112" fmla="*/ 252413 w 1596224"/>
                  <a:gd name="connsiteY112" fmla="*/ 2168290 h 2249252"/>
                  <a:gd name="connsiteX113" fmla="*/ 252413 w 1596224"/>
                  <a:gd name="connsiteY113" fmla="*/ 2234965 h 2249252"/>
                  <a:gd name="connsiteX114" fmla="*/ 280988 w 1596224"/>
                  <a:gd name="connsiteY114" fmla="*/ 2249252 h 2249252"/>
                  <a:gd name="connsiteX115" fmla="*/ 400050 w 1596224"/>
                  <a:gd name="connsiteY115" fmla="*/ 2244490 h 2249252"/>
                  <a:gd name="connsiteX116" fmla="*/ 423863 w 1596224"/>
                  <a:gd name="connsiteY116" fmla="*/ 2230202 h 2249252"/>
                  <a:gd name="connsiteX117" fmla="*/ 471488 w 1596224"/>
                  <a:gd name="connsiteY117" fmla="*/ 2187340 h 2249252"/>
                  <a:gd name="connsiteX118" fmla="*/ 509588 w 1596224"/>
                  <a:gd name="connsiteY118" fmla="*/ 2163527 h 2249252"/>
                  <a:gd name="connsiteX119" fmla="*/ 533400 w 1596224"/>
                  <a:gd name="connsiteY119" fmla="*/ 2144477 h 2249252"/>
                  <a:gd name="connsiteX120" fmla="*/ 581025 w 1596224"/>
                  <a:gd name="connsiteY120" fmla="*/ 2120665 h 2249252"/>
                  <a:gd name="connsiteX121" fmla="*/ 604838 w 1596224"/>
                  <a:gd name="connsiteY121" fmla="*/ 2106377 h 2249252"/>
                  <a:gd name="connsiteX122" fmla="*/ 642938 w 1596224"/>
                  <a:gd name="connsiteY122" fmla="*/ 2082565 h 2249252"/>
                  <a:gd name="connsiteX123" fmla="*/ 666750 w 1596224"/>
                  <a:gd name="connsiteY123" fmla="*/ 2073040 h 2249252"/>
                  <a:gd name="connsiteX124" fmla="*/ 685800 w 1596224"/>
                  <a:gd name="connsiteY124" fmla="*/ 2063515 h 2249252"/>
                  <a:gd name="connsiteX125" fmla="*/ 728663 w 1596224"/>
                  <a:gd name="connsiteY125" fmla="*/ 2049227 h 2249252"/>
                  <a:gd name="connsiteX126" fmla="*/ 747713 w 1596224"/>
                  <a:gd name="connsiteY126" fmla="*/ 2034940 h 2249252"/>
                  <a:gd name="connsiteX127" fmla="*/ 762000 w 1596224"/>
                  <a:gd name="connsiteY127" fmla="*/ 2025415 h 2249252"/>
                  <a:gd name="connsiteX128" fmla="*/ 776288 w 1596224"/>
                  <a:gd name="connsiteY128" fmla="*/ 2011127 h 2249252"/>
                  <a:gd name="connsiteX129" fmla="*/ 790575 w 1596224"/>
                  <a:gd name="connsiteY129" fmla="*/ 2006365 h 2249252"/>
                  <a:gd name="connsiteX130" fmla="*/ 833438 w 1596224"/>
                  <a:gd name="connsiteY130" fmla="*/ 1996840 h 2249252"/>
                  <a:gd name="connsiteX131" fmla="*/ 881063 w 1596224"/>
                  <a:gd name="connsiteY131" fmla="*/ 1973027 h 2249252"/>
                  <a:gd name="connsiteX132" fmla="*/ 904875 w 1596224"/>
                  <a:gd name="connsiteY132" fmla="*/ 1963502 h 2249252"/>
                  <a:gd name="connsiteX133" fmla="*/ 966788 w 1596224"/>
                  <a:gd name="connsiteY133" fmla="*/ 1911115 h 2249252"/>
                  <a:gd name="connsiteX134" fmla="*/ 981075 w 1596224"/>
                  <a:gd name="connsiteY134" fmla="*/ 1887302 h 2249252"/>
                  <a:gd name="connsiteX135" fmla="*/ 995363 w 1596224"/>
                  <a:gd name="connsiteY135" fmla="*/ 1873015 h 2249252"/>
                  <a:gd name="connsiteX136" fmla="*/ 1000125 w 1596224"/>
                  <a:gd name="connsiteY136" fmla="*/ 1858727 h 2249252"/>
                  <a:gd name="connsiteX137" fmla="*/ 1033463 w 1596224"/>
                  <a:gd name="connsiteY137" fmla="*/ 1834915 h 2249252"/>
                  <a:gd name="connsiteX138" fmla="*/ 1095375 w 1596224"/>
                  <a:gd name="connsiteY138" fmla="*/ 1801577 h 2249252"/>
                  <a:gd name="connsiteX139" fmla="*/ 1114425 w 1596224"/>
                  <a:gd name="connsiteY139" fmla="*/ 1792052 h 2249252"/>
                  <a:gd name="connsiteX140" fmla="*/ 1204913 w 1596224"/>
                  <a:gd name="connsiteY140" fmla="*/ 1790465 h 2249252"/>
                  <a:gd name="connsiteX141" fmla="*/ 1254125 w 1596224"/>
                  <a:gd name="connsiteY141" fmla="*/ 1731727 h 2249252"/>
                  <a:gd name="connsiteX142" fmla="*/ 1352550 w 1596224"/>
                  <a:gd name="connsiteY142" fmla="*/ 1596790 h 2249252"/>
                  <a:gd name="connsiteX143" fmla="*/ 1433513 w 1596224"/>
                  <a:gd name="connsiteY143" fmla="*/ 1434865 h 2249252"/>
                  <a:gd name="connsiteX144" fmla="*/ 1471613 w 1596224"/>
                  <a:gd name="connsiteY144" fmla="*/ 1334852 h 2249252"/>
                  <a:gd name="connsiteX145" fmla="*/ 1490663 w 1596224"/>
                  <a:gd name="connsiteY145" fmla="*/ 1282465 h 2249252"/>
                  <a:gd name="connsiteX146" fmla="*/ 1514475 w 1596224"/>
                  <a:gd name="connsiteY146" fmla="*/ 1211027 h 2249252"/>
                  <a:gd name="connsiteX147" fmla="*/ 1528763 w 1596224"/>
                  <a:gd name="connsiteY147" fmla="*/ 1149115 h 2249252"/>
                  <a:gd name="connsiteX148" fmla="*/ 1566863 w 1596224"/>
                  <a:gd name="connsiteY148" fmla="*/ 987190 h 2249252"/>
                  <a:gd name="connsiteX149" fmla="*/ 1590675 w 1596224"/>
                  <a:gd name="connsiteY149" fmla="*/ 868127 h 2249252"/>
                  <a:gd name="connsiteX150" fmla="*/ 1590675 w 1596224"/>
                  <a:gd name="connsiteY150" fmla="*/ 596665 h 2249252"/>
                  <a:gd name="connsiteX151" fmla="*/ 1581150 w 1596224"/>
                  <a:gd name="connsiteY151" fmla="*/ 525227 h 2249252"/>
                  <a:gd name="connsiteX152" fmla="*/ 1576388 w 1596224"/>
                  <a:gd name="connsiteY152" fmla="*/ 510940 h 2249252"/>
                  <a:gd name="connsiteX153" fmla="*/ 1395413 w 1596224"/>
                  <a:gd name="connsiteY153" fmla="*/ 1352 h 2249252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DM Sans 14pt ExtraBold"/>
                </a:endParaRPr>
              </a:p>
            </p:txBody>
          </p:sp>
          <p:sp>
            <p:nvSpPr>
              <p:cNvPr id="42" name="Freeform: Shape 40">
                <a:extLst>
                  <a:ext uri="{FF2B5EF4-FFF2-40B4-BE49-F238E27FC236}">
                    <a16:creationId xmlns:a16="http://schemas.microsoft.com/office/drawing/2014/main" id="{DF0B13AF-3770-9945-79BA-7CED78347636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94477 w 3147279"/>
                  <a:gd name="connsiteY78" fmla="*/ 2948940 h 3147060"/>
                  <a:gd name="connsiteX79" fmla="*/ 525897 w 3147279"/>
                  <a:gd name="connsiteY79" fmla="*/ 2895600 h 3147060"/>
                  <a:gd name="connsiteX80" fmla="*/ 480177 w 3147279"/>
                  <a:gd name="connsiteY80" fmla="*/ 2819400 h 3147060"/>
                  <a:gd name="connsiteX81" fmla="*/ 449697 w 3147279"/>
                  <a:gd name="connsiteY81" fmla="*/ 2781300 h 3147060"/>
                  <a:gd name="connsiteX82" fmla="*/ 419217 w 3147279"/>
                  <a:gd name="connsiteY82" fmla="*/ 2735580 h 3147060"/>
                  <a:gd name="connsiteX83" fmla="*/ 403977 w 3147279"/>
                  <a:gd name="connsiteY83" fmla="*/ 2712720 h 3147060"/>
                  <a:gd name="connsiteX84" fmla="*/ 365877 w 3147279"/>
                  <a:gd name="connsiteY84" fmla="*/ 2613660 h 3147060"/>
                  <a:gd name="connsiteX85" fmla="*/ 343017 w 3147279"/>
                  <a:gd name="connsiteY85" fmla="*/ 2567940 h 3147060"/>
                  <a:gd name="connsiteX86" fmla="*/ 320157 w 3147279"/>
                  <a:gd name="connsiteY86" fmla="*/ 2484120 h 3147060"/>
                  <a:gd name="connsiteX87" fmla="*/ 297297 w 3147279"/>
                  <a:gd name="connsiteY87" fmla="*/ 2430780 h 3147060"/>
                  <a:gd name="connsiteX88" fmla="*/ 274437 w 3147279"/>
                  <a:gd name="connsiteY88" fmla="*/ 2377440 h 3147060"/>
                  <a:gd name="connsiteX89" fmla="*/ 228717 w 3147279"/>
                  <a:gd name="connsiteY89" fmla="*/ 2316480 h 3147060"/>
                  <a:gd name="connsiteX90" fmla="*/ 205857 w 3147279"/>
                  <a:gd name="connsiteY90" fmla="*/ 2293620 h 3147060"/>
                  <a:gd name="connsiteX91" fmla="*/ 175377 w 3147279"/>
                  <a:gd name="connsiteY91" fmla="*/ 2240280 h 3147060"/>
                  <a:gd name="connsiteX92" fmla="*/ 160137 w 3147279"/>
                  <a:gd name="connsiteY92" fmla="*/ 2202180 h 3147060"/>
                  <a:gd name="connsiteX93" fmla="*/ 144897 w 3147279"/>
                  <a:gd name="connsiteY93" fmla="*/ 2179320 h 3147060"/>
                  <a:gd name="connsiteX94" fmla="*/ 129657 w 3147279"/>
                  <a:gd name="connsiteY94" fmla="*/ 2133600 h 3147060"/>
                  <a:gd name="connsiteX95" fmla="*/ 99177 w 3147279"/>
                  <a:gd name="connsiteY95" fmla="*/ 2087880 h 3147060"/>
                  <a:gd name="connsiteX96" fmla="*/ 61077 w 3147279"/>
                  <a:gd name="connsiteY96" fmla="*/ 2026920 h 3147060"/>
                  <a:gd name="connsiteX97" fmla="*/ 53457 w 3147279"/>
                  <a:gd name="connsiteY97" fmla="*/ 2004060 h 3147060"/>
                  <a:gd name="connsiteX98" fmla="*/ 38217 w 3147279"/>
                  <a:gd name="connsiteY98" fmla="*/ 1943100 h 3147060"/>
                  <a:gd name="connsiteX99" fmla="*/ 22977 w 3147279"/>
                  <a:gd name="connsiteY99" fmla="*/ 1897380 h 3147060"/>
                  <a:gd name="connsiteX100" fmla="*/ 117 w 3147279"/>
                  <a:gd name="connsiteY100" fmla="*/ 1562100 h 3147060"/>
                  <a:gd name="connsiteX101" fmla="*/ 22977 w 3147279"/>
                  <a:gd name="connsiteY101" fmla="*/ 1135380 h 3147060"/>
                  <a:gd name="connsiteX102" fmla="*/ 38217 w 3147279"/>
                  <a:gd name="connsiteY102" fmla="*/ 1104900 h 3147060"/>
                  <a:gd name="connsiteX103" fmla="*/ 83937 w 3147279"/>
                  <a:gd name="connsiteY103" fmla="*/ 1021080 h 3147060"/>
                  <a:gd name="connsiteX104" fmla="*/ 129657 w 3147279"/>
                  <a:gd name="connsiteY104" fmla="*/ 914400 h 3147060"/>
                  <a:gd name="connsiteX105" fmla="*/ 160137 w 3147279"/>
                  <a:gd name="connsiteY105" fmla="*/ 861060 h 3147060"/>
                  <a:gd name="connsiteX106" fmla="*/ 182997 w 3147279"/>
                  <a:gd name="connsiteY106" fmla="*/ 822960 h 3147060"/>
                  <a:gd name="connsiteX107" fmla="*/ 205857 w 3147279"/>
                  <a:gd name="connsiteY107" fmla="*/ 800100 h 3147060"/>
                  <a:gd name="connsiteX108" fmla="*/ 259197 w 3147279"/>
                  <a:gd name="connsiteY108" fmla="*/ 708660 h 3147060"/>
                  <a:gd name="connsiteX109" fmla="*/ 274437 w 3147279"/>
                  <a:gd name="connsiteY109" fmla="*/ 662940 h 3147060"/>
                  <a:gd name="connsiteX110" fmla="*/ 327777 w 3147279"/>
                  <a:gd name="connsiteY110" fmla="*/ 586740 h 3147060"/>
                  <a:gd name="connsiteX111" fmla="*/ 419217 w 3147279"/>
                  <a:gd name="connsiteY111" fmla="*/ 510540 h 3147060"/>
                  <a:gd name="connsiteX112" fmla="*/ 449697 w 3147279"/>
                  <a:gd name="connsiteY112" fmla="*/ 472440 h 3147060"/>
                  <a:gd name="connsiteX113" fmla="*/ 510657 w 3147279"/>
                  <a:gd name="connsiteY113" fmla="*/ 434340 h 3147060"/>
                  <a:gd name="connsiteX114" fmla="*/ 563997 w 3147279"/>
                  <a:gd name="connsiteY114" fmla="*/ 396240 h 3147060"/>
                  <a:gd name="connsiteX115" fmla="*/ 655437 w 3147279"/>
                  <a:gd name="connsiteY115" fmla="*/ 335280 h 3147060"/>
                  <a:gd name="connsiteX116" fmla="*/ 731637 w 3147279"/>
                  <a:gd name="connsiteY116" fmla="*/ 297180 h 3147060"/>
                  <a:gd name="connsiteX117" fmla="*/ 815457 w 3147279"/>
                  <a:gd name="connsiteY117" fmla="*/ 236220 h 3147060"/>
                  <a:gd name="connsiteX118" fmla="*/ 830697 w 3147279"/>
                  <a:gd name="connsiteY118" fmla="*/ 213360 h 3147060"/>
                  <a:gd name="connsiteX119" fmla="*/ 861177 w 3147279"/>
                  <a:gd name="connsiteY119" fmla="*/ 205740 h 3147060"/>
                  <a:gd name="connsiteX120" fmla="*/ 952617 w 3147279"/>
                  <a:gd name="connsiteY120" fmla="*/ 152400 h 3147060"/>
                  <a:gd name="connsiteX121" fmla="*/ 983097 w 3147279"/>
                  <a:gd name="connsiteY121" fmla="*/ 129540 h 3147060"/>
                  <a:gd name="connsiteX122" fmla="*/ 1105017 w 3147279"/>
                  <a:gd name="connsiteY122" fmla="*/ 76200 h 3147060"/>
                  <a:gd name="connsiteX123" fmla="*/ 1127877 w 3147279"/>
                  <a:gd name="connsiteY123" fmla="*/ 68580 h 3147060"/>
                  <a:gd name="connsiteX124" fmla="*/ 1188837 w 3147279"/>
                  <a:gd name="connsiteY124" fmla="*/ 53340 h 3147060"/>
                  <a:gd name="connsiteX125" fmla="*/ 1242177 w 3147279"/>
                  <a:gd name="connsiteY125" fmla="*/ 38100 h 3147060"/>
                  <a:gd name="connsiteX126" fmla="*/ 1265037 w 3147279"/>
                  <a:gd name="connsiteY126" fmla="*/ 30480 h 3147060"/>
                  <a:gd name="connsiteX127" fmla="*/ 1386957 w 3147279"/>
                  <a:gd name="connsiteY127" fmla="*/ 15240 h 3147060"/>
                  <a:gd name="connsiteX128" fmla="*/ 1463157 w 3147279"/>
                  <a:gd name="connsiteY128" fmla="*/ 0 h 3147060"/>
                  <a:gd name="connsiteX129" fmla="*/ 1882257 w 3147279"/>
                  <a:gd name="connsiteY129" fmla="*/ 15240 h 3147060"/>
                  <a:gd name="connsiteX130" fmla="*/ 1912737 w 3147279"/>
                  <a:gd name="connsiteY130" fmla="*/ 22860 h 3147060"/>
                  <a:gd name="connsiteX131" fmla="*/ 2164197 w 3147279"/>
                  <a:gd name="connsiteY131" fmla="*/ 99060 h 3147060"/>
                  <a:gd name="connsiteX132" fmla="*/ 2339457 w 3147279"/>
                  <a:gd name="connsiteY132" fmla="*/ 182880 h 3147060"/>
                  <a:gd name="connsiteX133" fmla="*/ 2369937 w 3147279"/>
                  <a:gd name="connsiteY133" fmla="*/ 190500 h 3147060"/>
                  <a:gd name="connsiteX134" fmla="*/ 2392797 w 3147279"/>
                  <a:gd name="connsiteY134" fmla="*/ 205740 h 3147060"/>
                  <a:gd name="connsiteX135" fmla="*/ 2438517 w 3147279"/>
                  <a:gd name="connsiteY135" fmla="*/ 228600 h 3147060"/>
                  <a:gd name="connsiteX136" fmla="*/ 2446137 w 3147279"/>
                  <a:gd name="connsiteY136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25897 w 3147279"/>
                  <a:gd name="connsiteY78" fmla="*/ 2895600 h 3147060"/>
                  <a:gd name="connsiteX79" fmla="*/ 480177 w 3147279"/>
                  <a:gd name="connsiteY79" fmla="*/ 2819400 h 3147060"/>
                  <a:gd name="connsiteX80" fmla="*/ 449697 w 3147279"/>
                  <a:gd name="connsiteY80" fmla="*/ 2781300 h 3147060"/>
                  <a:gd name="connsiteX81" fmla="*/ 419217 w 3147279"/>
                  <a:gd name="connsiteY81" fmla="*/ 2735580 h 3147060"/>
                  <a:gd name="connsiteX82" fmla="*/ 403977 w 3147279"/>
                  <a:gd name="connsiteY82" fmla="*/ 2712720 h 3147060"/>
                  <a:gd name="connsiteX83" fmla="*/ 365877 w 3147279"/>
                  <a:gd name="connsiteY83" fmla="*/ 2613660 h 3147060"/>
                  <a:gd name="connsiteX84" fmla="*/ 343017 w 3147279"/>
                  <a:gd name="connsiteY84" fmla="*/ 2567940 h 3147060"/>
                  <a:gd name="connsiteX85" fmla="*/ 320157 w 3147279"/>
                  <a:gd name="connsiteY85" fmla="*/ 2484120 h 3147060"/>
                  <a:gd name="connsiteX86" fmla="*/ 297297 w 3147279"/>
                  <a:gd name="connsiteY86" fmla="*/ 2430780 h 3147060"/>
                  <a:gd name="connsiteX87" fmla="*/ 274437 w 3147279"/>
                  <a:gd name="connsiteY87" fmla="*/ 2377440 h 3147060"/>
                  <a:gd name="connsiteX88" fmla="*/ 228717 w 3147279"/>
                  <a:gd name="connsiteY88" fmla="*/ 2316480 h 3147060"/>
                  <a:gd name="connsiteX89" fmla="*/ 205857 w 3147279"/>
                  <a:gd name="connsiteY89" fmla="*/ 2293620 h 3147060"/>
                  <a:gd name="connsiteX90" fmla="*/ 175377 w 3147279"/>
                  <a:gd name="connsiteY90" fmla="*/ 2240280 h 3147060"/>
                  <a:gd name="connsiteX91" fmla="*/ 160137 w 3147279"/>
                  <a:gd name="connsiteY91" fmla="*/ 2202180 h 3147060"/>
                  <a:gd name="connsiteX92" fmla="*/ 144897 w 3147279"/>
                  <a:gd name="connsiteY92" fmla="*/ 2179320 h 3147060"/>
                  <a:gd name="connsiteX93" fmla="*/ 129657 w 3147279"/>
                  <a:gd name="connsiteY93" fmla="*/ 2133600 h 3147060"/>
                  <a:gd name="connsiteX94" fmla="*/ 99177 w 3147279"/>
                  <a:gd name="connsiteY94" fmla="*/ 2087880 h 3147060"/>
                  <a:gd name="connsiteX95" fmla="*/ 61077 w 3147279"/>
                  <a:gd name="connsiteY95" fmla="*/ 2026920 h 3147060"/>
                  <a:gd name="connsiteX96" fmla="*/ 53457 w 3147279"/>
                  <a:gd name="connsiteY96" fmla="*/ 2004060 h 3147060"/>
                  <a:gd name="connsiteX97" fmla="*/ 38217 w 3147279"/>
                  <a:gd name="connsiteY97" fmla="*/ 1943100 h 3147060"/>
                  <a:gd name="connsiteX98" fmla="*/ 22977 w 3147279"/>
                  <a:gd name="connsiteY98" fmla="*/ 1897380 h 3147060"/>
                  <a:gd name="connsiteX99" fmla="*/ 117 w 3147279"/>
                  <a:gd name="connsiteY99" fmla="*/ 1562100 h 3147060"/>
                  <a:gd name="connsiteX100" fmla="*/ 22977 w 3147279"/>
                  <a:gd name="connsiteY100" fmla="*/ 1135380 h 3147060"/>
                  <a:gd name="connsiteX101" fmla="*/ 38217 w 3147279"/>
                  <a:gd name="connsiteY101" fmla="*/ 1104900 h 3147060"/>
                  <a:gd name="connsiteX102" fmla="*/ 83937 w 3147279"/>
                  <a:gd name="connsiteY102" fmla="*/ 1021080 h 3147060"/>
                  <a:gd name="connsiteX103" fmla="*/ 129657 w 3147279"/>
                  <a:gd name="connsiteY103" fmla="*/ 914400 h 3147060"/>
                  <a:gd name="connsiteX104" fmla="*/ 160137 w 3147279"/>
                  <a:gd name="connsiteY104" fmla="*/ 861060 h 3147060"/>
                  <a:gd name="connsiteX105" fmla="*/ 182997 w 3147279"/>
                  <a:gd name="connsiteY105" fmla="*/ 822960 h 3147060"/>
                  <a:gd name="connsiteX106" fmla="*/ 205857 w 3147279"/>
                  <a:gd name="connsiteY106" fmla="*/ 800100 h 3147060"/>
                  <a:gd name="connsiteX107" fmla="*/ 259197 w 3147279"/>
                  <a:gd name="connsiteY107" fmla="*/ 708660 h 3147060"/>
                  <a:gd name="connsiteX108" fmla="*/ 274437 w 3147279"/>
                  <a:gd name="connsiteY108" fmla="*/ 662940 h 3147060"/>
                  <a:gd name="connsiteX109" fmla="*/ 327777 w 3147279"/>
                  <a:gd name="connsiteY109" fmla="*/ 586740 h 3147060"/>
                  <a:gd name="connsiteX110" fmla="*/ 419217 w 3147279"/>
                  <a:gd name="connsiteY110" fmla="*/ 510540 h 3147060"/>
                  <a:gd name="connsiteX111" fmla="*/ 449697 w 3147279"/>
                  <a:gd name="connsiteY111" fmla="*/ 472440 h 3147060"/>
                  <a:gd name="connsiteX112" fmla="*/ 510657 w 3147279"/>
                  <a:gd name="connsiteY112" fmla="*/ 434340 h 3147060"/>
                  <a:gd name="connsiteX113" fmla="*/ 563997 w 3147279"/>
                  <a:gd name="connsiteY113" fmla="*/ 396240 h 3147060"/>
                  <a:gd name="connsiteX114" fmla="*/ 655437 w 3147279"/>
                  <a:gd name="connsiteY114" fmla="*/ 335280 h 3147060"/>
                  <a:gd name="connsiteX115" fmla="*/ 731637 w 3147279"/>
                  <a:gd name="connsiteY115" fmla="*/ 297180 h 3147060"/>
                  <a:gd name="connsiteX116" fmla="*/ 815457 w 3147279"/>
                  <a:gd name="connsiteY116" fmla="*/ 236220 h 3147060"/>
                  <a:gd name="connsiteX117" fmla="*/ 830697 w 3147279"/>
                  <a:gd name="connsiteY117" fmla="*/ 213360 h 3147060"/>
                  <a:gd name="connsiteX118" fmla="*/ 861177 w 3147279"/>
                  <a:gd name="connsiteY118" fmla="*/ 205740 h 3147060"/>
                  <a:gd name="connsiteX119" fmla="*/ 952617 w 3147279"/>
                  <a:gd name="connsiteY119" fmla="*/ 152400 h 3147060"/>
                  <a:gd name="connsiteX120" fmla="*/ 983097 w 3147279"/>
                  <a:gd name="connsiteY120" fmla="*/ 129540 h 3147060"/>
                  <a:gd name="connsiteX121" fmla="*/ 1105017 w 3147279"/>
                  <a:gd name="connsiteY121" fmla="*/ 76200 h 3147060"/>
                  <a:gd name="connsiteX122" fmla="*/ 1127877 w 3147279"/>
                  <a:gd name="connsiteY122" fmla="*/ 68580 h 3147060"/>
                  <a:gd name="connsiteX123" fmla="*/ 1188837 w 3147279"/>
                  <a:gd name="connsiteY123" fmla="*/ 53340 h 3147060"/>
                  <a:gd name="connsiteX124" fmla="*/ 1242177 w 3147279"/>
                  <a:gd name="connsiteY124" fmla="*/ 38100 h 3147060"/>
                  <a:gd name="connsiteX125" fmla="*/ 1265037 w 3147279"/>
                  <a:gd name="connsiteY125" fmla="*/ 30480 h 3147060"/>
                  <a:gd name="connsiteX126" fmla="*/ 1386957 w 3147279"/>
                  <a:gd name="connsiteY126" fmla="*/ 15240 h 3147060"/>
                  <a:gd name="connsiteX127" fmla="*/ 1463157 w 3147279"/>
                  <a:gd name="connsiteY127" fmla="*/ 0 h 3147060"/>
                  <a:gd name="connsiteX128" fmla="*/ 1882257 w 3147279"/>
                  <a:gd name="connsiteY128" fmla="*/ 15240 h 3147060"/>
                  <a:gd name="connsiteX129" fmla="*/ 1912737 w 3147279"/>
                  <a:gd name="connsiteY129" fmla="*/ 22860 h 3147060"/>
                  <a:gd name="connsiteX130" fmla="*/ 2164197 w 3147279"/>
                  <a:gd name="connsiteY130" fmla="*/ 99060 h 3147060"/>
                  <a:gd name="connsiteX131" fmla="*/ 2339457 w 3147279"/>
                  <a:gd name="connsiteY131" fmla="*/ 182880 h 3147060"/>
                  <a:gd name="connsiteX132" fmla="*/ 2369937 w 3147279"/>
                  <a:gd name="connsiteY132" fmla="*/ 190500 h 3147060"/>
                  <a:gd name="connsiteX133" fmla="*/ 2392797 w 3147279"/>
                  <a:gd name="connsiteY133" fmla="*/ 205740 h 3147060"/>
                  <a:gd name="connsiteX134" fmla="*/ 2438517 w 3147279"/>
                  <a:gd name="connsiteY134" fmla="*/ 228600 h 3147060"/>
                  <a:gd name="connsiteX135" fmla="*/ 2446137 w 3147279"/>
                  <a:gd name="connsiteY135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80177 w 3147279"/>
                  <a:gd name="connsiteY78" fmla="*/ 2819400 h 3147060"/>
                  <a:gd name="connsiteX79" fmla="*/ 449697 w 3147279"/>
                  <a:gd name="connsiteY79" fmla="*/ 2781300 h 3147060"/>
                  <a:gd name="connsiteX80" fmla="*/ 419217 w 3147279"/>
                  <a:gd name="connsiteY80" fmla="*/ 2735580 h 3147060"/>
                  <a:gd name="connsiteX81" fmla="*/ 403977 w 3147279"/>
                  <a:gd name="connsiteY81" fmla="*/ 2712720 h 3147060"/>
                  <a:gd name="connsiteX82" fmla="*/ 365877 w 3147279"/>
                  <a:gd name="connsiteY82" fmla="*/ 2613660 h 3147060"/>
                  <a:gd name="connsiteX83" fmla="*/ 343017 w 3147279"/>
                  <a:gd name="connsiteY83" fmla="*/ 2567940 h 3147060"/>
                  <a:gd name="connsiteX84" fmla="*/ 320157 w 3147279"/>
                  <a:gd name="connsiteY84" fmla="*/ 2484120 h 3147060"/>
                  <a:gd name="connsiteX85" fmla="*/ 297297 w 3147279"/>
                  <a:gd name="connsiteY85" fmla="*/ 2430780 h 3147060"/>
                  <a:gd name="connsiteX86" fmla="*/ 274437 w 3147279"/>
                  <a:gd name="connsiteY86" fmla="*/ 2377440 h 3147060"/>
                  <a:gd name="connsiteX87" fmla="*/ 228717 w 3147279"/>
                  <a:gd name="connsiteY87" fmla="*/ 2316480 h 3147060"/>
                  <a:gd name="connsiteX88" fmla="*/ 205857 w 3147279"/>
                  <a:gd name="connsiteY88" fmla="*/ 2293620 h 3147060"/>
                  <a:gd name="connsiteX89" fmla="*/ 175377 w 3147279"/>
                  <a:gd name="connsiteY89" fmla="*/ 2240280 h 3147060"/>
                  <a:gd name="connsiteX90" fmla="*/ 160137 w 3147279"/>
                  <a:gd name="connsiteY90" fmla="*/ 2202180 h 3147060"/>
                  <a:gd name="connsiteX91" fmla="*/ 144897 w 3147279"/>
                  <a:gd name="connsiteY91" fmla="*/ 2179320 h 3147060"/>
                  <a:gd name="connsiteX92" fmla="*/ 129657 w 3147279"/>
                  <a:gd name="connsiteY92" fmla="*/ 2133600 h 3147060"/>
                  <a:gd name="connsiteX93" fmla="*/ 99177 w 3147279"/>
                  <a:gd name="connsiteY93" fmla="*/ 2087880 h 3147060"/>
                  <a:gd name="connsiteX94" fmla="*/ 61077 w 3147279"/>
                  <a:gd name="connsiteY94" fmla="*/ 2026920 h 3147060"/>
                  <a:gd name="connsiteX95" fmla="*/ 53457 w 3147279"/>
                  <a:gd name="connsiteY95" fmla="*/ 2004060 h 3147060"/>
                  <a:gd name="connsiteX96" fmla="*/ 38217 w 3147279"/>
                  <a:gd name="connsiteY96" fmla="*/ 1943100 h 3147060"/>
                  <a:gd name="connsiteX97" fmla="*/ 22977 w 3147279"/>
                  <a:gd name="connsiteY97" fmla="*/ 1897380 h 3147060"/>
                  <a:gd name="connsiteX98" fmla="*/ 117 w 3147279"/>
                  <a:gd name="connsiteY98" fmla="*/ 1562100 h 3147060"/>
                  <a:gd name="connsiteX99" fmla="*/ 22977 w 3147279"/>
                  <a:gd name="connsiteY99" fmla="*/ 1135380 h 3147060"/>
                  <a:gd name="connsiteX100" fmla="*/ 38217 w 3147279"/>
                  <a:gd name="connsiteY100" fmla="*/ 1104900 h 3147060"/>
                  <a:gd name="connsiteX101" fmla="*/ 83937 w 3147279"/>
                  <a:gd name="connsiteY101" fmla="*/ 1021080 h 3147060"/>
                  <a:gd name="connsiteX102" fmla="*/ 129657 w 3147279"/>
                  <a:gd name="connsiteY102" fmla="*/ 914400 h 3147060"/>
                  <a:gd name="connsiteX103" fmla="*/ 160137 w 3147279"/>
                  <a:gd name="connsiteY103" fmla="*/ 861060 h 3147060"/>
                  <a:gd name="connsiteX104" fmla="*/ 182997 w 3147279"/>
                  <a:gd name="connsiteY104" fmla="*/ 822960 h 3147060"/>
                  <a:gd name="connsiteX105" fmla="*/ 205857 w 3147279"/>
                  <a:gd name="connsiteY105" fmla="*/ 800100 h 3147060"/>
                  <a:gd name="connsiteX106" fmla="*/ 259197 w 3147279"/>
                  <a:gd name="connsiteY106" fmla="*/ 708660 h 3147060"/>
                  <a:gd name="connsiteX107" fmla="*/ 274437 w 3147279"/>
                  <a:gd name="connsiteY107" fmla="*/ 662940 h 3147060"/>
                  <a:gd name="connsiteX108" fmla="*/ 327777 w 3147279"/>
                  <a:gd name="connsiteY108" fmla="*/ 586740 h 3147060"/>
                  <a:gd name="connsiteX109" fmla="*/ 419217 w 3147279"/>
                  <a:gd name="connsiteY109" fmla="*/ 510540 h 3147060"/>
                  <a:gd name="connsiteX110" fmla="*/ 449697 w 3147279"/>
                  <a:gd name="connsiteY110" fmla="*/ 472440 h 3147060"/>
                  <a:gd name="connsiteX111" fmla="*/ 510657 w 3147279"/>
                  <a:gd name="connsiteY111" fmla="*/ 434340 h 3147060"/>
                  <a:gd name="connsiteX112" fmla="*/ 563997 w 3147279"/>
                  <a:gd name="connsiteY112" fmla="*/ 396240 h 3147060"/>
                  <a:gd name="connsiteX113" fmla="*/ 655437 w 3147279"/>
                  <a:gd name="connsiteY113" fmla="*/ 335280 h 3147060"/>
                  <a:gd name="connsiteX114" fmla="*/ 731637 w 3147279"/>
                  <a:gd name="connsiteY114" fmla="*/ 297180 h 3147060"/>
                  <a:gd name="connsiteX115" fmla="*/ 815457 w 3147279"/>
                  <a:gd name="connsiteY115" fmla="*/ 236220 h 3147060"/>
                  <a:gd name="connsiteX116" fmla="*/ 830697 w 3147279"/>
                  <a:gd name="connsiteY116" fmla="*/ 213360 h 3147060"/>
                  <a:gd name="connsiteX117" fmla="*/ 861177 w 3147279"/>
                  <a:gd name="connsiteY117" fmla="*/ 205740 h 3147060"/>
                  <a:gd name="connsiteX118" fmla="*/ 952617 w 3147279"/>
                  <a:gd name="connsiteY118" fmla="*/ 152400 h 3147060"/>
                  <a:gd name="connsiteX119" fmla="*/ 983097 w 3147279"/>
                  <a:gd name="connsiteY119" fmla="*/ 129540 h 3147060"/>
                  <a:gd name="connsiteX120" fmla="*/ 1105017 w 3147279"/>
                  <a:gd name="connsiteY120" fmla="*/ 76200 h 3147060"/>
                  <a:gd name="connsiteX121" fmla="*/ 1127877 w 3147279"/>
                  <a:gd name="connsiteY121" fmla="*/ 68580 h 3147060"/>
                  <a:gd name="connsiteX122" fmla="*/ 1188837 w 3147279"/>
                  <a:gd name="connsiteY122" fmla="*/ 53340 h 3147060"/>
                  <a:gd name="connsiteX123" fmla="*/ 1242177 w 3147279"/>
                  <a:gd name="connsiteY123" fmla="*/ 38100 h 3147060"/>
                  <a:gd name="connsiteX124" fmla="*/ 1265037 w 3147279"/>
                  <a:gd name="connsiteY124" fmla="*/ 30480 h 3147060"/>
                  <a:gd name="connsiteX125" fmla="*/ 1386957 w 3147279"/>
                  <a:gd name="connsiteY125" fmla="*/ 15240 h 3147060"/>
                  <a:gd name="connsiteX126" fmla="*/ 1463157 w 3147279"/>
                  <a:gd name="connsiteY126" fmla="*/ 0 h 3147060"/>
                  <a:gd name="connsiteX127" fmla="*/ 1882257 w 3147279"/>
                  <a:gd name="connsiteY127" fmla="*/ 15240 h 3147060"/>
                  <a:gd name="connsiteX128" fmla="*/ 1912737 w 3147279"/>
                  <a:gd name="connsiteY128" fmla="*/ 22860 h 3147060"/>
                  <a:gd name="connsiteX129" fmla="*/ 2164197 w 3147279"/>
                  <a:gd name="connsiteY129" fmla="*/ 99060 h 3147060"/>
                  <a:gd name="connsiteX130" fmla="*/ 2339457 w 3147279"/>
                  <a:gd name="connsiteY130" fmla="*/ 182880 h 3147060"/>
                  <a:gd name="connsiteX131" fmla="*/ 2369937 w 3147279"/>
                  <a:gd name="connsiteY131" fmla="*/ 190500 h 3147060"/>
                  <a:gd name="connsiteX132" fmla="*/ 2392797 w 3147279"/>
                  <a:gd name="connsiteY132" fmla="*/ 205740 h 3147060"/>
                  <a:gd name="connsiteX133" fmla="*/ 2438517 w 3147279"/>
                  <a:gd name="connsiteY133" fmla="*/ 228600 h 3147060"/>
                  <a:gd name="connsiteX134" fmla="*/ 2446137 w 3147279"/>
                  <a:gd name="connsiteY13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49697 w 3147279"/>
                  <a:gd name="connsiteY78" fmla="*/ 2781300 h 3147060"/>
                  <a:gd name="connsiteX79" fmla="*/ 419217 w 3147279"/>
                  <a:gd name="connsiteY79" fmla="*/ 2735580 h 3147060"/>
                  <a:gd name="connsiteX80" fmla="*/ 403977 w 3147279"/>
                  <a:gd name="connsiteY80" fmla="*/ 2712720 h 3147060"/>
                  <a:gd name="connsiteX81" fmla="*/ 365877 w 3147279"/>
                  <a:gd name="connsiteY81" fmla="*/ 2613660 h 3147060"/>
                  <a:gd name="connsiteX82" fmla="*/ 343017 w 3147279"/>
                  <a:gd name="connsiteY82" fmla="*/ 2567940 h 3147060"/>
                  <a:gd name="connsiteX83" fmla="*/ 320157 w 3147279"/>
                  <a:gd name="connsiteY83" fmla="*/ 2484120 h 3147060"/>
                  <a:gd name="connsiteX84" fmla="*/ 297297 w 3147279"/>
                  <a:gd name="connsiteY84" fmla="*/ 2430780 h 3147060"/>
                  <a:gd name="connsiteX85" fmla="*/ 274437 w 3147279"/>
                  <a:gd name="connsiteY85" fmla="*/ 2377440 h 3147060"/>
                  <a:gd name="connsiteX86" fmla="*/ 228717 w 3147279"/>
                  <a:gd name="connsiteY86" fmla="*/ 2316480 h 3147060"/>
                  <a:gd name="connsiteX87" fmla="*/ 205857 w 3147279"/>
                  <a:gd name="connsiteY87" fmla="*/ 2293620 h 3147060"/>
                  <a:gd name="connsiteX88" fmla="*/ 175377 w 3147279"/>
                  <a:gd name="connsiteY88" fmla="*/ 2240280 h 3147060"/>
                  <a:gd name="connsiteX89" fmla="*/ 160137 w 3147279"/>
                  <a:gd name="connsiteY89" fmla="*/ 2202180 h 3147060"/>
                  <a:gd name="connsiteX90" fmla="*/ 144897 w 3147279"/>
                  <a:gd name="connsiteY90" fmla="*/ 2179320 h 3147060"/>
                  <a:gd name="connsiteX91" fmla="*/ 129657 w 3147279"/>
                  <a:gd name="connsiteY91" fmla="*/ 2133600 h 3147060"/>
                  <a:gd name="connsiteX92" fmla="*/ 99177 w 3147279"/>
                  <a:gd name="connsiteY92" fmla="*/ 2087880 h 3147060"/>
                  <a:gd name="connsiteX93" fmla="*/ 61077 w 3147279"/>
                  <a:gd name="connsiteY93" fmla="*/ 2026920 h 3147060"/>
                  <a:gd name="connsiteX94" fmla="*/ 53457 w 3147279"/>
                  <a:gd name="connsiteY94" fmla="*/ 2004060 h 3147060"/>
                  <a:gd name="connsiteX95" fmla="*/ 38217 w 3147279"/>
                  <a:gd name="connsiteY95" fmla="*/ 1943100 h 3147060"/>
                  <a:gd name="connsiteX96" fmla="*/ 22977 w 3147279"/>
                  <a:gd name="connsiteY96" fmla="*/ 1897380 h 3147060"/>
                  <a:gd name="connsiteX97" fmla="*/ 117 w 3147279"/>
                  <a:gd name="connsiteY97" fmla="*/ 1562100 h 3147060"/>
                  <a:gd name="connsiteX98" fmla="*/ 22977 w 3147279"/>
                  <a:gd name="connsiteY98" fmla="*/ 1135380 h 3147060"/>
                  <a:gd name="connsiteX99" fmla="*/ 38217 w 3147279"/>
                  <a:gd name="connsiteY99" fmla="*/ 1104900 h 3147060"/>
                  <a:gd name="connsiteX100" fmla="*/ 83937 w 3147279"/>
                  <a:gd name="connsiteY100" fmla="*/ 1021080 h 3147060"/>
                  <a:gd name="connsiteX101" fmla="*/ 129657 w 3147279"/>
                  <a:gd name="connsiteY101" fmla="*/ 914400 h 3147060"/>
                  <a:gd name="connsiteX102" fmla="*/ 160137 w 3147279"/>
                  <a:gd name="connsiteY102" fmla="*/ 861060 h 3147060"/>
                  <a:gd name="connsiteX103" fmla="*/ 182997 w 3147279"/>
                  <a:gd name="connsiteY103" fmla="*/ 822960 h 3147060"/>
                  <a:gd name="connsiteX104" fmla="*/ 205857 w 3147279"/>
                  <a:gd name="connsiteY104" fmla="*/ 800100 h 3147060"/>
                  <a:gd name="connsiteX105" fmla="*/ 259197 w 3147279"/>
                  <a:gd name="connsiteY105" fmla="*/ 708660 h 3147060"/>
                  <a:gd name="connsiteX106" fmla="*/ 274437 w 3147279"/>
                  <a:gd name="connsiteY106" fmla="*/ 662940 h 3147060"/>
                  <a:gd name="connsiteX107" fmla="*/ 327777 w 3147279"/>
                  <a:gd name="connsiteY107" fmla="*/ 586740 h 3147060"/>
                  <a:gd name="connsiteX108" fmla="*/ 419217 w 3147279"/>
                  <a:gd name="connsiteY108" fmla="*/ 510540 h 3147060"/>
                  <a:gd name="connsiteX109" fmla="*/ 449697 w 3147279"/>
                  <a:gd name="connsiteY109" fmla="*/ 472440 h 3147060"/>
                  <a:gd name="connsiteX110" fmla="*/ 510657 w 3147279"/>
                  <a:gd name="connsiteY110" fmla="*/ 434340 h 3147060"/>
                  <a:gd name="connsiteX111" fmla="*/ 563997 w 3147279"/>
                  <a:gd name="connsiteY111" fmla="*/ 396240 h 3147060"/>
                  <a:gd name="connsiteX112" fmla="*/ 655437 w 3147279"/>
                  <a:gd name="connsiteY112" fmla="*/ 335280 h 3147060"/>
                  <a:gd name="connsiteX113" fmla="*/ 731637 w 3147279"/>
                  <a:gd name="connsiteY113" fmla="*/ 297180 h 3147060"/>
                  <a:gd name="connsiteX114" fmla="*/ 815457 w 3147279"/>
                  <a:gd name="connsiteY114" fmla="*/ 236220 h 3147060"/>
                  <a:gd name="connsiteX115" fmla="*/ 830697 w 3147279"/>
                  <a:gd name="connsiteY115" fmla="*/ 213360 h 3147060"/>
                  <a:gd name="connsiteX116" fmla="*/ 861177 w 3147279"/>
                  <a:gd name="connsiteY116" fmla="*/ 205740 h 3147060"/>
                  <a:gd name="connsiteX117" fmla="*/ 952617 w 3147279"/>
                  <a:gd name="connsiteY117" fmla="*/ 152400 h 3147060"/>
                  <a:gd name="connsiteX118" fmla="*/ 983097 w 3147279"/>
                  <a:gd name="connsiteY118" fmla="*/ 129540 h 3147060"/>
                  <a:gd name="connsiteX119" fmla="*/ 1105017 w 3147279"/>
                  <a:gd name="connsiteY119" fmla="*/ 76200 h 3147060"/>
                  <a:gd name="connsiteX120" fmla="*/ 1127877 w 3147279"/>
                  <a:gd name="connsiteY120" fmla="*/ 68580 h 3147060"/>
                  <a:gd name="connsiteX121" fmla="*/ 1188837 w 3147279"/>
                  <a:gd name="connsiteY121" fmla="*/ 53340 h 3147060"/>
                  <a:gd name="connsiteX122" fmla="*/ 1242177 w 3147279"/>
                  <a:gd name="connsiteY122" fmla="*/ 38100 h 3147060"/>
                  <a:gd name="connsiteX123" fmla="*/ 1265037 w 3147279"/>
                  <a:gd name="connsiteY123" fmla="*/ 30480 h 3147060"/>
                  <a:gd name="connsiteX124" fmla="*/ 1386957 w 3147279"/>
                  <a:gd name="connsiteY124" fmla="*/ 15240 h 3147060"/>
                  <a:gd name="connsiteX125" fmla="*/ 1463157 w 3147279"/>
                  <a:gd name="connsiteY125" fmla="*/ 0 h 3147060"/>
                  <a:gd name="connsiteX126" fmla="*/ 1882257 w 3147279"/>
                  <a:gd name="connsiteY126" fmla="*/ 15240 h 3147060"/>
                  <a:gd name="connsiteX127" fmla="*/ 1912737 w 3147279"/>
                  <a:gd name="connsiteY127" fmla="*/ 22860 h 3147060"/>
                  <a:gd name="connsiteX128" fmla="*/ 2164197 w 3147279"/>
                  <a:gd name="connsiteY128" fmla="*/ 99060 h 3147060"/>
                  <a:gd name="connsiteX129" fmla="*/ 2339457 w 3147279"/>
                  <a:gd name="connsiteY129" fmla="*/ 182880 h 3147060"/>
                  <a:gd name="connsiteX130" fmla="*/ 2369937 w 3147279"/>
                  <a:gd name="connsiteY130" fmla="*/ 190500 h 3147060"/>
                  <a:gd name="connsiteX131" fmla="*/ 2392797 w 3147279"/>
                  <a:gd name="connsiteY131" fmla="*/ 205740 h 3147060"/>
                  <a:gd name="connsiteX132" fmla="*/ 2438517 w 3147279"/>
                  <a:gd name="connsiteY132" fmla="*/ 228600 h 3147060"/>
                  <a:gd name="connsiteX133" fmla="*/ 2446137 w 3147279"/>
                  <a:gd name="connsiteY13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403977 w 3147279"/>
                  <a:gd name="connsiteY79" fmla="*/ 2712720 h 3147060"/>
                  <a:gd name="connsiteX80" fmla="*/ 365877 w 3147279"/>
                  <a:gd name="connsiteY80" fmla="*/ 2613660 h 3147060"/>
                  <a:gd name="connsiteX81" fmla="*/ 343017 w 3147279"/>
                  <a:gd name="connsiteY81" fmla="*/ 2567940 h 3147060"/>
                  <a:gd name="connsiteX82" fmla="*/ 320157 w 3147279"/>
                  <a:gd name="connsiteY82" fmla="*/ 2484120 h 3147060"/>
                  <a:gd name="connsiteX83" fmla="*/ 297297 w 3147279"/>
                  <a:gd name="connsiteY83" fmla="*/ 2430780 h 3147060"/>
                  <a:gd name="connsiteX84" fmla="*/ 274437 w 3147279"/>
                  <a:gd name="connsiteY84" fmla="*/ 2377440 h 3147060"/>
                  <a:gd name="connsiteX85" fmla="*/ 228717 w 3147279"/>
                  <a:gd name="connsiteY85" fmla="*/ 2316480 h 3147060"/>
                  <a:gd name="connsiteX86" fmla="*/ 205857 w 3147279"/>
                  <a:gd name="connsiteY86" fmla="*/ 2293620 h 3147060"/>
                  <a:gd name="connsiteX87" fmla="*/ 175377 w 3147279"/>
                  <a:gd name="connsiteY87" fmla="*/ 2240280 h 3147060"/>
                  <a:gd name="connsiteX88" fmla="*/ 160137 w 3147279"/>
                  <a:gd name="connsiteY88" fmla="*/ 2202180 h 3147060"/>
                  <a:gd name="connsiteX89" fmla="*/ 144897 w 3147279"/>
                  <a:gd name="connsiteY89" fmla="*/ 2179320 h 3147060"/>
                  <a:gd name="connsiteX90" fmla="*/ 129657 w 3147279"/>
                  <a:gd name="connsiteY90" fmla="*/ 2133600 h 3147060"/>
                  <a:gd name="connsiteX91" fmla="*/ 99177 w 3147279"/>
                  <a:gd name="connsiteY91" fmla="*/ 2087880 h 3147060"/>
                  <a:gd name="connsiteX92" fmla="*/ 61077 w 3147279"/>
                  <a:gd name="connsiteY92" fmla="*/ 2026920 h 3147060"/>
                  <a:gd name="connsiteX93" fmla="*/ 53457 w 3147279"/>
                  <a:gd name="connsiteY93" fmla="*/ 2004060 h 3147060"/>
                  <a:gd name="connsiteX94" fmla="*/ 38217 w 3147279"/>
                  <a:gd name="connsiteY94" fmla="*/ 1943100 h 3147060"/>
                  <a:gd name="connsiteX95" fmla="*/ 22977 w 3147279"/>
                  <a:gd name="connsiteY95" fmla="*/ 1897380 h 3147060"/>
                  <a:gd name="connsiteX96" fmla="*/ 117 w 3147279"/>
                  <a:gd name="connsiteY96" fmla="*/ 1562100 h 3147060"/>
                  <a:gd name="connsiteX97" fmla="*/ 22977 w 3147279"/>
                  <a:gd name="connsiteY97" fmla="*/ 1135380 h 3147060"/>
                  <a:gd name="connsiteX98" fmla="*/ 38217 w 3147279"/>
                  <a:gd name="connsiteY98" fmla="*/ 1104900 h 3147060"/>
                  <a:gd name="connsiteX99" fmla="*/ 83937 w 3147279"/>
                  <a:gd name="connsiteY99" fmla="*/ 1021080 h 3147060"/>
                  <a:gd name="connsiteX100" fmla="*/ 129657 w 3147279"/>
                  <a:gd name="connsiteY100" fmla="*/ 914400 h 3147060"/>
                  <a:gd name="connsiteX101" fmla="*/ 160137 w 3147279"/>
                  <a:gd name="connsiteY101" fmla="*/ 861060 h 3147060"/>
                  <a:gd name="connsiteX102" fmla="*/ 182997 w 3147279"/>
                  <a:gd name="connsiteY102" fmla="*/ 822960 h 3147060"/>
                  <a:gd name="connsiteX103" fmla="*/ 205857 w 3147279"/>
                  <a:gd name="connsiteY103" fmla="*/ 800100 h 3147060"/>
                  <a:gd name="connsiteX104" fmla="*/ 259197 w 3147279"/>
                  <a:gd name="connsiteY104" fmla="*/ 708660 h 3147060"/>
                  <a:gd name="connsiteX105" fmla="*/ 274437 w 3147279"/>
                  <a:gd name="connsiteY105" fmla="*/ 662940 h 3147060"/>
                  <a:gd name="connsiteX106" fmla="*/ 327777 w 3147279"/>
                  <a:gd name="connsiteY106" fmla="*/ 586740 h 3147060"/>
                  <a:gd name="connsiteX107" fmla="*/ 419217 w 3147279"/>
                  <a:gd name="connsiteY107" fmla="*/ 510540 h 3147060"/>
                  <a:gd name="connsiteX108" fmla="*/ 449697 w 3147279"/>
                  <a:gd name="connsiteY108" fmla="*/ 472440 h 3147060"/>
                  <a:gd name="connsiteX109" fmla="*/ 510657 w 3147279"/>
                  <a:gd name="connsiteY109" fmla="*/ 434340 h 3147060"/>
                  <a:gd name="connsiteX110" fmla="*/ 563997 w 3147279"/>
                  <a:gd name="connsiteY110" fmla="*/ 396240 h 3147060"/>
                  <a:gd name="connsiteX111" fmla="*/ 655437 w 3147279"/>
                  <a:gd name="connsiteY111" fmla="*/ 335280 h 3147060"/>
                  <a:gd name="connsiteX112" fmla="*/ 731637 w 3147279"/>
                  <a:gd name="connsiteY112" fmla="*/ 297180 h 3147060"/>
                  <a:gd name="connsiteX113" fmla="*/ 815457 w 3147279"/>
                  <a:gd name="connsiteY113" fmla="*/ 236220 h 3147060"/>
                  <a:gd name="connsiteX114" fmla="*/ 830697 w 3147279"/>
                  <a:gd name="connsiteY114" fmla="*/ 213360 h 3147060"/>
                  <a:gd name="connsiteX115" fmla="*/ 861177 w 3147279"/>
                  <a:gd name="connsiteY115" fmla="*/ 205740 h 3147060"/>
                  <a:gd name="connsiteX116" fmla="*/ 952617 w 3147279"/>
                  <a:gd name="connsiteY116" fmla="*/ 152400 h 3147060"/>
                  <a:gd name="connsiteX117" fmla="*/ 983097 w 3147279"/>
                  <a:gd name="connsiteY117" fmla="*/ 129540 h 3147060"/>
                  <a:gd name="connsiteX118" fmla="*/ 1105017 w 3147279"/>
                  <a:gd name="connsiteY118" fmla="*/ 76200 h 3147060"/>
                  <a:gd name="connsiteX119" fmla="*/ 1127877 w 3147279"/>
                  <a:gd name="connsiteY119" fmla="*/ 68580 h 3147060"/>
                  <a:gd name="connsiteX120" fmla="*/ 1188837 w 3147279"/>
                  <a:gd name="connsiteY120" fmla="*/ 53340 h 3147060"/>
                  <a:gd name="connsiteX121" fmla="*/ 1242177 w 3147279"/>
                  <a:gd name="connsiteY121" fmla="*/ 38100 h 3147060"/>
                  <a:gd name="connsiteX122" fmla="*/ 1265037 w 3147279"/>
                  <a:gd name="connsiteY122" fmla="*/ 30480 h 3147060"/>
                  <a:gd name="connsiteX123" fmla="*/ 1386957 w 3147279"/>
                  <a:gd name="connsiteY123" fmla="*/ 15240 h 3147060"/>
                  <a:gd name="connsiteX124" fmla="*/ 1463157 w 3147279"/>
                  <a:gd name="connsiteY124" fmla="*/ 0 h 3147060"/>
                  <a:gd name="connsiteX125" fmla="*/ 1882257 w 3147279"/>
                  <a:gd name="connsiteY125" fmla="*/ 15240 h 3147060"/>
                  <a:gd name="connsiteX126" fmla="*/ 1912737 w 3147279"/>
                  <a:gd name="connsiteY126" fmla="*/ 22860 h 3147060"/>
                  <a:gd name="connsiteX127" fmla="*/ 2164197 w 3147279"/>
                  <a:gd name="connsiteY127" fmla="*/ 99060 h 3147060"/>
                  <a:gd name="connsiteX128" fmla="*/ 2339457 w 3147279"/>
                  <a:gd name="connsiteY128" fmla="*/ 182880 h 3147060"/>
                  <a:gd name="connsiteX129" fmla="*/ 2369937 w 3147279"/>
                  <a:gd name="connsiteY129" fmla="*/ 190500 h 3147060"/>
                  <a:gd name="connsiteX130" fmla="*/ 2392797 w 3147279"/>
                  <a:gd name="connsiteY130" fmla="*/ 205740 h 3147060"/>
                  <a:gd name="connsiteX131" fmla="*/ 2438517 w 3147279"/>
                  <a:gd name="connsiteY131" fmla="*/ 228600 h 3147060"/>
                  <a:gd name="connsiteX132" fmla="*/ 2446137 w 3147279"/>
                  <a:gd name="connsiteY132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365877 w 3147279"/>
                  <a:gd name="connsiteY79" fmla="*/ 2613660 h 3147060"/>
                  <a:gd name="connsiteX80" fmla="*/ 343017 w 3147279"/>
                  <a:gd name="connsiteY80" fmla="*/ 2567940 h 3147060"/>
                  <a:gd name="connsiteX81" fmla="*/ 320157 w 3147279"/>
                  <a:gd name="connsiteY81" fmla="*/ 2484120 h 3147060"/>
                  <a:gd name="connsiteX82" fmla="*/ 297297 w 3147279"/>
                  <a:gd name="connsiteY82" fmla="*/ 2430780 h 3147060"/>
                  <a:gd name="connsiteX83" fmla="*/ 274437 w 3147279"/>
                  <a:gd name="connsiteY83" fmla="*/ 2377440 h 3147060"/>
                  <a:gd name="connsiteX84" fmla="*/ 228717 w 3147279"/>
                  <a:gd name="connsiteY84" fmla="*/ 2316480 h 3147060"/>
                  <a:gd name="connsiteX85" fmla="*/ 205857 w 3147279"/>
                  <a:gd name="connsiteY85" fmla="*/ 2293620 h 3147060"/>
                  <a:gd name="connsiteX86" fmla="*/ 175377 w 3147279"/>
                  <a:gd name="connsiteY86" fmla="*/ 2240280 h 3147060"/>
                  <a:gd name="connsiteX87" fmla="*/ 160137 w 3147279"/>
                  <a:gd name="connsiteY87" fmla="*/ 2202180 h 3147060"/>
                  <a:gd name="connsiteX88" fmla="*/ 144897 w 3147279"/>
                  <a:gd name="connsiteY88" fmla="*/ 2179320 h 3147060"/>
                  <a:gd name="connsiteX89" fmla="*/ 129657 w 3147279"/>
                  <a:gd name="connsiteY89" fmla="*/ 2133600 h 3147060"/>
                  <a:gd name="connsiteX90" fmla="*/ 99177 w 3147279"/>
                  <a:gd name="connsiteY90" fmla="*/ 2087880 h 3147060"/>
                  <a:gd name="connsiteX91" fmla="*/ 61077 w 3147279"/>
                  <a:gd name="connsiteY91" fmla="*/ 2026920 h 3147060"/>
                  <a:gd name="connsiteX92" fmla="*/ 53457 w 3147279"/>
                  <a:gd name="connsiteY92" fmla="*/ 2004060 h 3147060"/>
                  <a:gd name="connsiteX93" fmla="*/ 38217 w 3147279"/>
                  <a:gd name="connsiteY93" fmla="*/ 1943100 h 3147060"/>
                  <a:gd name="connsiteX94" fmla="*/ 22977 w 3147279"/>
                  <a:gd name="connsiteY94" fmla="*/ 1897380 h 3147060"/>
                  <a:gd name="connsiteX95" fmla="*/ 117 w 3147279"/>
                  <a:gd name="connsiteY95" fmla="*/ 1562100 h 3147060"/>
                  <a:gd name="connsiteX96" fmla="*/ 22977 w 3147279"/>
                  <a:gd name="connsiteY96" fmla="*/ 1135380 h 3147060"/>
                  <a:gd name="connsiteX97" fmla="*/ 38217 w 3147279"/>
                  <a:gd name="connsiteY97" fmla="*/ 1104900 h 3147060"/>
                  <a:gd name="connsiteX98" fmla="*/ 83937 w 3147279"/>
                  <a:gd name="connsiteY98" fmla="*/ 1021080 h 3147060"/>
                  <a:gd name="connsiteX99" fmla="*/ 129657 w 3147279"/>
                  <a:gd name="connsiteY99" fmla="*/ 914400 h 3147060"/>
                  <a:gd name="connsiteX100" fmla="*/ 160137 w 3147279"/>
                  <a:gd name="connsiteY100" fmla="*/ 861060 h 3147060"/>
                  <a:gd name="connsiteX101" fmla="*/ 182997 w 3147279"/>
                  <a:gd name="connsiteY101" fmla="*/ 822960 h 3147060"/>
                  <a:gd name="connsiteX102" fmla="*/ 205857 w 3147279"/>
                  <a:gd name="connsiteY102" fmla="*/ 800100 h 3147060"/>
                  <a:gd name="connsiteX103" fmla="*/ 259197 w 3147279"/>
                  <a:gd name="connsiteY103" fmla="*/ 708660 h 3147060"/>
                  <a:gd name="connsiteX104" fmla="*/ 274437 w 3147279"/>
                  <a:gd name="connsiteY104" fmla="*/ 662940 h 3147060"/>
                  <a:gd name="connsiteX105" fmla="*/ 327777 w 3147279"/>
                  <a:gd name="connsiteY105" fmla="*/ 586740 h 3147060"/>
                  <a:gd name="connsiteX106" fmla="*/ 419217 w 3147279"/>
                  <a:gd name="connsiteY106" fmla="*/ 510540 h 3147060"/>
                  <a:gd name="connsiteX107" fmla="*/ 449697 w 3147279"/>
                  <a:gd name="connsiteY107" fmla="*/ 472440 h 3147060"/>
                  <a:gd name="connsiteX108" fmla="*/ 510657 w 3147279"/>
                  <a:gd name="connsiteY108" fmla="*/ 434340 h 3147060"/>
                  <a:gd name="connsiteX109" fmla="*/ 563997 w 3147279"/>
                  <a:gd name="connsiteY109" fmla="*/ 396240 h 3147060"/>
                  <a:gd name="connsiteX110" fmla="*/ 655437 w 3147279"/>
                  <a:gd name="connsiteY110" fmla="*/ 335280 h 3147060"/>
                  <a:gd name="connsiteX111" fmla="*/ 731637 w 3147279"/>
                  <a:gd name="connsiteY111" fmla="*/ 297180 h 3147060"/>
                  <a:gd name="connsiteX112" fmla="*/ 815457 w 3147279"/>
                  <a:gd name="connsiteY112" fmla="*/ 236220 h 3147060"/>
                  <a:gd name="connsiteX113" fmla="*/ 830697 w 3147279"/>
                  <a:gd name="connsiteY113" fmla="*/ 213360 h 3147060"/>
                  <a:gd name="connsiteX114" fmla="*/ 861177 w 3147279"/>
                  <a:gd name="connsiteY114" fmla="*/ 205740 h 3147060"/>
                  <a:gd name="connsiteX115" fmla="*/ 952617 w 3147279"/>
                  <a:gd name="connsiteY115" fmla="*/ 152400 h 3147060"/>
                  <a:gd name="connsiteX116" fmla="*/ 983097 w 3147279"/>
                  <a:gd name="connsiteY116" fmla="*/ 129540 h 3147060"/>
                  <a:gd name="connsiteX117" fmla="*/ 1105017 w 3147279"/>
                  <a:gd name="connsiteY117" fmla="*/ 76200 h 3147060"/>
                  <a:gd name="connsiteX118" fmla="*/ 1127877 w 3147279"/>
                  <a:gd name="connsiteY118" fmla="*/ 68580 h 3147060"/>
                  <a:gd name="connsiteX119" fmla="*/ 1188837 w 3147279"/>
                  <a:gd name="connsiteY119" fmla="*/ 53340 h 3147060"/>
                  <a:gd name="connsiteX120" fmla="*/ 1242177 w 3147279"/>
                  <a:gd name="connsiteY120" fmla="*/ 38100 h 3147060"/>
                  <a:gd name="connsiteX121" fmla="*/ 1265037 w 3147279"/>
                  <a:gd name="connsiteY121" fmla="*/ 30480 h 3147060"/>
                  <a:gd name="connsiteX122" fmla="*/ 1386957 w 3147279"/>
                  <a:gd name="connsiteY122" fmla="*/ 15240 h 3147060"/>
                  <a:gd name="connsiteX123" fmla="*/ 1463157 w 3147279"/>
                  <a:gd name="connsiteY123" fmla="*/ 0 h 3147060"/>
                  <a:gd name="connsiteX124" fmla="*/ 1882257 w 3147279"/>
                  <a:gd name="connsiteY124" fmla="*/ 15240 h 3147060"/>
                  <a:gd name="connsiteX125" fmla="*/ 1912737 w 3147279"/>
                  <a:gd name="connsiteY125" fmla="*/ 22860 h 3147060"/>
                  <a:gd name="connsiteX126" fmla="*/ 2164197 w 3147279"/>
                  <a:gd name="connsiteY126" fmla="*/ 99060 h 3147060"/>
                  <a:gd name="connsiteX127" fmla="*/ 2339457 w 3147279"/>
                  <a:gd name="connsiteY127" fmla="*/ 182880 h 3147060"/>
                  <a:gd name="connsiteX128" fmla="*/ 2369937 w 3147279"/>
                  <a:gd name="connsiteY128" fmla="*/ 190500 h 3147060"/>
                  <a:gd name="connsiteX129" fmla="*/ 2392797 w 3147279"/>
                  <a:gd name="connsiteY129" fmla="*/ 205740 h 3147060"/>
                  <a:gd name="connsiteX130" fmla="*/ 2438517 w 3147279"/>
                  <a:gd name="connsiteY130" fmla="*/ 228600 h 3147060"/>
                  <a:gd name="connsiteX131" fmla="*/ 2446137 w 3147279"/>
                  <a:gd name="connsiteY131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365877 w 3147279"/>
                  <a:gd name="connsiteY78" fmla="*/ 2613660 h 3147060"/>
                  <a:gd name="connsiteX79" fmla="*/ 343017 w 3147279"/>
                  <a:gd name="connsiteY79" fmla="*/ 2567940 h 3147060"/>
                  <a:gd name="connsiteX80" fmla="*/ 320157 w 3147279"/>
                  <a:gd name="connsiteY80" fmla="*/ 2484120 h 3147060"/>
                  <a:gd name="connsiteX81" fmla="*/ 297297 w 3147279"/>
                  <a:gd name="connsiteY81" fmla="*/ 2430780 h 3147060"/>
                  <a:gd name="connsiteX82" fmla="*/ 274437 w 3147279"/>
                  <a:gd name="connsiteY82" fmla="*/ 2377440 h 3147060"/>
                  <a:gd name="connsiteX83" fmla="*/ 228717 w 3147279"/>
                  <a:gd name="connsiteY83" fmla="*/ 2316480 h 3147060"/>
                  <a:gd name="connsiteX84" fmla="*/ 205857 w 3147279"/>
                  <a:gd name="connsiteY84" fmla="*/ 2293620 h 3147060"/>
                  <a:gd name="connsiteX85" fmla="*/ 175377 w 3147279"/>
                  <a:gd name="connsiteY85" fmla="*/ 2240280 h 3147060"/>
                  <a:gd name="connsiteX86" fmla="*/ 160137 w 3147279"/>
                  <a:gd name="connsiteY86" fmla="*/ 2202180 h 3147060"/>
                  <a:gd name="connsiteX87" fmla="*/ 144897 w 3147279"/>
                  <a:gd name="connsiteY87" fmla="*/ 2179320 h 3147060"/>
                  <a:gd name="connsiteX88" fmla="*/ 129657 w 3147279"/>
                  <a:gd name="connsiteY88" fmla="*/ 2133600 h 3147060"/>
                  <a:gd name="connsiteX89" fmla="*/ 99177 w 3147279"/>
                  <a:gd name="connsiteY89" fmla="*/ 2087880 h 3147060"/>
                  <a:gd name="connsiteX90" fmla="*/ 61077 w 3147279"/>
                  <a:gd name="connsiteY90" fmla="*/ 2026920 h 3147060"/>
                  <a:gd name="connsiteX91" fmla="*/ 53457 w 3147279"/>
                  <a:gd name="connsiteY91" fmla="*/ 2004060 h 3147060"/>
                  <a:gd name="connsiteX92" fmla="*/ 38217 w 3147279"/>
                  <a:gd name="connsiteY92" fmla="*/ 1943100 h 3147060"/>
                  <a:gd name="connsiteX93" fmla="*/ 22977 w 3147279"/>
                  <a:gd name="connsiteY93" fmla="*/ 1897380 h 3147060"/>
                  <a:gd name="connsiteX94" fmla="*/ 117 w 3147279"/>
                  <a:gd name="connsiteY94" fmla="*/ 1562100 h 3147060"/>
                  <a:gd name="connsiteX95" fmla="*/ 22977 w 3147279"/>
                  <a:gd name="connsiteY95" fmla="*/ 1135380 h 3147060"/>
                  <a:gd name="connsiteX96" fmla="*/ 38217 w 3147279"/>
                  <a:gd name="connsiteY96" fmla="*/ 1104900 h 3147060"/>
                  <a:gd name="connsiteX97" fmla="*/ 83937 w 3147279"/>
                  <a:gd name="connsiteY97" fmla="*/ 1021080 h 3147060"/>
                  <a:gd name="connsiteX98" fmla="*/ 129657 w 3147279"/>
                  <a:gd name="connsiteY98" fmla="*/ 914400 h 3147060"/>
                  <a:gd name="connsiteX99" fmla="*/ 160137 w 3147279"/>
                  <a:gd name="connsiteY99" fmla="*/ 861060 h 3147060"/>
                  <a:gd name="connsiteX100" fmla="*/ 182997 w 3147279"/>
                  <a:gd name="connsiteY100" fmla="*/ 822960 h 3147060"/>
                  <a:gd name="connsiteX101" fmla="*/ 205857 w 3147279"/>
                  <a:gd name="connsiteY101" fmla="*/ 800100 h 3147060"/>
                  <a:gd name="connsiteX102" fmla="*/ 259197 w 3147279"/>
                  <a:gd name="connsiteY102" fmla="*/ 708660 h 3147060"/>
                  <a:gd name="connsiteX103" fmla="*/ 274437 w 3147279"/>
                  <a:gd name="connsiteY103" fmla="*/ 662940 h 3147060"/>
                  <a:gd name="connsiteX104" fmla="*/ 327777 w 3147279"/>
                  <a:gd name="connsiteY104" fmla="*/ 586740 h 3147060"/>
                  <a:gd name="connsiteX105" fmla="*/ 419217 w 3147279"/>
                  <a:gd name="connsiteY105" fmla="*/ 510540 h 3147060"/>
                  <a:gd name="connsiteX106" fmla="*/ 449697 w 3147279"/>
                  <a:gd name="connsiteY106" fmla="*/ 472440 h 3147060"/>
                  <a:gd name="connsiteX107" fmla="*/ 510657 w 3147279"/>
                  <a:gd name="connsiteY107" fmla="*/ 434340 h 3147060"/>
                  <a:gd name="connsiteX108" fmla="*/ 563997 w 3147279"/>
                  <a:gd name="connsiteY108" fmla="*/ 396240 h 3147060"/>
                  <a:gd name="connsiteX109" fmla="*/ 655437 w 3147279"/>
                  <a:gd name="connsiteY109" fmla="*/ 335280 h 3147060"/>
                  <a:gd name="connsiteX110" fmla="*/ 731637 w 3147279"/>
                  <a:gd name="connsiteY110" fmla="*/ 297180 h 3147060"/>
                  <a:gd name="connsiteX111" fmla="*/ 815457 w 3147279"/>
                  <a:gd name="connsiteY111" fmla="*/ 236220 h 3147060"/>
                  <a:gd name="connsiteX112" fmla="*/ 830697 w 3147279"/>
                  <a:gd name="connsiteY112" fmla="*/ 213360 h 3147060"/>
                  <a:gd name="connsiteX113" fmla="*/ 861177 w 3147279"/>
                  <a:gd name="connsiteY113" fmla="*/ 205740 h 3147060"/>
                  <a:gd name="connsiteX114" fmla="*/ 952617 w 3147279"/>
                  <a:gd name="connsiteY114" fmla="*/ 152400 h 3147060"/>
                  <a:gd name="connsiteX115" fmla="*/ 983097 w 3147279"/>
                  <a:gd name="connsiteY115" fmla="*/ 129540 h 3147060"/>
                  <a:gd name="connsiteX116" fmla="*/ 1105017 w 3147279"/>
                  <a:gd name="connsiteY116" fmla="*/ 76200 h 3147060"/>
                  <a:gd name="connsiteX117" fmla="*/ 1127877 w 3147279"/>
                  <a:gd name="connsiteY117" fmla="*/ 68580 h 3147060"/>
                  <a:gd name="connsiteX118" fmla="*/ 1188837 w 3147279"/>
                  <a:gd name="connsiteY118" fmla="*/ 53340 h 3147060"/>
                  <a:gd name="connsiteX119" fmla="*/ 1242177 w 3147279"/>
                  <a:gd name="connsiteY119" fmla="*/ 38100 h 3147060"/>
                  <a:gd name="connsiteX120" fmla="*/ 1265037 w 3147279"/>
                  <a:gd name="connsiteY120" fmla="*/ 30480 h 3147060"/>
                  <a:gd name="connsiteX121" fmla="*/ 1386957 w 3147279"/>
                  <a:gd name="connsiteY121" fmla="*/ 15240 h 3147060"/>
                  <a:gd name="connsiteX122" fmla="*/ 1463157 w 3147279"/>
                  <a:gd name="connsiteY122" fmla="*/ 0 h 3147060"/>
                  <a:gd name="connsiteX123" fmla="*/ 1882257 w 3147279"/>
                  <a:gd name="connsiteY123" fmla="*/ 15240 h 3147060"/>
                  <a:gd name="connsiteX124" fmla="*/ 1912737 w 3147279"/>
                  <a:gd name="connsiteY124" fmla="*/ 22860 h 3147060"/>
                  <a:gd name="connsiteX125" fmla="*/ 2164197 w 3147279"/>
                  <a:gd name="connsiteY125" fmla="*/ 99060 h 3147060"/>
                  <a:gd name="connsiteX126" fmla="*/ 2339457 w 3147279"/>
                  <a:gd name="connsiteY126" fmla="*/ 182880 h 3147060"/>
                  <a:gd name="connsiteX127" fmla="*/ 2369937 w 3147279"/>
                  <a:gd name="connsiteY127" fmla="*/ 190500 h 3147060"/>
                  <a:gd name="connsiteX128" fmla="*/ 2392797 w 3147279"/>
                  <a:gd name="connsiteY128" fmla="*/ 205740 h 3147060"/>
                  <a:gd name="connsiteX129" fmla="*/ 2438517 w 3147279"/>
                  <a:gd name="connsiteY129" fmla="*/ 228600 h 3147060"/>
                  <a:gd name="connsiteX130" fmla="*/ 2446137 w 3147279"/>
                  <a:gd name="connsiteY130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365877 w 3147279"/>
                  <a:gd name="connsiteY77" fmla="*/ 2613660 h 3147060"/>
                  <a:gd name="connsiteX78" fmla="*/ 343017 w 3147279"/>
                  <a:gd name="connsiteY78" fmla="*/ 2567940 h 3147060"/>
                  <a:gd name="connsiteX79" fmla="*/ 320157 w 3147279"/>
                  <a:gd name="connsiteY79" fmla="*/ 2484120 h 3147060"/>
                  <a:gd name="connsiteX80" fmla="*/ 297297 w 3147279"/>
                  <a:gd name="connsiteY80" fmla="*/ 2430780 h 3147060"/>
                  <a:gd name="connsiteX81" fmla="*/ 274437 w 3147279"/>
                  <a:gd name="connsiteY81" fmla="*/ 2377440 h 3147060"/>
                  <a:gd name="connsiteX82" fmla="*/ 228717 w 3147279"/>
                  <a:gd name="connsiteY82" fmla="*/ 2316480 h 3147060"/>
                  <a:gd name="connsiteX83" fmla="*/ 205857 w 3147279"/>
                  <a:gd name="connsiteY83" fmla="*/ 2293620 h 3147060"/>
                  <a:gd name="connsiteX84" fmla="*/ 175377 w 3147279"/>
                  <a:gd name="connsiteY84" fmla="*/ 2240280 h 3147060"/>
                  <a:gd name="connsiteX85" fmla="*/ 160137 w 3147279"/>
                  <a:gd name="connsiteY85" fmla="*/ 2202180 h 3147060"/>
                  <a:gd name="connsiteX86" fmla="*/ 144897 w 3147279"/>
                  <a:gd name="connsiteY86" fmla="*/ 2179320 h 3147060"/>
                  <a:gd name="connsiteX87" fmla="*/ 129657 w 3147279"/>
                  <a:gd name="connsiteY87" fmla="*/ 2133600 h 3147060"/>
                  <a:gd name="connsiteX88" fmla="*/ 99177 w 3147279"/>
                  <a:gd name="connsiteY88" fmla="*/ 2087880 h 3147060"/>
                  <a:gd name="connsiteX89" fmla="*/ 61077 w 3147279"/>
                  <a:gd name="connsiteY89" fmla="*/ 2026920 h 3147060"/>
                  <a:gd name="connsiteX90" fmla="*/ 53457 w 3147279"/>
                  <a:gd name="connsiteY90" fmla="*/ 2004060 h 3147060"/>
                  <a:gd name="connsiteX91" fmla="*/ 38217 w 3147279"/>
                  <a:gd name="connsiteY91" fmla="*/ 1943100 h 3147060"/>
                  <a:gd name="connsiteX92" fmla="*/ 22977 w 3147279"/>
                  <a:gd name="connsiteY92" fmla="*/ 1897380 h 3147060"/>
                  <a:gd name="connsiteX93" fmla="*/ 117 w 3147279"/>
                  <a:gd name="connsiteY93" fmla="*/ 1562100 h 3147060"/>
                  <a:gd name="connsiteX94" fmla="*/ 22977 w 3147279"/>
                  <a:gd name="connsiteY94" fmla="*/ 1135380 h 3147060"/>
                  <a:gd name="connsiteX95" fmla="*/ 38217 w 3147279"/>
                  <a:gd name="connsiteY95" fmla="*/ 1104900 h 3147060"/>
                  <a:gd name="connsiteX96" fmla="*/ 83937 w 3147279"/>
                  <a:gd name="connsiteY96" fmla="*/ 1021080 h 3147060"/>
                  <a:gd name="connsiteX97" fmla="*/ 129657 w 3147279"/>
                  <a:gd name="connsiteY97" fmla="*/ 914400 h 3147060"/>
                  <a:gd name="connsiteX98" fmla="*/ 160137 w 3147279"/>
                  <a:gd name="connsiteY98" fmla="*/ 861060 h 3147060"/>
                  <a:gd name="connsiteX99" fmla="*/ 182997 w 3147279"/>
                  <a:gd name="connsiteY99" fmla="*/ 822960 h 3147060"/>
                  <a:gd name="connsiteX100" fmla="*/ 205857 w 3147279"/>
                  <a:gd name="connsiteY100" fmla="*/ 800100 h 3147060"/>
                  <a:gd name="connsiteX101" fmla="*/ 259197 w 3147279"/>
                  <a:gd name="connsiteY101" fmla="*/ 708660 h 3147060"/>
                  <a:gd name="connsiteX102" fmla="*/ 274437 w 3147279"/>
                  <a:gd name="connsiteY102" fmla="*/ 662940 h 3147060"/>
                  <a:gd name="connsiteX103" fmla="*/ 327777 w 3147279"/>
                  <a:gd name="connsiteY103" fmla="*/ 586740 h 3147060"/>
                  <a:gd name="connsiteX104" fmla="*/ 419217 w 3147279"/>
                  <a:gd name="connsiteY104" fmla="*/ 510540 h 3147060"/>
                  <a:gd name="connsiteX105" fmla="*/ 449697 w 3147279"/>
                  <a:gd name="connsiteY105" fmla="*/ 472440 h 3147060"/>
                  <a:gd name="connsiteX106" fmla="*/ 510657 w 3147279"/>
                  <a:gd name="connsiteY106" fmla="*/ 434340 h 3147060"/>
                  <a:gd name="connsiteX107" fmla="*/ 563997 w 3147279"/>
                  <a:gd name="connsiteY107" fmla="*/ 396240 h 3147060"/>
                  <a:gd name="connsiteX108" fmla="*/ 655437 w 3147279"/>
                  <a:gd name="connsiteY108" fmla="*/ 335280 h 3147060"/>
                  <a:gd name="connsiteX109" fmla="*/ 731637 w 3147279"/>
                  <a:gd name="connsiteY109" fmla="*/ 297180 h 3147060"/>
                  <a:gd name="connsiteX110" fmla="*/ 815457 w 3147279"/>
                  <a:gd name="connsiteY110" fmla="*/ 236220 h 3147060"/>
                  <a:gd name="connsiteX111" fmla="*/ 830697 w 3147279"/>
                  <a:gd name="connsiteY111" fmla="*/ 213360 h 3147060"/>
                  <a:gd name="connsiteX112" fmla="*/ 861177 w 3147279"/>
                  <a:gd name="connsiteY112" fmla="*/ 205740 h 3147060"/>
                  <a:gd name="connsiteX113" fmla="*/ 952617 w 3147279"/>
                  <a:gd name="connsiteY113" fmla="*/ 152400 h 3147060"/>
                  <a:gd name="connsiteX114" fmla="*/ 983097 w 3147279"/>
                  <a:gd name="connsiteY114" fmla="*/ 129540 h 3147060"/>
                  <a:gd name="connsiteX115" fmla="*/ 1105017 w 3147279"/>
                  <a:gd name="connsiteY115" fmla="*/ 76200 h 3147060"/>
                  <a:gd name="connsiteX116" fmla="*/ 1127877 w 3147279"/>
                  <a:gd name="connsiteY116" fmla="*/ 68580 h 3147060"/>
                  <a:gd name="connsiteX117" fmla="*/ 1188837 w 3147279"/>
                  <a:gd name="connsiteY117" fmla="*/ 53340 h 3147060"/>
                  <a:gd name="connsiteX118" fmla="*/ 1242177 w 3147279"/>
                  <a:gd name="connsiteY118" fmla="*/ 38100 h 3147060"/>
                  <a:gd name="connsiteX119" fmla="*/ 1265037 w 3147279"/>
                  <a:gd name="connsiteY119" fmla="*/ 30480 h 3147060"/>
                  <a:gd name="connsiteX120" fmla="*/ 1386957 w 3147279"/>
                  <a:gd name="connsiteY120" fmla="*/ 15240 h 3147060"/>
                  <a:gd name="connsiteX121" fmla="*/ 1463157 w 3147279"/>
                  <a:gd name="connsiteY121" fmla="*/ 0 h 3147060"/>
                  <a:gd name="connsiteX122" fmla="*/ 1882257 w 3147279"/>
                  <a:gd name="connsiteY122" fmla="*/ 15240 h 3147060"/>
                  <a:gd name="connsiteX123" fmla="*/ 1912737 w 3147279"/>
                  <a:gd name="connsiteY123" fmla="*/ 22860 h 3147060"/>
                  <a:gd name="connsiteX124" fmla="*/ 2164197 w 3147279"/>
                  <a:gd name="connsiteY124" fmla="*/ 99060 h 3147060"/>
                  <a:gd name="connsiteX125" fmla="*/ 2339457 w 3147279"/>
                  <a:gd name="connsiteY125" fmla="*/ 182880 h 3147060"/>
                  <a:gd name="connsiteX126" fmla="*/ 2369937 w 3147279"/>
                  <a:gd name="connsiteY126" fmla="*/ 190500 h 3147060"/>
                  <a:gd name="connsiteX127" fmla="*/ 2392797 w 3147279"/>
                  <a:gd name="connsiteY127" fmla="*/ 205740 h 3147060"/>
                  <a:gd name="connsiteX128" fmla="*/ 2438517 w 3147279"/>
                  <a:gd name="connsiteY128" fmla="*/ 228600 h 3147060"/>
                  <a:gd name="connsiteX129" fmla="*/ 2446137 w 3147279"/>
                  <a:gd name="connsiteY129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365877 w 3147279"/>
                  <a:gd name="connsiteY76" fmla="*/ 2613660 h 3147060"/>
                  <a:gd name="connsiteX77" fmla="*/ 343017 w 3147279"/>
                  <a:gd name="connsiteY77" fmla="*/ 2567940 h 3147060"/>
                  <a:gd name="connsiteX78" fmla="*/ 320157 w 3147279"/>
                  <a:gd name="connsiteY78" fmla="*/ 2484120 h 3147060"/>
                  <a:gd name="connsiteX79" fmla="*/ 297297 w 3147279"/>
                  <a:gd name="connsiteY79" fmla="*/ 2430780 h 3147060"/>
                  <a:gd name="connsiteX80" fmla="*/ 274437 w 3147279"/>
                  <a:gd name="connsiteY80" fmla="*/ 2377440 h 3147060"/>
                  <a:gd name="connsiteX81" fmla="*/ 228717 w 3147279"/>
                  <a:gd name="connsiteY81" fmla="*/ 2316480 h 3147060"/>
                  <a:gd name="connsiteX82" fmla="*/ 205857 w 3147279"/>
                  <a:gd name="connsiteY82" fmla="*/ 2293620 h 3147060"/>
                  <a:gd name="connsiteX83" fmla="*/ 175377 w 3147279"/>
                  <a:gd name="connsiteY83" fmla="*/ 2240280 h 3147060"/>
                  <a:gd name="connsiteX84" fmla="*/ 160137 w 3147279"/>
                  <a:gd name="connsiteY84" fmla="*/ 2202180 h 3147060"/>
                  <a:gd name="connsiteX85" fmla="*/ 144897 w 3147279"/>
                  <a:gd name="connsiteY85" fmla="*/ 2179320 h 3147060"/>
                  <a:gd name="connsiteX86" fmla="*/ 129657 w 3147279"/>
                  <a:gd name="connsiteY86" fmla="*/ 2133600 h 3147060"/>
                  <a:gd name="connsiteX87" fmla="*/ 99177 w 3147279"/>
                  <a:gd name="connsiteY87" fmla="*/ 2087880 h 3147060"/>
                  <a:gd name="connsiteX88" fmla="*/ 61077 w 3147279"/>
                  <a:gd name="connsiteY88" fmla="*/ 2026920 h 3147060"/>
                  <a:gd name="connsiteX89" fmla="*/ 53457 w 3147279"/>
                  <a:gd name="connsiteY89" fmla="*/ 2004060 h 3147060"/>
                  <a:gd name="connsiteX90" fmla="*/ 38217 w 3147279"/>
                  <a:gd name="connsiteY90" fmla="*/ 1943100 h 3147060"/>
                  <a:gd name="connsiteX91" fmla="*/ 22977 w 3147279"/>
                  <a:gd name="connsiteY91" fmla="*/ 1897380 h 3147060"/>
                  <a:gd name="connsiteX92" fmla="*/ 117 w 3147279"/>
                  <a:gd name="connsiteY92" fmla="*/ 1562100 h 3147060"/>
                  <a:gd name="connsiteX93" fmla="*/ 22977 w 3147279"/>
                  <a:gd name="connsiteY93" fmla="*/ 1135380 h 3147060"/>
                  <a:gd name="connsiteX94" fmla="*/ 38217 w 3147279"/>
                  <a:gd name="connsiteY94" fmla="*/ 1104900 h 3147060"/>
                  <a:gd name="connsiteX95" fmla="*/ 83937 w 3147279"/>
                  <a:gd name="connsiteY95" fmla="*/ 1021080 h 3147060"/>
                  <a:gd name="connsiteX96" fmla="*/ 129657 w 3147279"/>
                  <a:gd name="connsiteY96" fmla="*/ 914400 h 3147060"/>
                  <a:gd name="connsiteX97" fmla="*/ 160137 w 3147279"/>
                  <a:gd name="connsiteY97" fmla="*/ 861060 h 3147060"/>
                  <a:gd name="connsiteX98" fmla="*/ 182997 w 3147279"/>
                  <a:gd name="connsiteY98" fmla="*/ 822960 h 3147060"/>
                  <a:gd name="connsiteX99" fmla="*/ 205857 w 3147279"/>
                  <a:gd name="connsiteY99" fmla="*/ 800100 h 3147060"/>
                  <a:gd name="connsiteX100" fmla="*/ 259197 w 3147279"/>
                  <a:gd name="connsiteY100" fmla="*/ 708660 h 3147060"/>
                  <a:gd name="connsiteX101" fmla="*/ 274437 w 3147279"/>
                  <a:gd name="connsiteY101" fmla="*/ 662940 h 3147060"/>
                  <a:gd name="connsiteX102" fmla="*/ 327777 w 3147279"/>
                  <a:gd name="connsiteY102" fmla="*/ 586740 h 3147060"/>
                  <a:gd name="connsiteX103" fmla="*/ 419217 w 3147279"/>
                  <a:gd name="connsiteY103" fmla="*/ 510540 h 3147060"/>
                  <a:gd name="connsiteX104" fmla="*/ 449697 w 3147279"/>
                  <a:gd name="connsiteY104" fmla="*/ 472440 h 3147060"/>
                  <a:gd name="connsiteX105" fmla="*/ 510657 w 3147279"/>
                  <a:gd name="connsiteY105" fmla="*/ 434340 h 3147060"/>
                  <a:gd name="connsiteX106" fmla="*/ 563997 w 3147279"/>
                  <a:gd name="connsiteY106" fmla="*/ 396240 h 3147060"/>
                  <a:gd name="connsiteX107" fmla="*/ 655437 w 3147279"/>
                  <a:gd name="connsiteY107" fmla="*/ 335280 h 3147060"/>
                  <a:gd name="connsiteX108" fmla="*/ 731637 w 3147279"/>
                  <a:gd name="connsiteY108" fmla="*/ 297180 h 3147060"/>
                  <a:gd name="connsiteX109" fmla="*/ 815457 w 3147279"/>
                  <a:gd name="connsiteY109" fmla="*/ 236220 h 3147060"/>
                  <a:gd name="connsiteX110" fmla="*/ 830697 w 3147279"/>
                  <a:gd name="connsiteY110" fmla="*/ 213360 h 3147060"/>
                  <a:gd name="connsiteX111" fmla="*/ 861177 w 3147279"/>
                  <a:gd name="connsiteY111" fmla="*/ 205740 h 3147060"/>
                  <a:gd name="connsiteX112" fmla="*/ 952617 w 3147279"/>
                  <a:gd name="connsiteY112" fmla="*/ 152400 h 3147060"/>
                  <a:gd name="connsiteX113" fmla="*/ 983097 w 3147279"/>
                  <a:gd name="connsiteY113" fmla="*/ 129540 h 3147060"/>
                  <a:gd name="connsiteX114" fmla="*/ 1105017 w 3147279"/>
                  <a:gd name="connsiteY114" fmla="*/ 76200 h 3147060"/>
                  <a:gd name="connsiteX115" fmla="*/ 1127877 w 3147279"/>
                  <a:gd name="connsiteY115" fmla="*/ 68580 h 3147060"/>
                  <a:gd name="connsiteX116" fmla="*/ 1188837 w 3147279"/>
                  <a:gd name="connsiteY116" fmla="*/ 53340 h 3147060"/>
                  <a:gd name="connsiteX117" fmla="*/ 1242177 w 3147279"/>
                  <a:gd name="connsiteY117" fmla="*/ 38100 h 3147060"/>
                  <a:gd name="connsiteX118" fmla="*/ 1265037 w 3147279"/>
                  <a:gd name="connsiteY118" fmla="*/ 30480 h 3147060"/>
                  <a:gd name="connsiteX119" fmla="*/ 1386957 w 3147279"/>
                  <a:gd name="connsiteY119" fmla="*/ 15240 h 3147060"/>
                  <a:gd name="connsiteX120" fmla="*/ 1463157 w 3147279"/>
                  <a:gd name="connsiteY120" fmla="*/ 0 h 3147060"/>
                  <a:gd name="connsiteX121" fmla="*/ 1882257 w 3147279"/>
                  <a:gd name="connsiteY121" fmla="*/ 15240 h 3147060"/>
                  <a:gd name="connsiteX122" fmla="*/ 1912737 w 3147279"/>
                  <a:gd name="connsiteY122" fmla="*/ 22860 h 3147060"/>
                  <a:gd name="connsiteX123" fmla="*/ 2164197 w 3147279"/>
                  <a:gd name="connsiteY123" fmla="*/ 99060 h 3147060"/>
                  <a:gd name="connsiteX124" fmla="*/ 2339457 w 3147279"/>
                  <a:gd name="connsiteY124" fmla="*/ 182880 h 3147060"/>
                  <a:gd name="connsiteX125" fmla="*/ 2369937 w 3147279"/>
                  <a:gd name="connsiteY125" fmla="*/ 190500 h 3147060"/>
                  <a:gd name="connsiteX126" fmla="*/ 2392797 w 3147279"/>
                  <a:gd name="connsiteY126" fmla="*/ 205740 h 3147060"/>
                  <a:gd name="connsiteX127" fmla="*/ 2438517 w 3147279"/>
                  <a:gd name="connsiteY127" fmla="*/ 228600 h 3147060"/>
                  <a:gd name="connsiteX128" fmla="*/ 2446137 w 3147279"/>
                  <a:gd name="connsiteY128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365877 w 3147279"/>
                  <a:gd name="connsiteY75" fmla="*/ 2613660 h 3147060"/>
                  <a:gd name="connsiteX76" fmla="*/ 343017 w 3147279"/>
                  <a:gd name="connsiteY76" fmla="*/ 2567940 h 3147060"/>
                  <a:gd name="connsiteX77" fmla="*/ 320157 w 3147279"/>
                  <a:gd name="connsiteY77" fmla="*/ 2484120 h 3147060"/>
                  <a:gd name="connsiteX78" fmla="*/ 297297 w 3147279"/>
                  <a:gd name="connsiteY78" fmla="*/ 2430780 h 3147060"/>
                  <a:gd name="connsiteX79" fmla="*/ 274437 w 3147279"/>
                  <a:gd name="connsiteY79" fmla="*/ 2377440 h 3147060"/>
                  <a:gd name="connsiteX80" fmla="*/ 228717 w 3147279"/>
                  <a:gd name="connsiteY80" fmla="*/ 2316480 h 3147060"/>
                  <a:gd name="connsiteX81" fmla="*/ 205857 w 3147279"/>
                  <a:gd name="connsiteY81" fmla="*/ 2293620 h 3147060"/>
                  <a:gd name="connsiteX82" fmla="*/ 175377 w 3147279"/>
                  <a:gd name="connsiteY82" fmla="*/ 2240280 h 3147060"/>
                  <a:gd name="connsiteX83" fmla="*/ 160137 w 3147279"/>
                  <a:gd name="connsiteY83" fmla="*/ 2202180 h 3147060"/>
                  <a:gd name="connsiteX84" fmla="*/ 144897 w 3147279"/>
                  <a:gd name="connsiteY84" fmla="*/ 2179320 h 3147060"/>
                  <a:gd name="connsiteX85" fmla="*/ 129657 w 3147279"/>
                  <a:gd name="connsiteY85" fmla="*/ 2133600 h 3147060"/>
                  <a:gd name="connsiteX86" fmla="*/ 99177 w 3147279"/>
                  <a:gd name="connsiteY86" fmla="*/ 2087880 h 3147060"/>
                  <a:gd name="connsiteX87" fmla="*/ 61077 w 3147279"/>
                  <a:gd name="connsiteY87" fmla="*/ 2026920 h 3147060"/>
                  <a:gd name="connsiteX88" fmla="*/ 53457 w 3147279"/>
                  <a:gd name="connsiteY88" fmla="*/ 2004060 h 3147060"/>
                  <a:gd name="connsiteX89" fmla="*/ 38217 w 3147279"/>
                  <a:gd name="connsiteY89" fmla="*/ 1943100 h 3147060"/>
                  <a:gd name="connsiteX90" fmla="*/ 22977 w 3147279"/>
                  <a:gd name="connsiteY90" fmla="*/ 1897380 h 3147060"/>
                  <a:gd name="connsiteX91" fmla="*/ 117 w 3147279"/>
                  <a:gd name="connsiteY91" fmla="*/ 1562100 h 3147060"/>
                  <a:gd name="connsiteX92" fmla="*/ 22977 w 3147279"/>
                  <a:gd name="connsiteY92" fmla="*/ 1135380 h 3147060"/>
                  <a:gd name="connsiteX93" fmla="*/ 38217 w 3147279"/>
                  <a:gd name="connsiteY93" fmla="*/ 1104900 h 3147060"/>
                  <a:gd name="connsiteX94" fmla="*/ 83937 w 3147279"/>
                  <a:gd name="connsiteY94" fmla="*/ 1021080 h 3147060"/>
                  <a:gd name="connsiteX95" fmla="*/ 129657 w 3147279"/>
                  <a:gd name="connsiteY95" fmla="*/ 914400 h 3147060"/>
                  <a:gd name="connsiteX96" fmla="*/ 160137 w 3147279"/>
                  <a:gd name="connsiteY96" fmla="*/ 861060 h 3147060"/>
                  <a:gd name="connsiteX97" fmla="*/ 182997 w 3147279"/>
                  <a:gd name="connsiteY97" fmla="*/ 822960 h 3147060"/>
                  <a:gd name="connsiteX98" fmla="*/ 205857 w 3147279"/>
                  <a:gd name="connsiteY98" fmla="*/ 800100 h 3147060"/>
                  <a:gd name="connsiteX99" fmla="*/ 259197 w 3147279"/>
                  <a:gd name="connsiteY99" fmla="*/ 708660 h 3147060"/>
                  <a:gd name="connsiteX100" fmla="*/ 274437 w 3147279"/>
                  <a:gd name="connsiteY100" fmla="*/ 662940 h 3147060"/>
                  <a:gd name="connsiteX101" fmla="*/ 327777 w 3147279"/>
                  <a:gd name="connsiteY101" fmla="*/ 586740 h 3147060"/>
                  <a:gd name="connsiteX102" fmla="*/ 419217 w 3147279"/>
                  <a:gd name="connsiteY102" fmla="*/ 510540 h 3147060"/>
                  <a:gd name="connsiteX103" fmla="*/ 449697 w 3147279"/>
                  <a:gd name="connsiteY103" fmla="*/ 472440 h 3147060"/>
                  <a:gd name="connsiteX104" fmla="*/ 510657 w 3147279"/>
                  <a:gd name="connsiteY104" fmla="*/ 434340 h 3147060"/>
                  <a:gd name="connsiteX105" fmla="*/ 563997 w 3147279"/>
                  <a:gd name="connsiteY105" fmla="*/ 396240 h 3147060"/>
                  <a:gd name="connsiteX106" fmla="*/ 655437 w 3147279"/>
                  <a:gd name="connsiteY106" fmla="*/ 335280 h 3147060"/>
                  <a:gd name="connsiteX107" fmla="*/ 731637 w 3147279"/>
                  <a:gd name="connsiteY107" fmla="*/ 297180 h 3147060"/>
                  <a:gd name="connsiteX108" fmla="*/ 815457 w 3147279"/>
                  <a:gd name="connsiteY108" fmla="*/ 236220 h 3147060"/>
                  <a:gd name="connsiteX109" fmla="*/ 830697 w 3147279"/>
                  <a:gd name="connsiteY109" fmla="*/ 213360 h 3147060"/>
                  <a:gd name="connsiteX110" fmla="*/ 861177 w 3147279"/>
                  <a:gd name="connsiteY110" fmla="*/ 205740 h 3147060"/>
                  <a:gd name="connsiteX111" fmla="*/ 952617 w 3147279"/>
                  <a:gd name="connsiteY111" fmla="*/ 152400 h 3147060"/>
                  <a:gd name="connsiteX112" fmla="*/ 983097 w 3147279"/>
                  <a:gd name="connsiteY112" fmla="*/ 129540 h 3147060"/>
                  <a:gd name="connsiteX113" fmla="*/ 1105017 w 3147279"/>
                  <a:gd name="connsiteY113" fmla="*/ 76200 h 3147060"/>
                  <a:gd name="connsiteX114" fmla="*/ 1127877 w 3147279"/>
                  <a:gd name="connsiteY114" fmla="*/ 68580 h 3147060"/>
                  <a:gd name="connsiteX115" fmla="*/ 1188837 w 3147279"/>
                  <a:gd name="connsiteY115" fmla="*/ 53340 h 3147060"/>
                  <a:gd name="connsiteX116" fmla="*/ 1242177 w 3147279"/>
                  <a:gd name="connsiteY116" fmla="*/ 38100 h 3147060"/>
                  <a:gd name="connsiteX117" fmla="*/ 1265037 w 3147279"/>
                  <a:gd name="connsiteY117" fmla="*/ 30480 h 3147060"/>
                  <a:gd name="connsiteX118" fmla="*/ 1386957 w 3147279"/>
                  <a:gd name="connsiteY118" fmla="*/ 15240 h 3147060"/>
                  <a:gd name="connsiteX119" fmla="*/ 1463157 w 3147279"/>
                  <a:gd name="connsiteY119" fmla="*/ 0 h 3147060"/>
                  <a:gd name="connsiteX120" fmla="*/ 1882257 w 3147279"/>
                  <a:gd name="connsiteY120" fmla="*/ 15240 h 3147060"/>
                  <a:gd name="connsiteX121" fmla="*/ 1912737 w 3147279"/>
                  <a:gd name="connsiteY121" fmla="*/ 22860 h 3147060"/>
                  <a:gd name="connsiteX122" fmla="*/ 2164197 w 3147279"/>
                  <a:gd name="connsiteY122" fmla="*/ 99060 h 3147060"/>
                  <a:gd name="connsiteX123" fmla="*/ 2339457 w 3147279"/>
                  <a:gd name="connsiteY123" fmla="*/ 182880 h 3147060"/>
                  <a:gd name="connsiteX124" fmla="*/ 2369937 w 3147279"/>
                  <a:gd name="connsiteY124" fmla="*/ 190500 h 3147060"/>
                  <a:gd name="connsiteX125" fmla="*/ 2392797 w 3147279"/>
                  <a:gd name="connsiteY125" fmla="*/ 205740 h 3147060"/>
                  <a:gd name="connsiteX126" fmla="*/ 2438517 w 3147279"/>
                  <a:gd name="connsiteY126" fmla="*/ 228600 h 3147060"/>
                  <a:gd name="connsiteX127" fmla="*/ 2446137 w 3147279"/>
                  <a:gd name="connsiteY127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365877 w 3147279"/>
                  <a:gd name="connsiteY74" fmla="*/ 2613660 h 3147060"/>
                  <a:gd name="connsiteX75" fmla="*/ 343017 w 3147279"/>
                  <a:gd name="connsiteY75" fmla="*/ 2567940 h 3147060"/>
                  <a:gd name="connsiteX76" fmla="*/ 320157 w 3147279"/>
                  <a:gd name="connsiteY76" fmla="*/ 2484120 h 3147060"/>
                  <a:gd name="connsiteX77" fmla="*/ 297297 w 3147279"/>
                  <a:gd name="connsiteY77" fmla="*/ 2430780 h 3147060"/>
                  <a:gd name="connsiteX78" fmla="*/ 274437 w 3147279"/>
                  <a:gd name="connsiteY78" fmla="*/ 2377440 h 3147060"/>
                  <a:gd name="connsiteX79" fmla="*/ 228717 w 3147279"/>
                  <a:gd name="connsiteY79" fmla="*/ 2316480 h 3147060"/>
                  <a:gd name="connsiteX80" fmla="*/ 205857 w 3147279"/>
                  <a:gd name="connsiteY80" fmla="*/ 2293620 h 3147060"/>
                  <a:gd name="connsiteX81" fmla="*/ 175377 w 3147279"/>
                  <a:gd name="connsiteY81" fmla="*/ 2240280 h 3147060"/>
                  <a:gd name="connsiteX82" fmla="*/ 160137 w 3147279"/>
                  <a:gd name="connsiteY82" fmla="*/ 2202180 h 3147060"/>
                  <a:gd name="connsiteX83" fmla="*/ 144897 w 3147279"/>
                  <a:gd name="connsiteY83" fmla="*/ 2179320 h 3147060"/>
                  <a:gd name="connsiteX84" fmla="*/ 129657 w 3147279"/>
                  <a:gd name="connsiteY84" fmla="*/ 2133600 h 3147060"/>
                  <a:gd name="connsiteX85" fmla="*/ 99177 w 3147279"/>
                  <a:gd name="connsiteY85" fmla="*/ 2087880 h 3147060"/>
                  <a:gd name="connsiteX86" fmla="*/ 61077 w 3147279"/>
                  <a:gd name="connsiteY86" fmla="*/ 2026920 h 3147060"/>
                  <a:gd name="connsiteX87" fmla="*/ 53457 w 3147279"/>
                  <a:gd name="connsiteY87" fmla="*/ 2004060 h 3147060"/>
                  <a:gd name="connsiteX88" fmla="*/ 38217 w 3147279"/>
                  <a:gd name="connsiteY88" fmla="*/ 1943100 h 3147060"/>
                  <a:gd name="connsiteX89" fmla="*/ 22977 w 3147279"/>
                  <a:gd name="connsiteY89" fmla="*/ 1897380 h 3147060"/>
                  <a:gd name="connsiteX90" fmla="*/ 117 w 3147279"/>
                  <a:gd name="connsiteY90" fmla="*/ 1562100 h 3147060"/>
                  <a:gd name="connsiteX91" fmla="*/ 22977 w 3147279"/>
                  <a:gd name="connsiteY91" fmla="*/ 1135380 h 3147060"/>
                  <a:gd name="connsiteX92" fmla="*/ 38217 w 3147279"/>
                  <a:gd name="connsiteY92" fmla="*/ 1104900 h 3147060"/>
                  <a:gd name="connsiteX93" fmla="*/ 83937 w 3147279"/>
                  <a:gd name="connsiteY93" fmla="*/ 1021080 h 3147060"/>
                  <a:gd name="connsiteX94" fmla="*/ 129657 w 3147279"/>
                  <a:gd name="connsiteY94" fmla="*/ 914400 h 3147060"/>
                  <a:gd name="connsiteX95" fmla="*/ 160137 w 3147279"/>
                  <a:gd name="connsiteY95" fmla="*/ 861060 h 3147060"/>
                  <a:gd name="connsiteX96" fmla="*/ 182997 w 3147279"/>
                  <a:gd name="connsiteY96" fmla="*/ 822960 h 3147060"/>
                  <a:gd name="connsiteX97" fmla="*/ 205857 w 3147279"/>
                  <a:gd name="connsiteY97" fmla="*/ 800100 h 3147060"/>
                  <a:gd name="connsiteX98" fmla="*/ 259197 w 3147279"/>
                  <a:gd name="connsiteY98" fmla="*/ 708660 h 3147060"/>
                  <a:gd name="connsiteX99" fmla="*/ 274437 w 3147279"/>
                  <a:gd name="connsiteY99" fmla="*/ 662940 h 3147060"/>
                  <a:gd name="connsiteX100" fmla="*/ 327777 w 3147279"/>
                  <a:gd name="connsiteY100" fmla="*/ 586740 h 3147060"/>
                  <a:gd name="connsiteX101" fmla="*/ 419217 w 3147279"/>
                  <a:gd name="connsiteY101" fmla="*/ 510540 h 3147060"/>
                  <a:gd name="connsiteX102" fmla="*/ 449697 w 3147279"/>
                  <a:gd name="connsiteY102" fmla="*/ 472440 h 3147060"/>
                  <a:gd name="connsiteX103" fmla="*/ 510657 w 3147279"/>
                  <a:gd name="connsiteY103" fmla="*/ 434340 h 3147060"/>
                  <a:gd name="connsiteX104" fmla="*/ 563997 w 3147279"/>
                  <a:gd name="connsiteY104" fmla="*/ 396240 h 3147060"/>
                  <a:gd name="connsiteX105" fmla="*/ 655437 w 3147279"/>
                  <a:gd name="connsiteY105" fmla="*/ 335280 h 3147060"/>
                  <a:gd name="connsiteX106" fmla="*/ 731637 w 3147279"/>
                  <a:gd name="connsiteY106" fmla="*/ 297180 h 3147060"/>
                  <a:gd name="connsiteX107" fmla="*/ 815457 w 3147279"/>
                  <a:gd name="connsiteY107" fmla="*/ 236220 h 3147060"/>
                  <a:gd name="connsiteX108" fmla="*/ 830697 w 3147279"/>
                  <a:gd name="connsiteY108" fmla="*/ 213360 h 3147060"/>
                  <a:gd name="connsiteX109" fmla="*/ 861177 w 3147279"/>
                  <a:gd name="connsiteY109" fmla="*/ 205740 h 3147060"/>
                  <a:gd name="connsiteX110" fmla="*/ 952617 w 3147279"/>
                  <a:gd name="connsiteY110" fmla="*/ 152400 h 3147060"/>
                  <a:gd name="connsiteX111" fmla="*/ 983097 w 3147279"/>
                  <a:gd name="connsiteY111" fmla="*/ 129540 h 3147060"/>
                  <a:gd name="connsiteX112" fmla="*/ 1105017 w 3147279"/>
                  <a:gd name="connsiteY112" fmla="*/ 76200 h 3147060"/>
                  <a:gd name="connsiteX113" fmla="*/ 1127877 w 3147279"/>
                  <a:gd name="connsiteY113" fmla="*/ 68580 h 3147060"/>
                  <a:gd name="connsiteX114" fmla="*/ 1188837 w 3147279"/>
                  <a:gd name="connsiteY114" fmla="*/ 53340 h 3147060"/>
                  <a:gd name="connsiteX115" fmla="*/ 1242177 w 3147279"/>
                  <a:gd name="connsiteY115" fmla="*/ 38100 h 3147060"/>
                  <a:gd name="connsiteX116" fmla="*/ 1265037 w 3147279"/>
                  <a:gd name="connsiteY116" fmla="*/ 30480 h 3147060"/>
                  <a:gd name="connsiteX117" fmla="*/ 1386957 w 3147279"/>
                  <a:gd name="connsiteY117" fmla="*/ 15240 h 3147060"/>
                  <a:gd name="connsiteX118" fmla="*/ 1463157 w 3147279"/>
                  <a:gd name="connsiteY118" fmla="*/ 0 h 3147060"/>
                  <a:gd name="connsiteX119" fmla="*/ 1882257 w 3147279"/>
                  <a:gd name="connsiteY119" fmla="*/ 15240 h 3147060"/>
                  <a:gd name="connsiteX120" fmla="*/ 1912737 w 3147279"/>
                  <a:gd name="connsiteY120" fmla="*/ 22860 h 3147060"/>
                  <a:gd name="connsiteX121" fmla="*/ 2164197 w 3147279"/>
                  <a:gd name="connsiteY121" fmla="*/ 99060 h 3147060"/>
                  <a:gd name="connsiteX122" fmla="*/ 2339457 w 3147279"/>
                  <a:gd name="connsiteY122" fmla="*/ 182880 h 3147060"/>
                  <a:gd name="connsiteX123" fmla="*/ 2369937 w 3147279"/>
                  <a:gd name="connsiteY123" fmla="*/ 190500 h 3147060"/>
                  <a:gd name="connsiteX124" fmla="*/ 2392797 w 3147279"/>
                  <a:gd name="connsiteY124" fmla="*/ 205740 h 3147060"/>
                  <a:gd name="connsiteX125" fmla="*/ 2438517 w 3147279"/>
                  <a:gd name="connsiteY125" fmla="*/ 228600 h 3147060"/>
                  <a:gd name="connsiteX126" fmla="*/ 2446137 w 3147279"/>
                  <a:gd name="connsiteY126" fmla="*/ 266700 h 3147060"/>
                  <a:gd name="connsiteX0" fmla="*/ 2446137 w 3147279"/>
                  <a:gd name="connsiteY0" fmla="*/ 266700 h 3158149"/>
                  <a:gd name="connsiteX1" fmla="*/ 2491857 w 3147279"/>
                  <a:gd name="connsiteY1" fmla="*/ 297180 h 3158149"/>
                  <a:gd name="connsiteX2" fmla="*/ 2499477 w 3147279"/>
                  <a:gd name="connsiteY2" fmla="*/ 320040 h 3158149"/>
                  <a:gd name="connsiteX3" fmla="*/ 2529957 w 3147279"/>
                  <a:gd name="connsiteY3" fmla="*/ 342900 h 3158149"/>
                  <a:gd name="connsiteX4" fmla="*/ 2552817 w 3147279"/>
                  <a:gd name="connsiteY4" fmla="*/ 373380 h 3158149"/>
                  <a:gd name="connsiteX5" fmla="*/ 2583297 w 3147279"/>
                  <a:gd name="connsiteY5" fmla="*/ 388620 h 3158149"/>
                  <a:gd name="connsiteX6" fmla="*/ 2629017 w 3147279"/>
                  <a:gd name="connsiteY6" fmla="*/ 434340 h 3158149"/>
                  <a:gd name="connsiteX7" fmla="*/ 2659497 w 3147279"/>
                  <a:gd name="connsiteY7" fmla="*/ 464820 h 3158149"/>
                  <a:gd name="connsiteX8" fmla="*/ 2705217 w 3147279"/>
                  <a:gd name="connsiteY8" fmla="*/ 487680 h 3158149"/>
                  <a:gd name="connsiteX9" fmla="*/ 2728077 w 3147279"/>
                  <a:gd name="connsiteY9" fmla="*/ 510540 h 3158149"/>
                  <a:gd name="connsiteX10" fmla="*/ 2789037 w 3147279"/>
                  <a:gd name="connsiteY10" fmla="*/ 594360 h 3158149"/>
                  <a:gd name="connsiteX11" fmla="*/ 2849997 w 3147279"/>
                  <a:gd name="connsiteY11" fmla="*/ 662940 h 3158149"/>
                  <a:gd name="connsiteX12" fmla="*/ 2872857 w 3147279"/>
                  <a:gd name="connsiteY12" fmla="*/ 701040 h 3158149"/>
                  <a:gd name="connsiteX13" fmla="*/ 2910957 w 3147279"/>
                  <a:gd name="connsiteY13" fmla="*/ 762000 h 3158149"/>
                  <a:gd name="connsiteX14" fmla="*/ 2949057 w 3147279"/>
                  <a:gd name="connsiteY14" fmla="*/ 845820 h 3158149"/>
                  <a:gd name="connsiteX15" fmla="*/ 2956677 w 3147279"/>
                  <a:gd name="connsiteY15" fmla="*/ 868680 h 3158149"/>
                  <a:gd name="connsiteX16" fmla="*/ 2979537 w 3147279"/>
                  <a:gd name="connsiteY16" fmla="*/ 922020 h 3158149"/>
                  <a:gd name="connsiteX17" fmla="*/ 2994777 w 3147279"/>
                  <a:gd name="connsiteY17" fmla="*/ 952500 h 3158149"/>
                  <a:gd name="connsiteX18" fmla="*/ 3010017 w 3147279"/>
                  <a:gd name="connsiteY18" fmla="*/ 998220 h 3158149"/>
                  <a:gd name="connsiteX19" fmla="*/ 3025257 w 3147279"/>
                  <a:gd name="connsiteY19" fmla="*/ 1036320 h 3158149"/>
                  <a:gd name="connsiteX20" fmla="*/ 3032877 w 3147279"/>
                  <a:gd name="connsiteY20" fmla="*/ 1066800 h 3158149"/>
                  <a:gd name="connsiteX21" fmla="*/ 3055737 w 3147279"/>
                  <a:gd name="connsiteY21" fmla="*/ 1104900 h 3158149"/>
                  <a:gd name="connsiteX22" fmla="*/ 3070977 w 3147279"/>
                  <a:gd name="connsiteY22" fmla="*/ 1150620 h 3158149"/>
                  <a:gd name="connsiteX23" fmla="*/ 3086217 w 3147279"/>
                  <a:gd name="connsiteY23" fmla="*/ 1181100 h 3158149"/>
                  <a:gd name="connsiteX24" fmla="*/ 3093837 w 3147279"/>
                  <a:gd name="connsiteY24" fmla="*/ 1226820 h 3158149"/>
                  <a:gd name="connsiteX25" fmla="*/ 3101457 w 3147279"/>
                  <a:gd name="connsiteY25" fmla="*/ 1280160 h 3158149"/>
                  <a:gd name="connsiteX26" fmla="*/ 3116697 w 3147279"/>
                  <a:gd name="connsiteY26" fmla="*/ 1371600 h 3158149"/>
                  <a:gd name="connsiteX27" fmla="*/ 3131937 w 3147279"/>
                  <a:gd name="connsiteY27" fmla="*/ 1417320 h 3158149"/>
                  <a:gd name="connsiteX28" fmla="*/ 3139557 w 3147279"/>
                  <a:gd name="connsiteY28" fmla="*/ 1485900 h 3158149"/>
                  <a:gd name="connsiteX29" fmla="*/ 3147177 w 3147279"/>
                  <a:gd name="connsiteY29" fmla="*/ 1516380 h 3158149"/>
                  <a:gd name="connsiteX30" fmla="*/ 3131937 w 3147279"/>
                  <a:gd name="connsiteY30" fmla="*/ 1691640 h 3158149"/>
                  <a:gd name="connsiteX31" fmla="*/ 3124317 w 3147279"/>
                  <a:gd name="connsiteY31" fmla="*/ 1767840 h 3158149"/>
                  <a:gd name="connsiteX32" fmla="*/ 3109077 w 3147279"/>
                  <a:gd name="connsiteY32" fmla="*/ 1836420 h 3158149"/>
                  <a:gd name="connsiteX33" fmla="*/ 3086217 w 3147279"/>
                  <a:gd name="connsiteY33" fmla="*/ 1905000 h 3158149"/>
                  <a:gd name="connsiteX34" fmla="*/ 3078597 w 3147279"/>
                  <a:gd name="connsiteY34" fmla="*/ 1935480 h 3158149"/>
                  <a:gd name="connsiteX35" fmla="*/ 3070977 w 3147279"/>
                  <a:gd name="connsiteY35" fmla="*/ 1958340 h 3158149"/>
                  <a:gd name="connsiteX36" fmla="*/ 3055737 w 3147279"/>
                  <a:gd name="connsiteY36" fmla="*/ 2019300 h 3158149"/>
                  <a:gd name="connsiteX37" fmla="*/ 3040497 w 3147279"/>
                  <a:gd name="connsiteY37" fmla="*/ 2057400 h 3158149"/>
                  <a:gd name="connsiteX38" fmla="*/ 3032877 w 3147279"/>
                  <a:gd name="connsiteY38" fmla="*/ 2080260 h 3158149"/>
                  <a:gd name="connsiteX39" fmla="*/ 3017637 w 3147279"/>
                  <a:gd name="connsiteY39" fmla="*/ 2118360 h 3158149"/>
                  <a:gd name="connsiteX40" fmla="*/ 2994777 w 3147279"/>
                  <a:gd name="connsiteY40" fmla="*/ 2186940 h 3158149"/>
                  <a:gd name="connsiteX41" fmla="*/ 2987157 w 3147279"/>
                  <a:gd name="connsiteY41" fmla="*/ 2225040 h 3158149"/>
                  <a:gd name="connsiteX42" fmla="*/ 2971917 w 3147279"/>
                  <a:gd name="connsiteY42" fmla="*/ 2270760 h 3158149"/>
                  <a:gd name="connsiteX43" fmla="*/ 2964297 w 3147279"/>
                  <a:gd name="connsiteY43" fmla="*/ 2308860 h 3158149"/>
                  <a:gd name="connsiteX44" fmla="*/ 2949057 w 3147279"/>
                  <a:gd name="connsiteY44" fmla="*/ 2331720 h 3158149"/>
                  <a:gd name="connsiteX45" fmla="*/ 2926197 w 3147279"/>
                  <a:gd name="connsiteY45" fmla="*/ 2385060 h 3158149"/>
                  <a:gd name="connsiteX46" fmla="*/ 2903337 w 3147279"/>
                  <a:gd name="connsiteY46" fmla="*/ 2407920 h 3158149"/>
                  <a:gd name="connsiteX47" fmla="*/ 2857617 w 3147279"/>
                  <a:gd name="connsiteY47" fmla="*/ 2499360 h 3158149"/>
                  <a:gd name="connsiteX48" fmla="*/ 2842377 w 3147279"/>
                  <a:gd name="connsiteY48" fmla="*/ 2529840 h 3158149"/>
                  <a:gd name="connsiteX49" fmla="*/ 2834757 w 3147279"/>
                  <a:gd name="connsiteY49" fmla="*/ 2552700 h 3158149"/>
                  <a:gd name="connsiteX50" fmla="*/ 2758557 w 3147279"/>
                  <a:gd name="connsiteY50" fmla="*/ 2636520 h 3158149"/>
                  <a:gd name="connsiteX51" fmla="*/ 2705217 w 3147279"/>
                  <a:gd name="connsiteY51" fmla="*/ 2667000 h 3158149"/>
                  <a:gd name="connsiteX52" fmla="*/ 2629017 w 3147279"/>
                  <a:gd name="connsiteY52" fmla="*/ 2712720 h 3158149"/>
                  <a:gd name="connsiteX53" fmla="*/ 2598537 w 3147279"/>
                  <a:gd name="connsiteY53" fmla="*/ 2727960 h 3158149"/>
                  <a:gd name="connsiteX54" fmla="*/ 2568057 w 3147279"/>
                  <a:gd name="connsiteY54" fmla="*/ 2750820 h 3158149"/>
                  <a:gd name="connsiteX55" fmla="*/ 2545197 w 3147279"/>
                  <a:gd name="connsiteY55" fmla="*/ 2773680 h 3158149"/>
                  <a:gd name="connsiteX56" fmla="*/ 2484237 w 3147279"/>
                  <a:gd name="connsiteY56" fmla="*/ 2804160 h 3158149"/>
                  <a:gd name="connsiteX57" fmla="*/ 2423277 w 3147279"/>
                  <a:gd name="connsiteY57" fmla="*/ 2865120 h 3158149"/>
                  <a:gd name="connsiteX58" fmla="*/ 2392797 w 3147279"/>
                  <a:gd name="connsiteY58" fmla="*/ 2887980 h 3158149"/>
                  <a:gd name="connsiteX59" fmla="*/ 2377557 w 3147279"/>
                  <a:gd name="connsiteY59" fmla="*/ 2910840 h 3158149"/>
                  <a:gd name="connsiteX60" fmla="*/ 2301357 w 3147279"/>
                  <a:gd name="connsiteY60" fmla="*/ 2994660 h 3158149"/>
                  <a:gd name="connsiteX61" fmla="*/ 2248017 w 3147279"/>
                  <a:gd name="connsiteY61" fmla="*/ 3032760 h 3158149"/>
                  <a:gd name="connsiteX62" fmla="*/ 2225157 w 3147279"/>
                  <a:gd name="connsiteY62" fmla="*/ 3040380 h 3158149"/>
                  <a:gd name="connsiteX63" fmla="*/ 2187057 w 3147279"/>
                  <a:gd name="connsiteY63" fmla="*/ 3055620 h 3158149"/>
                  <a:gd name="connsiteX64" fmla="*/ 2164197 w 3147279"/>
                  <a:gd name="connsiteY64" fmla="*/ 3070860 h 3158149"/>
                  <a:gd name="connsiteX65" fmla="*/ 2095617 w 3147279"/>
                  <a:gd name="connsiteY65" fmla="*/ 3101340 h 3158149"/>
                  <a:gd name="connsiteX66" fmla="*/ 2027037 w 3147279"/>
                  <a:gd name="connsiteY66" fmla="*/ 3108960 h 3158149"/>
                  <a:gd name="connsiteX67" fmla="*/ 1981317 w 3147279"/>
                  <a:gd name="connsiteY67" fmla="*/ 3124200 h 3158149"/>
                  <a:gd name="connsiteX68" fmla="*/ 1912737 w 3147279"/>
                  <a:gd name="connsiteY68" fmla="*/ 3131820 h 3158149"/>
                  <a:gd name="connsiteX69" fmla="*/ 1798437 w 3147279"/>
                  <a:gd name="connsiteY69" fmla="*/ 3147060 h 3158149"/>
                  <a:gd name="connsiteX70" fmla="*/ 1188837 w 3147279"/>
                  <a:gd name="connsiteY70" fmla="*/ 3139440 h 3158149"/>
                  <a:gd name="connsiteX71" fmla="*/ 1158357 w 3147279"/>
                  <a:gd name="connsiteY71" fmla="*/ 3131820 h 3158149"/>
                  <a:gd name="connsiteX72" fmla="*/ 1112637 w 3147279"/>
                  <a:gd name="connsiteY72" fmla="*/ 3116580 h 3158149"/>
                  <a:gd name="connsiteX73" fmla="*/ 365877 w 3147279"/>
                  <a:gd name="connsiteY73" fmla="*/ 2613660 h 3158149"/>
                  <a:gd name="connsiteX74" fmla="*/ 343017 w 3147279"/>
                  <a:gd name="connsiteY74" fmla="*/ 2567940 h 3158149"/>
                  <a:gd name="connsiteX75" fmla="*/ 320157 w 3147279"/>
                  <a:gd name="connsiteY75" fmla="*/ 2484120 h 3158149"/>
                  <a:gd name="connsiteX76" fmla="*/ 297297 w 3147279"/>
                  <a:gd name="connsiteY76" fmla="*/ 2430780 h 3158149"/>
                  <a:gd name="connsiteX77" fmla="*/ 274437 w 3147279"/>
                  <a:gd name="connsiteY77" fmla="*/ 2377440 h 3158149"/>
                  <a:gd name="connsiteX78" fmla="*/ 228717 w 3147279"/>
                  <a:gd name="connsiteY78" fmla="*/ 2316480 h 3158149"/>
                  <a:gd name="connsiteX79" fmla="*/ 205857 w 3147279"/>
                  <a:gd name="connsiteY79" fmla="*/ 2293620 h 3158149"/>
                  <a:gd name="connsiteX80" fmla="*/ 175377 w 3147279"/>
                  <a:gd name="connsiteY80" fmla="*/ 2240280 h 3158149"/>
                  <a:gd name="connsiteX81" fmla="*/ 160137 w 3147279"/>
                  <a:gd name="connsiteY81" fmla="*/ 2202180 h 3158149"/>
                  <a:gd name="connsiteX82" fmla="*/ 144897 w 3147279"/>
                  <a:gd name="connsiteY82" fmla="*/ 2179320 h 3158149"/>
                  <a:gd name="connsiteX83" fmla="*/ 129657 w 3147279"/>
                  <a:gd name="connsiteY83" fmla="*/ 2133600 h 3158149"/>
                  <a:gd name="connsiteX84" fmla="*/ 99177 w 3147279"/>
                  <a:gd name="connsiteY84" fmla="*/ 2087880 h 3158149"/>
                  <a:gd name="connsiteX85" fmla="*/ 61077 w 3147279"/>
                  <a:gd name="connsiteY85" fmla="*/ 2026920 h 3158149"/>
                  <a:gd name="connsiteX86" fmla="*/ 53457 w 3147279"/>
                  <a:gd name="connsiteY86" fmla="*/ 2004060 h 3158149"/>
                  <a:gd name="connsiteX87" fmla="*/ 38217 w 3147279"/>
                  <a:gd name="connsiteY87" fmla="*/ 1943100 h 3158149"/>
                  <a:gd name="connsiteX88" fmla="*/ 22977 w 3147279"/>
                  <a:gd name="connsiteY88" fmla="*/ 1897380 h 3158149"/>
                  <a:gd name="connsiteX89" fmla="*/ 117 w 3147279"/>
                  <a:gd name="connsiteY89" fmla="*/ 1562100 h 3158149"/>
                  <a:gd name="connsiteX90" fmla="*/ 22977 w 3147279"/>
                  <a:gd name="connsiteY90" fmla="*/ 1135380 h 3158149"/>
                  <a:gd name="connsiteX91" fmla="*/ 38217 w 3147279"/>
                  <a:gd name="connsiteY91" fmla="*/ 1104900 h 3158149"/>
                  <a:gd name="connsiteX92" fmla="*/ 83937 w 3147279"/>
                  <a:gd name="connsiteY92" fmla="*/ 1021080 h 3158149"/>
                  <a:gd name="connsiteX93" fmla="*/ 129657 w 3147279"/>
                  <a:gd name="connsiteY93" fmla="*/ 914400 h 3158149"/>
                  <a:gd name="connsiteX94" fmla="*/ 160137 w 3147279"/>
                  <a:gd name="connsiteY94" fmla="*/ 861060 h 3158149"/>
                  <a:gd name="connsiteX95" fmla="*/ 182997 w 3147279"/>
                  <a:gd name="connsiteY95" fmla="*/ 822960 h 3158149"/>
                  <a:gd name="connsiteX96" fmla="*/ 205857 w 3147279"/>
                  <a:gd name="connsiteY96" fmla="*/ 800100 h 3158149"/>
                  <a:gd name="connsiteX97" fmla="*/ 259197 w 3147279"/>
                  <a:gd name="connsiteY97" fmla="*/ 708660 h 3158149"/>
                  <a:gd name="connsiteX98" fmla="*/ 274437 w 3147279"/>
                  <a:gd name="connsiteY98" fmla="*/ 662940 h 3158149"/>
                  <a:gd name="connsiteX99" fmla="*/ 327777 w 3147279"/>
                  <a:gd name="connsiteY99" fmla="*/ 586740 h 3158149"/>
                  <a:gd name="connsiteX100" fmla="*/ 419217 w 3147279"/>
                  <a:gd name="connsiteY100" fmla="*/ 510540 h 3158149"/>
                  <a:gd name="connsiteX101" fmla="*/ 449697 w 3147279"/>
                  <a:gd name="connsiteY101" fmla="*/ 472440 h 3158149"/>
                  <a:gd name="connsiteX102" fmla="*/ 510657 w 3147279"/>
                  <a:gd name="connsiteY102" fmla="*/ 434340 h 3158149"/>
                  <a:gd name="connsiteX103" fmla="*/ 563997 w 3147279"/>
                  <a:gd name="connsiteY103" fmla="*/ 396240 h 3158149"/>
                  <a:gd name="connsiteX104" fmla="*/ 655437 w 3147279"/>
                  <a:gd name="connsiteY104" fmla="*/ 335280 h 3158149"/>
                  <a:gd name="connsiteX105" fmla="*/ 731637 w 3147279"/>
                  <a:gd name="connsiteY105" fmla="*/ 297180 h 3158149"/>
                  <a:gd name="connsiteX106" fmla="*/ 815457 w 3147279"/>
                  <a:gd name="connsiteY106" fmla="*/ 236220 h 3158149"/>
                  <a:gd name="connsiteX107" fmla="*/ 830697 w 3147279"/>
                  <a:gd name="connsiteY107" fmla="*/ 213360 h 3158149"/>
                  <a:gd name="connsiteX108" fmla="*/ 861177 w 3147279"/>
                  <a:gd name="connsiteY108" fmla="*/ 205740 h 3158149"/>
                  <a:gd name="connsiteX109" fmla="*/ 952617 w 3147279"/>
                  <a:gd name="connsiteY109" fmla="*/ 152400 h 3158149"/>
                  <a:gd name="connsiteX110" fmla="*/ 983097 w 3147279"/>
                  <a:gd name="connsiteY110" fmla="*/ 129540 h 3158149"/>
                  <a:gd name="connsiteX111" fmla="*/ 1105017 w 3147279"/>
                  <a:gd name="connsiteY111" fmla="*/ 76200 h 3158149"/>
                  <a:gd name="connsiteX112" fmla="*/ 1127877 w 3147279"/>
                  <a:gd name="connsiteY112" fmla="*/ 68580 h 3158149"/>
                  <a:gd name="connsiteX113" fmla="*/ 1188837 w 3147279"/>
                  <a:gd name="connsiteY113" fmla="*/ 53340 h 3158149"/>
                  <a:gd name="connsiteX114" fmla="*/ 1242177 w 3147279"/>
                  <a:gd name="connsiteY114" fmla="*/ 38100 h 3158149"/>
                  <a:gd name="connsiteX115" fmla="*/ 1265037 w 3147279"/>
                  <a:gd name="connsiteY115" fmla="*/ 30480 h 3158149"/>
                  <a:gd name="connsiteX116" fmla="*/ 1386957 w 3147279"/>
                  <a:gd name="connsiteY116" fmla="*/ 15240 h 3158149"/>
                  <a:gd name="connsiteX117" fmla="*/ 1463157 w 3147279"/>
                  <a:gd name="connsiteY117" fmla="*/ 0 h 3158149"/>
                  <a:gd name="connsiteX118" fmla="*/ 1882257 w 3147279"/>
                  <a:gd name="connsiteY118" fmla="*/ 15240 h 3158149"/>
                  <a:gd name="connsiteX119" fmla="*/ 1912737 w 3147279"/>
                  <a:gd name="connsiteY119" fmla="*/ 22860 h 3158149"/>
                  <a:gd name="connsiteX120" fmla="*/ 2164197 w 3147279"/>
                  <a:gd name="connsiteY120" fmla="*/ 99060 h 3158149"/>
                  <a:gd name="connsiteX121" fmla="*/ 2339457 w 3147279"/>
                  <a:gd name="connsiteY121" fmla="*/ 182880 h 3158149"/>
                  <a:gd name="connsiteX122" fmla="*/ 2369937 w 3147279"/>
                  <a:gd name="connsiteY122" fmla="*/ 190500 h 3158149"/>
                  <a:gd name="connsiteX123" fmla="*/ 2392797 w 3147279"/>
                  <a:gd name="connsiteY123" fmla="*/ 205740 h 3158149"/>
                  <a:gd name="connsiteX124" fmla="*/ 2438517 w 3147279"/>
                  <a:gd name="connsiteY124" fmla="*/ 228600 h 3158149"/>
                  <a:gd name="connsiteX125" fmla="*/ 2446137 w 3147279"/>
                  <a:gd name="connsiteY125" fmla="*/ 266700 h 3158149"/>
                  <a:gd name="connsiteX0" fmla="*/ 2446137 w 3147279"/>
                  <a:gd name="connsiteY0" fmla="*/ 266700 h 3172784"/>
                  <a:gd name="connsiteX1" fmla="*/ 2491857 w 3147279"/>
                  <a:gd name="connsiteY1" fmla="*/ 297180 h 3172784"/>
                  <a:gd name="connsiteX2" fmla="*/ 2499477 w 3147279"/>
                  <a:gd name="connsiteY2" fmla="*/ 320040 h 3172784"/>
                  <a:gd name="connsiteX3" fmla="*/ 2529957 w 3147279"/>
                  <a:gd name="connsiteY3" fmla="*/ 342900 h 3172784"/>
                  <a:gd name="connsiteX4" fmla="*/ 2552817 w 3147279"/>
                  <a:gd name="connsiteY4" fmla="*/ 373380 h 3172784"/>
                  <a:gd name="connsiteX5" fmla="*/ 2583297 w 3147279"/>
                  <a:gd name="connsiteY5" fmla="*/ 388620 h 3172784"/>
                  <a:gd name="connsiteX6" fmla="*/ 2629017 w 3147279"/>
                  <a:gd name="connsiteY6" fmla="*/ 434340 h 3172784"/>
                  <a:gd name="connsiteX7" fmla="*/ 2659497 w 3147279"/>
                  <a:gd name="connsiteY7" fmla="*/ 464820 h 3172784"/>
                  <a:gd name="connsiteX8" fmla="*/ 2705217 w 3147279"/>
                  <a:gd name="connsiteY8" fmla="*/ 487680 h 3172784"/>
                  <a:gd name="connsiteX9" fmla="*/ 2728077 w 3147279"/>
                  <a:gd name="connsiteY9" fmla="*/ 510540 h 3172784"/>
                  <a:gd name="connsiteX10" fmla="*/ 2789037 w 3147279"/>
                  <a:gd name="connsiteY10" fmla="*/ 594360 h 3172784"/>
                  <a:gd name="connsiteX11" fmla="*/ 2849997 w 3147279"/>
                  <a:gd name="connsiteY11" fmla="*/ 662940 h 3172784"/>
                  <a:gd name="connsiteX12" fmla="*/ 2872857 w 3147279"/>
                  <a:gd name="connsiteY12" fmla="*/ 701040 h 3172784"/>
                  <a:gd name="connsiteX13" fmla="*/ 2910957 w 3147279"/>
                  <a:gd name="connsiteY13" fmla="*/ 762000 h 3172784"/>
                  <a:gd name="connsiteX14" fmla="*/ 2949057 w 3147279"/>
                  <a:gd name="connsiteY14" fmla="*/ 845820 h 3172784"/>
                  <a:gd name="connsiteX15" fmla="*/ 2956677 w 3147279"/>
                  <a:gd name="connsiteY15" fmla="*/ 868680 h 3172784"/>
                  <a:gd name="connsiteX16" fmla="*/ 2979537 w 3147279"/>
                  <a:gd name="connsiteY16" fmla="*/ 922020 h 3172784"/>
                  <a:gd name="connsiteX17" fmla="*/ 2994777 w 3147279"/>
                  <a:gd name="connsiteY17" fmla="*/ 952500 h 3172784"/>
                  <a:gd name="connsiteX18" fmla="*/ 3010017 w 3147279"/>
                  <a:gd name="connsiteY18" fmla="*/ 998220 h 3172784"/>
                  <a:gd name="connsiteX19" fmla="*/ 3025257 w 3147279"/>
                  <a:gd name="connsiteY19" fmla="*/ 1036320 h 3172784"/>
                  <a:gd name="connsiteX20" fmla="*/ 3032877 w 3147279"/>
                  <a:gd name="connsiteY20" fmla="*/ 1066800 h 3172784"/>
                  <a:gd name="connsiteX21" fmla="*/ 3055737 w 3147279"/>
                  <a:gd name="connsiteY21" fmla="*/ 1104900 h 3172784"/>
                  <a:gd name="connsiteX22" fmla="*/ 3070977 w 3147279"/>
                  <a:gd name="connsiteY22" fmla="*/ 1150620 h 3172784"/>
                  <a:gd name="connsiteX23" fmla="*/ 3086217 w 3147279"/>
                  <a:gd name="connsiteY23" fmla="*/ 1181100 h 3172784"/>
                  <a:gd name="connsiteX24" fmla="*/ 3093837 w 3147279"/>
                  <a:gd name="connsiteY24" fmla="*/ 1226820 h 3172784"/>
                  <a:gd name="connsiteX25" fmla="*/ 3101457 w 3147279"/>
                  <a:gd name="connsiteY25" fmla="*/ 1280160 h 3172784"/>
                  <a:gd name="connsiteX26" fmla="*/ 3116697 w 3147279"/>
                  <a:gd name="connsiteY26" fmla="*/ 1371600 h 3172784"/>
                  <a:gd name="connsiteX27" fmla="*/ 3131937 w 3147279"/>
                  <a:gd name="connsiteY27" fmla="*/ 1417320 h 3172784"/>
                  <a:gd name="connsiteX28" fmla="*/ 3139557 w 3147279"/>
                  <a:gd name="connsiteY28" fmla="*/ 1485900 h 3172784"/>
                  <a:gd name="connsiteX29" fmla="*/ 3147177 w 3147279"/>
                  <a:gd name="connsiteY29" fmla="*/ 1516380 h 3172784"/>
                  <a:gd name="connsiteX30" fmla="*/ 3131937 w 3147279"/>
                  <a:gd name="connsiteY30" fmla="*/ 1691640 h 3172784"/>
                  <a:gd name="connsiteX31" fmla="*/ 3124317 w 3147279"/>
                  <a:gd name="connsiteY31" fmla="*/ 1767840 h 3172784"/>
                  <a:gd name="connsiteX32" fmla="*/ 3109077 w 3147279"/>
                  <a:gd name="connsiteY32" fmla="*/ 1836420 h 3172784"/>
                  <a:gd name="connsiteX33" fmla="*/ 3086217 w 3147279"/>
                  <a:gd name="connsiteY33" fmla="*/ 1905000 h 3172784"/>
                  <a:gd name="connsiteX34" fmla="*/ 3078597 w 3147279"/>
                  <a:gd name="connsiteY34" fmla="*/ 1935480 h 3172784"/>
                  <a:gd name="connsiteX35" fmla="*/ 3070977 w 3147279"/>
                  <a:gd name="connsiteY35" fmla="*/ 1958340 h 3172784"/>
                  <a:gd name="connsiteX36" fmla="*/ 3055737 w 3147279"/>
                  <a:gd name="connsiteY36" fmla="*/ 2019300 h 3172784"/>
                  <a:gd name="connsiteX37" fmla="*/ 3040497 w 3147279"/>
                  <a:gd name="connsiteY37" fmla="*/ 2057400 h 3172784"/>
                  <a:gd name="connsiteX38" fmla="*/ 3032877 w 3147279"/>
                  <a:gd name="connsiteY38" fmla="*/ 2080260 h 3172784"/>
                  <a:gd name="connsiteX39" fmla="*/ 3017637 w 3147279"/>
                  <a:gd name="connsiteY39" fmla="*/ 2118360 h 3172784"/>
                  <a:gd name="connsiteX40" fmla="*/ 2994777 w 3147279"/>
                  <a:gd name="connsiteY40" fmla="*/ 2186940 h 3172784"/>
                  <a:gd name="connsiteX41" fmla="*/ 2987157 w 3147279"/>
                  <a:gd name="connsiteY41" fmla="*/ 2225040 h 3172784"/>
                  <a:gd name="connsiteX42" fmla="*/ 2971917 w 3147279"/>
                  <a:gd name="connsiteY42" fmla="*/ 2270760 h 3172784"/>
                  <a:gd name="connsiteX43" fmla="*/ 2964297 w 3147279"/>
                  <a:gd name="connsiteY43" fmla="*/ 2308860 h 3172784"/>
                  <a:gd name="connsiteX44" fmla="*/ 2949057 w 3147279"/>
                  <a:gd name="connsiteY44" fmla="*/ 2331720 h 3172784"/>
                  <a:gd name="connsiteX45" fmla="*/ 2926197 w 3147279"/>
                  <a:gd name="connsiteY45" fmla="*/ 2385060 h 3172784"/>
                  <a:gd name="connsiteX46" fmla="*/ 2903337 w 3147279"/>
                  <a:gd name="connsiteY46" fmla="*/ 2407920 h 3172784"/>
                  <a:gd name="connsiteX47" fmla="*/ 2857617 w 3147279"/>
                  <a:gd name="connsiteY47" fmla="*/ 2499360 h 3172784"/>
                  <a:gd name="connsiteX48" fmla="*/ 2842377 w 3147279"/>
                  <a:gd name="connsiteY48" fmla="*/ 2529840 h 3172784"/>
                  <a:gd name="connsiteX49" fmla="*/ 2834757 w 3147279"/>
                  <a:gd name="connsiteY49" fmla="*/ 2552700 h 3172784"/>
                  <a:gd name="connsiteX50" fmla="*/ 2758557 w 3147279"/>
                  <a:gd name="connsiteY50" fmla="*/ 2636520 h 3172784"/>
                  <a:gd name="connsiteX51" fmla="*/ 2705217 w 3147279"/>
                  <a:gd name="connsiteY51" fmla="*/ 2667000 h 3172784"/>
                  <a:gd name="connsiteX52" fmla="*/ 2629017 w 3147279"/>
                  <a:gd name="connsiteY52" fmla="*/ 2712720 h 3172784"/>
                  <a:gd name="connsiteX53" fmla="*/ 2598537 w 3147279"/>
                  <a:gd name="connsiteY53" fmla="*/ 2727960 h 3172784"/>
                  <a:gd name="connsiteX54" fmla="*/ 2568057 w 3147279"/>
                  <a:gd name="connsiteY54" fmla="*/ 2750820 h 3172784"/>
                  <a:gd name="connsiteX55" fmla="*/ 2545197 w 3147279"/>
                  <a:gd name="connsiteY55" fmla="*/ 2773680 h 3172784"/>
                  <a:gd name="connsiteX56" fmla="*/ 2484237 w 3147279"/>
                  <a:gd name="connsiteY56" fmla="*/ 2804160 h 3172784"/>
                  <a:gd name="connsiteX57" fmla="*/ 2423277 w 3147279"/>
                  <a:gd name="connsiteY57" fmla="*/ 2865120 h 3172784"/>
                  <a:gd name="connsiteX58" fmla="*/ 2392797 w 3147279"/>
                  <a:gd name="connsiteY58" fmla="*/ 2887980 h 3172784"/>
                  <a:gd name="connsiteX59" fmla="*/ 2377557 w 3147279"/>
                  <a:gd name="connsiteY59" fmla="*/ 2910840 h 3172784"/>
                  <a:gd name="connsiteX60" fmla="*/ 2301357 w 3147279"/>
                  <a:gd name="connsiteY60" fmla="*/ 2994660 h 3172784"/>
                  <a:gd name="connsiteX61" fmla="*/ 2248017 w 3147279"/>
                  <a:gd name="connsiteY61" fmla="*/ 3032760 h 3172784"/>
                  <a:gd name="connsiteX62" fmla="*/ 2225157 w 3147279"/>
                  <a:gd name="connsiteY62" fmla="*/ 3040380 h 3172784"/>
                  <a:gd name="connsiteX63" fmla="*/ 2187057 w 3147279"/>
                  <a:gd name="connsiteY63" fmla="*/ 3055620 h 3172784"/>
                  <a:gd name="connsiteX64" fmla="*/ 2164197 w 3147279"/>
                  <a:gd name="connsiteY64" fmla="*/ 3070860 h 3172784"/>
                  <a:gd name="connsiteX65" fmla="*/ 2095617 w 3147279"/>
                  <a:gd name="connsiteY65" fmla="*/ 3101340 h 3172784"/>
                  <a:gd name="connsiteX66" fmla="*/ 2027037 w 3147279"/>
                  <a:gd name="connsiteY66" fmla="*/ 3108960 h 3172784"/>
                  <a:gd name="connsiteX67" fmla="*/ 1981317 w 3147279"/>
                  <a:gd name="connsiteY67" fmla="*/ 3124200 h 3172784"/>
                  <a:gd name="connsiteX68" fmla="*/ 1912737 w 3147279"/>
                  <a:gd name="connsiteY68" fmla="*/ 3131820 h 3172784"/>
                  <a:gd name="connsiteX69" fmla="*/ 1798437 w 3147279"/>
                  <a:gd name="connsiteY69" fmla="*/ 3147060 h 3172784"/>
                  <a:gd name="connsiteX70" fmla="*/ 1188837 w 3147279"/>
                  <a:gd name="connsiteY70" fmla="*/ 3139440 h 3172784"/>
                  <a:gd name="connsiteX71" fmla="*/ 1158357 w 3147279"/>
                  <a:gd name="connsiteY71" fmla="*/ 3131820 h 3172784"/>
                  <a:gd name="connsiteX72" fmla="*/ 365877 w 3147279"/>
                  <a:gd name="connsiteY72" fmla="*/ 2613660 h 3172784"/>
                  <a:gd name="connsiteX73" fmla="*/ 343017 w 3147279"/>
                  <a:gd name="connsiteY73" fmla="*/ 2567940 h 3172784"/>
                  <a:gd name="connsiteX74" fmla="*/ 320157 w 3147279"/>
                  <a:gd name="connsiteY74" fmla="*/ 2484120 h 3172784"/>
                  <a:gd name="connsiteX75" fmla="*/ 297297 w 3147279"/>
                  <a:gd name="connsiteY75" fmla="*/ 2430780 h 3172784"/>
                  <a:gd name="connsiteX76" fmla="*/ 274437 w 3147279"/>
                  <a:gd name="connsiteY76" fmla="*/ 2377440 h 3172784"/>
                  <a:gd name="connsiteX77" fmla="*/ 228717 w 3147279"/>
                  <a:gd name="connsiteY77" fmla="*/ 2316480 h 3172784"/>
                  <a:gd name="connsiteX78" fmla="*/ 205857 w 3147279"/>
                  <a:gd name="connsiteY78" fmla="*/ 2293620 h 3172784"/>
                  <a:gd name="connsiteX79" fmla="*/ 175377 w 3147279"/>
                  <a:gd name="connsiteY79" fmla="*/ 2240280 h 3172784"/>
                  <a:gd name="connsiteX80" fmla="*/ 160137 w 3147279"/>
                  <a:gd name="connsiteY80" fmla="*/ 2202180 h 3172784"/>
                  <a:gd name="connsiteX81" fmla="*/ 144897 w 3147279"/>
                  <a:gd name="connsiteY81" fmla="*/ 2179320 h 3172784"/>
                  <a:gd name="connsiteX82" fmla="*/ 129657 w 3147279"/>
                  <a:gd name="connsiteY82" fmla="*/ 2133600 h 3172784"/>
                  <a:gd name="connsiteX83" fmla="*/ 99177 w 3147279"/>
                  <a:gd name="connsiteY83" fmla="*/ 2087880 h 3172784"/>
                  <a:gd name="connsiteX84" fmla="*/ 61077 w 3147279"/>
                  <a:gd name="connsiteY84" fmla="*/ 2026920 h 3172784"/>
                  <a:gd name="connsiteX85" fmla="*/ 53457 w 3147279"/>
                  <a:gd name="connsiteY85" fmla="*/ 2004060 h 3172784"/>
                  <a:gd name="connsiteX86" fmla="*/ 38217 w 3147279"/>
                  <a:gd name="connsiteY86" fmla="*/ 1943100 h 3172784"/>
                  <a:gd name="connsiteX87" fmla="*/ 22977 w 3147279"/>
                  <a:gd name="connsiteY87" fmla="*/ 1897380 h 3172784"/>
                  <a:gd name="connsiteX88" fmla="*/ 117 w 3147279"/>
                  <a:gd name="connsiteY88" fmla="*/ 1562100 h 3172784"/>
                  <a:gd name="connsiteX89" fmla="*/ 22977 w 3147279"/>
                  <a:gd name="connsiteY89" fmla="*/ 1135380 h 3172784"/>
                  <a:gd name="connsiteX90" fmla="*/ 38217 w 3147279"/>
                  <a:gd name="connsiteY90" fmla="*/ 1104900 h 3172784"/>
                  <a:gd name="connsiteX91" fmla="*/ 83937 w 3147279"/>
                  <a:gd name="connsiteY91" fmla="*/ 1021080 h 3172784"/>
                  <a:gd name="connsiteX92" fmla="*/ 129657 w 3147279"/>
                  <a:gd name="connsiteY92" fmla="*/ 914400 h 3172784"/>
                  <a:gd name="connsiteX93" fmla="*/ 160137 w 3147279"/>
                  <a:gd name="connsiteY93" fmla="*/ 861060 h 3172784"/>
                  <a:gd name="connsiteX94" fmla="*/ 182997 w 3147279"/>
                  <a:gd name="connsiteY94" fmla="*/ 822960 h 3172784"/>
                  <a:gd name="connsiteX95" fmla="*/ 205857 w 3147279"/>
                  <a:gd name="connsiteY95" fmla="*/ 800100 h 3172784"/>
                  <a:gd name="connsiteX96" fmla="*/ 259197 w 3147279"/>
                  <a:gd name="connsiteY96" fmla="*/ 708660 h 3172784"/>
                  <a:gd name="connsiteX97" fmla="*/ 274437 w 3147279"/>
                  <a:gd name="connsiteY97" fmla="*/ 662940 h 3172784"/>
                  <a:gd name="connsiteX98" fmla="*/ 327777 w 3147279"/>
                  <a:gd name="connsiteY98" fmla="*/ 586740 h 3172784"/>
                  <a:gd name="connsiteX99" fmla="*/ 419217 w 3147279"/>
                  <a:gd name="connsiteY99" fmla="*/ 510540 h 3172784"/>
                  <a:gd name="connsiteX100" fmla="*/ 449697 w 3147279"/>
                  <a:gd name="connsiteY100" fmla="*/ 472440 h 3172784"/>
                  <a:gd name="connsiteX101" fmla="*/ 510657 w 3147279"/>
                  <a:gd name="connsiteY101" fmla="*/ 434340 h 3172784"/>
                  <a:gd name="connsiteX102" fmla="*/ 563997 w 3147279"/>
                  <a:gd name="connsiteY102" fmla="*/ 396240 h 3172784"/>
                  <a:gd name="connsiteX103" fmla="*/ 655437 w 3147279"/>
                  <a:gd name="connsiteY103" fmla="*/ 335280 h 3172784"/>
                  <a:gd name="connsiteX104" fmla="*/ 731637 w 3147279"/>
                  <a:gd name="connsiteY104" fmla="*/ 297180 h 3172784"/>
                  <a:gd name="connsiteX105" fmla="*/ 815457 w 3147279"/>
                  <a:gd name="connsiteY105" fmla="*/ 236220 h 3172784"/>
                  <a:gd name="connsiteX106" fmla="*/ 830697 w 3147279"/>
                  <a:gd name="connsiteY106" fmla="*/ 213360 h 3172784"/>
                  <a:gd name="connsiteX107" fmla="*/ 861177 w 3147279"/>
                  <a:gd name="connsiteY107" fmla="*/ 205740 h 3172784"/>
                  <a:gd name="connsiteX108" fmla="*/ 952617 w 3147279"/>
                  <a:gd name="connsiteY108" fmla="*/ 152400 h 3172784"/>
                  <a:gd name="connsiteX109" fmla="*/ 983097 w 3147279"/>
                  <a:gd name="connsiteY109" fmla="*/ 129540 h 3172784"/>
                  <a:gd name="connsiteX110" fmla="*/ 1105017 w 3147279"/>
                  <a:gd name="connsiteY110" fmla="*/ 76200 h 3172784"/>
                  <a:gd name="connsiteX111" fmla="*/ 1127877 w 3147279"/>
                  <a:gd name="connsiteY111" fmla="*/ 68580 h 3172784"/>
                  <a:gd name="connsiteX112" fmla="*/ 1188837 w 3147279"/>
                  <a:gd name="connsiteY112" fmla="*/ 53340 h 3172784"/>
                  <a:gd name="connsiteX113" fmla="*/ 1242177 w 3147279"/>
                  <a:gd name="connsiteY113" fmla="*/ 38100 h 3172784"/>
                  <a:gd name="connsiteX114" fmla="*/ 1265037 w 3147279"/>
                  <a:gd name="connsiteY114" fmla="*/ 30480 h 3172784"/>
                  <a:gd name="connsiteX115" fmla="*/ 1386957 w 3147279"/>
                  <a:gd name="connsiteY115" fmla="*/ 15240 h 3172784"/>
                  <a:gd name="connsiteX116" fmla="*/ 1463157 w 3147279"/>
                  <a:gd name="connsiteY116" fmla="*/ 0 h 3172784"/>
                  <a:gd name="connsiteX117" fmla="*/ 1882257 w 3147279"/>
                  <a:gd name="connsiteY117" fmla="*/ 15240 h 3172784"/>
                  <a:gd name="connsiteX118" fmla="*/ 1912737 w 3147279"/>
                  <a:gd name="connsiteY118" fmla="*/ 22860 h 3172784"/>
                  <a:gd name="connsiteX119" fmla="*/ 2164197 w 3147279"/>
                  <a:gd name="connsiteY119" fmla="*/ 99060 h 3172784"/>
                  <a:gd name="connsiteX120" fmla="*/ 2339457 w 3147279"/>
                  <a:gd name="connsiteY120" fmla="*/ 182880 h 3172784"/>
                  <a:gd name="connsiteX121" fmla="*/ 2369937 w 3147279"/>
                  <a:gd name="connsiteY121" fmla="*/ 190500 h 3172784"/>
                  <a:gd name="connsiteX122" fmla="*/ 2392797 w 3147279"/>
                  <a:gd name="connsiteY122" fmla="*/ 205740 h 3172784"/>
                  <a:gd name="connsiteX123" fmla="*/ 2438517 w 3147279"/>
                  <a:gd name="connsiteY123" fmla="*/ 228600 h 3172784"/>
                  <a:gd name="connsiteX124" fmla="*/ 2446137 w 3147279"/>
                  <a:gd name="connsiteY124" fmla="*/ 266700 h 3172784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419217 w 3147279"/>
                  <a:gd name="connsiteY72" fmla="*/ 264414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57851"/>
                  <a:gd name="connsiteX1" fmla="*/ 2491857 w 3147279"/>
                  <a:gd name="connsiteY1" fmla="*/ 297180 h 3157851"/>
                  <a:gd name="connsiteX2" fmla="*/ 2499477 w 3147279"/>
                  <a:gd name="connsiteY2" fmla="*/ 320040 h 3157851"/>
                  <a:gd name="connsiteX3" fmla="*/ 2529957 w 3147279"/>
                  <a:gd name="connsiteY3" fmla="*/ 342900 h 3157851"/>
                  <a:gd name="connsiteX4" fmla="*/ 2552817 w 3147279"/>
                  <a:gd name="connsiteY4" fmla="*/ 373380 h 3157851"/>
                  <a:gd name="connsiteX5" fmla="*/ 2583297 w 3147279"/>
                  <a:gd name="connsiteY5" fmla="*/ 388620 h 3157851"/>
                  <a:gd name="connsiteX6" fmla="*/ 2629017 w 3147279"/>
                  <a:gd name="connsiteY6" fmla="*/ 434340 h 3157851"/>
                  <a:gd name="connsiteX7" fmla="*/ 2659497 w 3147279"/>
                  <a:gd name="connsiteY7" fmla="*/ 464820 h 3157851"/>
                  <a:gd name="connsiteX8" fmla="*/ 2705217 w 3147279"/>
                  <a:gd name="connsiteY8" fmla="*/ 487680 h 3157851"/>
                  <a:gd name="connsiteX9" fmla="*/ 2728077 w 3147279"/>
                  <a:gd name="connsiteY9" fmla="*/ 510540 h 3157851"/>
                  <a:gd name="connsiteX10" fmla="*/ 2789037 w 3147279"/>
                  <a:gd name="connsiteY10" fmla="*/ 594360 h 3157851"/>
                  <a:gd name="connsiteX11" fmla="*/ 2849997 w 3147279"/>
                  <a:gd name="connsiteY11" fmla="*/ 662940 h 3157851"/>
                  <a:gd name="connsiteX12" fmla="*/ 2872857 w 3147279"/>
                  <a:gd name="connsiteY12" fmla="*/ 701040 h 3157851"/>
                  <a:gd name="connsiteX13" fmla="*/ 2910957 w 3147279"/>
                  <a:gd name="connsiteY13" fmla="*/ 762000 h 3157851"/>
                  <a:gd name="connsiteX14" fmla="*/ 2949057 w 3147279"/>
                  <a:gd name="connsiteY14" fmla="*/ 845820 h 3157851"/>
                  <a:gd name="connsiteX15" fmla="*/ 2956677 w 3147279"/>
                  <a:gd name="connsiteY15" fmla="*/ 868680 h 3157851"/>
                  <a:gd name="connsiteX16" fmla="*/ 2979537 w 3147279"/>
                  <a:gd name="connsiteY16" fmla="*/ 922020 h 3157851"/>
                  <a:gd name="connsiteX17" fmla="*/ 2994777 w 3147279"/>
                  <a:gd name="connsiteY17" fmla="*/ 952500 h 3157851"/>
                  <a:gd name="connsiteX18" fmla="*/ 3010017 w 3147279"/>
                  <a:gd name="connsiteY18" fmla="*/ 998220 h 3157851"/>
                  <a:gd name="connsiteX19" fmla="*/ 3025257 w 3147279"/>
                  <a:gd name="connsiteY19" fmla="*/ 1036320 h 3157851"/>
                  <a:gd name="connsiteX20" fmla="*/ 3032877 w 3147279"/>
                  <a:gd name="connsiteY20" fmla="*/ 1066800 h 3157851"/>
                  <a:gd name="connsiteX21" fmla="*/ 3055737 w 3147279"/>
                  <a:gd name="connsiteY21" fmla="*/ 1104900 h 3157851"/>
                  <a:gd name="connsiteX22" fmla="*/ 3070977 w 3147279"/>
                  <a:gd name="connsiteY22" fmla="*/ 1150620 h 3157851"/>
                  <a:gd name="connsiteX23" fmla="*/ 3086217 w 3147279"/>
                  <a:gd name="connsiteY23" fmla="*/ 1181100 h 3157851"/>
                  <a:gd name="connsiteX24" fmla="*/ 3093837 w 3147279"/>
                  <a:gd name="connsiteY24" fmla="*/ 1226820 h 3157851"/>
                  <a:gd name="connsiteX25" fmla="*/ 3101457 w 3147279"/>
                  <a:gd name="connsiteY25" fmla="*/ 1280160 h 3157851"/>
                  <a:gd name="connsiteX26" fmla="*/ 3116697 w 3147279"/>
                  <a:gd name="connsiteY26" fmla="*/ 1371600 h 3157851"/>
                  <a:gd name="connsiteX27" fmla="*/ 3131937 w 3147279"/>
                  <a:gd name="connsiteY27" fmla="*/ 1417320 h 3157851"/>
                  <a:gd name="connsiteX28" fmla="*/ 3139557 w 3147279"/>
                  <a:gd name="connsiteY28" fmla="*/ 1485900 h 3157851"/>
                  <a:gd name="connsiteX29" fmla="*/ 3147177 w 3147279"/>
                  <a:gd name="connsiteY29" fmla="*/ 1516380 h 3157851"/>
                  <a:gd name="connsiteX30" fmla="*/ 3131937 w 3147279"/>
                  <a:gd name="connsiteY30" fmla="*/ 1691640 h 3157851"/>
                  <a:gd name="connsiteX31" fmla="*/ 3124317 w 3147279"/>
                  <a:gd name="connsiteY31" fmla="*/ 1767840 h 3157851"/>
                  <a:gd name="connsiteX32" fmla="*/ 3109077 w 3147279"/>
                  <a:gd name="connsiteY32" fmla="*/ 1836420 h 3157851"/>
                  <a:gd name="connsiteX33" fmla="*/ 3086217 w 3147279"/>
                  <a:gd name="connsiteY33" fmla="*/ 1905000 h 3157851"/>
                  <a:gd name="connsiteX34" fmla="*/ 3078597 w 3147279"/>
                  <a:gd name="connsiteY34" fmla="*/ 1935480 h 3157851"/>
                  <a:gd name="connsiteX35" fmla="*/ 3070977 w 3147279"/>
                  <a:gd name="connsiteY35" fmla="*/ 1958340 h 3157851"/>
                  <a:gd name="connsiteX36" fmla="*/ 3055737 w 3147279"/>
                  <a:gd name="connsiteY36" fmla="*/ 2019300 h 3157851"/>
                  <a:gd name="connsiteX37" fmla="*/ 3040497 w 3147279"/>
                  <a:gd name="connsiteY37" fmla="*/ 2057400 h 3157851"/>
                  <a:gd name="connsiteX38" fmla="*/ 3032877 w 3147279"/>
                  <a:gd name="connsiteY38" fmla="*/ 2080260 h 3157851"/>
                  <a:gd name="connsiteX39" fmla="*/ 3017637 w 3147279"/>
                  <a:gd name="connsiteY39" fmla="*/ 2118360 h 3157851"/>
                  <a:gd name="connsiteX40" fmla="*/ 2994777 w 3147279"/>
                  <a:gd name="connsiteY40" fmla="*/ 2186940 h 3157851"/>
                  <a:gd name="connsiteX41" fmla="*/ 2987157 w 3147279"/>
                  <a:gd name="connsiteY41" fmla="*/ 2225040 h 3157851"/>
                  <a:gd name="connsiteX42" fmla="*/ 2971917 w 3147279"/>
                  <a:gd name="connsiteY42" fmla="*/ 2270760 h 3157851"/>
                  <a:gd name="connsiteX43" fmla="*/ 2964297 w 3147279"/>
                  <a:gd name="connsiteY43" fmla="*/ 2308860 h 3157851"/>
                  <a:gd name="connsiteX44" fmla="*/ 2949057 w 3147279"/>
                  <a:gd name="connsiteY44" fmla="*/ 2331720 h 3157851"/>
                  <a:gd name="connsiteX45" fmla="*/ 2926197 w 3147279"/>
                  <a:gd name="connsiteY45" fmla="*/ 2385060 h 3157851"/>
                  <a:gd name="connsiteX46" fmla="*/ 2903337 w 3147279"/>
                  <a:gd name="connsiteY46" fmla="*/ 2407920 h 3157851"/>
                  <a:gd name="connsiteX47" fmla="*/ 2857617 w 3147279"/>
                  <a:gd name="connsiteY47" fmla="*/ 2499360 h 3157851"/>
                  <a:gd name="connsiteX48" fmla="*/ 2842377 w 3147279"/>
                  <a:gd name="connsiteY48" fmla="*/ 2529840 h 3157851"/>
                  <a:gd name="connsiteX49" fmla="*/ 2834757 w 3147279"/>
                  <a:gd name="connsiteY49" fmla="*/ 2552700 h 3157851"/>
                  <a:gd name="connsiteX50" fmla="*/ 2758557 w 3147279"/>
                  <a:gd name="connsiteY50" fmla="*/ 2636520 h 3157851"/>
                  <a:gd name="connsiteX51" fmla="*/ 2705217 w 3147279"/>
                  <a:gd name="connsiteY51" fmla="*/ 2667000 h 3157851"/>
                  <a:gd name="connsiteX52" fmla="*/ 2629017 w 3147279"/>
                  <a:gd name="connsiteY52" fmla="*/ 2712720 h 3157851"/>
                  <a:gd name="connsiteX53" fmla="*/ 2598537 w 3147279"/>
                  <a:gd name="connsiteY53" fmla="*/ 2727960 h 3157851"/>
                  <a:gd name="connsiteX54" fmla="*/ 2568057 w 3147279"/>
                  <a:gd name="connsiteY54" fmla="*/ 2750820 h 3157851"/>
                  <a:gd name="connsiteX55" fmla="*/ 2545197 w 3147279"/>
                  <a:gd name="connsiteY55" fmla="*/ 2773680 h 3157851"/>
                  <a:gd name="connsiteX56" fmla="*/ 2484237 w 3147279"/>
                  <a:gd name="connsiteY56" fmla="*/ 2804160 h 3157851"/>
                  <a:gd name="connsiteX57" fmla="*/ 2423277 w 3147279"/>
                  <a:gd name="connsiteY57" fmla="*/ 2865120 h 3157851"/>
                  <a:gd name="connsiteX58" fmla="*/ 2392797 w 3147279"/>
                  <a:gd name="connsiteY58" fmla="*/ 2887980 h 3157851"/>
                  <a:gd name="connsiteX59" fmla="*/ 2377557 w 3147279"/>
                  <a:gd name="connsiteY59" fmla="*/ 2910840 h 3157851"/>
                  <a:gd name="connsiteX60" fmla="*/ 2301357 w 3147279"/>
                  <a:gd name="connsiteY60" fmla="*/ 2994660 h 3157851"/>
                  <a:gd name="connsiteX61" fmla="*/ 2248017 w 3147279"/>
                  <a:gd name="connsiteY61" fmla="*/ 3032760 h 3157851"/>
                  <a:gd name="connsiteX62" fmla="*/ 2225157 w 3147279"/>
                  <a:gd name="connsiteY62" fmla="*/ 3040380 h 3157851"/>
                  <a:gd name="connsiteX63" fmla="*/ 2187057 w 3147279"/>
                  <a:gd name="connsiteY63" fmla="*/ 3055620 h 3157851"/>
                  <a:gd name="connsiteX64" fmla="*/ 2164197 w 3147279"/>
                  <a:gd name="connsiteY64" fmla="*/ 3070860 h 3157851"/>
                  <a:gd name="connsiteX65" fmla="*/ 2095617 w 3147279"/>
                  <a:gd name="connsiteY65" fmla="*/ 3101340 h 3157851"/>
                  <a:gd name="connsiteX66" fmla="*/ 2027037 w 3147279"/>
                  <a:gd name="connsiteY66" fmla="*/ 3108960 h 3157851"/>
                  <a:gd name="connsiteX67" fmla="*/ 1981317 w 3147279"/>
                  <a:gd name="connsiteY67" fmla="*/ 3124200 h 3157851"/>
                  <a:gd name="connsiteX68" fmla="*/ 1912737 w 3147279"/>
                  <a:gd name="connsiteY68" fmla="*/ 3131820 h 3157851"/>
                  <a:gd name="connsiteX69" fmla="*/ 1798437 w 3147279"/>
                  <a:gd name="connsiteY69" fmla="*/ 3147060 h 3157851"/>
                  <a:gd name="connsiteX70" fmla="*/ 1188837 w 3147279"/>
                  <a:gd name="connsiteY70" fmla="*/ 3139440 h 3157851"/>
                  <a:gd name="connsiteX71" fmla="*/ 792597 w 3147279"/>
                  <a:gd name="connsiteY71" fmla="*/ 2933700 h 3157851"/>
                  <a:gd name="connsiteX72" fmla="*/ 419217 w 3147279"/>
                  <a:gd name="connsiteY72" fmla="*/ 2644140 h 3157851"/>
                  <a:gd name="connsiteX73" fmla="*/ 320157 w 3147279"/>
                  <a:gd name="connsiteY73" fmla="*/ 2484120 h 3157851"/>
                  <a:gd name="connsiteX74" fmla="*/ 297297 w 3147279"/>
                  <a:gd name="connsiteY74" fmla="*/ 2430780 h 3157851"/>
                  <a:gd name="connsiteX75" fmla="*/ 274437 w 3147279"/>
                  <a:gd name="connsiteY75" fmla="*/ 2377440 h 3157851"/>
                  <a:gd name="connsiteX76" fmla="*/ 228717 w 3147279"/>
                  <a:gd name="connsiteY76" fmla="*/ 2316480 h 3157851"/>
                  <a:gd name="connsiteX77" fmla="*/ 205857 w 3147279"/>
                  <a:gd name="connsiteY77" fmla="*/ 2293620 h 3157851"/>
                  <a:gd name="connsiteX78" fmla="*/ 175377 w 3147279"/>
                  <a:gd name="connsiteY78" fmla="*/ 2240280 h 3157851"/>
                  <a:gd name="connsiteX79" fmla="*/ 160137 w 3147279"/>
                  <a:gd name="connsiteY79" fmla="*/ 2202180 h 3157851"/>
                  <a:gd name="connsiteX80" fmla="*/ 144897 w 3147279"/>
                  <a:gd name="connsiteY80" fmla="*/ 2179320 h 3157851"/>
                  <a:gd name="connsiteX81" fmla="*/ 129657 w 3147279"/>
                  <a:gd name="connsiteY81" fmla="*/ 2133600 h 3157851"/>
                  <a:gd name="connsiteX82" fmla="*/ 99177 w 3147279"/>
                  <a:gd name="connsiteY82" fmla="*/ 2087880 h 3157851"/>
                  <a:gd name="connsiteX83" fmla="*/ 61077 w 3147279"/>
                  <a:gd name="connsiteY83" fmla="*/ 2026920 h 3157851"/>
                  <a:gd name="connsiteX84" fmla="*/ 53457 w 3147279"/>
                  <a:gd name="connsiteY84" fmla="*/ 2004060 h 3157851"/>
                  <a:gd name="connsiteX85" fmla="*/ 38217 w 3147279"/>
                  <a:gd name="connsiteY85" fmla="*/ 1943100 h 3157851"/>
                  <a:gd name="connsiteX86" fmla="*/ 22977 w 3147279"/>
                  <a:gd name="connsiteY86" fmla="*/ 1897380 h 3157851"/>
                  <a:gd name="connsiteX87" fmla="*/ 117 w 3147279"/>
                  <a:gd name="connsiteY87" fmla="*/ 1562100 h 3157851"/>
                  <a:gd name="connsiteX88" fmla="*/ 22977 w 3147279"/>
                  <a:gd name="connsiteY88" fmla="*/ 1135380 h 3157851"/>
                  <a:gd name="connsiteX89" fmla="*/ 38217 w 3147279"/>
                  <a:gd name="connsiteY89" fmla="*/ 1104900 h 3157851"/>
                  <a:gd name="connsiteX90" fmla="*/ 83937 w 3147279"/>
                  <a:gd name="connsiteY90" fmla="*/ 1021080 h 3157851"/>
                  <a:gd name="connsiteX91" fmla="*/ 129657 w 3147279"/>
                  <a:gd name="connsiteY91" fmla="*/ 914400 h 3157851"/>
                  <a:gd name="connsiteX92" fmla="*/ 160137 w 3147279"/>
                  <a:gd name="connsiteY92" fmla="*/ 861060 h 3157851"/>
                  <a:gd name="connsiteX93" fmla="*/ 182997 w 3147279"/>
                  <a:gd name="connsiteY93" fmla="*/ 822960 h 3157851"/>
                  <a:gd name="connsiteX94" fmla="*/ 205857 w 3147279"/>
                  <a:gd name="connsiteY94" fmla="*/ 800100 h 3157851"/>
                  <a:gd name="connsiteX95" fmla="*/ 259197 w 3147279"/>
                  <a:gd name="connsiteY95" fmla="*/ 708660 h 3157851"/>
                  <a:gd name="connsiteX96" fmla="*/ 274437 w 3147279"/>
                  <a:gd name="connsiteY96" fmla="*/ 662940 h 3157851"/>
                  <a:gd name="connsiteX97" fmla="*/ 327777 w 3147279"/>
                  <a:gd name="connsiteY97" fmla="*/ 586740 h 3157851"/>
                  <a:gd name="connsiteX98" fmla="*/ 419217 w 3147279"/>
                  <a:gd name="connsiteY98" fmla="*/ 510540 h 3157851"/>
                  <a:gd name="connsiteX99" fmla="*/ 449697 w 3147279"/>
                  <a:gd name="connsiteY99" fmla="*/ 472440 h 3157851"/>
                  <a:gd name="connsiteX100" fmla="*/ 510657 w 3147279"/>
                  <a:gd name="connsiteY100" fmla="*/ 434340 h 3157851"/>
                  <a:gd name="connsiteX101" fmla="*/ 563997 w 3147279"/>
                  <a:gd name="connsiteY101" fmla="*/ 396240 h 3157851"/>
                  <a:gd name="connsiteX102" fmla="*/ 655437 w 3147279"/>
                  <a:gd name="connsiteY102" fmla="*/ 335280 h 3157851"/>
                  <a:gd name="connsiteX103" fmla="*/ 731637 w 3147279"/>
                  <a:gd name="connsiteY103" fmla="*/ 297180 h 3157851"/>
                  <a:gd name="connsiteX104" fmla="*/ 815457 w 3147279"/>
                  <a:gd name="connsiteY104" fmla="*/ 236220 h 3157851"/>
                  <a:gd name="connsiteX105" fmla="*/ 830697 w 3147279"/>
                  <a:gd name="connsiteY105" fmla="*/ 213360 h 3157851"/>
                  <a:gd name="connsiteX106" fmla="*/ 861177 w 3147279"/>
                  <a:gd name="connsiteY106" fmla="*/ 205740 h 3157851"/>
                  <a:gd name="connsiteX107" fmla="*/ 952617 w 3147279"/>
                  <a:gd name="connsiteY107" fmla="*/ 152400 h 3157851"/>
                  <a:gd name="connsiteX108" fmla="*/ 983097 w 3147279"/>
                  <a:gd name="connsiteY108" fmla="*/ 129540 h 3157851"/>
                  <a:gd name="connsiteX109" fmla="*/ 1105017 w 3147279"/>
                  <a:gd name="connsiteY109" fmla="*/ 76200 h 3157851"/>
                  <a:gd name="connsiteX110" fmla="*/ 1127877 w 3147279"/>
                  <a:gd name="connsiteY110" fmla="*/ 68580 h 3157851"/>
                  <a:gd name="connsiteX111" fmla="*/ 1188837 w 3147279"/>
                  <a:gd name="connsiteY111" fmla="*/ 53340 h 3157851"/>
                  <a:gd name="connsiteX112" fmla="*/ 1242177 w 3147279"/>
                  <a:gd name="connsiteY112" fmla="*/ 38100 h 3157851"/>
                  <a:gd name="connsiteX113" fmla="*/ 1265037 w 3147279"/>
                  <a:gd name="connsiteY113" fmla="*/ 30480 h 3157851"/>
                  <a:gd name="connsiteX114" fmla="*/ 1386957 w 3147279"/>
                  <a:gd name="connsiteY114" fmla="*/ 15240 h 3157851"/>
                  <a:gd name="connsiteX115" fmla="*/ 1463157 w 3147279"/>
                  <a:gd name="connsiteY115" fmla="*/ 0 h 3157851"/>
                  <a:gd name="connsiteX116" fmla="*/ 1882257 w 3147279"/>
                  <a:gd name="connsiteY116" fmla="*/ 15240 h 3157851"/>
                  <a:gd name="connsiteX117" fmla="*/ 1912737 w 3147279"/>
                  <a:gd name="connsiteY117" fmla="*/ 22860 h 3157851"/>
                  <a:gd name="connsiteX118" fmla="*/ 2164197 w 3147279"/>
                  <a:gd name="connsiteY118" fmla="*/ 99060 h 3157851"/>
                  <a:gd name="connsiteX119" fmla="*/ 2339457 w 3147279"/>
                  <a:gd name="connsiteY119" fmla="*/ 182880 h 3157851"/>
                  <a:gd name="connsiteX120" fmla="*/ 2369937 w 3147279"/>
                  <a:gd name="connsiteY120" fmla="*/ 190500 h 3157851"/>
                  <a:gd name="connsiteX121" fmla="*/ 2392797 w 3147279"/>
                  <a:gd name="connsiteY121" fmla="*/ 205740 h 3157851"/>
                  <a:gd name="connsiteX122" fmla="*/ 2438517 w 3147279"/>
                  <a:gd name="connsiteY122" fmla="*/ 228600 h 3157851"/>
                  <a:gd name="connsiteX123" fmla="*/ 2446137 w 3147279"/>
                  <a:gd name="connsiteY123" fmla="*/ 266700 h 315785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48017 w 3147279"/>
                  <a:gd name="connsiteY61" fmla="*/ 3032760 h 3147261"/>
                  <a:gd name="connsiteX62" fmla="*/ 2225157 w 3147279"/>
                  <a:gd name="connsiteY62" fmla="*/ 3040380 h 3147261"/>
                  <a:gd name="connsiteX63" fmla="*/ 2187057 w 3147279"/>
                  <a:gd name="connsiteY63" fmla="*/ 3055620 h 3147261"/>
                  <a:gd name="connsiteX64" fmla="*/ 2164197 w 3147279"/>
                  <a:gd name="connsiteY64" fmla="*/ 3070860 h 3147261"/>
                  <a:gd name="connsiteX65" fmla="*/ 2095617 w 3147279"/>
                  <a:gd name="connsiteY65" fmla="*/ 3101340 h 3147261"/>
                  <a:gd name="connsiteX66" fmla="*/ 2027037 w 3147279"/>
                  <a:gd name="connsiteY66" fmla="*/ 3108960 h 3147261"/>
                  <a:gd name="connsiteX67" fmla="*/ 1981317 w 3147279"/>
                  <a:gd name="connsiteY67" fmla="*/ 3124200 h 3147261"/>
                  <a:gd name="connsiteX68" fmla="*/ 1912737 w 3147279"/>
                  <a:gd name="connsiteY68" fmla="*/ 3131820 h 3147261"/>
                  <a:gd name="connsiteX69" fmla="*/ 1798437 w 3147279"/>
                  <a:gd name="connsiteY69" fmla="*/ 3147060 h 3147261"/>
                  <a:gd name="connsiteX70" fmla="*/ 1333617 w 3147279"/>
                  <a:gd name="connsiteY70" fmla="*/ 3108960 h 3147261"/>
                  <a:gd name="connsiteX71" fmla="*/ 792597 w 3147279"/>
                  <a:gd name="connsiteY71" fmla="*/ 2933700 h 3147261"/>
                  <a:gd name="connsiteX72" fmla="*/ 419217 w 3147279"/>
                  <a:gd name="connsiteY72" fmla="*/ 2644140 h 3147261"/>
                  <a:gd name="connsiteX73" fmla="*/ 320157 w 3147279"/>
                  <a:gd name="connsiteY73" fmla="*/ 2484120 h 3147261"/>
                  <a:gd name="connsiteX74" fmla="*/ 297297 w 3147279"/>
                  <a:gd name="connsiteY74" fmla="*/ 2430780 h 3147261"/>
                  <a:gd name="connsiteX75" fmla="*/ 274437 w 3147279"/>
                  <a:gd name="connsiteY75" fmla="*/ 2377440 h 3147261"/>
                  <a:gd name="connsiteX76" fmla="*/ 228717 w 3147279"/>
                  <a:gd name="connsiteY76" fmla="*/ 2316480 h 3147261"/>
                  <a:gd name="connsiteX77" fmla="*/ 205857 w 3147279"/>
                  <a:gd name="connsiteY77" fmla="*/ 2293620 h 3147261"/>
                  <a:gd name="connsiteX78" fmla="*/ 175377 w 3147279"/>
                  <a:gd name="connsiteY78" fmla="*/ 2240280 h 3147261"/>
                  <a:gd name="connsiteX79" fmla="*/ 160137 w 3147279"/>
                  <a:gd name="connsiteY79" fmla="*/ 2202180 h 3147261"/>
                  <a:gd name="connsiteX80" fmla="*/ 144897 w 3147279"/>
                  <a:gd name="connsiteY80" fmla="*/ 2179320 h 3147261"/>
                  <a:gd name="connsiteX81" fmla="*/ 129657 w 3147279"/>
                  <a:gd name="connsiteY81" fmla="*/ 2133600 h 3147261"/>
                  <a:gd name="connsiteX82" fmla="*/ 99177 w 3147279"/>
                  <a:gd name="connsiteY82" fmla="*/ 2087880 h 3147261"/>
                  <a:gd name="connsiteX83" fmla="*/ 61077 w 3147279"/>
                  <a:gd name="connsiteY83" fmla="*/ 2026920 h 3147261"/>
                  <a:gd name="connsiteX84" fmla="*/ 53457 w 3147279"/>
                  <a:gd name="connsiteY84" fmla="*/ 2004060 h 3147261"/>
                  <a:gd name="connsiteX85" fmla="*/ 38217 w 3147279"/>
                  <a:gd name="connsiteY85" fmla="*/ 1943100 h 3147261"/>
                  <a:gd name="connsiteX86" fmla="*/ 22977 w 3147279"/>
                  <a:gd name="connsiteY86" fmla="*/ 1897380 h 3147261"/>
                  <a:gd name="connsiteX87" fmla="*/ 117 w 3147279"/>
                  <a:gd name="connsiteY87" fmla="*/ 1562100 h 3147261"/>
                  <a:gd name="connsiteX88" fmla="*/ 22977 w 3147279"/>
                  <a:gd name="connsiteY88" fmla="*/ 1135380 h 3147261"/>
                  <a:gd name="connsiteX89" fmla="*/ 38217 w 3147279"/>
                  <a:gd name="connsiteY89" fmla="*/ 1104900 h 3147261"/>
                  <a:gd name="connsiteX90" fmla="*/ 83937 w 3147279"/>
                  <a:gd name="connsiteY90" fmla="*/ 1021080 h 3147261"/>
                  <a:gd name="connsiteX91" fmla="*/ 129657 w 3147279"/>
                  <a:gd name="connsiteY91" fmla="*/ 914400 h 3147261"/>
                  <a:gd name="connsiteX92" fmla="*/ 160137 w 3147279"/>
                  <a:gd name="connsiteY92" fmla="*/ 861060 h 3147261"/>
                  <a:gd name="connsiteX93" fmla="*/ 182997 w 3147279"/>
                  <a:gd name="connsiteY93" fmla="*/ 822960 h 3147261"/>
                  <a:gd name="connsiteX94" fmla="*/ 205857 w 3147279"/>
                  <a:gd name="connsiteY94" fmla="*/ 800100 h 3147261"/>
                  <a:gd name="connsiteX95" fmla="*/ 259197 w 3147279"/>
                  <a:gd name="connsiteY95" fmla="*/ 708660 h 3147261"/>
                  <a:gd name="connsiteX96" fmla="*/ 274437 w 3147279"/>
                  <a:gd name="connsiteY96" fmla="*/ 662940 h 3147261"/>
                  <a:gd name="connsiteX97" fmla="*/ 327777 w 3147279"/>
                  <a:gd name="connsiteY97" fmla="*/ 586740 h 3147261"/>
                  <a:gd name="connsiteX98" fmla="*/ 419217 w 3147279"/>
                  <a:gd name="connsiteY98" fmla="*/ 510540 h 3147261"/>
                  <a:gd name="connsiteX99" fmla="*/ 449697 w 3147279"/>
                  <a:gd name="connsiteY99" fmla="*/ 472440 h 3147261"/>
                  <a:gd name="connsiteX100" fmla="*/ 510657 w 3147279"/>
                  <a:gd name="connsiteY100" fmla="*/ 434340 h 3147261"/>
                  <a:gd name="connsiteX101" fmla="*/ 563997 w 3147279"/>
                  <a:gd name="connsiteY101" fmla="*/ 396240 h 3147261"/>
                  <a:gd name="connsiteX102" fmla="*/ 655437 w 3147279"/>
                  <a:gd name="connsiteY102" fmla="*/ 335280 h 3147261"/>
                  <a:gd name="connsiteX103" fmla="*/ 731637 w 3147279"/>
                  <a:gd name="connsiteY103" fmla="*/ 297180 h 3147261"/>
                  <a:gd name="connsiteX104" fmla="*/ 815457 w 3147279"/>
                  <a:gd name="connsiteY104" fmla="*/ 236220 h 3147261"/>
                  <a:gd name="connsiteX105" fmla="*/ 830697 w 3147279"/>
                  <a:gd name="connsiteY105" fmla="*/ 213360 h 3147261"/>
                  <a:gd name="connsiteX106" fmla="*/ 861177 w 3147279"/>
                  <a:gd name="connsiteY106" fmla="*/ 205740 h 3147261"/>
                  <a:gd name="connsiteX107" fmla="*/ 952617 w 3147279"/>
                  <a:gd name="connsiteY107" fmla="*/ 152400 h 3147261"/>
                  <a:gd name="connsiteX108" fmla="*/ 983097 w 3147279"/>
                  <a:gd name="connsiteY108" fmla="*/ 129540 h 3147261"/>
                  <a:gd name="connsiteX109" fmla="*/ 1105017 w 3147279"/>
                  <a:gd name="connsiteY109" fmla="*/ 76200 h 3147261"/>
                  <a:gd name="connsiteX110" fmla="*/ 1127877 w 3147279"/>
                  <a:gd name="connsiteY110" fmla="*/ 68580 h 3147261"/>
                  <a:gd name="connsiteX111" fmla="*/ 1188837 w 3147279"/>
                  <a:gd name="connsiteY111" fmla="*/ 53340 h 3147261"/>
                  <a:gd name="connsiteX112" fmla="*/ 1242177 w 3147279"/>
                  <a:gd name="connsiteY112" fmla="*/ 38100 h 3147261"/>
                  <a:gd name="connsiteX113" fmla="*/ 1265037 w 3147279"/>
                  <a:gd name="connsiteY113" fmla="*/ 30480 h 3147261"/>
                  <a:gd name="connsiteX114" fmla="*/ 1386957 w 3147279"/>
                  <a:gd name="connsiteY114" fmla="*/ 15240 h 3147261"/>
                  <a:gd name="connsiteX115" fmla="*/ 1463157 w 3147279"/>
                  <a:gd name="connsiteY115" fmla="*/ 0 h 3147261"/>
                  <a:gd name="connsiteX116" fmla="*/ 1882257 w 3147279"/>
                  <a:gd name="connsiteY116" fmla="*/ 15240 h 3147261"/>
                  <a:gd name="connsiteX117" fmla="*/ 1912737 w 3147279"/>
                  <a:gd name="connsiteY117" fmla="*/ 22860 h 3147261"/>
                  <a:gd name="connsiteX118" fmla="*/ 2164197 w 3147279"/>
                  <a:gd name="connsiteY118" fmla="*/ 99060 h 3147261"/>
                  <a:gd name="connsiteX119" fmla="*/ 2339457 w 3147279"/>
                  <a:gd name="connsiteY119" fmla="*/ 182880 h 3147261"/>
                  <a:gd name="connsiteX120" fmla="*/ 2369937 w 3147279"/>
                  <a:gd name="connsiteY120" fmla="*/ 190500 h 3147261"/>
                  <a:gd name="connsiteX121" fmla="*/ 2392797 w 3147279"/>
                  <a:gd name="connsiteY121" fmla="*/ 205740 h 3147261"/>
                  <a:gd name="connsiteX122" fmla="*/ 2438517 w 3147279"/>
                  <a:gd name="connsiteY122" fmla="*/ 228600 h 3147261"/>
                  <a:gd name="connsiteX123" fmla="*/ 2446137 w 3147279"/>
                  <a:gd name="connsiteY12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164197 w 3147279"/>
                  <a:gd name="connsiteY63" fmla="*/ 3070860 h 3147261"/>
                  <a:gd name="connsiteX64" fmla="*/ 2095617 w 3147279"/>
                  <a:gd name="connsiteY64" fmla="*/ 3101340 h 3147261"/>
                  <a:gd name="connsiteX65" fmla="*/ 2027037 w 3147279"/>
                  <a:gd name="connsiteY65" fmla="*/ 3108960 h 3147261"/>
                  <a:gd name="connsiteX66" fmla="*/ 1981317 w 3147279"/>
                  <a:gd name="connsiteY66" fmla="*/ 3124200 h 3147261"/>
                  <a:gd name="connsiteX67" fmla="*/ 1912737 w 3147279"/>
                  <a:gd name="connsiteY67" fmla="*/ 3131820 h 3147261"/>
                  <a:gd name="connsiteX68" fmla="*/ 1798437 w 3147279"/>
                  <a:gd name="connsiteY68" fmla="*/ 3147060 h 3147261"/>
                  <a:gd name="connsiteX69" fmla="*/ 1333617 w 3147279"/>
                  <a:gd name="connsiteY69" fmla="*/ 3108960 h 3147261"/>
                  <a:gd name="connsiteX70" fmla="*/ 792597 w 3147279"/>
                  <a:gd name="connsiteY70" fmla="*/ 2933700 h 3147261"/>
                  <a:gd name="connsiteX71" fmla="*/ 419217 w 3147279"/>
                  <a:gd name="connsiteY71" fmla="*/ 2644140 h 3147261"/>
                  <a:gd name="connsiteX72" fmla="*/ 320157 w 3147279"/>
                  <a:gd name="connsiteY72" fmla="*/ 2484120 h 3147261"/>
                  <a:gd name="connsiteX73" fmla="*/ 297297 w 3147279"/>
                  <a:gd name="connsiteY73" fmla="*/ 2430780 h 3147261"/>
                  <a:gd name="connsiteX74" fmla="*/ 274437 w 3147279"/>
                  <a:gd name="connsiteY74" fmla="*/ 2377440 h 3147261"/>
                  <a:gd name="connsiteX75" fmla="*/ 228717 w 3147279"/>
                  <a:gd name="connsiteY75" fmla="*/ 2316480 h 3147261"/>
                  <a:gd name="connsiteX76" fmla="*/ 205857 w 3147279"/>
                  <a:gd name="connsiteY76" fmla="*/ 2293620 h 3147261"/>
                  <a:gd name="connsiteX77" fmla="*/ 175377 w 3147279"/>
                  <a:gd name="connsiteY77" fmla="*/ 2240280 h 3147261"/>
                  <a:gd name="connsiteX78" fmla="*/ 160137 w 3147279"/>
                  <a:gd name="connsiteY78" fmla="*/ 2202180 h 3147261"/>
                  <a:gd name="connsiteX79" fmla="*/ 144897 w 3147279"/>
                  <a:gd name="connsiteY79" fmla="*/ 2179320 h 3147261"/>
                  <a:gd name="connsiteX80" fmla="*/ 129657 w 3147279"/>
                  <a:gd name="connsiteY80" fmla="*/ 2133600 h 3147261"/>
                  <a:gd name="connsiteX81" fmla="*/ 99177 w 3147279"/>
                  <a:gd name="connsiteY81" fmla="*/ 2087880 h 3147261"/>
                  <a:gd name="connsiteX82" fmla="*/ 61077 w 3147279"/>
                  <a:gd name="connsiteY82" fmla="*/ 2026920 h 3147261"/>
                  <a:gd name="connsiteX83" fmla="*/ 53457 w 3147279"/>
                  <a:gd name="connsiteY83" fmla="*/ 2004060 h 3147261"/>
                  <a:gd name="connsiteX84" fmla="*/ 38217 w 3147279"/>
                  <a:gd name="connsiteY84" fmla="*/ 1943100 h 3147261"/>
                  <a:gd name="connsiteX85" fmla="*/ 22977 w 3147279"/>
                  <a:gd name="connsiteY85" fmla="*/ 1897380 h 3147261"/>
                  <a:gd name="connsiteX86" fmla="*/ 117 w 3147279"/>
                  <a:gd name="connsiteY86" fmla="*/ 1562100 h 3147261"/>
                  <a:gd name="connsiteX87" fmla="*/ 22977 w 3147279"/>
                  <a:gd name="connsiteY87" fmla="*/ 1135380 h 3147261"/>
                  <a:gd name="connsiteX88" fmla="*/ 38217 w 3147279"/>
                  <a:gd name="connsiteY88" fmla="*/ 1104900 h 3147261"/>
                  <a:gd name="connsiteX89" fmla="*/ 83937 w 3147279"/>
                  <a:gd name="connsiteY89" fmla="*/ 1021080 h 3147261"/>
                  <a:gd name="connsiteX90" fmla="*/ 129657 w 3147279"/>
                  <a:gd name="connsiteY90" fmla="*/ 914400 h 3147261"/>
                  <a:gd name="connsiteX91" fmla="*/ 160137 w 3147279"/>
                  <a:gd name="connsiteY91" fmla="*/ 861060 h 3147261"/>
                  <a:gd name="connsiteX92" fmla="*/ 182997 w 3147279"/>
                  <a:gd name="connsiteY92" fmla="*/ 822960 h 3147261"/>
                  <a:gd name="connsiteX93" fmla="*/ 205857 w 3147279"/>
                  <a:gd name="connsiteY93" fmla="*/ 800100 h 3147261"/>
                  <a:gd name="connsiteX94" fmla="*/ 259197 w 3147279"/>
                  <a:gd name="connsiteY94" fmla="*/ 708660 h 3147261"/>
                  <a:gd name="connsiteX95" fmla="*/ 274437 w 3147279"/>
                  <a:gd name="connsiteY95" fmla="*/ 662940 h 3147261"/>
                  <a:gd name="connsiteX96" fmla="*/ 327777 w 3147279"/>
                  <a:gd name="connsiteY96" fmla="*/ 586740 h 3147261"/>
                  <a:gd name="connsiteX97" fmla="*/ 419217 w 3147279"/>
                  <a:gd name="connsiteY97" fmla="*/ 510540 h 3147261"/>
                  <a:gd name="connsiteX98" fmla="*/ 449697 w 3147279"/>
                  <a:gd name="connsiteY98" fmla="*/ 472440 h 3147261"/>
                  <a:gd name="connsiteX99" fmla="*/ 510657 w 3147279"/>
                  <a:gd name="connsiteY99" fmla="*/ 434340 h 3147261"/>
                  <a:gd name="connsiteX100" fmla="*/ 563997 w 3147279"/>
                  <a:gd name="connsiteY100" fmla="*/ 396240 h 3147261"/>
                  <a:gd name="connsiteX101" fmla="*/ 655437 w 3147279"/>
                  <a:gd name="connsiteY101" fmla="*/ 335280 h 3147261"/>
                  <a:gd name="connsiteX102" fmla="*/ 731637 w 3147279"/>
                  <a:gd name="connsiteY102" fmla="*/ 297180 h 3147261"/>
                  <a:gd name="connsiteX103" fmla="*/ 815457 w 3147279"/>
                  <a:gd name="connsiteY103" fmla="*/ 236220 h 3147261"/>
                  <a:gd name="connsiteX104" fmla="*/ 830697 w 3147279"/>
                  <a:gd name="connsiteY104" fmla="*/ 213360 h 3147261"/>
                  <a:gd name="connsiteX105" fmla="*/ 861177 w 3147279"/>
                  <a:gd name="connsiteY105" fmla="*/ 205740 h 3147261"/>
                  <a:gd name="connsiteX106" fmla="*/ 952617 w 3147279"/>
                  <a:gd name="connsiteY106" fmla="*/ 152400 h 3147261"/>
                  <a:gd name="connsiteX107" fmla="*/ 983097 w 3147279"/>
                  <a:gd name="connsiteY107" fmla="*/ 129540 h 3147261"/>
                  <a:gd name="connsiteX108" fmla="*/ 1105017 w 3147279"/>
                  <a:gd name="connsiteY108" fmla="*/ 76200 h 3147261"/>
                  <a:gd name="connsiteX109" fmla="*/ 1127877 w 3147279"/>
                  <a:gd name="connsiteY109" fmla="*/ 68580 h 3147261"/>
                  <a:gd name="connsiteX110" fmla="*/ 1188837 w 3147279"/>
                  <a:gd name="connsiteY110" fmla="*/ 53340 h 3147261"/>
                  <a:gd name="connsiteX111" fmla="*/ 1242177 w 3147279"/>
                  <a:gd name="connsiteY111" fmla="*/ 38100 h 3147261"/>
                  <a:gd name="connsiteX112" fmla="*/ 1265037 w 3147279"/>
                  <a:gd name="connsiteY112" fmla="*/ 30480 h 3147261"/>
                  <a:gd name="connsiteX113" fmla="*/ 1386957 w 3147279"/>
                  <a:gd name="connsiteY113" fmla="*/ 15240 h 3147261"/>
                  <a:gd name="connsiteX114" fmla="*/ 1463157 w 3147279"/>
                  <a:gd name="connsiteY114" fmla="*/ 0 h 3147261"/>
                  <a:gd name="connsiteX115" fmla="*/ 1882257 w 3147279"/>
                  <a:gd name="connsiteY115" fmla="*/ 15240 h 3147261"/>
                  <a:gd name="connsiteX116" fmla="*/ 1912737 w 3147279"/>
                  <a:gd name="connsiteY116" fmla="*/ 22860 h 3147261"/>
                  <a:gd name="connsiteX117" fmla="*/ 2164197 w 3147279"/>
                  <a:gd name="connsiteY117" fmla="*/ 99060 h 3147261"/>
                  <a:gd name="connsiteX118" fmla="*/ 2339457 w 3147279"/>
                  <a:gd name="connsiteY118" fmla="*/ 182880 h 3147261"/>
                  <a:gd name="connsiteX119" fmla="*/ 2369937 w 3147279"/>
                  <a:gd name="connsiteY119" fmla="*/ 190500 h 3147261"/>
                  <a:gd name="connsiteX120" fmla="*/ 2392797 w 3147279"/>
                  <a:gd name="connsiteY120" fmla="*/ 205740 h 3147261"/>
                  <a:gd name="connsiteX121" fmla="*/ 2438517 w 3147279"/>
                  <a:gd name="connsiteY121" fmla="*/ 228600 h 3147261"/>
                  <a:gd name="connsiteX122" fmla="*/ 2446137 w 3147279"/>
                  <a:gd name="connsiteY12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81317 w 3147279"/>
                  <a:gd name="connsiteY65" fmla="*/ 3124200 h 3147261"/>
                  <a:gd name="connsiteX66" fmla="*/ 1912737 w 3147279"/>
                  <a:gd name="connsiteY66" fmla="*/ 3131820 h 3147261"/>
                  <a:gd name="connsiteX67" fmla="*/ 1798437 w 3147279"/>
                  <a:gd name="connsiteY67" fmla="*/ 3147060 h 3147261"/>
                  <a:gd name="connsiteX68" fmla="*/ 1333617 w 3147279"/>
                  <a:gd name="connsiteY68" fmla="*/ 3108960 h 3147261"/>
                  <a:gd name="connsiteX69" fmla="*/ 792597 w 3147279"/>
                  <a:gd name="connsiteY69" fmla="*/ 2933700 h 3147261"/>
                  <a:gd name="connsiteX70" fmla="*/ 419217 w 3147279"/>
                  <a:gd name="connsiteY70" fmla="*/ 2644140 h 3147261"/>
                  <a:gd name="connsiteX71" fmla="*/ 320157 w 3147279"/>
                  <a:gd name="connsiteY71" fmla="*/ 2484120 h 3147261"/>
                  <a:gd name="connsiteX72" fmla="*/ 297297 w 3147279"/>
                  <a:gd name="connsiteY72" fmla="*/ 2430780 h 3147261"/>
                  <a:gd name="connsiteX73" fmla="*/ 274437 w 3147279"/>
                  <a:gd name="connsiteY73" fmla="*/ 2377440 h 3147261"/>
                  <a:gd name="connsiteX74" fmla="*/ 228717 w 3147279"/>
                  <a:gd name="connsiteY74" fmla="*/ 2316480 h 3147261"/>
                  <a:gd name="connsiteX75" fmla="*/ 205857 w 3147279"/>
                  <a:gd name="connsiteY75" fmla="*/ 2293620 h 3147261"/>
                  <a:gd name="connsiteX76" fmla="*/ 175377 w 3147279"/>
                  <a:gd name="connsiteY76" fmla="*/ 2240280 h 3147261"/>
                  <a:gd name="connsiteX77" fmla="*/ 160137 w 3147279"/>
                  <a:gd name="connsiteY77" fmla="*/ 2202180 h 3147261"/>
                  <a:gd name="connsiteX78" fmla="*/ 144897 w 3147279"/>
                  <a:gd name="connsiteY78" fmla="*/ 2179320 h 3147261"/>
                  <a:gd name="connsiteX79" fmla="*/ 129657 w 3147279"/>
                  <a:gd name="connsiteY79" fmla="*/ 2133600 h 3147261"/>
                  <a:gd name="connsiteX80" fmla="*/ 99177 w 3147279"/>
                  <a:gd name="connsiteY80" fmla="*/ 2087880 h 3147261"/>
                  <a:gd name="connsiteX81" fmla="*/ 61077 w 3147279"/>
                  <a:gd name="connsiteY81" fmla="*/ 2026920 h 3147261"/>
                  <a:gd name="connsiteX82" fmla="*/ 53457 w 3147279"/>
                  <a:gd name="connsiteY82" fmla="*/ 2004060 h 3147261"/>
                  <a:gd name="connsiteX83" fmla="*/ 38217 w 3147279"/>
                  <a:gd name="connsiteY83" fmla="*/ 1943100 h 3147261"/>
                  <a:gd name="connsiteX84" fmla="*/ 22977 w 3147279"/>
                  <a:gd name="connsiteY84" fmla="*/ 1897380 h 3147261"/>
                  <a:gd name="connsiteX85" fmla="*/ 117 w 3147279"/>
                  <a:gd name="connsiteY85" fmla="*/ 1562100 h 3147261"/>
                  <a:gd name="connsiteX86" fmla="*/ 22977 w 3147279"/>
                  <a:gd name="connsiteY86" fmla="*/ 1135380 h 3147261"/>
                  <a:gd name="connsiteX87" fmla="*/ 38217 w 3147279"/>
                  <a:gd name="connsiteY87" fmla="*/ 1104900 h 3147261"/>
                  <a:gd name="connsiteX88" fmla="*/ 83937 w 3147279"/>
                  <a:gd name="connsiteY88" fmla="*/ 1021080 h 3147261"/>
                  <a:gd name="connsiteX89" fmla="*/ 129657 w 3147279"/>
                  <a:gd name="connsiteY89" fmla="*/ 914400 h 3147261"/>
                  <a:gd name="connsiteX90" fmla="*/ 160137 w 3147279"/>
                  <a:gd name="connsiteY90" fmla="*/ 861060 h 3147261"/>
                  <a:gd name="connsiteX91" fmla="*/ 182997 w 3147279"/>
                  <a:gd name="connsiteY91" fmla="*/ 822960 h 3147261"/>
                  <a:gd name="connsiteX92" fmla="*/ 205857 w 3147279"/>
                  <a:gd name="connsiteY92" fmla="*/ 800100 h 3147261"/>
                  <a:gd name="connsiteX93" fmla="*/ 259197 w 3147279"/>
                  <a:gd name="connsiteY93" fmla="*/ 708660 h 3147261"/>
                  <a:gd name="connsiteX94" fmla="*/ 274437 w 3147279"/>
                  <a:gd name="connsiteY94" fmla="*/ 662940 h 3147261"/>
                  <a:gd name="connsiteX95" fmla="*/ 327777 w 3147279"/>
                  <a:gd name="connsiteY95" fmla="*/ 586740 h 3147261"/>
                  <a:gd name="connsiteX96" fmla="*/ 419217 w 3147279"/>
                  <a:gd name="connsiteY96" fmla="*/ 510540 h 3147261"/>
                  <a:gd name="connsiteX97" fmla="*/ 449697 w 3147279"/>
                  <a:gd name="connsiteY97" fmla="*/ 472440 h 3147261"/>
                  <a:gd name="connsiteX98" fmla="*/ 510657 w 3147279"/>
                  <a:gd name="connsiteY98" fmla="*/ 434340 h 3147261"/>
                  <a:gd name="connsiteX99" fmla="*/ 563997 w 3147279"/>
                  <a:gd name="connsiteY99" fmla="*/ 396240 h 3147261"/>
                  <a:gd name="connsiteX100" fmla="*/ 655437 w 3147279"/>
                  <a:gd name="connsiteY100" fmla="*/ 335280 h 3147261"/>
                  <a:gd name="connsiteX101" fmla="*/ 731637 w 3147279"/>
                  <a:gd name="connsiteY101" fmla="*/ 297180 h 3147261"/>
                  <a:gd name="connsiteX102" fmla="*/ 815457 w 3147279"/>
                  <a:gd name="connsiteY102" fmla="*/ 236220 h 3147261"/>
                  <a:gd name="connsiteX103" fmla="*/ 830697 w 3147279"/>
                  <a:gd name="connsiteY103" fmla="*/ 213360 h 3147261"/>
                  <a:gd name="connsiteX104" fmla="*/ 861177 w 3147279"/>
                  <a:gd name="connsiteY104" fmla="*/ 205740 h 3147261"/>
                  <a:gd name="connsiteX105" fmla="*/ 952617 w 3147279"/>
                  <a:gd name="connsiteY105" fmla="*/ 152400 h 3147261"/>
                  <a:gd name="connsiteX106" fmla="*/ 983097 w 3147279"/>
                  <a:gd name="connsiteY106" fmla="*/ 129540 h 3147261"/>
                  <a:gd name="connsiteX107" fmla="*/ 1105017 w 3147279"/>
                  <a:gd name="connsiteY107" fmla="*/ 76200 h 3147261"/>
                  <a:gd name="connsiteX108" fmla="*/ 1127877 w 3147279"/>
                  <a:gd name="connsiteY108" fmla="*/ 68580 h 3147261"/>
                  <a:gd name="connsiteX109" fmla="*/ 1188837 w 3147279"/>
                  <a:gd name="connsiteY109" fmla="*/ 53340 h 3147261"/>
                  <a:gd name="connsiteX110" fmla="*/ 1242177 w 3147279"/>
                  <a:gd name="connsiteY110" fmla="*/ 38100 h 3147261"/>
                  <a:gd name="connsiteX111" fmla="*/ 1265037 w 3147279"/>
                  <a:gd name="connsiteY111" fmla="*/ 30480 h 3147261"/>
                  <a:gd name="connsiteX112" fmla="*/ 1386957 w 3147279"/>
                  <a:gd name="connsiteY112" fmla="*/ 15240 h 3147261"/>
                  <a:gd name="connsiteX113" fmla="*/ 1463157 w 3147279"/>
                  <a:gd name="connsiteY113" fmla="*/ 0 h 3147261"/>
                  <a:gd name="connsiteX114" fmla="*/ 1882257 w 3147279"/>
                  <a:gd name="connsiteY114" fmla="*/ 15240 h 3147261"/>
                  <a:gd name="connsiteX115" fmla="*/ 1912737 w 3147279"/>
                  <a:gd name="connsiteY115" fmla="*/ 22860 h 3147261"/>
                  <a:gd name="connsiteX116" fmla="*/ 2164197 w 3147279"/>
                  <a:gd name="connsiteY116" fmla="*/ 99060 h 3147261"/>
                  <a:gd name="connsiteX117" fmla="*/ 2339457 w 3147279"/>
                  <a:gd name="connsiteY117" fmla="*/ 182880 h 3147261"/>
                  <a:gd name="connsiteX118" fmla="*/ 2369937 w 3147279"/>
                  <a:gd name="connsiteY118" fmla="*/ 190500 h 3147261"/>
                  <a:gd name="connsiteX119" fmla="*/ 2392797 w 3147279"/>
                  <a:gd name="connsiteY119" fmla="*/ 205740 h 3147261"/>
                  <a:gd name="connsiteX120" fmla="*/ 2438517 w 3147279"/>
                  <a:gd name="connsiteY120" fmla="*/ 228600 h 3147261"/>
                  <a:gd name="connsiteX121" fmla="*/ 2446137 w 3147279"/>
                  <a:gd name="connsiteY12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12737 w 3147279"/>
                  <a:gd name="connsiteY65" fmla="*/ 3131820 h 3147261"/>
                  <a:gd name="connsiteX66" fmla="*/ 1798437 w 3147279"/>
                  <a:gd name="connsiteY66" fmla="*/ 3147060 h 3147261"/>
                  <a:gd name="connsiteX67" fmla="*/ 1333617 w 3147279"/>
                  <a:gd name="connsiteY67" fmla="*/ 3108960 h 3147261"/>
                  <a:gd name="connsiteX68" fmla="*/ 792597 w 3147279"/>
                  <a:gd name="connsiteY68" fmla="*/ 2933700 h 3147261"/>
                  <a:gd name="connsiteX69" fmla="*/ 419217 w 3147279"/>
                  <a:gd name="connsiteY69" fmla="*/ 2644140 h 3147261"/>
                  <a:gd name="connsiteX70" fmla="*/ 320157 w 3147279"/>
                  <a:gd name="connsiteY70" fmla="*/ 2484120 h 3147261"/>
                  <a:gd name="connsiteX71" fmla="*/ 297297 w 3147279"/>
                  <a:gd name="connsiteY71" fmla="*/ 2430780 h 3147261"/>
                  <a:gd name="connsiteX72" fmla="*/ 274437 w 3147279"/>
                  <a:gd name="connsiteY72" fmla="*/ 2377440 h 3147261"/>
                  <a:gd name="connsiteX73" fmla="*/ 228717 w 3147279"/>
                  <a:gd name="connsiteY73" fmla="*/ 2316480 h 3147261"/>
                  <a:gd name="connsiteX74" fmla="*/ 205857 w 3147279"/>
                  <a:gd name="connsiteY74" fmla="*/ 2293620 h 3147261"/>
                  <a:gd name="connsiteX75" fmla="*/ 175377 w 3147279"/>
                  <a:gd name="connsiteY75" fmla="*/ 2240280 h 3147261"/>
                  <a:gd name="connsiteX76" fmla="*/ 160137 w 3147279"/>
                  <a:gd name="connsiteY76" fmla="*/ 2202180 h 3147261"/>
                  <a:gd name="connsiteX77" fmla="*/ 144897 w 3147279"/>
                  <a:gd name="connsiteY77" fmla="*/ 2179320 h 3147261"/>
                  <a:gd name="connsiteX78" fmla="*/ 129657 w 3147279"/>
                  <a:gd name="connsiteY78" fmla="*/ 2133600 h 3147261"/>
                  <a:gd name="connsiteX79" fmla="*/ 99177 w 3147279"/>
                  <a:gd name="connsiteY79" fmla="*/ 2087880 h 3147261"/>
                  <a:gd name="connsiteX80" fmla="*/ 61077 w 3147279"/>
                  <a:gd name="connsiteY80" fmla="*/ 2026920 h 3147261"/>
                  <a:gd name="connsiteX81" fmla="*/ 53457 w 3147279"/>
                  <a:gd name="connsiteY81" fmla="*/ 2004060 h 3147261"/>
                  <a:gd name="connsiteX82" fmla="*/ 38217 w 3147279"/>
                  <a:gd name="connsiteY82" fmla="*/ 1943100 h 3147261"/>
                  <a:gd name="connsiteX83" fmla="*/ 22977 w 3147279"/>
                  <a:gd name="connsiteY83" fmla="*/ 1897380 h 3147261"/>
                  <a:gd name="connsiteX84" fmla="*/ 117 w 3147279"/>
                  <a:gd name="connsiteY84" fmla="*/ 1562100 h 3147261"/>
                  <a:gd name="connsiteX85" fmla="*/ 22977 w 3147279"/>
                  <a:gd name="connsiteY85" fmla="*/ 1135380 h 3147261"/>
                  <a:gd name="connsiteX86" fmla="*/ 38217 w 3147279"/>
                  <a:gd name="connsiteY86" fmla="*/ 1104900 h 3147261"/>
                  <a:gd name="connsiteX87" fmla="*/ 83937 w 3147279"/>
                  <a:gd name="connsiteY87" fmla="*/ 1021080 h 3147261"/>
                  <a:gd name="connsiteX88" fmla="*/ 129657 w 3147279"/>
                  <a:gd name="connsiteY88" fmla="*/ 914400 h 3147261"/>
                  <a:gd name="connsiteX89" fmla="*/ 160137 w 3147279"/>
                  <a:gd name="connsiteY89" fmla="*/ 861060 h 3147261"/>
                  <a:gd name="connsiteX90" fmla="*/ 182997 w 3147279"/>
                  <a:gd name="connsiteY90" fmla="*/ 822960 h 3147261"/>
                  <a:gd name="connsiteX91" fmla="*/ 205857 w 3147279"/>
                  <a:gd name="connsiteY91" fmla="*/ 800100 h 3147261"/>
                  <a:gd name="connsiteX92" fmla="*/ 259197 w 3147279"/>
                  <a:gd name="connsiteY92" fmla="*/ 708660 h 3147261"/>
                  <a:gd name="connsiteX93" fmla="*/ 274437 w 3147279"/>
                  <a:gd name="connsiteY93" fmla="*/ 662940 h 3147261"/>
                  <a:gd name="connsiteX94" fmla="*/ 327777 w 3147279"/>
                  <a:gd name="connsiteY94" fmla="*/ 586740 h 3147261"/>
                  <a:gd name="connsiteX95" fmla="*/ 419217 w 3147279"/>
                  <a:gd name="connsiteY95" fmla="*/ 510540 h 3147261"/>
                  <a:gd name="connsiteX96" fmla="*/ 449697 w 3147279"/>
                  <a:gd name="connsiteY96" fmla="*/ 472440 h 3147261"/>
                  <a:gd name="connsiteX97" fmla="*/ 510657 w 3147279"/>
                  <a:gd name="connsiteY97" fmla="*/ 434340 h 3147261"/>
                  <a:gd name="connsiteX98" fmla="*/ 563997 w 3147279"/>
                  <a:gd name="connsiteY98" fmla="*/ 396240 h 3147261"/>
                  <a:gd name="connsiteX99" fmla="*/ 655437 w 3147279"/>
                  <a:gd name="connsiteY99" fmla="*/ 335280 h 3147261"/>
                  <a:gd name="connsiteX100" fmla="*/ 731637 w 3147279"/>
                  <a:gd name="connsiteY100" fmla="*/ 297180 h 3147261"/>
                  <a:gd name="connsiteX101" fmla="*/ 815457 w 3147279"/>
                  <a:gd name="connsiteY101" fmla="*/ 236220 h 3147261"/>
                  <a:gd name="connsiteX102" fmla="*/ 830697 w 3147279"/>
                  <a:gd name="connsiteY102" fmla="*/ 213360 h 3147261"/>
                  <a:gd name="connsiteX103" fmla="*/ 861177 w 3147279"/>
                  <a:gd name="connsiteY103" fmla="*/ 205740 h 3147261"/>
                  <a:gd name="connsiteX104" fmla="*/ 952617 w 3147279"/>
                  <a:gd name="connsiteY104" fmla="*/ 152400 h 3147261"/>
                  <a:gd name="connsiteX105" fmla="*/ 983097 w 3147279"/>
                  <a:gd name="connsiteY105" fmla="*/ 129540 h 3147261"/>
                  <a:gd name="connsiteX106" fmla="*/ 1105017 w 3147279"/>
                  <a:gd name="connsiteY106" fmla="*/ 76200 h 3147261"/>
                  <a:gd name="connsiteX107" fmla="*/ 1127877 w 3147279"/>
                  <a:gd name="connsiteY107" fmla="*/ 68580 h 3147261"/>
                  <a:gd name="connsiteX108" fmla="*/ 1188837 w 3147279"/>
                  <a:gd name="connsiteY108" fmla="*/ 53340 h 3147261"/>
                  <a:gd name="connsiteX109" fmla="*/ 1242177 w 3147279"/>
                  <a:gd name="connsiteY109" fmla="*/ 38100 h 3147261"/>
                  <a:gd name="connsiteX110" fmla="*/ 1265037 w 3147279"/>
                  <a:gd name="connsiteY110" fmla="*/ 30480 h 3147261"/>
                  <a:gd name="connsiteX111" fmla="*/ 1386957 w 3147279"/>
                  <a:gd name="connsiteY111" fmla="*/ 15240 h 3147261"/>
                  <a:gd name="connsiteX112" fmla="*/ 1463157 w 3147279"/>
                  <a:gd name="connsiteY112" fmla="*/ 0 h 3147261"/>
                  <a:gd name="connsiteX113" fmla="*/ 1882257 w 3147279"/>
                  <a:gd name="connsiteY113" fmla="*/ 15240 h 3147261"/>
                  <a:gd name="connsiteX114" fmla="*/ 1912737 w 3147279"/>
                  <a:gd name="connsiteY114" fmla="*/ 22860 h 3147261"/>
                  <a:gd name="connsiteX115" fmla="*/ 2164197 w 3147279"/>
                  <a:gd name="connsiteY115" fmla="*/ 99060 h 3147261"/>
                  <a:gd name="connsiteX116" fmla="*/ 2339457 w 3147279"/>
                  <a:gd name="connsiteY116" fmla="*/ 182880 h 3147261"/>
                  <a:gd name="connsiteX117" fmla="*/ 2369937 w 3147279"/>
                  <a:gd name="connsiteY117" fmla="*/ 190500 h 3147261"/>
                  <a:gd name="connsiteX118" fmla="*/ 2392797 w 3147279"/>
                  <a:gd name="connsiteY118" fmla="*/ 205740 h 3147261"/>
                  <a:gd name="connsiteX119" fmla="*/ 2438517 w 3147279"/>
                  <a:gd name="connsiteY119" fmla="*/ 228600 h 3147261"/>
                  <a:gd name="connsiteX120" fmla="*/ 2446137 w 3147279"/>
                  <a:gd name="connsiteY12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1912737 w 3147279"/>
                  <a:gd name="connsiteY64" fmla="*/ 3131820 h 3147261"/>
                  <a:gd name="connsiteX65" fmla="*/ 1798437 w 3147279"/>
                  <a:gd name="connsiteY65" fmla="*/ 3147060 h 3147261"/>
                  <a:gd name="connsiteX66" fmla="*/ 1333617 w 3147279"/>
                  <a:gd name="connsiteY66" fmla="*/ 3108960 h 3147261"/>
                  <a:gd name="connsiteX67" fmla="*/ 792597 w 3147279"/>
                  <a:gd name="connsiteY67" fmla="*/ 2933700 h 3147261"/>
                  <a:gd name="connsiteX68" fmla="*/ 419217 w 3147279"/>
                  <a:gd name="connsiteY68" fmla="*/ 2644140 h 3147261"/>
                  <a:gd name="connsiteX69" fmla="*/ 320157 w 3147279"/>
                  <a:gd name="connsiteY69" fmla="*/ 2484120 h 3147261"/>
                  <a:gd name="connsiteX70" fmla="*/ 297297 w 3147279"/>
                  <a:gd name="connsiteY70" fmla="*/ 2430780 h 3147261"/>
                  <a:gd name="connsiteX71" fmla="*/ 274437 w 3147279"/>
                  <a:gd name="connsiteY71" fmla="*/ 2377440 h 3147261"/>
                  <a:gd name="connsiteX72" fmla="*/ 228717 w 3147279"/>
                  <a:gd name="connsiteY72" fmla="*/ 2316480 h 3147261"/>
                  <a:gd name="connsiteX73" fmla="*/ 205857 w 3147279"/>
                  <a:gd name="connsiteY73" fmla="*/ 2293620 h 3147261"/>
                  <a:gd name="connsiteX74" fmla="*/ 175377 w 3147279"/>
                  <a:gd name="connsiteY74" fmla="*/ 2240280 h 3147261"/>
                  <a:gd name="connsiteX75" fmla="*/ 160137 w 3147279"/>
                  <a:gd name="connsiteY75" fmla="*/ 2202180 h 3147261"/>
                  <a:gd name="connsiteX76" fmla="*/ 144897 w 3147279"/>
                  <a:gd name="connsiteY76" fmla="*/ 2179320 h 3147261"/>
                  <a:gd name="connsiteX77" fmla="*/ 129657 w 3147279"/>
                  <a:gd name="connsiteY77" fmla="*/ 2133600 h 3147261"/>
                  <a:gd name="connsiteX78" fmla="*/ 99177 w 3147279"/>
                  <a:gd name="connsiteY78" fmla="*/ 2087880 h 3147261"/>
                  <a:gd name="connsiteX79" fmla="*/ 61077 w 3147279"/>
                  <a:gd name="connsiteY79" fmla="*/ 2026920 h 3147261"/>
                  <a:gd name="connsiteX80" fmla="*/ 53457 w 3147279"/>
                  <a:gd name="connsiteY80" fmla="*/ 2004060 h 3147261"/>
                  <a:gd name="connsiteX81" fmla="*/ 38217 w 3147279"/>
                  <a:gd name="connsiteY81" fmla="*/ 1943100 h 3147261"/>
                  <a:gd name="connsiteX82" fmla="*/ 22977 w 3147279"/>
                  <a:gd name="connsiteY82" fmla="*/ 1897380 h 3147261"/>
                  <a:gd name="connsiteX83" fmla="*/ 117 w 3147279"/>
                  <a:gd name="connsiteY83" fmla="*/ 1562100 h 3147261"/>
                  <a:gd name="connsiteX84" fmla="*/ 22977 w 3147279"/>
                  <a:gd name="connsiteY84" fmla="*/ 1135380 h 3147261"/>
                  <a:gd name="connsiteX85" fmla="*/ 38217 w 3147279"/>
                  <a:gd name="connsiteY85" fmla="*/ 1104900 h 3147261"/>
                  <a:gd name="connsiteX86" fmla="*/ 83937 w 3147279"/>
                  <a:gd name="connsiteY86" fmla="*/ 1021080 h 3147261"/>
                  <a:gd name="connsiteX87" fmla="*/ 129657 w 3147279"/>
                  <a:gd name="connsiteY87" fmla="*/ 914400 h 3147261"/>
                  <a:gd name="connsiteX88" fmla="*/ 160137 w 3147279"/>
                  <a:gd name="connsiteY88" fmla="*/ 861060 h 3147261"/>
                  <a:gd name="connsiteX89" fmla="*/ 182997 w 3147279"/>
                  <a:gd name="connsiteY89" fmla="*/ 822960 h 3147261"/>
                  <a:gd name="connsiteX90" fmla="*/ 205857 w 3147279"/>
                  <a:gd name="connsiteY90" fmla="*/ 800100 h 3147261"/>
                  <a:gd name="connsiteX91" fmla="*/ 259197 w 3147279"/>
                  <a:gd name="connsiteY91" fmla="*/ 708660 h 3147261"/>
                  <a:gd name="connsiteX92" fmla="*/ 274437 w 3147279"/>
                  <a:gd name="connsiteY92" fmla="*/ 662940 h 3147261"/>
                  <a:gd name="connsiteX93" fmla="*/ 327777 w 3147279"/>
                  <a:gd name="connsiteY93" fmla="*/ 586740 h 3147261"/>
                  <a:gd name="connsiteX94" fmla="*/ 419217 w 3147279"/>
                  <a:gd name="connsiteY94" fmla="*/ 510540 h 3147261"/>
                  <a:gd name="connsiteX95" fmla="*/ 449697 w 3147279"/>
                  <a:gd name="connsiteY95" fmla="*/ 472440 h 3147261"/>
                  <a:gd name="connsiteX96" fmla="*/ 510657 w 3147279"/>
                  <a:gd name="connsiteY96" fmla="*/ 434340 h 3147261"/>
                  <a:gd name="connsiteX97" fmla="*/ 563997 w 3147279"/>
                  <a:gd name="connsiteY97" fmla="*/ 396240 h 3147261"/>
                  <a:gd name="connsiteX98" fmla="*/ 655437 w 3147279"/>
                  <a:gd name="connsiteY98" fmla="*/ 335280 h 3147261"/>
                  <a:gd name="connsiteX99" fmla="*/ 731637 w 3147279"/>
                  <a:gd name="connsiteY99" fmla="*/ 297180 h 3147261"/>
                  <a:gd name="connsiteX100" fmla="*/ 815457 w 3147279"/>
                  <a:gd name="connsiteY100" fmla="*/ 236220 h 3147261"/>
                  <a:gd name="connsiteX101" fmla="*/ 830697 w 3147279"/>
                  <a:gd name="connsiteY101" fmla="*/ 213360 h 3147261"/>
                  <a:gd name="connsiteX102" fmla="*/ 861177 w 3147279"/>
                  <a:gd name="connsiteY102" fmla="*/ 205740 h 3147261"/>
                  <a:gd name="connsiteX103" fmla="*/ 952617 w 3147279"/>
                  <a:gd name="connsiteY103" fmla="*/ 152400 h 3147261"/>
                  <a:gd name="connsiteX104" fmla="*/ 983097 w 3147279"/>
                  <a:gd name="connsiteY104" fmla="*/ 129540 h 3147261"/>
                  <a:gd name="connsiteX105" fmla="*/ 1105017 w 3147279"/>
                  <a:gd name="connsiteY105" fmla="*/ 76200 h 3147261"/>
                  <a:gd name="connsiteX106" fmla="*/ 1127877 w 3147279"/>
                  <a:gd name="connsiteY106" fmla="*/ 68580 h 3147261"/>
                  <a:gd name="connsiteX107" fmla="*/ 1188837 w 3147279"/>
                  <a:gd name="connsiteY107" fmla="*/ 53340 h 3147261"/>
                  <a:gd name="connsiteX108" fmla="*/ 1242177 w 3147279"/>
                  <a:gd name="connsiteY108" fmla="*/ 38100 h 3147261"/>
                  <a:gd name="connsiteX109" fmla="*/ 1265037 w 3147279"/>
                  <a:gd name="connsiteY109" fmla="*/ 30480 h 3147261"/>
                  <a:gd name="connsiteX110" fmla="*/ 1386957 w 3147279"/>
                  <a:gd name="connsiteY110" fmla="*/ 15240 h 3147261"/>
                  <a:gd name="connsiteX111" fmla="*/ 1463157 w 3147279"/>
                  <a:gd name="connsiteY111" fmla="*/ 0 h 3147261"/>
                  <a:gd name="connsiteX112" fmla="*/ 1882257 w 3147279"/>
                  <a:gd name="connsiteY112" fmla="*/ 15240 h 3147261"/>
                  <a:gd name="connsiteX113" fmla="*/ 1912737 w 3147279"/>
                  <a:gd name="connsiteY113" fmla="*/ 22860 h 3147261"/>
                  <a:gd name="connsiteX114" fmla="*/ 2164197 w 3147279"/>
                  <a:gd name="connsiteY114" fmla="*/ 99060 h 3147261"/>
                  <a:gd name="connsiteX115" fmla="*/ 2339457 w 3147279"/>
                  <a:gd name="connsiteY115" fmla="*/ 182880 h 3147261"/>
                  <a:gd name="connsiteX116" fmla="*/ 2369937 w 3147279"/>
                  <a:gd name="connsiteY116" fmla="*/ 190500 h 3147261"/>
                  <a:gd name="connsiteX117" fmla="*/ 2392797 w 3147279"/>
                  <a:gd name="connsiteY117" fmla="*/ 205740 h 3147261"/>
                  <a:gd name="connsiteX118" fmla="*/ 2438517 w 3147279"/>
                  <a:gd name="connsiteY118" fmla="*/ 228600 h 3147261"/>
                  <a:gd name="connsiteX119" fmla="*/ 2446137 w 3147279"/>
                  <a:gd name="connsiteY119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10134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94677 w 3147279"/>
                  <a:gd name="connsiteY61" fmla="*/ 302514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77557 w 3147279"/>
                  <a:gd name="connsiteY58" fmla="*/ 2910840 h 3147261"/>
                  <a:gd name="connsiteX59" fmla="*/ 2301357 w 3147279"/>
                  <a:gd name="connsiteY59" fmla="*/ 2971800 h 3147261"/>
                  <a:gd name="connsiteX60" fmla="*/ 2194677 w 3147279"/>
                  <a:gd name="connsiteY60" fmla="*/ 3025140 h 3147261"/>
                  <a:gd name="connsiteX61" fmla="*/ 2095617 w 3147279"/>
                  <a:gd name="connsiteY61" fmla="*/ 3055620 h 3147261"/>
                  <a:gd name="connsiteX62" fmla="*/ 1912737 w 3147279"/>
                  <a:gd name="connsiteY62" fmla="*/ 3108960 h 3147261"/>
                  <a:gd name="connsiteX63" fmla="*/ 1798437 w 3147279"/>
                  <a:gd name="connsiteY63" fmla="*/ 3147060 h 3147261"/>
                  <a:gd name="connsiteX64" fmla="*/ 1333617 w 3147279"/>
                  <a:gd name="connsiteY64" fmla="*/ 3108960 h 3147261"/>
                  <a:gd name="connsiteX65" fmla="*/ 792597 w 3147279"/>
                  <a:gd name="connsiteY65" fmla="*/ 2933700 h 3147261"/>
                  <a:gd name="connsiteX66" fmla="*/ 419217 w 3147279"/>
                  <a:gd name="connsiteY66" fmla="*/ 2644140 h 3147261"/>
                  <a:gd name="connsiteX67" fmla="*/ 320157 w 3147279"/>
                  <a:gd name="connsiteY67" fmla="*/ 2484120 h 3147261"/>
                  <a:gd name="connsiteX68" fmla="*/ 297297 w 3147279"/>
                  <a:gd name="connsiteY68" fmla="*/ 2430780 h 3147261"/>
                  <a:gd name="connsiteX69" fmla="*/ 274437 w 3147279"/>
                  <a:gd name="connsiteY69" fmla="*/ 2377440 h 3147261"/>
                  <a:gd name="connsiteX70" fmla="*/ 228717 w 3147279"/>
                  <a:gd name="connsiteY70" fmla="*/ 2316480 h 3147261"/>
                  <a:gd name="connsiteX71" fmla="*/ 205857 w 3147279"/>
                  <a:gd name="connsiteY71" fmla="*/ 2293620 h 3147261"/>
                  <a:gd name="connsiteX72" fmla="*/ 175377 w 3147279"/>
                  <a:gd name="connsiteY72" fmla="*/ 2240280 h 3147261"/>
                  <a:gd name="connsiteX73" fmla="*/ 160137 w 3147279"/>
                  <a:gd name="connsiteY73" fmla="*/ 2202180 h 3147261"/>
                  <a:gd name="connsiteX74" fmla="*/ 144897 w 3147279"/>
                  <a:gd name="connsiteY74" fmla="*/ 2179320 h 3147261"/>
                  <a:gd name="connsiteX75" fmla="*/ 129657 w 3147279"/>
                  <a:gd name="connsiteY75" fmla="*/ 2133600 h 3147261"/>
                  <a:gd name="connsiteX76" fmla="*/ 99177 w 3147279"/>
                  <a:gd name="connsiteY76" fmla="*/ 2087880 h 3147261"/>
                  <a:gd name="connsiteX77" fmla="*/ 61077 w 3147279"/>
                  <a:gd name="connsiteY77" fmla="*/ 2026920 h 3147261"/>
                  <a:gd name="connsiteX78" fmla="*/ 53457 w 3147279"/>
                  <a:gd name="connsiteY78" fmla="*/ 2004060 h 3147261"/>
                  <a:gd name="connsiteX79" fmla="*/ 38217 w 3147279"/>
                  <a:gd name="connsiteY79" fmla="*/ 1943100 h 3147261"/>
                  <a:gd name="connsiteX80" fmla="*/ 22977 w 3147279"/>
                  <a:gd name="connsiteY80" fmla="*/ 1897380 h 3147261"/>
                  <a:gd name="connsiteX81" fmla="*/ 117 w 3147279"/>
                  <a:gd name="connsiteY81" fmla="*/ 1562100 h 3147261"/>
                  <a:gd name="connsiteX82" fmla="*/ 22977 w 3147279"/>
                  <a:gd name="connsiteY82" fmla="*/ 1135380 h 3147261"/>
                  <a:gd name="connsiteX83" fmla="*/ 38217 w 3147279"/>
                  <a:gd name="connsiteY83" fmla="*/ 1104900 h 3147261"/>
                  <a:gd name="connsiteX84" fmla="*/ 83937 w 3147279"/>
                  <a:gd name="connsiteY84" fmla="*/ 1021080 h 3147261"/>
                  <a:gd name="connsiteX85" fmla="*/ 129657 w 3147279"/>
                  <a:gd name="connsiteY85" fmla="*/ 914400 h 3147261"/>
                  <a:gd name="connsiteX86" fmla="*/ 160137 w 3147279"/>
                  <a:gd name="connsiteY86" fmla="*/ 861060 h 3147261"/>
                  <a:gd name="connsiteX87" fmla="*/ 182997 w 3147279"/>
                  <a:gd name="connsiteY87" fmla="*/ 822960 h 3147261"/>
                  <a:gd name="connsiteX88" fmla="*/ 205857 w 3147279"/>
                  <a:gd name="connsiteY88" fmla="*/ 800100 h 3147261"/>
                  <a:gd name="connsiteX89" fmla="*/ 259197 w 3147279"/>
                  <a:gd name="connsiteY89" fmla="*/ 708660 h 3147261"/>
                  <a:gd name="connsiteX90" fmla="*/ 274437 w 3147279"/>
                  <a:gd name="connsiteY90" fmla="*/ 662940 h 3147261"/>
                  <a:gd name="connsiteX91" fmla="*/ 327777 w 3147279"/>
                  <a:gd name="connsiteY91" fmla="*/ 586740 h 3147261"/>
                  <a:gd name="connsiteX92" fmla="*/ 419217 w 3147279"/>
                  <a:gd name="connsiteY92" fmla="*/ 510540 h 3147261"/>
                  <a:gd name="connsiteX93" fmla="*/ 449697 w 3147279"/>
                  <a:gd name="connsiteY93" fmla="*/ 472440 h 3147261"/>
                  <a:gd name="connsiteX94" fmla="*/ 510657 w 3147279"/>
                  <a:gd name="connsiteY94" fmla="*/ 434340 h 3147261"/>
                  <a:gd name="connsiteX95" fmla="*/ 563997 w 3147279"/>
                  <a:gd name="connsiteY95" fmla="*/ 396240 h 3147261"/>
                  <a:gd name="connsiteX96" fmla="*/ 655437 w 3147279"/>
                  <a:gd name="connsiteY96" fmla="*/ 335280 h 3147261"/>
                  <a:gd name="connsiteX97" fmla="*/ 731637 w 3147279"/>
                  <a:gd name="connsiteY97" fmla="*/ 297180 h 3147261"/>
                  <a:gd name="connsiteX98" fmla="*/ 815457 w 3147279"/>
                  <a:gd name="connsiteY98" fmla="*/ 236220 h 3147261"/>
                  <a:gd name="connsiteX99" fmla="*/ 830697 w 3147279"/>
                  <a:gd name="connsiteY99" fmla="*/ 213360 h 3147261"/>
                  <a:gd name="connsiteX100" fmla="*/ 861177 w 3147279"/>
                  <a:gd name="connsiteY100" fmla="*/ 205740 h 3147261"/>
                  <a:gd name="connsiteX101" fmla="*/ 952617 w 3147279"/>
                  <a:gd name="connsiteY101" fmla="*/ 152400 h 3147261"/>
                  <a:gd name="connsiteX102" fmla="*/ 983097 w 3147279"/>
                  <a:gd name="connsiteY102" fmla="*/ 129540 h 3147261"/>
                  <a:gd name="connsiteX103" fmla="*/ 1105017 w 3147279"/>
                  <a:gd name="connsiteY103" fmla="*/ 76200 h 3147261"/>
                  <a:gd name="connsiteX104" fmla="*/ 1127877 w 3147279"/>
                  <a:gd name="connsiteY104" fmla="*/ 68580 h 3147261"/>
                  <a:gd name="connsiteX105" fmla="*/ 1188837 w 3147279"/>
                  <a:gd name="connsiteY105" fmla="*/ 53340 h 3147261"/>
                  <a:gd name="connsiteX106" fmla="*/ 1242177 w 3147279"/>
                  <a:gd name="connsiteY106" fmla="*/ 38100 h 3147261"/>
                  <a:gd name="connsiteX107" fmla="*/ 1265037 w 3147279"/>
                  <a:gd name="connsiteY107" fmla="*/ 30480 h 3147261"/>
                  <a:gd name="connsiteX108" fmla="*/ 1386957 w 3147279"/>
                  <a:gd name="connsiteY108" fmla="*/ 15240 h 3147261"/>
                  <a:gd name="connsiteX109" fmla="*/ 1463157 w 3147279"/>
                  <a:gd name="connsiteY109" fmla="*/ 0 h 3147261"/>
                  <a:gd name="connsiteX110" fmla="*/ 1882257 w 3147279"/>
                  <a:gd name="connsiteY110" fmla="*/ 15240 h 3147261"/>
                  <a:gd name="connsiteX111" fmla="*/ 1912737 w 3147279"/>
                  <a:gd name="connsiteY111" fmla="*/ 22860 h 3147261"/>
                  <a:gd name="connsiteX112" fmla="*/ 2164197 w 3147279"/>
                  <a:gd name="connsiteY112" fmla="*/ 99060 h 3147261"/>
                  <a:gd name="connsiteX113" fmla="*/ 2339457 w 3147279"/>
                  <a:gd name="connsiteY113" fmla="*/ 182880 h 3147261"/>
                  <a:gd name="connsiteX114" fmla="*/ 2369937 w 3147279"/>
                  <a:gd name="connsiteY114" fmla="*/ 190500 h 3147261"/>
                  <a:gd name="connsiteX115" fmla="*/ 2392797 w 3147279"/>
                  <a:gd name="connsiteY115" fmla="*/ 205740 h 3147261"/>
                  <a:gd name="connsiteX116" fmla="*/ 2438517 w 3147279"/>
                  <a:gd name="connsiteY116" fmla="*/ 228600 h 3147261"/>
                  <a:gd name="connsiteX117" fmla="*/ 2446137 w 3147279"/>
                  <a:gd name="connsiteY117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01357 w 3147279"/>
                  <a:gd name="connsiteY58" fmla="*/ 2971800 h 3147261"/>
                  <a:gd name="connsiteX59" fmla="*/ 2194677 w 3147279"/>
                  <a:gd name="connsiteY59" fmla="*/ 3025140 h 3147261"/>
                  <a:gd name="connsiteX60" fmla="*/ 2095617 w 3147279"/>
                  <a:gd name="connsiteY60" fmla="*/ 3055620 h 3147261"/>
                  <a:gd name="connsiteX61" fmla="*/ 1912737 w 3147279"/>
                  <a:gd name="connsiteY61" fmla="*/ 3108960 h 3147261"/>
                  <a:gd name="connsiteX62" fmla="*/ 1798437 w 3147279"/>
                  <a:gd name="connsiteY62" fmla="*/ 3147060 h 3147261"/>
                  <a:gd name="connsiteX63" fmla="*/ 1333617 w 3147279"/>
                  <a:gd name="connsiteY63" fmla="*/ 3108960 h 3147261"/>
                  <a:gd name="connsiteX64" fmla="*/ 792597 w 3147279"/>
                  <a:gd name="connsiteY64" fmla="*/ 2933700 h 3147261"/>
                  <a:gd name="connsiteX65" fmla="*/ 419217 w 3147279"/>
                  <a:gd name="connsiteY65" fmla="*/ 2644140 h 3147261"/>
                  <a:gd name="connsiteX66" fmla="*/ 320157 w 3147279"/>
                  <a:gd name="connsiteY66" fmla="*/ 2484120 h 3147261"/>
                  <a:gd name="connsiteX67" fmla="*/ 297297 w 3147279"/>
                  <a:gd name="connsiteY67" fmla="*/ 2430780 h 3147261"/>
                  <a:gd name="connsiteX68" fmla="*/ 274437 w 3147279"/>
                  <a:gd name="connsiteY68" fmla="*/ 2377440 h 3147261"/>
                  <a:gd name="connsiteX69" fmla="*/ 228717 w 3147279"/>
                  <a:gd name="connsiteY69" fmla="*/ 2316480 h 3147261"/>
                  <a:gd name="connsiteX70" fmla="*/ 205857 w 3147279"/>
                  <a:gd name="connsiteY70" fmla="*/ 2293620 h 3147261"/>
                  <a:gd name="connsiteX71" fmla="*/ 175377 w 3147279"/>
                  <a:gd name="connsiteY71" fmla="*/ 2240280 h 3147261"/>
                  <a:gd name="connsiteX72" fmla="*/ 160137 w 3147279"/>
                  <a:gd name="connsiteY72" fmla="*/ 2202180 h 3147261"/>
                  <a:gd name="connsiteX73" fmla="*/ 144897 w 3147279"/>
                  <a:gd name="connsiteY73" fmla="*/ 2179320 h 3147261"/>
                  <a:gd name="connsiteX74" fmla="*/ 129657 w 3147279"/>
                  <a:gd name="connsiteY74" fmla="*/ 2133600 h 3147261"/>
                  <a:gd name="connsiteX75" fmla="*/ 99177 w 3147279"/>
                  <a:gd name="connsiteY75" fmla="*/ 2087880 h 3147261"/>
                  <a:gd name="connsiteX76" fmla="*/ 61077 w 3147279"/>
                  <a:gd name="connsiteY76" fmla="*/ 2026920 h 3147261"/>
                  <a:gd name="connsiteX77" fmla="*/ 53457 w 3147279"/>
                  <a:gd name="connsiteY77" fmla="*/ 2004060 h 3147261"/>
                  <a:gd name="connsiteX78" fmla="*/ 38217 w 3147279"/>
                  <a:gd name="connsiteY78" fmla="*/ 1943100 h 3147261"/>
                  <a:gd name="connsiteX79" fmla="*/ 22977 w 3147279"/>
                  <a:gd name="connsiteY79" fmla="*/ 1897380 h 3147261"/>
                  <a:gd name="connsiteX80" fmla="*/ 117 w 3147279"/>
                  <a:gd name="connsiteY80" fmla="*/ 1562100 h 3147261"/>
                  <a:gd name="connsiteX81" fmla="*/ 22977 w 3147279"/>
                  <a:gd name="connsiteY81" fmla="*/ 1135380 h 3147261"/>
                  <a:gd name="connsiteX82" fmla="*/ 38217 w 3147279"/>
                  <a:gd name="connsiteY82" fmla="*/ 1104900 h 3147261"/>
                  <a:gd name="connsiteX83" fmla="*/ 83937 w 3147279"/>
                  <a:gd name="connsiteY83" fmla="*/ 1021080 h 3147261"/>
                  <a:gd name="connsiteX84" fmla="*/ 129657 w 3147279"/>
                  <a:gd name="connsiteY84" fmla="*/ 914400 h 3147261"/>
                  <a:gd name="connsiteX85" fmla="*/ 160137 w 3147279"/>
                  <a:gd name="connsiteY85" fmla="*/ 861060 h 3147261"/>
                  <a:gd name="connsiteX86" fmla="*/ 182997 w 3147279"/>
                  <a:gd name="connsiteY86" fmla="*/ 822960 h 3147261"/>
                  <a:gd name="connsiteX87" fmla="*/ 205857 w 3147279"/>
                  <a:gd name="connsiteY87" fmla="*/ 800100 h 3147261"/>
                  <a:gd name="connsiteX88" fmla="*/ 259197 w 3147279"/>
                  <a:gd name="connsiteY88" fmla="*/ 708660 h 3147261"/>
                  <a:gd name="connsiteX89" fmla="*/ 274437 w 3147279"/>
                  <a:gd name="connsiteY89" fmla="*/ 662940 h 3147261"/>
                  <a:gd name="connsiteX90" fmla="*/ 327777 w 3147279"/>
                  <a:gd name="connsiteY90" fmla="*/ 586740 h 3147261"/>
                  <a:gd name="connsiteX91" fmla="*/ 419217 w 3147279"/>
                  <a:gd name="connsiteY91" fmla="*/ 510540 h 3147261"/>
                  <a:gd name="connsiteX92" fmla="*/ 449697 w 3147279"/>
                  <a:gd name="connsiteY92" fmla="*/ 472440 h 3147261"/>
                  <a:gd name="connsiteX93" fmla="*/ 510657 w 3147279"/>
                  <a:gd name="connsiteY93" fmla="*/ 434340 h 3147261"/>
                  <a:gd name="connsiteX94" fmla="*/ 563997 w 3147279"/>
                  <a:gd name="connsiteY94" fmla="*/ 396240 h 3147261"/>
                  <a:gd name="connsiteX95" fmla="*/ 655437 w 3147279"/>
                  <a:gd name="connsiteY95" fmla="*/ 335280 h 3147261"/>
                  <a:gd name="connsiteX96" fmla="*/ 731637 w 3147279"/>
                  <a:gd name="connsiteY96" fmla="*/ 297180 h 3147261"/>
                  <a:gd name="connsiteX97" fmla="*/ 815457 w 3147279"/>
                  <a:gd name="connsiteY97" fmla="*/ 236220 h 3147261"/>
                  <a:gd name="connsiteX98" fmla="*/ 830697 w 3147279"/>
                  <a:gd name="connsiteY98" fmla="*/ 213360 h 3147261"/>
                  <a:gd name="connsiteX99" fmla="*/ 861177 w 3147279"/>
                  <a:gd name="connsiteY99" fmla="*/ 205740 h 3147261"/>
                  <a:gd name="connsiteX100" fmla="*/ 952617 w 3147279"/>
                  <a:gd name="connsiteY100" fmla="*/ 152400 h 3147261"/>
                  <a:gd name="connsiteX101" fmla="*/ 983097 w 3147279"/>
                  <a:gd name="connsiteY101" fmla="*/ 129540 h 3147261"/>
                  <a:gd name="connsiteX102" fmla="*/ 1105017 w 3147279"/>
                  <a:gd name="connsiteY102" fmla="*/ 76200 h 3147261"/>
                  <a:gd name="connsiteX103" fmla="*/ 1127877 w 3147279"/>
                  <a:gd name="connsiteY103" fmla="*/ 68580 h 3147261"/>
                  <a:gd name="connsiteX104" fmla="*/ 1188837 w 3147279"/>
                  <a:gd name="connsiteY104" fmla="*/ 53340 h 3147261"/>
                  <a:gd name="connsiteX105" fmla="*/ 1242177 w 3147279"/>
                  <a:gd name="connsiteY105" fmla="*/ 38100 h 3147261"/>
                  <a:gd name="connsiteX106" fmla="*/ 1265037 w 3147279"/>
                  <a:gd name="connsiteY106" fmla="*/ 30480 h 3147261"/>
                  <a:gd name="connsiteX107" fmla="*/ 1386957 w 3147279"/>
                  <a:gd name="connsiteY107" fmla="*/ 15240 h 3147261"/>
                  <a:gd name="connsiteX108" fmla="*/ 1463157 w 3147279"/>
                  <a:gd name="connsiteY108" fmla="*/ 0 h 3147261"/>
                  <a:gd name="connsiteX109" fmla="*/ 1882257 w 3147279"/>
                  <a:gd name="connsiteY109" fmla="*/ 15240 h 3147261"/>
                  <a:gd name="connsiteX110" fmla="*/ 1912737 w 3147279"/>
                  <a:gd name="connsiteY110" fmla="*/ 22860 h 3147261"/>
                  <a:gd name="connsiteX111" fmla="*/ 2164197 w 3147279"/>
                  <a:gd name="connsiteY111" fmla="*/ 99060 h 3147261"/>
                  <a:gd name="connsiteX112" fmla="*/ 2339457 w 3147279"/>
                  <a:gd name="connsiteY112" fmla="*/ 182880 h 3147261"/>
                  <a:gd name="connsiteX113" fmla="*/ 2369937 w 3147279"/>
                  <a:gd name="connsiteY113" fmla="*/ 190500 h 3147261"/>
                  <a:gd name="connsiteX114" fmla="*/ 2392797 w 3147279"/>
                  <a:gd name="connsiteY114" fmla="*/ 205740 h 3147261"/>
                  <a:gd name="connsiteX115" fmla="*/ 2438517 w 3147279"/>
                  <a:gd name="connsiteY115" fmla="*/ 228600 h 3147261"/>
                  <a:gd name="connsiteX116" fmla="*/ 2446137 w 3147279"/>
                  <a:gd name="connsiteY116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45197 w 3147279"/>
                  <a:gd name="connsiteY54" fmla="*/ 2773680 h 3147261"/>
                  <a:gd name="connsiteX55" fmla="*/ 2423277 w 3147279"/>
                  <a:gd name="connsiteY55" fmla="*/ 2865120 h 3147261"/>
                  <a:gd name="connsiteX56" fmla="*/ 2392797 w 3147279"/>
                  <a:gd name="connsiteY56" fmla="*/ 2887980 h 3147261"/>
                  <a:gd name="connsiteX57" fmla="*/ 2301357 w 3147279"/>
                  <a:gd name="connsiteY57" fmla="*/ 2971800 h 3147261"/>
                  <a:gd name="connsiteX58" fmla="*/ 2194677 w 3147279"/>
                  <a:gd name="connsiteY58" fmla="*/ 3025140 h 3147261"/>
                  <a:gd name="connsiteX59" fmla="*/ 2095617 w 3147279"/>
                  <a:gd name="connsiteY59" fmla="*/ 3055620 h 3147261"/>
                  <a:gd name="connsiteX60" fmla="*/ 1912737 w 3147279"/>
                  <a:gd name="connsiteY60" fmla="*/ 3108960 h 3147261"/>
                  <a:gd name="connsiteX61" fmla="*/ 1798437 w 3147279"/>
                  <a:gd name="connsiteY61" fmla="*/ 3147060 h 3147261"/>
                  <a:gd name="connsiteX62" fmla="*/ 1333617 w 3147279"/>
                  <a:gd name="connsiteY62" fmla="*/ 3108960 h 3147261"/>
                  <a:gd name="connsiteX63" fmla="*/ 792597 w 3147279"/>
                  <a:gd name="connsiteY63" fmla="*/ 2933700 h 3147261"/>
                  <a:gd name="connsiteX64" fmla="*/ 419217 w 3147279"/>
                  <a:gd name="connsiteY64" fmla="*/ 2644140 h 3147261"/>
                  <a:gd name="connsiteX65" fmla="*/ 320157 w 3147279"/>
                  <a:gd name="connsiteY65" fmla="*/ 2484120 h 3147261"/>
                  <a:gd name="connsiteX66" fmla="*/ 297297 w 3147279"/>
                  <a:gd name="connsiteY66" fmla="*/ 2430780 h 3147261"/>
                  <a:gd name="connsiteX67" fmla="*/ 274437 w 3147279"/>
                  <a:gd name="connsiteY67" fmla="*/ 2377440 h 3147261"/>
                  <a:gd name="connsiteX68" fmla="*/ 228717 w 3147279"/>
                  <a:gd name="connsiteY68" fmla="*/ 2316480 h 3147261"/>
                  <a:gd name="connsiteX69" fmla="*/ 205857 w 3147279"/>
                  <a:gd name="connsiteY69" fmla="*/ 2293620 h 3147261"/>
                  <a:gd name="connsiteX70" fmla="*/ 175377 w 3147279"/>
                  <a:gd name="connsiteY70" fmla="*/ 2240280 h 3147261"/>
                  <a:gd name="connsiteX71" fmla="*/ 160137 w 3147279"/>
                  <a:gd name="connsiteY71" fmla="*/ 2202180 h 3147261"/>
                  <a:gd name="connsiteX72" fmla="*/ 144897 w 3147279"/>
                  <a:gd name="connsiteY72" fmla="*/ 2179320 h 3147261"/>
                  <a:gd name="connsiteX73" fmla="*/ 129657 w 3147279"/>
                  <a:gd name="connsiteY73" fmla="*/ 2133600 h 3147261"/>
                  <a:gd name="connsiteX74" fmla="*/ 99177 w 3147279"/>
                  <a:gd name="connsiteY74" fmla="*/ 2087880 h 3147261"/>
                  <a:gd name="connsiteX75" fmla="*/ 61077 w 3147279"/>
                  <a:gd name="connsiteY75" fmla="*/ 2026920 h 3147261"/>
                  <a:gd name="connsiteX76" fmla="*/ 53457 w 3147279"/>
                  <a:gd name="connsiteY76" fmla="*/ 2004060 h 3147261"/>
                  <a:gd name="connsiteX77" fmla="*/ 38217 w 3147279"/>
                  <a:gd name="connsiteY77" fmla="*/ 1943100 h 3147261"/>
                  <a:gd name="connsiteX78" fmla="*/ 22977 w 3147279"/>
                  <a:gd name="connsiteY78" fmla="*/ 1897380 h 3147261"/>
                  <a:gd name="connsiteX79" fmla="*/ 117 w 3147279"/>
                  <a:gd name="connsiteY79" fmla="*/ 1562100 h 3147261"/>
                  <a:gd name="connsiteX80" fmla="*/ 22977 w 3147279"/>
                  <a:gd name="connsiteY80" fmla="*/ 1135380 h 3147261"/>
                  <a:gd name="connsiteX81" fmla="*/ 38217 w 3147279"/>
                  <a:gd name="connsiteY81" fmla="*/ 1104900 h 3147261"/>
                  <a:gd name="connsiteX82" fmla="*/ 83937 w 3147279"/>
                  <a:gd name="connsiteY82" fmla="*/ 1021080 h 3147261"/>
                  <a:gd name="connsiteX83" fmla="*/ 129657 w 3147279"/>
                  <a:gd name="connsiteY83" fmla="*/ 914400 h 3147261"/>
                  <a:gd name="connsiteX84" fmla="*/ 160137 w 3147279"/>
                  <a:gd name="connsiteY84" fmla="*/ 861060 h 3147261"/>
                  <a:gd name="connsiteX85" fmla="*/ 182997 w 3147279"/>
                  <a:gd name="connsiteY85" fmla="*/ 822960 h 3147261"/>
                  <a:gd name="connsiteX86" fmla="*/ 205857 w 3147279"/>
                  <a:gd name="connsiteY86" fmla="*/ 800100 h 3147261"/>
                  <a:gd name="connsiteX87" fmla="*/ 259197 w 3147279"/>
                  <a:gd name="connsiteY87" fmla="*/ 708660 h 3147261"/>
                  <a:gd name="connsiteX88" fmla="*/ 274437 w 3147279"/>
                  <a:gd name="connsiteY88" fmla="*/ 662940 h 3147261"/>
                  <a:gd name="connsiteX89" fmla="*/ 327777 w 3147279"/>
                  <a:gd name="connsiteY89" fmla="*/ 586740 h 3147261"/>
                  <a:gd name="connsiteX90" fmla="*/ 419217 w 3147279"/>
                  <a:gd name="connsiteY90" fmla="*/ 510540 h 3147261"/>
                  <a:gd name="connsiteX91" fmla="*/ 449697 w 3147279"/>
                  <a:gd name="connsiteY91" fmla="*/ 472440 h 3147261"/>
                  <a:gd name="connsiteX92" fmla="*/ 510657 w 3147279"/>
                  <a:gd name="connsiteY92" fmla="*/ 434340 h 3147261"/>
                  <a:gd name="connsiteX93" fmla="*/ 563997 w 3147279"/>
                  <a:gd name="connsiteY93" fmla="*/ 396240 h 3147261"/>
                  <a:gd name="connsiteX94" fmla="*/ 655437 w 3147279"/>
                  <a:gd name="connsiteY94" fmla="*/ 335280 h 3147261"/>
                  <a:gd name="connsiteX95" fmla="*/ 731637 w 3147279"/>
                  <a:gd name="connsiteY95" fmla="*/ 297180 h 3147261"/>
                  <a:gd name="connsiteX96" fmla="*/ 815457 w 3147279"/>
                  <a:gd name="connsiteY96" fmla="*/ 236220 h 3147261"/>
                  <a:gd name="connsiteX97" fmla="*/ 830697 w 3147279"/>
                  <a:gd name="connsiteY97" fmla="*/ 213360 h 3147261"/>
                  <a:gd name="connsiteX98" fmla="*/ 861177 w 3147279"/>
                  <a:gd name="connsiteY98" fmla="*/ 205740 h 3147261"/>
                  <a:gd name="connsiteX99" fmla="*/ 952617 w 3147279"/>
                  <a:gd name="connsiteY99" fmla="*/ 152400 h 3147261"/>
                  <a:gd name="connsiteX100" fmla="*/ 983097 w 3147279"/>
                  <a:gd name="connsiteY100" fmla="*/ 129540 h 3147261"/>
                  <a:gd name="connsiteX101" fmla="*/ 1105017 w 3147279"/>
                  <a:gd name="connsiteY101" fmla="*/ 76200 h 3147261"/>
                  <a:gd name="connsiteX102" fmla="*/ 1127877 w 3147279"/>
                  <a:gd name="connsiteY102" fmla="*/ 68580 h 3147261"/>
                  <a:gd name="connsiteX103" fmla="*/ 1188837 w 3147279"/>
                  <a:gd name="connsiteY103" fmla="*/ 53340 h 3147261"/>
                  <a:gd name="connsiteX104" fmla="*/ 1242177 w 3147279"/>
                  <a:gd name="connsiteY104" fmla="*/ 38100 h 3147261"/>
                  <a:gd name="connsiteX105" fmla="*/ 1265037 w 3147279"/>
                  <a:gd name="connsiteY105" fmla="*/ 30480 h 3147261"/>
                  <a:gd name="connsiteX106" fmla="*/ 1386957 w 3147279"/>
                  <a:gd name="connsiteY106" fmla="*/ 15240 h 3147261"/>
                  <a:gd name="connsiteX107" fmla="*/ 1463157 w 3147279"/>
                  <a:gd name="connsiteY107" fmla="*/ 0 h 3147261"/>
                  <a:gd name="connsiteX108" fmla="*/ 1882257 w 3147279"/>
                  <a:gd name="connsiteY108" fmla="*/ 15240 h 3147261"/>
                  <a:gd name="connsiteX109" fmla="*/ 1912737 w 3147279"/>
                  <a:gd name="connsiteY109" fmla="*/ 22860 h 3147261"/>
                  <a:gd name="connsiteX110" fmla="*/ 2164197 w 3147279"/>
                  <a:gd name="connsiteY110" fmla="*/ 99060 h 3147261"/>
                  <a:gd name="connsiteX111" fmla="*/ 2339457 w 3147279"/>
                  <a:gd name="connsiteY111" fmla="*/ 182880 h 3147261"/>
                  <a:gd name="connsiteX112" fmla="*/ 2369937 w 3147279"/>
                  <a:gd name="connsiteY112" fmla="*/ 190500 h 3147261"/>
                  <a:gd name="connsiteX113" fmla="*/ 2392797 w 3147279"/>
                  <a:gd name="connsiteY113" fmla="*/ 205740 h 3147261"/>
                  <a:gd name="connsiteX114" fmla="*/ 2438517 w 3147279"/>
                  <a:gd name="connsiteY114" fmla="*/ 228600 h 3147261"/>
                  <a:gd name="connsiteX115" fmla="*/ 2446137 w 3147279"/>
                  <a:gd name="connsiteY115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92797 w 3147279"/>
                  <a:gd name="connsiteY55" fmla="*/ 2887980 h 3147261"/>
                  <a:gd name="connsiteX56" fmla="*/ 2301357 w 3147279"/>
                  <a:gd name="connsiteY56" fmla="*/ 2971800 h 3147261"/>
                  <a:gd name="connsiteX57" fmla="*/ 2194677 w 3147279"/>
                  <a:gd name="connsiteY57" fmla="*/ 3025140 h 3147261"/>
                  <a:gd name="connsiteX58" fmla="*/ 2095617 w 3147279"/>
                  <a:gd name="connsiteY58" fmla="*/ 3055620 h 3147261"/>
                  <a:gd name="connsiteX59" fmla="*/ 1912737 w 3147279"/>
                  <a:gd name="connsiteY59" fmla="*/ 3108960 h 3147261"/>
                  <a:gd name="connsiteX60" fmla="*/ 1798437 w 3147279"/>
                  <a:gd name="connsiteY60" fmla="*/ 3147060 h 3147261"/>
                  <a:gd name="connsiteX61" fmla="*/ 1333617 w 3147279"/>
                  <a:gd name="connsiteY61" fmla="*/ 3108960 h 3147261"/>
                  <a:gd name="connsiteX62" fmla="*/ 792597 w 3147279"/>
                  <a:gd name="connsiteY62" fmla="*/ 2933700 h 3147261"/>
                  <a:gd name="connsiteX63" fmla="*/ 419217 w 3147279"/>
                  <a:gd name="connsiteY63" fmla="*/ 2644140 h 3147261"/>
                  <a:gd name="connsiteX64" fmla="*/ 320157 w 3147279"/>
                  <a:gd name="connsiteY64" fmla="*/ 2484120 h 3147261"/>
                  <a:gd name="connsiteX65" fmla="*/ 297297 w 3147279"/>
                  <a:gd name="connsiteY65" fmla="*/ 2430780 h 3147261"/>
                  <a:gd name="connsiteX66" fmla="*/ 274437 w 3147279"/>
                  <a:gd name="connsiteY66" fmla="*/ 2377440 h 3147261"/>
                  <a:gd name="connsiteX67" fmla="*/ 228717 w 3147279"/>
                  <a:gd name="connsiteY67" fmla="*/ 2316480 h 3147261"/>
                  <a:gd name="connsiteX68" fmla="*/ 205857 w 3147279"/>
                  <a:gd name="connsiteY68" fmla="*/ 2293620 h 3147261"/>
                  <a:gd name="connsiteX69" fmla="*/ 175377 w 3147279"/>
                  <a:gd name="connsiteY69" fmla="*/ 2240280 h 3147261"/>
                  <a:gd name="connsiteX70" fmla="*/ 160137 w 3147279"/>
                  <a:gd name="connsiteY70" fmla="*/ 2202180 h 3147261"/>
                  <a:gd name="connsiteX71" fmla="*/ 144897 w 3147279"/>
                  <a:gd name="connsiteY71" fmla="*/ 2179320 h 3147261"/>
                  <a:gd name="connsiteX72" fmla="*/ 129657 w 3147279"/>
                  <a:gd name="connsiteY72" fmla="*/ 2133600 h 3147261"/>
                  <a:gd name="connsiteX73" fmla="*/ 99177 w 3147279"/>
                  <a:gd name="connsiteY73" fmla="*/ 2087880 h 3147261"/>
                  <a:gd name="connsiteX74" fmla="*/ 61077 w 3147279"/>
                  <a:gd name="connsiteY74" fmla="*/ 2026920 h 3147261"/>
                  <a:gd name="connsiteX75" fmla="*/ 53457 w 3147279"/>
                  <a:gd name="connsiteY75" fmla="*/ 2004060 h 3147261"/>
                  <a:gd name="connsiteX76" fmla="*/ 38217 w 3147279"/>
                  <a:gd name="connsiteY76" fmla="*/ 1943100 h 3147261"/>
                  <a:gd name="connsiteX77" fmla="*/ 22977 w 3147279"/>
                  <a:gd name="connsiteY77" fmla="*/ 1897380 h 3147261"/>
                  <a:gd name="connsiteX78" fmla="*/ 117 w 3147279"/>
                  <a:gd name="connsiteY78" fmla="*/ 1562100 h 3147261"/>
                  <a:gd name="connsiteX79" fmla="*/ 22977 w 3147279"/>
                  <a:gd name="connsiteY79" fmla="*/ 1135380 h 3147261"/>
                  <a:gd name="connsiteX80" fmla="*/ 38217 w 3147279"/>
                  <a:gd name="connsiteY80" fmla="*/ 1104900 h 3147261"/>
                  <a:gd name="connsiteX81" fmla="*/ 83937 w 3147279"/>
                  <a:gd name="connsiteY81" fmla="*/ 1021080 h 3147261"/>
                  <a:gd name="connsiteX82" fmla="*/ 129657 w 3147279"/>
                  <a:gd name="connsiteY82" fmla="*/ 914400 h 3147261"/>
                  <a:gd name="connsiteX83" fmla="*/ 160137 w 3147279"/>
                  <a:gd name="connsiteY83" fmla="*/ 861060 h 3147261"/>
                  <a:gd name="connsiteX84" fmla="*/ 182997 w 3147279"/>
                  <a:gd name="connsiteY84" fmla="*/ 822960 h 3147261"/>
                  <a:gd name="connsiteX85" fmla="*/ 205857 w 3147279"/>
                  <a:gd name="connsiteY85" fmla="*/ 800100 h 3147261"/>
                  <a:gd name="connsiteX86" fmla="*/ 259197 w 3147279"/>
                  <a:gd name="connsiteY86" fmla="*/ 708660 h 3147261"/>
                  <a:gd name="connsiteX87" fmla="*/ 274437 w 3147279"/>
                  <a:gd name="connsiteY87" fmla="*/ 662940 h 3147261"/>
                  <a:gd name="connsiteX88" fmla="*/ 327777 w 3147279"/>
                  <a:gd name="connsiteY88" fmla="*/ 586740 h 3147261"/>
                  <a:gd name="connsiteX89" fmla="*/ 419217 w 3147279"/>
                  <a:gd name="connsiteY89" fmla="*/ 510540 h 3147261"/>
                  <a:gd name="connsiteX90" fmla="*/ 449697 w 3147279"/>
                  <a:gd name="connsiteY90" fmla="*/ 472440 h 3147261"/>
                  <a:gd name="connsiteX91" fmla="*/ 510657 w 3147279"/>
                  <a:gd name="connsiteY91" fmla="*/ 434340 h 3147261"/>
                  <a:gd name="connsiteX92" fmla="*/ 563997 w 3147279"/>
                  <a:gd name="connsiteY92" fmla="*/ 396240 h 3147261"/>
                  <a:gd name="connsiteX93" fmla="*/ 655437 w 3147279"/>
                  <a:gd name="connsiteY93" fmla="*/ 335280 h 3147261"/>
                  <a:gd name="connsiteX94" fmla="*/ 731637 w 3147279"/>
                  <a:gd name="connsiteY94" fmla="*/ 297180 h 3147261"/>
                  <a:gd name="connsiteX95" fmla="*/ 815457 w 3147279"/>
                  <a:gd name="connsiteY95" fmla="*/ 236220 h 3147261"/>
                  <a:gd name="connsiteX96" fmla="*/ 830697 w 3147279"/>
                  <a:gd name="connsiteY96" fmla="*/ 213360 h 3147261"/>
                  <a:gd name="connsiteX97" fmla="*/ 861177 w 3147279"/>
                  <a:gd name="connsiteY97" fmla="*/ 205740 h 3147261"/>
                  <a:gd name="connsiteX98" fmla="*/ 952617 w 3147279"/>
                  <a:gd name="connsiteY98" fmla="*/ 152400 h 3147261"/>
                  <a:gd name="connsiteX99" fmla="*/ 983097 w 3147279"/>
                  <a:gd name="connsiteY99" fmla="*/ 129540 h 3147261"/>
                  <a:gd name="connsiteX100" fmla="*/ 1105017 w 3147279"/>
                  <a:gd name="connsiteY100" fmla="*/ 76200 h 3147261"/>
                  <a:gd name="connsiteX101" fmla="*/ 1127877 w 3147279"/>
                  <a:gd name="connsiteY101" fmla="*/ 68580 h 3147261"/>
                  <a:gd name="connsiteX102" fmla="*/ 1188837 w 3147279"/>
                  <a:gd name="connsiteY102" fmla="*/ 53340 h 3147261"/>
                  <a:gd name="connsiteX103" fmla="*/ 1242177 w 3147279"/>
                  <a:gd name="connsiteY103" fmla="*/ 38100 h 3147261"/>
                  <a:gd name="connsiteX104" fmla="*/ 1265037 w 3147279"/>
                  <a:gd name="connsiteY104" fmla="*/ 30480 h 3147261"/>
                  <a:gd name="connsiteX105" fmla="*/ 1386957 w 3147279"/>
                  <a:gd name="connsiteY105" fmla="*/ 15240 h 3147261"/>
                  <a:gd name="connsiteX106" fmla="*/ 1463157 w 3147279"/>
                  <a:gd name="connsiteY106" fmla="*/ 0 h 3147261"/>
                  <a:gd name="connsiteX107" fmla="*/ 1882257 w 3147279"/>
                  <a:gd name="connsiteY107" fmla="*/ 15240 h 3147261"/>
                  <a:gd name="connsiteX108" fmla="*/ 1912737 w 3147279"/>
                  <a:gd name="connsiteY108" fmla="*/ 22860 h 3147261"/>
                  <a:gd name="connsiteX109" fmla="*/ 2164197 w 3147279"/>
                  <a:gd name="connsiteY109" fmla="*/ 99060 h 3147261"/>
                  <a:gd name="connsiteX110" fmla="*/ 2339457 w 3147279"/>
                  <a:gd name="connsiteY110" fmla="*/ 182880 h 3147261"/>
                  <a:gd name="connsiteX111" fmla="*/ 2369937 w 3147279"/>
                  <a:gd name="connsiteY111" fmla="*/ 190500 h 3147261"/>
                  <a:gd name="connsiteX112" fmla="*/ 2392797 w 3147279"/>
                  <a:gd name="connsiteY112" fmla="*/ 205740 h 3147261"/>
                  <a:gd name="connsiteX113" fmla="*/ 2438517 w 3147279"/>
                  <a:gd name="connsiteY113" fmla="*/ 228600 h 3147261"/>
                  <a:gd name="connsiteX114" fmla="*/ 2446137 w 3147279"/>
                  <a:gd name="connsiteY114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01357 w 3147279"/>
                  <a:gd name="connsiteY55" fmla="*/ 2971800 h 3147261"/>
                  <a:gd name="connsiteX56" fmla="*/ 2194677 w 3147279"/>
                  <a:gd name="connsiteY56" fmla="*/ 3025140 h 3147261"/>
                  <a:gd name="connsiteX57" fmla="*/ 2095617 w 3147279"/>
                  <a:gd name="connsiteY57" fmla="*/ 3055620 h 3147261"/>
                  <a:gd name="connsiteX58" fmla="*/ 1912737 w 3147279"/>
                  <a:gd name="connsiteY58" fmla="*/ 3108960 h 3147261"/>
                  <a:gd name="connsiteX59" fmla="*/ 1798437 w 3147279"/>
                  <a:gd name="connsiteY59" fmla="*/ 3147060 h 3147261"/>
                  <a:gd name="connsiteX60" fmla="*/ 1333617 w 3147279"/>
                  <a:gd name="connsiteY60" fmla="*/ 3108960 h 3147261"/>
                  <a:gd name="connsiteX61" fmla="*/ 792597 w 3147279"/>
                  <a:gd name="connsiteY61" fmla="*/ 2933700 h 3147261"/>
                  <a:gd name="connsiteX62" fmla="*/ 419217 w 3147279"/>
                  <a:gd name="connsiteY62" fmla="*/ 2644140 h 3147261"/>
                  <a:gd name="connsiteX63" fmla="*/ 320157 w 3147279"/>
                  <a:gd name="connsiteY63" fmla="*/ 2484120 h 3147261"/>
                  <a:gd name="connsiteX64" fmla="*/ 297297 w 3147279"/>
                  <a:gd name="connsiteY64" fmla="*/ 2430780 h 3147261"/>
                  <a:gd name="connsiteX65" fmla="*/ 274437 w 3147279"/>
                  <a:gd name="connsiteY65" fmla="*/ 2377440 h 3147261"/>
                  <a:gd name="connsiteX66" fmla="*/ 228717 w 3147279"/>
                  <a:gd name="connsiteY66" fmla="*/ 2316480 h 3147261"/>
                  <a:gd name="connsiteX67" fmla="*/ 205857 w 3147279"/>
                  <a:gd name="connsiteY67" fmla="*/ 2293620 h 3147261"/>
                  <a:gd name="connsiteX68" fmla="*/ 175377 w 3147279"/>
                  <a:gd name="connsiteY68" fmla="*/ 2240280 h 3147261"/>
                  <a:gd name="connsiteX69" fmla="*/ 160137 w 3147279"/>
                  <a:gd name="connsiteY69" fmla="*/ 2202180 h 3147261"/>
                  <a:gd name="connsiteX70" fmla="*/ 144897 w 3147279"/>
                  <a:gd name="connsiteY70" fmla="*/ 2179320 h 3147261"/>
                  <a:gd name="connsiteX71" fmla="*/ 129657 w 3147279"/>
                  <a:gd name="connsiteY71" fmla="*/ 2133600 h 3147261"/>
                  <a:gd name="connsiteX72" fmla="*/ 99177 w 3147279"/>
                  <a:gd name="connsiteY72" fmla="*/ 2087880 h 3147261"/>
                  <a:gd name="connsiteX73" fmla="*/ 61077 w 3147279"/>
                  <a:gd name="connsiteY73" fmla="*/ 2026920 h 3147261"/>
                  <a:gd name="connsiteX74" fmla="*/ 53457 w 3147279"/>
                  <a:gd name="connsiteY74" fmla="*/ 2004060 h 3147261"/>
                  <a:gd name="connsiteX75" fmla="*/ 38217 w 3147279"/>
                  <a:gd name="connsiteY75" fmla="*/ 1943100 h 3147261"/>
                  <a:gd name="connsiteX76" fmla="*/ 22977 w 3147279"/>
                  <a:gd name="connsiteY76" fmla="*/ 1897380 h 3147261"/>
                  <a:gd name="connsiteX77" fmla="*/ 117 w 3147279"/>
                  <a:gd name="connsiteY77" fmla="*/ 1562100 h 3147261"/>
                  <a:gd name="connsiteX78" fmla="*/ 22977 w 3147279"/>
                  <a:gd name="connsiteY78" fmla="*/ 1135380 h 3147261"/>
                  <a:gd name="connsiteX79" fmla="*/ 38217 w 3147279"/>
                  <a:gd name="connsiteY79" fmla="*/ 1104900 h 3147261"/>
                  <a:gd name="connsiteX80" fmla="*/ 83937 w 3147279"/>
                  <a:gd name="connsiteY80" fmla="*/ 1021080 h 3147261"/>
                  <a:gd name="connsiteX81" fmla="*/ 129657 w 3147279"/>
                  <a:gd name="connsiteY81" fmla="*/ 914400 h 3147261"/>
                  <a:gd name="connsiteX82" fmla="*/ 160137 w 3147279"/>
                  <a:gd name="connsiteY82" fmla="*/ 861060 h 3147261"/>
                  <a:gd name="connsiteX83" fmla="*/ 182997 w 3147279"/>
                  <a:gd name="connsiteY83" fmla="*/ 822960 h 3147261"/>
                  <a:gd name="connsiteX84" fmla="*/ 205857 w 3147279"/>
                  <a:gd name="connsiteY84" fmla="*/ 800100 h 3147261"/>
                  <a:gd name="connsiteX85" fmla="*/ 259197 w 3147279"/>
                  <a:gd name="connsiteY85" fmla="*/ 708660 h 3147261"/>
                  <a:gd name="connsiteX86" fmla="*/ 274437 w 3147279"/>
                  <a:gd name="connsiteY86" fmla="*/ 662940 h 3147261"/>
                  <a:gd name="connsiteX87" fmla="*/ 327777 w 3147279"/>
                  <a:gd name="connsiteY87" fmla="*/ 586740 h 3147261"/>
                  <a:gd name="connsiteX88" fmla="*/ 419217 w 3147279"/>
                  <a:gd name="connsiteY88" fmla="*/ 510540 h 3147261"/>
                  <a:gd name="connsiteX89" fmla="*/ 449697 w 3147279"/>
                  <a:gd name="connsiteY89" fmla="*/ 472440 h 3147261"/>
                  <a:gd name="connsiteX90" fmla="*/ 510657 w 3147279"/>
                  <a:gd name="connsiteY90" fmla="*/ 434340 h 3147261"/>
                  <a:gd name="connsiteX91" fmla="*/ 563997 w 3147279"/>
                  <a:gd name="connsiteY91" fmla="*/ 396240 h 3147261"/>
                  <a:gd name="connsiteX92" fmla="*/ 655437 w 3147279"/>
                  <a:gd name="connsiteY92" fmla="*/ 335280 h 3147261"/>
                  <a:gd name="connsiteX93" fmla="*/ 731637 w 3147279"/>
                  <a:gd name="connsiteY93" fmla="*/ 297180 h 3147261"/>
                  <a:gd name="connsiteX94" fmla="*/ 815457 w 3147279"/>
                  <a:gd name="connsiteY94" fmla="*/ 236220 h 3147261"/>
                  <a:gd name="connsiteX95" fmla="*/ 830697 w 3147279"/>
                  <a:gd name="connsiteY95" fmla="*/ 213360 h 3147261"/>
                  <a:gd name="connsiteX96" fmla="*/ 861177 w 3147279"/>
                  <a:gd name="connsiteY96" fmla="*/ 205740 h 3147261"/>
                  <a:gd name="connsiteX97" fmla="*/ 952617 w 3147279"/>
                  <a:gd name="connsiteY97" fmla="*/ 152400 h 3147261"/>
                  <a:gd name="connsiteX98" fmla="*/ 983097 w 3147279"/>
                  <a:gd name="connsiteY98" fmla="*/ 129540 h 3147261"/>
                  <a:gd name="connsiteX99" fmla="*/ 1105017 w 3147279"/>
                  <a:gd name="connsiteY99" fmla="*/ 76200 h 3147261"/>
                  <a:gd name="connsiteX100" fmla="*/ 1127877 w 3147279"/>
                  <a:gd name="connsiteY100" fmla="*/ 68580 h 3147261"/>
                  <a:gd name="connsiteX101" fmla="*/ 1188837 w 3147279"/>
                  <a:gd name="connsiteY101" fmla="*/ 53340 h 3147261"/>
                  <a:gd name="connsiteX102" fmla="*/ 1242177 w 3147279"/>
                  <a:gd name="connsiteY102" fmla="*/ 38100 h 3147261"/>
                  <a:gd name="connsiteX103" fmla="*/ 1265037 w 3147279"/>
                  <a:gd name="connsiteY103" fmla="*/ 30480 h 3147261"/>
                  <a:gd name="connsiteX104" fmla="*/ 1386957 w 3147279"/>
                  <a:gd name="connsiteY104" fmla="*/ 15240 h 3147261"/>
                  <a:gd name="connsiteX105" fmla="*/ 1463157 w 3147279"/>
                  <a:gd name="connsiteY105" fmla="*/ 0 h 3147261"/>
                  <a:gd name="connsiteX106" fmla="*/ 1882257 w 3147279"/>
                  <a:gd name="connsiteY106" fmla="*/ 15240 h 3147261"/>
                  <a:gd name="connsiteX107" fmla="*/ 1912737 w 3147279"/>
                  <a:gd name="connsiteY107" fmla="*/ 22860 h 3147261"/>
                  <a:gd name="connsiteX108" fmla="*/ 2164197 w 3147279"/>
                  <a:gd name="connsiteY108" fmla="*/ 99060 h 3147261"/>
                  <a:gd name="connsiteX109" fmla="*/ 2339457 w 3147279"/>
                  <a:gd name="connsiteY109" fmla="*/ 182880 h 3147261"/>
                  <a:gd name="connsiteX110" fmla="*/ 2369937 w 3147279"/>
                  <a:gd name="connsiteY110" fmla="*/ 190500 h 3147261"/>
                  <a:gd name="connsiteX111" fmla="*/ 2392797 w 3147279"/>
                  <a:gd name="connsiteY111" fmla="*/ 205740 h 3147261"/>
                  <a:gd name="connsiteX112" fmla="*/ 2438517 w 3147279"/>
                  <a:gd name="connsiteY112" fmla="*/ 228600 h 3147261"/>
                  <a:gd name="connsiteX113" fmla="*/ 2446137 w 3147279"/>
                  <a:gd name="connsiteY11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301357 w 3147279"/>
                  <a:gd name="connsiteY54" fmla="*/ 2971800 h 3147261"/>
                  <a:gd name="connsiteX55" fmla="*/ 2194677 w 3147279"/>
                  <a:gd name="connsiteY55" fmla="*/ 3025140 h 3147261"/>
                  <a:gd name="connsiteX56" fmla="*/ 2095617 w 3147279"/>
                  <a:gd name="connsiteY56" fmla="*/ 3055620 h 3147261"/>
                  <a:gd name="connsiteX57" fmla="*/ 1912737 w 3147279"/>
                  <a:gd name="connsiteY57" fmla="*/ 3108960 h 3147261"/>
                  <a:gd name="connsiteX58" fmla="*/ 1798437 w 3147279"/>
                  <a:gd name="connsiteY58" fmla="*/ 3147060 h 3147261"/>
                  <a:gd name="connsiteX59" fmla="*/ 1333617 w 3147279"/>
                  <a:gd name="connsiteY59" fmla="*/ 3108960 h 3147261"/>
                  <a:gd name="connsiteX60" fmla="*/ 792597 w 3147279"/>
                  <a:gd name="connsiteY60" fmla="*/ 2933700 h 3147261"/>
                  <a:gd name="connsiteX61" fmla="*/ 419217 w 3147279"/>
                  <a:gd name="connsiteY61" fmla="*/ 2644140 h 3147261"/>
                  <a:gd name="connsiteX62" fmla="*/ 320157 w 3147279"/>
                  <a:gd name="connsiteY62" fmla="*/ 2484120 h 3147261"/>
                  <a:gd name="connsiteX63" fmla="*/ 297297 w 3147279"/>
                  <a:gd name="connsiteY63" fmla="*/ 2430780 h 3147261"/>
                  <a:gd name="connsiteX64" fmla="*/ 274437 w 3147279"/>
                  <a:gd name="connsiteY64" fmla="*/ 2377440 h 3147261"/>
                  <a:gd name="connsiteX65" fmla="*/ 228717 w 3147279"/>
                  <a:gd name="connsiteY65" fmla="*/ 2316480 h 3147261"/>
                  <a:gd name="connsiteX66" fmla="*/ 205857 w 3147279"/>
                  <a:gd name="connsiteY66" fmla="*/ 2293620 h 3147261"/>
                  <a:gd name="connsiteX67" fmla="*/ 175377 w 3147279"/>
                  <a:gd name="connsiteY67" fmla="*/ 2240280 h 3147261"/>
                  <a:gd name="connsiteX68" fmla="*/ 160137 w 3147279"/>
                  <a:gd name="connsiteY68" fmla="*/ 2202180 h 3147261"/>
                  <a:gd name="connsiteX69" fmla="*/ 144897 w 3147279"/>
                  <a:gd name="connsiteY69" fmla="*/ 2179320 h 3147261"/>
                  <a:gd name="connsiteX70" fmla="*/ 129657 w 3147279"/>
                  <a:gd name="connsiteY70" fmla="*/ 2133600 h 3147261"/>
                  <a:gd name="connsiteX71" fmla="*/ 99177 w 3147279"/>
                  <a:gd name="connsiteY71" fmla="*/ 2087880 h 3147261"/>
                  <a:gd name="connsiteX72" fmla="*/ 61077 w 3147279"/>
                  <a:gd name="connsiteY72" fmla="*/ 2026920 h 3147261"/>
                  <a:gd name="connsiteX73" fmla="*/ 53457 w 3147279"/>
                  <a:gd name="connsiteY73" fmla="*/ 2004060 h 3147261"/>
                  <a:gd name="connsiteX74" fmla="*/ 38217 w 3147279"/>
                  <a:gd name="connsiteY74" fmla="*/ 1943100 h 3147261"/>
                  <a:gd name="connsiteX75" fmla="*/ 22977 w 3147279"/>
                  <a:gd name="connsiteY75" fmla="*/ 1897380 h 3147261"/>
                  <a:gd name="connsiteX76" fmla="*/ 117 w 3147279"/>
                  <a:gd name="connsiteY76" fmla="*/ 1562100 h 3147261"/>
                  <a:gd name="connsiteX77" fmla="*/ 22977 w 3147279"/>
                  <a:gd name="connsiteY77" fmla="*/ 1135380 h 3147261"/>
                  <a:gd name="connsiteX78" fmla="*/ 38217 w 3147279"/>
                  <a:gd name="connsiteY78" fmla="*/ 1104900 h 3147261"/>
                  <a:gd name="connsiteX79" fmla="*/ 83937 w 3147279"/>
                  <a:gd name="connsiteY79" fmla="*/ 1021080 h 3147261"/>
                  <a:gd name="connsiteX80" fmla="*/ 129657 w 3147279"/>
                  <a:gd name="connsiteY80" fmla="*/ 914400 h 3147261"/>
                  <a:gd name="connsiteX81" fmla="*/ 160137 w 3147279"/>
                  <a:gd name="connsiteY81" fmla="*/ 861060 h 3147261"/>
                  <a:gd name="connsiteX82" fmla="*/ 182997 w 3147279"/>
                  <a:gd name="connsiteY82" fmla="*/ 822960 h 3147261"/>
                  <a:gd name="connsiteX83" fmla="*/ 205857 w 3147279"/>
                  <a:gd name="connsiteY83" fmla="*/ 800100 h 3147261"/>
                  <a:gd name="connsiteX84" fmla="*/ 259197 w 3147279"/>
                  <a:gd name="connsiteY84" fmla="*/ 708660 h 3147261"/>
                  <a:gd name="connsiteX85" fmla="*/ 274437 w 3147279"/>
                  <a:gd name="connsiteY85" fmla="*/ 662940 h 3147261"/>
                  <a:gd name="connsiteX86" fmla="*/ 327777 w 3147279"/>
                  <a:gd name="connsiteY86" fmla="*/ 586740 h 3147261"/>
                  <a:gd name="connsiteX87" fmla="*/ 419217 w 3147279"/>
                  <a:gd name="connsiteY87" fmla="*/ 510540 h 3147261"/>
                  <a:gd name="connsiteX88" fmla="*/ 449697 w 3147279"/>
                  <a:gd name="connsiteY88" fmla="*/ 472440 h 3147261"/>
                  <a:gd name="connsiteX89" fmla="*/ 510657 w 3147279"/>
                  <a:gd name="connsiteY89" fmla="*/ 434340 h 3147261"/>
                  <a:gd name="connsiteX90" fmla="*/ 563997 w 3147279"/>
                  <a:gd name="connsiteY90" fmla="*/ 396240 h 3147261"/>
                  <a:gd name="connsiteX91" fmla="*/ 655437 w 3147279"/>
                  <a:gd name="connsiteY91" fmla="*/ 335280 h 3147261"/>
                  <a:gd name="connsiteX92" fmla="*/ 731637 w 3147279"/>
                  <a:gd name="connsiteY92" fmla="*/ 297180 h 3147261"/>
                  <a:gd name="connsiteX93" fmla="*/ 815457 w 3147279"/>
                  <a:gd name="connsiteY93" fmla="*/ 236220 h 3147261"/>
                  <a:gd name="connsiteX94" fmla="*/ 830697 w 3147279"/>
                  <a:gd name="connsiteY94" fmla="*/ 213360 h 3147261"/>
                  <a:gd name="connsiteX95" fmla="*/ 861177 w 3147279"/>
                  <a:gd name="connsiteY95" fmla="*/ 205740 h 3147261"/>
                  <a:gd name="connsiteX96" fmla="*/ 952617 w 3147279"/>
                  <a:gd name="connsiteY96" fmla="*/ 152400 h 3147261"/>
                  <a:gd name="connsiteX97" fmla="*/ 983097 w 3147279"/>
                  <a:gd name="connsiteY97" fmla="*/ 129540 h 3147261"/>
                  <a:gd name="connsiteX98" fmla="*/ 1105017 w 3147279"/>
                  <a:gd name="connsiteY98" fmla="*/ 76200 h 3147261"/>
                  <a:gd name="connsiteX99" fmla="*/ 1127877 w 3147279"/>
                  <a:gd name="connsiteY99" fmla="*/ 68580 h 3147261"/>
                  <a:gd name="connsiteX100" fmla="*/ 1188837 w 3147279"/>
                  <a:gd name="connsiteY100" fmla="*/ 53340 h 3147261"/>
                  <a:gd name="connsiteX101" fmla="*/ 1242177 w 3147279"/>
                  <a:gd name="connsiteY101" fmla="*/ 38100 h 3147261"/>
                  <a:gd name="connsiteX102" fmla="*/ 1265037 w 3147279"/>
                  <a:gd name="connsiteY102" fmla="*/ 30480 h 3147261"/>
                  <a:gd name="connsiteX103" fmla="*/ 1386957 w 3147279"/>
                  <a:gd name="connsiteY103" fmla="*/ 15240 h 3147261"/>
                  <a:gd name="connsiteX104" fmla="*/ 1463157 w 3147279"/>
                  <a:gd name="connsiteY104" fmla="*/ 0 h 3147261"/>
                  <a:gd name="connsiteX105" fmla="*/ 1882257 w 3147279"/>
                  <a:gd name="connsiteY105" fmla="*/ 15240 h 3147261"/>
                  <a:gd name="connsiteX106" fmla="*/ 1912737 w 3147279"/>
                  <a:gd name="connsiteY106" fmla="*/ 22860 h 3147261"/>
                  <a:gd name="connsiteX107" fmla="*/ 2164197 w 3147279"/>
                  <a:gd name="connsiteY107" fmla="*/ 99060 h 3147261"/>
                  <a:gd name="connsiteX108" fmla="*/ 2339457 w 3147279"/>
                  <a:gd name="connsiteY108" fmla="*/ 182880 h 3147261"/>
                  <a:gd name="connsiteX109" fmla="*/ 2369937 w 3147279"/>
                  <a:gd name="connsiteY109" fmla="*/ 190500 h 3147261"/>
                  <a:gd name="connsiteX110" fmla="*/ 2392797 w 3147279"/>
                  <a:gd name="connsiteY110" fmla="*/ 205740 h 3147261"/>
                  <a:gd name="connsiteX111" fmla="*/ 2438517 w 3147279"/>
                  <a:gd name="connsiteY111" fmla="*/ 228600 h 3147261"/>
                  <a:gd name="connsiteX112" fmla="*/ 2446137 w 3147279"/>
                  <a:gd name="connsiteY11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301357 w 3147279"/>
                  <a:gd name="connsiteY53" fmla="*/ 2971800 h 3147261"/>
                  <a:gd name="connsiteX54" fmla="*/ 2194677 w 3147279"/>
                  <a:gd name="connsiteY54" fmla="*/ 3025140 h 3147261"/>
                  <a:gd name="connsiteX55" fmla="*/ 2095617 w 3147279"/>
                  <a:gd name="connsiteY55" fmla="*/ 3055620 h 3147261"/>
                  <a:gd name="connsiteX56" fmla="*/ 1912737 w 3147279"/>
                  <a:gd name="connsiteY56" fmla="*/ 3108960 h 3147261"/>
                  <a:gd name="connsiteX57" fmla="*/ 1798437 w 3147279"/>
                  <a:gd name="connsiteY57" fmla="*/ 3147060 h 3147261"/>
                  <a:gd name="connsiteX58" fmla="*/ 1333617 w 3147279"/>
                  <a:gd name="connsiteY58" fmla="*/ 3108960 h 3147261"/>
                  <a:gd name="connsiteX59" fmla="*/ 792597 w 3147279"/>
                  <a:gd name="connsiteY59" fmla="*/ 2933700 h 3147261"/>
                  <a:gd name="connsiteX60" fmla="*/ 419217 w 3147279"/>
                  <a:gd name="connsiteY60" fmla="*/ 2644140 h 3147261"/>
                  <a:gd name="connsiteX61" fmla="*/ 320157 w 3147279"/>
                  <a:gd name="connsiteY61" fmla="*/ 2484120 h 3147261"/>
                  <a:gd name="connsiteX62" fmla="*/ 297297 w 3147279"/>
                  <a:gd name="connsiteY62" fmla="*/ 2430780 h 3147261"/>
                  <a:gd name="connsiteX63" fmla="*/ 274437 w 3147279"/>
                  <a:gd name="connsiteY63" fmla="*/ 2377440 h 3147261"/>
                  <a:gd name="connsiteX64" fmla="*/ 228717 w 3147279"/>
                  <a:gd name="connsiteY64" fmla="*/ 2316480 h 3147261"/>
                  <a:gd name="connsiteX65" fmla="*/ 205857 w 3147279"/>
                  <a:gd name="connsiteY65" fmla="*/ 2293620 h 3147261"/>
                  <a:gd name="connsiteX66" fmla="*/ 175377 w 3147279"/>
                  <a:gd name="connsiteY66" fmla="*/ 2240280 h 3147261"/>
                  <a:gd name="connsiteX67" fmla="*/ 160137 w 3147279"/>
                  <a:gd name="connsiteY67" fmla="*/ 2202180 h 3147261"/>
                  <a:gd name="connsiteX68" fmla="*/ 144897 w 3147279"/>
                  <a:gd name="connsiteY68" fmla="*/ 2179320 h 3147261"/>
                  <a:gd name="connsiteX69" fmla="*/ 129657 w 3147279"/>
                  <a:gd name="connsiteY69" fmla="*/ 2133600 h 3147261"/>
                  <a:gd name="connsiteX70" fmla="*/ 99177 w 3147279"/>
                  <a:gd name="connsiteY70" fmla="*/ 2087880 h 3147261"/>
                  <a:gd name="connsiteX71" fmla="*/ 61077 w 3147279"/>
                  <a:gd name="connsiteY71" fmla="*/ 2026920 h 3147261"/>
                  <a:gd name="connsiteX72" fmla="*/ 53457 w 3147279"/>
                  <a:gd name="connsiteY72" fmla="*/ 2004060 h 3147261"/>
                  <a:gd name="connsiteX73" fmla="*/ 38217 w 3147279"/>
                  <a:gd name="connsiteY73" fmla="*/ 1943100 h 3147261"/>
                  <a:gd name="connsiteX74" fmla="*/ 22977 w 3147279"/>
                  <a:gd name="connsiteY74" fmla="*/ 1897380 h 3147261"/>
                  <a:gd name="connsiteX75" fmla="*/ 117 w 3147279"/>
                  <a:gd name="connsiteY75" fmla="*/ 1562100 h 3147261"/>
                  <a:gd name="connsiteX76" fmla="*/ 22977 w 3147279"/>
                  <a:gd name="connsiteY76" fmla="*/ 1135380 h 3147261"/>
                  <a:gd name="connsiteX77" fmla="*/ 38217 w 3147279"/>
                  <a:gd name="connsiteY77" fmla="*/ 1104900 h 3147261"/>
                  <a:gd name="connsiteX78" fmla="*/ 83937 w 3147279"/>
                  <a:gd name="connsiteY78" fmla="*/ 1021080 h 3147261"/>
                  <a:gd name="connsiteX79" fmla="*/ 129657 w 3147279"/>
                  <a:gd name="connsiteY79" fmla="*/ 914400 h 3147261"/>
                  <a:gd name="connsiteX80" fmla="*/ 160137 w 3147279"/>
                  <a:gd name="connsiteY80" fmla="*/ 861060 h 3147261"/>
                  <a:gd name="connsiteX81" fmla="*/ 182997 w 3147279"/>
                  <a:gd name="connsiteY81" fmla="*/ 822960 h 3147261"/>
                  <a:gd name="connsiteX82" fmla="*/ 205857 w 3147279"/>
                  <a:gd name="connsiteY82" fmla="*/ 800100 h 3147261"/>
                  <a:gd name="connsiteX83" fmla="*/ 259197 w 3147279"/>
                  <a:gd name="connsiteY83" fmla="*/ 708660 h 3147261"/>
                  <a:gd name="connsiteX84" fmla="*/ 274437 w 3147279"/>
                  <a:gd name="connsiteY84" fmla="*/ 662940 h 3147261"/>
                  <a:gd name="connsiteX85" fmla="*/ 327777 w 3147279"/>
                  <a:gd name="connsiteY85" fmla="*/ 586740 h 3147261"/>
                  <a:gd name="connsiteX86" fmla="*/ 419217 w 3147279"/>
                  <a:gd name="connsiteY86" fmla="*/ 510540 h 3147261"/>
                  <a:gd name="connsiteX87" fmla="*/ 449697 w 3147279"/>
                  <a:gd name="connsiteY87" fmla="*/ 472440 h 3147261"/>
                  <a:gd name="connsiteX88" fmla="*/ 510657 w 3147279"/>
                  <a:gd name="connsiteY88" fmla="*/ 434340 h 3147261"/>
                  <a:gd name="connsiteX89" fmla="*/ 563997 w 3147279"/>
                  <a:gd name="connsiteY89" fmla="*/ 396240 h 3147261"/>
                  <a:gd name="connsiteX90" fmla="*/ 655437 w 3147279"/>
                  <a:gd name="connsiteY90" fmla="*/ 335280 h 3147261"/>
                  <a:gd name="connsiteX91" fmla="*/ 731637 w 3147279"/>
                  <a:gd name="connsiteY91" fmla="*/ 297180 h 3147261"/>
                  <a:gd name="connsiteX92" fmla="*/ 815457 w 3147279"/>
                  <a:gd name="connsiteY92" fmla="*/ 236220 h 3147261"/>
                  <a:gd name="connsiteX93" fmla="*/ 830697 w 3147279"/>
                  <a:gd name="connsiteY93" fmla="*/ 213360 h 3147261"/>
                  <a:gd name="connsiteX94" fmla="*/ 861177 w 3147279"/>
                  <a:gd name="connsiteY94" fmla="*/ 205740 h 3147261"/>
                  <a:gd name="connsiteX95" fmla="*/ 952617 w 3147279"/>
                  <a:gd name="connsiteY95" fmla="*/ 152400 h 3147261"/>
                  <a:gd name="connsiteX96" fmla="*/ 983097 w 3147279"/>
                  <a:gd name="connsiteY96" fmla="*/ 129540 h 3147261"/>
                  <a:gd name="connsiteX97" fmla="*/ 1105017 w 3147279"/>
                  <a:gd name="connsiteY97" fmla="*/ 76200 h 3147261"/>
                  <a:gd name="connsiteX98" fmla="*/ 1127877 w 3147279"/>
                  <a:gd name="connsiteY98" fmla="*/ 68580 h 3147261"/>
                  <a:gd name="connsiteX99" fmla="*/ 1188837 w 3147279"/>
                  <a:gd name="connsiteY99" fmla="*/ 53340 h 3147261"/>
                  <a:gd name="connsiteX100" fmla="*/ 1242177 w 3147279"/>
                  <a:gd name="connsiteY100" fmla="*/ 38100 h 3147261"/>
                  <a:gd name="connsiteX101" fmla="*/ 1265037 w 3147279"/>
                  <a:gd name="connsiteY101" fmla="*/ 30480 h 3147261"/>
                  <a:gd name="connsiteX102" fmla="*/ 1386957 w 3147279"/>
                  <a:gd name="connsiteY102" fmla="*/ 15240 h 3147261"/>
                  <a:gd name="connsiteX103" fmla="*/ 1463157 w 3147279"/>
                  <a:gd name="connsiteY103" fmla="*/ 0 h 3147261"/>
                  <a:gd name="connsiteX104" fmla="*/ 1882257 w 3147279"/>
                  <a:gd name="connsiteY104" fmla="*/ 15240 h 3147261"/>
                  <a:gd name="connsiteX105" fmla="*/ 1912737 w 3147279"/>
                  <a:gd name="connsiteY105" fmla="*/ 22860 h 3147261"/>
                  <a:gd name="connsiteX106" fmla="*/ 2164197 w 3147279"/>
                  <a:gd name="connsiteY106" fmla="*/ 99060 h 3147261"/>
                  <a:gd name="connsiteX107" fmla="*/ 2339457 w 3147279"/>
                  <a:gd name="connsiteY107" fmla="*/ 182880 h 3147261"/>
                  <a:gd name="connsiteX108" fmla="*/ 2369937 w 3147279"/>
                  <a:gd name="connsiteY108" fmla="*/ 190500 h 3147261"/>
                  <a:gd name="connsiteX109" fmla="*/ 2392797 w 3147279"/>
                  <a:gd name="connsiteY109" fmla="*/ 205740 h 3147261"/>
                  <a:gd name="connsiteX110" fmla="*/ 2438517 w 3147279"/>
                  <a:gd name="connsiteY110" fmla="*/ 228600 h 3147261"/>
                  <a:gd name="connsiteX111" fmla="*/ 2446137 w 3147279"/>
                  <a:gd name="connsiteY11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83937 w 3147279"/>
                  <a:gd name="connsiteY76" fmla="*/ 1021080 h 3147261"/>
                  <a:gd name="connsiteX77" fmla="*/ 129657 w 3147279"/>
                  <a:gd name="connsiteY77" fmla="*/ 914400 h 3147261"/>
                  <a:gd name="connsiteX78" fmla="*/ 160137 w 3147279"/>
                  <a:gd name="connsiteY78" fmla="*/ 861060 h 3147261"/>
                  <a:gd name="connsiteX79" fmla="*/ 182997 w 3147279"/>
                  <a:gd name="connsiteY79" fmla="*/ 822960 h 3147261"/>
                  <a:gd name="connsiteX80" fmla="*/ 205857 w 3147279"/>
                  <a:gd name="connsiteY80" fmla="*/ 800100 h 3147261"/>
                  <a:gd name="connsiteX81" fmla="*/ 259197 w 3147279"/>
                  <a:gd name="connsiteY81" fmla="*/ 708660 h 3147261"/>
                  <a:gd name="connsiteX82" fmla="*/ 274437 w 3147279"/>
                  <a:gd name="connsiteY82" fmla="*/ 662940 h 3147261"/>
                  <a:gd name="connsiteX83" fmla="*/ 327777 w 3147279"/>
                  <a:gd name="connsiteY83" fmla="*/ 586740 h 3147261"/>
                  <a:gd name="connsiteX84" fmla="*/ 419217 w 3147279"/>
                  <a:gd name="connsiteY84" fmla="*/ 510540 h 3147261"/>
                  <a:gd name="connsiteX85" fmla="*/ 449697 w 3147279"/>
                  <a:gd name="connsiteY85" fmla="*/ 472440 h 3147261"/>
                  <a:gd name="connsiteX86" fmla="*/ 510657 w 3147279"/>
                  <a:gd name="connsiteY86" fmla="*/ 434340 h 3147261"/>
                  <a:gd name="connsiteX87" fmla="*/ 563997 w 3147279"/>
                  <a:gd name="connsiteY87" fmla="*/ 396240 h 3147261"/>
                  <a:gd name="connsiteX88" fmla="*/ 655437 w 3147279"/>
                  <a:gd name="connsiteY88" fmla="*/ 335280 h 3147261"/>
                  <a:gd name="connsiteX89" fmla="*/ 731637 w 3147279"/>
                  <a:gd name="connsiteY89" fmla="*/ 297180 h 3147261"/>
                  <a:gd name="connsiteX90" fmla="*/ 815457 w 3147279"/>
                  <a:gd name="connsiteY90" fmla="*/ 236220 h 3147261"/>
                  <a:gd name="connsiteX91" fmla="*/ 830697 w 3147279"/>
                  <a:gd name="connsiteY91" fmla="*/ 213360 h 3147261"/>
                  <a:gd name="connsiteX92" fmla="*/ 861177 w 3147279"/>
                  <a:gd name="connsiteY92" fmla="*/ 205740 h 3147261"/>
                  <a:gd name="connsiteX93" fmla="*/ 952617 w 3147279"/>
                  <a:gd name="connsiteY93" fmla="*/ 152400 h 3147261"/>
                  <a:gd name="connsiteX94" fmla="*/ 983097 w 3147279"/>
                  <a:gd name="connsiteY94" fmla="*/ 129540 h 3147261"/>
                  <a:gd name="connsiteX95" fmla="*/ 1105017 w 3147279"/>
                  <a:gd name="connsiteY95" fmla="*/ 76200 h 3147261"/>
                  <a:gd name="connsiteX96" fmla="*/ 1127877 w 3147279"/>
                  <a:gd name="connsiteY96" fmla="*/ 68580 h 3147261"/>
                  <a:gd name="connsiteX97" fmla="*/ 1188837 w 3147279"/>
                  <a:gd name="connsiteY97" fmla="*/ 53340 h 3147261"/>
                  <a:gd name="connsiteX98" fmla="*/ 1242177 w 3147279"/>
                  <a:gd name="connsiteY98" fmla="*/ 38100 h 3147261"/>
                  <a:gd name="connsiteX99" fmla="*/ 1265037 w 3147279"/>
                  <a:gd name="connsiteY99" fmla="*/ 30480 h 3147261"/>
                  <a:gd name="connsiteX100" fmla="*/ 1386957 w 3147279"/>
                  <a:gd name="connsiteY100" fmla="*/ 15240 h 3147261"/>
                  <a:gd name="connsiteX101" fmla="*/ 1463157 w 3147279"/>
                  <a:gd name="connsiteY101" fmla="*/ 0 h 3147261"/>
                  <a:gd name="connsiteX102" fmla="*/ 1882257 w 3147279"/>
                  <a:gd name="connsiteY102" fmla="*/ 15240 h 3147261"/>
                  <a:gd name="connsiteX103" fmla="*/ 1912737 w 3147279"/>
                  <a:gd name="connsiteY103" fmla="*/ 22860 h 3147261"/>
                  <a:gd name="connsiteX104" fmla="*/ 2164197 w 3147279"/>
                  <a:gd name="connsiteY104" fmla="*/ 99060 h 3147261"/>
                  <a:gd name="connsiteX105" fmla="*/ 2339457 w 3147279"/>
                  <a:gd name="connsiteY105" fmla="*/ 182880 h 3147261"/>
                  <a:gd name="connsiteX106" fmla="*/ 2369937 w 3147279"/>
                  <a:gd name="connsiteY106" fmla="*/ 190500 h 3147261"/>
                  <a:gd name="connsiteX107" fmla="*/ 2392797 w 3147279"/>
                  <a:gd name="connsiteY107" fmla="*/ 205740 h 3147261"/>
                  <a:gd name="connsiteX108" fmla="*/ 2438517 w 3147279"/>
                  <a:gd name="connsiteY108" fmla="*/ 228600 h 3147261"/>
                  <a:gd name="connsiteX109" fmla="*/ 2446137 w 3147279"/>
                  <a:gd name="connsiteY109" fmla="*/ 266700 h 3147261"/>
                  <a:gd name="connsiteX0" fmla="*/ 2448781 w 3149923"/>
                  <a:gd name="connsiteY0" fmla="*/ 266700 h 3147261"/>
                  <a:gd name="connsiteX1" fmla="*/ 2494501 w 3149923"/>
                  <a:gd name="connsiteY1" fmla="*/ 297180 h 3147261"/>
                  <a:gd name="connsiteX2" fmla="*/ 2502121 w 3149923"/>
                  <a:gd name="connsiteY2" fmla="*/ 320040 h 3147261"/>
                  <a:gd name="connsiteX3" fmla="*/ 2532601 w 3149923"/>
                  <a:gd name="connsiteY3" fmla="*/ 342900 h 3147261"/>
                  <a:gd name="connsiteX4" fmla="*/ 2555461 w 3149923"/>
                  <a:gd name="connsiteY4" fmla="*/ 373380 h 3147261"/>
                  <a:gd name="connsiteX5" fmla="*/ 2585941 w 3149923"/>
                  <a:gd name="connsiteY5" fmla="*/ 388620 h 3147261"/>
                  <a:gd name="connsiteX6" fmla="*/ 2631661 w 3149923"/>
                  <a:gd name="connsiteY6" fmla="*/ 434340 h 3147261"/>
                  <a:gd name="connsiteX7" fmla="*/ 2662141 w 3149923"/>
                  <a:gd name="connsiteY7" fmla="*/ 464820 h 3147261"/>
                  <a:gd name="connsiteX8" fmla="*/ 2707861 w 3149923"/>
                  <a:gd name="connsiteY8" fmla="*/ 487680 h 3147261"/>
                  <a:gd name="connsiteX9" fmla="*/ 2730721 w 3149923"/>
                  <a:gd name="connsiteY9" fmla="*/ 510540 h 3147261"/>
                  <a:gd name="connsiteX10" fmla="*/ 2791681 w 3149923"/>
                  <a:gd name="connsiteY10" fmla="*/ 594360 h 3147261"/>
                  <a:gd name="connsiteX11" fmla="*/ 2852641 w 3149923"/>
                  <a:gd name="connsiteY11" fmla="*/ 662940 h 3147261"/>
                  <a:gd name="connsiteX12" fmla="*/ 2875501 w 3149923"/>
                  <a:gd name="connsiteY12" fmla="*/ 701040 h 3147261"/>
                  <a:gd name="connsiteX13" fmla="*/ 2913601 w 3149923"/>
                  <a:gd name="connsiteY13" fmla="*/ 762000 h 3147261"/>
                  <a:gd name="connsiteX14" fmla="*/ 2951701 w 3149923"/>
                  <a:gd name="connsiteY14" fmla="*/ 845820 h 3147261"/>
                  <a:gd name="connsiteX15" fmla="*/ 2959321 w 3149923"/>
                  <a:gd name="connsiteY15" fmla="*/ 868680 h 3147261"/>
                  <a:gd name="connsiteX16" fmla="*/ 2982181 w 3149923"/>
                  <a:gd name="connsiteY16" fmla="*/ 922020 h 3147261"/>
                  <a:gd name="connsiteX17" fmla="*/ 2997421 w 3149923"/>
                  <a:gd name="connsiteY17" fmla="*/ 952500 h 3147261"/>
                  <a:gd name="connsiteX18" fmla="*/ 3012661 w 3149923"/>
                  <a:gd name="connsiteY18" fmla="*/ 998220 h 3147261"/>
                  <a:gd name="connsiteX19" fmla="*/ 3027901 w 3149923"/>
                  <a:gd name="connsiteY19" fmla="*/ 1036320 h 3147261"/>
                  <a:gd name="connsiteX20" fmla="*/ 3035521 w 3149923"/>
                  <a:gd name="connsiteY20" fmla="*/ 1066800 h 3147261"/>
                  <a:gd name="connsiteX21" fmla="*/ 3058381 w 3149923"/>
                  <a:gd name="connsiteY21" fmla="*/ 1104900 h 3147261"/>
                  <a:gd name="connsiteX22" fmla="*/ 3073621 w 3149923"/>
                  <a:gd name="connsiteY22" fmla="*/ 1150620 h 3147261"/>
                  <a:gd name="connsiteX23" fmla="*/ 3088861 w 3149923"/>
                  <a:gd name="connsiteY23" fmla="*/ 1181100 h 3147261"/>
                  <a:gd name="connsiteX24" fmla="*/ 3096481 w 3149923"/>
                  <a:gd name="connsiteY24" fmla="*/ 1226820 h 3147261"/>
                  <a:gd name="connsiteX25" fmla="*/ 3104101 w 3149923"/>
                  <a:gd name="connsiteY25" fmla="*/ 1280160 h 3147261"/>
                  <a:gd name="connsiteX26" fmla="*/ 3119341 w 3149923"/>
                  <a:gd name="connsiteY26" fmla="*/ 1371600 h 3147261"/>
                  <a:gd name="connsiteX27" fmla="*/ 3134581 w 3149923"/>
                  <a:gd name="connsiteY27" fmla="*/ 1417320 h 3147261"/>
                  <a:gd name="connsiteX28" fmla="*/ 3142201 w 3149923"/>
                  <a:gd name="connsiteY28" fmla="*/ 1485900 h 3147261"/>
                  <a:gd name="connsiteX29" fmla="*/ 3149821 w 3149923"/>
                  <a:gd name="connsiteY29" fmla="*/ 1516380 h 3147261"/>
                  <a:gd name="connsiteX30" fmla="*/ 3134581 w 3149923"/>
                  <a:gd name="connsiteY30" fmla="*/ 1691640 h 3147261"/>
                  <a:gd name="connsiteX31" fmla="*/ 3126961 w 3149923"/>
                  <a:gd name="connsiteY31" fmla="*/ 1767840 h 3147261"/>
                  <a:gd name="connsiteX32" fmla="*/ 3111721 w 3149923"/>
                  <a:gd name="connsiteY32" fmla="*/ 1836420 h 3147261"/>
                  <a:gd name="connsiteX33" fmla="*/ 3088861 w 3149923"/>
                  <a:gd name="connsiteY33" fmla="*/ 1905000 h 3147261"/>
                  <a:gd name="connsiteX34" fmla="*/ 3081241 w 3149923"/>
                  <a:gd name="connsiteY34" fmla="*/ 1935480 h 3147261"/>
                  <a:gd name="connsiteX35" fmla="*/ 3073621 w 3149923"/>
                  <a:gd name="connsiteY35" fmla="*/ 1958340 h 3147261"/>
                  <a:gd name="connsiteX36" fmla="*/ 3058381 w 3149923"/>
                  <a:gd name="connsiteY36" fmla="*/ 2019300 h 3147261"/>
                  <a:gd name="connsiteX37" fmla="*/ 3043141 w 3149923"/>
                  <a:gd name="connsiteY37" fmla="*/ 2057400 h 3147261"/>
                  <a:gd name="connsiteX38" fmla="*/ 3035521 w 3149923"/>
                  <a:gd name="connsiteY38" fmla="*/ 2080260 h 3147261"/>
                  <a:gd name="connsiteX39" fmla="*/ 3020281 w 3149923"/>
                  <a:gd name="connsiteY39" fmla="*/ 2118360 h 3147261"/>
                  <a:gd name="connsiteX40" fmla="*/ 2997421 w 3149923"/>
                  <a:gd name="connsiteY40" fmla="*/ 2186940 h 3147261"/>
                  <a:gd name="connsiteX41" fmla="*/ 2989801 w 3149923"/>
                  <a:gd name="connsiteY41" fmla="*/ 2225040 h 3147261"/>
                  <a:gd name="connsiteX42" fmla="*/ 2974561 w 3149923"/>
                  <a:gd name="connsiteY42" fmla="*/ 2270760 h 3147261"/>
                  <a:gd name="connsiteX43" fmla="*/ 2966941 w 3149923"/>
                  <a:gd name="connsiteY43" fmla="*/ 2308860 h 3147261"/>
                  <a:gd name="connsiteX44" fmla="*/ 2951701 w 3149923"/>
                  <a:gd name="connsiteY44" fmla="*/ 2331720 h 3147261"/>
                  <a:gd name="connsiteX45" fmla="*/ 2928841 w 3149923"/>
                  <a:gd name="connsiteY45" fmla="*/ 2385060 h 3147261"/>
                  <a:gd name="connsiteX46" fmla="*/ 2905981 w 3149923"/>
                  <a:gd name="connsiteY46" fmla="*/ 2407920 h 3147261"/>
                  <a:gd name="connsiteX47" fmla="*/ 2860261 w 3149923"/>
                  <a:gd name="connsiteY47" fmla="*/ 2499360 h 3147261"/>
                  <a:gd name="connsiteX48" fmla="*/ 2845021 w 3149923"/>
                  <a:gd name="connsiteY48" fmla="*/ 2529840 h 3147261"/>
                  <a:gd name="connsiteX49" fmla="*/ 2837401 w 3149923"/>
                  <a:gd name="connsiteY49" fmla="*/ 2552700 h 3147261"/>
                  <a:gd name="connsiteX50" fmla="*/ 2761201 w 3149923"/>
                  <a:gd name="connsiteY50" fmla="*/ 2636520 h 3147261"/>
                  <a:gd name="connsiteX51" fmla="*/ 2707861 w 3149923"/>
                  <a:gd name="connsiteY51" fmla="*/ 2667000 h 3147261"/>
                  <a:gd name="connsiteX52" fmla="*/ 2304001 w 3149923"/>
                  <a:gd name="connsiteY52" fmla="*/ 2971800 h 3147261"/>
                  <a:gd name="connsiteX53" fmla="*/ 2197321 w 3149923"/>
                  <a:gd name="connsiteY53" fmla="*/ 3025140 h 3147261"/>
                  <a:gd name="connsiteX54" fmla="*/ 2098261 w 3149923"/>
                  <a:gd name="connsiteY54" fmla="*/ 3055620 h 3147261"/>
                  <a:gd name="connsiteX55" fmla="*/ 1915381 w 3149923"/>
                  <a:gd name="connsiteY55" fmla="*/ 3108960 h 3147261"/>
                  <a:gd name="connsiteX56" fmla="*/ 1801081 w 3149923"/>
                  <a:gd name="connsiteY56" fmla="*/ 3147060 h 3147261"/>
                  <a:gd name="connsiteX57" fmla="*/ 1336261 w 3149923"/>
                  <a:gd name="connsiteY57" fmla="*/ 3108960 h 3147261"/>
                  <a:gd name="connsiteX58" fmla="*/ 795241 w 3149923"/>
                  <a:gd name="connsiteY58" fmla="*/ 2933700 h 3147261"/>
                  <a:gd name="connsiteX59" fmla="*/ 421861 w 3149923"/>
                  <a:gd name="connsiteY59" fmla="*/ 2644140 h 3147261"/>
                  <a:gd name="connsiteX60" fmla="*/ 322801 w 3149923"/>
                  <a:gd name="connsiteY60" fmla="*/ 2484120 h 3147261"/>
                  <a:gd name="connsiteX61" fmla="*/ 299941 w 3149923"/>
                  <a:gd name="connsiteY61" fmla="*/ 2430780 h 3147261"/>
                  <a:gd name="connsiteX62" fmla="*/ 277081 w 3149923"/>
                  <a:gd name="connsiteY62" fmla="*/ 2377440 h 3147261"/>
                  <a:gd name="connsiteX63" fmla="*/ 231361 w 3149923"/>
                  <a:gd name="connsiteY63" fmla="*/ 2316480 h 3147261"/>
                  <a:gd name="connsiteX64" fmla="*/ 208501 w 3149923"/>
                  <a:gd name="connsiteY64" fmla="*/ 2293620 h 3147261"/>
                  <a:gd name="connsiteX65" fmla="*/ 178021 w 3149923"/>
                  <a:gd name="connsiteY65" fmla="*/ 2240280 h 3147261"/>
                  <a:gd name="connsiteX66" fmla="*/ 162781 w 3149923"/>
                  <a:gd name="connsiteY66" fmla="*/ 2202180 h 3147261"/>
                  <a:gd name="connsiteX67" fmla="*/ 147541 w 3149923"/>
                  <a:gd name="connsiteY67" fmla="*/ 2179320 h 3147261"/>
                  <a:gd name="connsiteX68" fmla="*/ 132301 w 3149923"/>
                  <a:gd name="connsiteY68" fmla="*/ 2133600 h 3147261"/>
                  <a:gd name="connsiteX69" fmla="*/ 101821 w 3149923"/>
                  <a:gd name="connsiteY69" fmla="*/ 2087880 h 3147261"/>
                  <a:gd name="connsiteX70" fmla="*/ 63721 w 3149923"/>
                  <a:gd name="connsiteY70" fmla="*/ 2026920 h 3147261"/>
                  <a:gd name="connsiteX71" fmla="*/ 56101 w 3149923"/>
                  <a:gd name="connsiteY71" fmla="*/ 2004060 h 3147261"/>
                  <a:gd name="connsiteX72" fmla="*/ 40861 w 3149923"/>
                  <a:gd name="connsiteY72" fmla="*/ 1943100 h 3147261"/>
                  <a:gd name="connsiteX73" fmla="*/ 25621 w 3149923"/>
                  <a:gd name="connsiteY73" fmla="*/ 1897380 h 3147261"/>
                  <a:gd name="connsiteX74" fmla="*/ 2761 w 3149923"/>
                  <a:gd name="connsiteY74" fmla="*/ 1562100 h 3147261"/>
                  <a:gd name="connsiteX75" fmla="*/ 86581 w 3149923"/>
                  <a:gd name="connsiteY75" fmla="*/ 1021080 h 3147261"/>
                  <a:gd name="connsiteX76" fmla="*/ 132301 w 3149923"/>
                  <a:gd name="connsiteY76" fmla="*/ 914400 h 3147261"/>
                  <a:gd name="connsiteX77" fmla="*/ 162781 w 3149923"/>
                  <a:gd name="connsiteY77" fmla="*/ 861060 h 3147261"/>
                  <a:gd name="connsiteX78" fmla="*/ 185641 w 3149923"/>
                  <a:gd name="connsiteY78" fmla="*/ 822960 h 3147261"/>
                  <a:gd name="connsiteX79" fmla="*/ 208501 w 3149923"/>
                  <a:gd name="connsiteY79" fmla="*/ 800100 h 3147261"/>
                  <a:gd name="connsiteX80" fmla="*/ 261841 w 3149923"/>
                  <a:gd name="connsiteY80" fmla="*/ 708660 h 3147261"/>
                  <a:gd name="connsiteX81" fmla="*/ 277081 w 3149923"/>
                  <a:gd name="connsiteY81" fmla="*/ 662940 h 3147261"/>
                  <a:gd name="connsiteX82" fmla="*/ 330421 w 3149923"/>
                  <a:gd name="connsiteY82" fmla="*/ 586740 h 3147261"/>
                  <a:gd name="connsiteX83" fmla="*/ 421861 w 3149923"/>
                  <a:gd name="connsiteY83" fmla="*/ 510540 h 3147261"/>
                  <a:gd name="connsiteX84" fmla="*/ 452341 w 3149923"/>
                  <a:gd name="connsiteY84" fmla="*/ 472440 h 3147261"/>
                  <a:gd name="connsiteX85" fmla="*/ 513301 w 3149923"/>
                  <a:gd name="connsiteY85" fmla="*/ 434340 h 3147261"/>
                  <a:gd name="connsiteX86" fmla="*/ 566641 w 3149923"/>
                  <a:gd name="connsiteY86" fmla="*/ 396240 h 3147261"/>
                  <a:gd name="connsiteX87" fmla="*/ 658081 w 3149923"/>
                  <a:gd name="connsiteY87" fmla="*/ 335280 h 3147261"/>
                  <a:gd name="connsiteX88" fmla="*/ 734281 w 3149923"/>
                  <a:gd name="connsiteY88" fmla="*/ 297180 h 3147261"/>
                  <a:gd name="connsiteX89" fmla="*/ 818101 w 3149923"/>
                  <a:gd name="connsiteY89" fmla="*/ 236220 h 3147261"/>
                  <a:gd name="connsiteX90" fmla="*/ 833341 w 3149923"/>
                  <a:gd name="connsiteY90" fmla="*/ 213360 h 3147261"/>
                  <a:gd name="connsiteX91" fmla="*/ 863821 w 3149923"/>
                  <a:gd name="connsiteY91" fmla="*/ 205740 h 3147261"/>
                  <a:gd name="connsiteX92" fmla="*/ 955261 w 3149923"/>
                  <a:gd name="connsiteY92" fmla="*/ 152400 h 3147261"/>
                  <a:gd name="connsiteX93" fmla="*/ 985741 w 3149923"/>
                  <a:gd name="connsiteY93" fmla="*/ 129540 h 3147261"/>
                  <a:gd name="connsiteX94" fmla="*/ 1107661 w 3149923"/>
                  <a:gd name="connsiteY94" fmla="*/ 76200 h 3147261"/>
                  <a:gd name="connsiteX95" fmla="*/ 1130521 w 3149923"/>
                  <a:gd name="connsiteY95" fmla="*/ 68580 h 3147261"/>
                  <a:gd name="connsiteX96" fmla="*/ 1191481 w 3149923"/>
                  <a:gd name="connsiteY96" fmla="*/ 53340 h 3147261"/>
                  <a:gd name="connsiteX97" fmla="*/ 1244821 w 3149923"/>
                  <a:gd name="connsiteY97" fmla="*/ 38100 h 3147261"/>
                  <a:gd name="connsiteX98" fmla="*/ 1267681 w 3149923"/>
                  <a:gd name="connsiteY98" fmla="*/ 30480 h 3147261"/>
                  <a:gd name="connsiteX99" fmla="*/ 1389601 w 3149923"/>
                  <a:gd name="connsiteY99" fmla="*/ 15240 h 3147261"/>
                  <a:gd name="connsiteX100" fmla="*/ 1465801 w 3149923"/>
                  <a:gd name="connsiteY100" fmla="*/ 0 h 3147261"/>
                  <a:gd name="connsiteX101" fmla="*/ 1884901 w 3149923"/>
                  <a:gd name="connsiteY101" fmla="*/ 15240 h 3147261"/>
                  <a:gd name="connsiteX102" fmla="*/ 1915381 w 3149923"/>
                  <a:gd name="connsiteY102" fmla="*/ 22860 h 3147261"/>
                  <a:gd name="connsiteX103" fmla="*/ 2166841 w 3149923"/>
                  <a:gd name="connsiteY103" fmla="*/ 99060 h 3147261"/>
                  <a:gd name="connsiteX104" fmla="*/ 2342101 w 3149923"/>
                  <a:gd name="connsiteY104" fmla="*/ 182880 h 3147261"/>
                  <a:gd name="connsiteX105" fmla="*/ 2372581 w 3149923"/>
                  <a:gd name="connsiteY105" fmla="*/ 190500 h 3147261"/>
                  <a:gd name="connsiteX106" fmla="*/ 2395441 w 3149923"/>
                  <a:gd name="connsiteY106" fmla="*/ 205740 h 3147261"/>
                  <a:gd name="connsiteX107" fmla="*/ 2441161 w 3149923"/>
                  <a:gd name="connsiteY107" fmla="*/ 228600 h 3147261"/>
                  <a:gd name="connsiteX108" fmla="*/ 2448781 w 3149923"/>
                  <a:gd name="connsiteY108" fmla="*/ 266700 h 3147261"/>
                  <a:gd name="connsiteX0" fmla="*/ 2451788 w 3152930"/>
                  <a:gd name="connsiteY0" fmla="*/ 266700 h 3147261"/>
                  <a:gd name="connsiteX1" fmla="*/ 2497508 w 3152930"/>
                  <a:gd name="connsiteY1" fmla="*/ 297180 h 3147261"/>
                  <a:gd name="connsiteX2" fmla="*/ 2505128 w 3152930"/>
                  <a:gd name="connsiteY2" fmla="*/ 320040 h 3147261"/>
                  <a:gd name="connsiteX3" fmla="*/ 2535608 w 3152930"/>
                  <a:gd name="connsiteY3" fmla="*/ 342900 h 3147261"/>
                  <a:gd name="connsiteX4" fmla="*/ 2558468 w 3152930"/>
                  <a:gd name="connsiteY4" fmla="*/ 373380 h 3147261"/>
                  <a:gd name="connsiteX5" fmla="*/ 2588948 w 3152930"/>
                  <a:gd name="connsiteY5" fmla="*/ 388620 h 3147261"/>
                  <a:gd name="connsiteX6" fmla="*/ 2634668 w 3152930"/>
                  <a:gd name="connsiteY6" fmla="*/ 434340 h 3147261"/>
                  <a:gd name="connsiteX7" fmla="*/ 2665148 w 3152930"/>
                  <a:gd name="connsiteY7" fmla="*/ 464820 h 3147261"/>
                  <a:gd name="connsiteX8" fmla="*/ 2710868 w 3152930"/>
                  <a:gd name="connsiteY8" fmla="*/ 487680 h 3147261"/>
                  <a:gd name="connsiteX9" fmla="*/ 2733728 w 3152930"/>
                  <a:gd name="connsiteY9" fmla="*/ 510540 h 3147261"/>
                  <a:gd name="connsiteX10" fmla="*/ 2794688 w 3152930"/>
                  <a:gd name="connsiteY10" fmla="*/ 594360 h 3147261"/>
                  <a:gd name="connsiteX11" fmla="*/ 2855648 w 3152930"/>
                  <a:gd name="connsiteY11" fmla="*/ 662940 h 3147261"/>
                  <a:gd name="connsiteX12" fmla="*/ 2878508 w 3152930"/>
                  <a:gd name="connsiteY12" fmla="*/ 701040 h 3147261"/>
                  <a:gd name="connsiteX13" fmla="*/ 2916608 w 3152930"/>
                  <a:gd name="connsiteY13" fmla="*/ 762000 h 3147261"/>
                  <a:gd name="connsiteX14" fmla="*/ 2954708 w 3152930"/>
                  <a:gd name="connsiteY14" fmla="*/ 845820 h 3147261"/>
                  <a:gd name="connsiteX15" fmla="*/ 2962328 w 3152930"/>
                  <a:gd name="connsiteY15" fmla="*/ 868680 h 3147261"/>
                  <a:gd name="connsiteX16" fmla="*/ 2985188 w 3152930"/>
                  <a:gd name="connsiteY16" fmla="*/ 922020 h 3147261"/>
                  <a:gd name="connsiteX17" fmla="*/ 3000428 w 3152930"/>
                  <a:gd name="connsiteY17" fmla="*/ 952500 h 3147261"/>
                  <a:gd name="connsiteX18" fmla="*/ 3015668 w 3152930"/>
                  <a:gd name="connsiteY18" fmla="*/ 998220 h 3147261"/>
                  <a:gd name="connsiteX19" fmla="*/ 3030908 w 3152930"/>
                  <a:gd name="connsiteY19" fmla="*/ 1036320 h 3147261"/>
                  <a:gd name="connsiteX20" fmla="*/ 3038528 w 3152930"/>
                  <a:gd name="connsiteY20" fmla="*/ 1066800 h 3147261"/>
                  <a:gd name="connsiteX21" fmla="*/ 3061388 w 3152930"/>
                  <a:gd name="connsiteY21" fmla="*/ 1104900 h 3147261"/>
                  <a:gd name="connsiteX22" fmla="*/ 3076628 w 3152930"/>
                  <a:gd name="connsiteY22" fmla="*/ 1150620 h 3147261"/>
                  <a:gd name="connsiteX23" fmla="*/ 3091868 w 3152930"/>
                  <a:gd name="connsiteY23" fmla="*/ 1181100 h 3147261"/>
                  <a:gd name="connsiteX24" fmla="*/ 3099488 w 3152930"/>
                  <a:gd name="connsiteY24" fmla="*/ 1226820 h 3147261"/>
                  <a:gd name="connsiteX25" fmla="*/ 3107108 w 3152930"/>
                  <a:gd name="connsiteY25" fmla="*/ 1280160 h 3147261"/>
                  <a:gd name="connsiteX26" fmla="*/ 3122348 w 3152930"/>
                  <a:gd name="connsiteY26" fmla="*/ 1371600 h 3147261"/>
                  <a:gd name="connsiteX27" fmla="*/ 3137588 w 3152930"/>
                  <a:gd name="connsiteY27" fmla="*/ 1417320 h 3147261"/>
                  <a:gd name="connsiteX28" fmla="*/ 3145208 w 3152930"/>
                  <a:gd name="connsiteY28" fmla="*/ 1485900 h 3147261"/>
                  <a:gd name="connsiteX29" fmla="*/ 3152828 w 3152930"/>
                  <a:gd name="connsiteY29" fmla="*/ 1516380 h 3147261"/>
                  <a:gd name="connsiteX30" fmla="*/ 3137588 w 3152930"/>
                  <a:gd name="connsiteY30" fmla="*/ 1691640 h 3147261"/>
                  <a:gd name="connsiteX31" fmla="*/ 3129968 w 3152930"/>
                  <a:gd name="connsiteY31" fmla="*/ 1767840 h 3147261"/>
                  <a:gd name="connsiteX32" fmla="*/ 3114728 w 3152930"/>
                  <a:gd name="connsiteY32" fmla="*/ 1836420 h 3147261"/>
                  <a:gd name="connsiteX33" fmla="*/ 3091868 w 3152930"/>
                  <a:gd name="connsiteY33" fmla="*/ 1905000 h 3147261"/>
                  <a:gd name="connsiteX34" fmla="*/ 3084248 w 3152930"/>
                  <a:gd name="connsiteY34" fmla="*/ 1935480 h 3147261"/>
                  <a:gd name="connsiteX35" fmla="*/ 3076628 w 3152930"/>
                  <a:gd name="connsiteY35" fmla="*/ 1958340 h 3147261"/>
                  <a:gd name="connsiteX36" fmla="*/ 3061388 w 3152930"/>
                  <a:gd name="connsiteY36" fmla="*/ 2019300 h 3147261"/>
                  <a:gd name="connsiteX37" fmla="*/ 3046148 w 3152930"/>
                  <a:gd name="connsiteY37" fmla="*/ 2057400 h 3147261"/>
                  <a:gd name="connsiteX38" fmla="*/ 3038528 w 3152930"/>
                  <a:gd name="connsiteY38" fmla="*/ 2080260 h 3147261"/>
                  <a:gd name="connsiteX39" fmla="*/ 3023288 w 3152930"/>
                  <a:gd name="connsiteY39" fmla="*/ 2118360 h 3147261"/>
                  <a:gd name="connsiteX40" fmla="*/ 3000428 w 3152930"/>
                  <a:gd name="connsiteY40" fmla="*/ 2186940 h 3147261"/>
                  <a:gd name="connsiteX41" fmla="*/ 2992808 w 3152930"/>
                  <a:gd name="connsiteY41" fmla="*/ 2225040 h 3147261"/>
                  <a:gd name="connsiteX42" fmla="*/ 2977568 w 3152930"/>
                  <a:gd name="connsiteY42" fmla="*/ 2270760 h 3147261"/>
                  <a:gd name="connsiteX43" fmla="*/ 2969948 w 3152930"/>
                  <a:gd name="connsiteY43" fmla="*/ 2308860 h 3147261"/>
                  <a:gd name="connsiteX44" fmla="*/ 2954708 w 3152930"/>
                  <a:gd name="connsiteY44" fmla="*/ 2331720 h 3147261"/>
                  <a:gd name="connsiteX45" fmla="*/ 2931848 w 3152930"/>
                  <a:gd name="connsiteY45" fmla="*/ 2385060 h 3147261"/>
                  <a:gd name="connsiteX46" fmla="*/ 2908988 w 3152930"/>
                  <a:gd name="connsiteY46" fmla="*/ 2407920 h 3147261"/>
                  <a:gd name="connsiteX47" fmla="*/ 2863268 w 3152930"/>
                  <a:gd name="connsiteY47" fmla="*/ 2499360 h 3147261"/>
                  <a:gd name="connsiteX48" fmla="*/ 2848028 w 3152930"/>
                  <a:gd name="connsiteY48" fmla="*/ 2529840 h 3147261"/>
                  <a:gd name="connsiteX49" fmla="*/ 2840408 w 3152930"/>
                  <a:gd name="connsiteY49" fmla="*/ 2552700 h 3147261"/>
                  <a:gd name="connsiteX50" fmla="*/ 2764208 w 3152930"/>
                  <a:gd name="connsiteY50" fmla="*/ 2636520 h 3147261"/>
                  <a:gd name="connsiteX51" fmla="*/ 2710868 w 3152930"/>
                  <a:gd name="connsiteY51" fmla="*/ 2667000 h 3147261"/>
                  <a:gd name="connsiteX52" fmla="*/ 2307008 w 3152930"/>
                  <a:gd name="connsiteY52" fmla="*/ 2971800 h 3147261"/>
                  <a:gd name="connsiteX53" fmla="*/ 2200328 w 3152930"/>
                  <a:gd name="connsiteY53" fmla="*/ 3025140 h 3147261"/>
                  <a:gd name="connsiteX54" fmla="*/ 2101268 w 3152930"/>
                  <a:gd name="connsiteY54" fmla="*/ 3055620 h 3147261"/>
                  <a:gd name="connsiteX55" fmla="*/ 1918388 w 3152930"/>
                  <a:gd name="connsiteY55" fmla="*/ 3108960 h 3147261"/>
                  <a:gd name="connsiteX56" fmla="*/ 1804088 w 3152930"/>
                  <a:gd name="connsiteY56" fmla="*/ 3147060 h 3147261"/>
                  <a:gd name="connsiteX57" fmla="*/ 1339268 w 3152930"/>
                  <a:gd name="connsiteY57" fmla="*/ 3108960 h 3147261"/>
                  <a:gd name="connsiteX58" fmla="*/ 798248 w 3152930"/>
                  <a:gd name="connsiteY58" fmla="*/ 2933700 h 3147261"/>
                  <a:gd name="connsiteX59" fmla="*/ 424868 w 3152930"/>
                  <a:gd name="connsiteY59" fmla="*/ 2644140 h 3147261"/>
                  <a:gd name="connsiteX60" fmla="*/ 325808 w 3152930"/>
                  <a:gd name="connsiteY60" fmla="*/ 2484120 h 3147261"/>
                  <a:gd name="connsiteX61" fmla="*/ 302948 w 3152930"/>
                  <a:gd name="connsiteY61" fmla="*/ 2430780 h 3147261"/>
                  <a:gd name="connsiteX62" fmla="*/ 280088 w 3152930"/>
                  <a:gd name="connsiteY62" fmla="*/ 2377440 h 3147261"/>
                  <a:gd name="connsiteX63" fmla="*/ 234368 w 3152930"/>
                  <a:gd name="connsiteY63" fmla="*/ 2316480 h 3147261"/>
                  <a:gd name="connsiteX64" fmla="*/ 211508 w 3152930"/>
                  <a:gd name="connsiteY64" fmla="*/ 2293620 h 3147261"/>
                  <a:gd name="connsiteX65" fmla="*/ 181028 w 3152930"/>
                  <a:gd name="connsiteY65" fmla="*/ 2240280 h 3147261"/>
                  <a:gd name="connsiteX66" fmla="*/ 165788 w 3152930"/>
                  <a:gd name="connsiteY66" fmla="*/ 2202180 h 3147261"/>
                  <a:gd name="connsiteX67" fmla="*/ 150548 w 3152930"/>
                  <a:gd name="connsiteY67" fmla="*/ 2179320 h 3147261"/>
                  <a:gd name="connsiteX68" fmla="*/ 135308 w 3152930"/>
                  <a:gd name="connsiteY68" fmla="*/ 2133600 h 3147261"/>
                  <a:gd name="connsiteX69" fmla="*/ 104828 w 3152930"/>
                  <a:gd name="connsiteY69" fmla="*/ 2087880 h 3147261"/>
                  <a:gd name="connsiteX70" fmla="*/ 66728 w 3152930"/>
                  <a:gd name="connsiteY70" fmla="*/ 2026920 h 3147261"/>
                  <a:gd name="connsiteX71" fmla="*/ 59108 w 3152930"/>
                  <a:gd name="connsiteY71" fmla="*/ 2004060 h 3147261"/>
                  <a:gd name="connsiteX72" fmla="*/ 43868 w 3152930"/>
                  <a:gd name="connsiteY72" fmla="*/ 1943100 h 3147261"/>
                  <a:gd name="connsiteX73" fmla="*/ 28628 w 3152930"/>
                  <a:gd name="connsiteY73" fmla="*/ 1897380 h 3147261"/>
                  <a:gd name="connsiteX74" fmla="*/ 5768 w 3152930"/>
                  <a:gd name="connsiteY74" fmla="*/ 1562100 h 3147261"/>
                  <a:gd name="connsiteX75" fmla="*/ 135308 w 3152930"/>
                  <a:gd name="connsiteY75" fmla="*/ 914400 h 3147261"/>
                  <a:gd name="connsiteX76" fmla="*/ 165788 w 3152930"/>
                  <a:gd name="connsiteY76" fmla="*/ 861060 h 3147261"/>
                  <a:gd name="connsiteX77" fmla="*/ 188648 w 3152930"/>
                  <a:gd name="connsiteY77" fmla="*/ 822960 h 3147261"/>
                  <a:gd name="connsiteX78" fmla="*/ 211508 w 3152930"/>
                  <a:gd name="connsiteY78" fmla="*/ 800100 h 3147261"/>
                  <a:gd name="connsiteX79" fmla="*/ 264848 w 3152930"/>
                  <a:gd name="connsiteY79" fmla="*/ 708660 h 3147261"/>
                  <a:gd name="connsiteX80" fmla="*/ 280088 w 3152930"/>
                  <a:gd name="connsiteY80" fmla="*/ 662940 h 3147261"/>
                  <a:gd name="connsiteX81" fmla="*/ 333428 w 3152930"/>
                  <a:gd name="connsiteY81" fmla="*/ 586740 h 3147261"/>
                  <a:gd name="connsiteX82" fmla="*/ 424868 w 3152930"/>
                  <a:gd name="connsiteY82" fmla="*/ 510540 h 3147261"/>
                  <a:gd name="connsiteX83" fmla="*/ 455348 w 3152930"/>
                  <a:gd name="connsiteY83" fmla="*/ 472440 h 3147261"/>
                  <a:gd name="connsiteX84" fmla="*/ 516308 w 3152930"/>
                  <a:gd name="connsiteY84" fmla="*/ 434340 h 3147261"/>
                  <a:gd name="connsiteX85" fmla="*/ 569648 w 3152930"/>
                  <a:gd name="connsiteY85" fmla="*/ 396240 h 3147261"/>
                  <a:gd name="connsiteX86" fmla="*/ 661088 w 3152930"/>
                  <a:gd name="connsiteY86" fmla="*/ 335280 h 3147261"/>
                  <a:gd name="connsiteX87" fmla="*/ 737288 w 3152930"/>
                  <a:gd name="connsiteY87" fmla="*/ 297180 h 3147261"/>
                  <a:gd name="connsiteX88" fmla="*/ 821108 w 3152930"/>
                  <a:gd name="connsiteY88" fmla="*/ 236220 h 3147261"/>
                  <a:gd name="connsiteX89" fmla="*/ 836348 w 3152930"/>
                  <a:gd name="connsiteY89" fmla="*/ 213360 h 3147261"/>
                  <a:gd name="connsiteX90" fmla="*/ 866828 w 3152930"/>
                  <a:gd name="connsiteY90" fmla="*/ 205740 h 3147261"/>
                  <a:gd name="connsiteX91" fmla="*/ 958268 w 3152930"/>
                  <a:gd name="connsiteY91" fmla="*/ 152400 h 3147261"/>
                  <a:gd name="connsiteX92" fmla="*/ 988748 w 3152930"/>
                  <a:gd name="connsiteY92" fmla="*/ 129540 h 3147261"/>
                  <a:gd name="connsiteX93" fmla="*/ 1110668 w 3152930"/>
                  <a:gd name="connsiteY93" fmla="*/ 76200 h 3147261"/>
                  <a:gd name="connsiteX94" fmla="*/ 1133528 w 3152930"/>
                  <a:gd name="connsiteY94" fmla="*/ 68580 h 3147261"/>
                  <a:gd name="connsiteX95" fmla="*/ 1194488 w 3152930"/>
                  <a:gd name="connsiteY95" fmla="*/ 53340 h 3147261"/>
                  <a:gd name="connsiteX96" fmla="*/ 1247828 w 3152930"/>
                  <a:gd name="connsiteY96" fmla="*/ 38100 h 3147261"/>
                  <a:gd name="connsiteX97" fmla="*/ 1270688 w 3152930"/>
                  <a:gd name="connsiteY97" fmla="*/ 30480 h 3147261"/>
                  <a:gd name="connsiteX98" fmla="*/ 1392608 w 3152930"/>
                  <a:gd name="connsiteY98" fmla="*/ 15240 h 3147261"/>
                  <a:gd name="connsiteX99" fmla="*/ 1468808 w 3152930"/>
                  <a:gd name="connsiteY99" fmla="*/ 0 h 3147261"/>
                  <a:gd name="connsiteX100" fmla="*/ 1887908 w 3152930"/>
                  <a:gd name="connsiteY100" fmla="*/ 15240 h 3147261"/>
                  <a:gd name="connsiteX101" fmla="*/ 1918388 w 3152930"/>
                  <a:gd name="connsiteY101" fmla="*/ 22860 h 3147261"/>
                  <a:gd name="connsiteX102" fmla="*/ 2169848 w 3152930"/>
                  <a:gd name="connsiteY102" fmla="*/ 99060 h 3147261"/>
                  <a:gd name="connsiteX103" fmla="*/ 2345108 w 3152930"/>
                  <a:gd name="connsiteY103" fmla="*/ 182880 h 3147261"/>
                  <a:gd name="connsiteX104" fmla="*/ 2375588 w 3152930"/>
                  <a:gd name="connsiteY104" fmla="*/ 190500 h 3147261"/>
                  <a:gd name="connsiteX105" fmla="*/ 2398448 w 3152930"/>
                  <a:gd name="connsiteY105" fmla="*/ 205740 h 3147261"/>
                  <a:gd name="connsiteX106" fmla="*/ 2444168 w 3152930"/>
                  <a:gd name="connsiteY106" fmla="*/ 228600 h 3147261"/>
                  <a:gd name="connsiteX107" fmla="*/ 2451788 w 3152930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06749 w 3148171"/>
                  <a:gd name="connsiteY78" fmla="*/ 800100 h 3147261"/>
                  <a:gd name="connsiteX79" fmla="*/ 260089 w 3148171"/>
                  <a:gd name="connsiteY79" fmla="*/ 708660 h 3147261"/>
                  <a:gd name="connsiteX80" fmla="*/ 275329 w 3148171"/>
                  <a:gd name="connsiteY80" fmla="*/ 662940 h 3147261"/>
                  <a:gd name="connsiteX81" fmla="*/ 328669 w 3148171"/>
                  <a:gd name="connsiteY81" fmla="*/ 586740 h 3147261"/>
                  <a:gd name="connsiteX82" fmla="*/ 420109 w 3148171"/>
                  <a:gd name="connsiteY82" fmla="*/ 510540 h 3147261"/>
                  <a:gd name="connsiteX83" fmla="*/ 450589 w 3148171"/>
                  <a:gd name="connsiteY83" fmla="*/ 472440 h 3147261"/>
                  <a:gd name="connsiteX84" fmla="*/ 511549 w 3148171"/>
                  <a:gd name="connsiteY84" fmla="*/ 434340 h 3147261"/>
                  <a:gd name="connsiteX85" fmla="*/ 564889 w 3148171"/>
                  <a:gd name="connsiteY85" fmla="*/ 396240 h 3147261"/>
                  <a:gd name="connsiteX86" fmla="*/ 656329 w 3148171"/>
                  <a:gd name="connsiteY86" fmla="*/ 335280 h 3147261"/>
                  <a:gd name="connsiteX87" fmla="*/ 732529 w 3148171"/>
                  <a:gd name="connsiteY87" fmla="*/ 297180 h 3147261"/>
                  <a:gd name="connsiteX88" fmla="*/ 816349 w 3148171"/>
                  <a:gd name="connsiteY88" fmla="*/ 236220 h 3147261"/>
                  <a:gd name="connsiteX89" fmla="*/ 831589 w 3148171"/>
                  <a:gd name="connsiteY89" fmla="*/ 213360 h 3147261"/>
                  <a:gd name="connsiteX90" fmla="*/ 862069 w 3148171"/>
                  <a:gd name="connsiteY90" fmla="*/ 205740 h 3147261"/>
                  <a:gd name="connsiteX91" fmla="*/ 953509 w 3148171"/>
                  <a:gd name="connsiteY91" fmla="*/ 152400 h 3147261"/>
                  <a:gd name="connsiteX92" fmla="*/ 983989 w 3148171"/>
                  <a:gd name="connsiteY92" fmla="*/ 129540 h 3147261"/>
                  <a:gd name="connsiteX93" fmla="*/ 1105909 w 3148171"/>
                  <a:gd name="connsiteY93" fmla="*/ 76200 h 3147261"/>
                  <a:gd name="connsiteX94" fmla="*/ 1128769 w 3148171"/>
                  <a:gd name="connsiteY94" fmla="*/ 68580 h 3147261"/>
                  <a:gd name="connsiteX95" fmla="*/ 1189729 w 3148171"/>
                  <a:gd name="connsiteY95" fmla="*/ 53340 h 3147261"/>
                  <a:gd name="connsiteX96" fmla="*/ 1243069 w 3148171"/>
                  <a:gd name="connsiteY96" fmla="*/ 38100 h 3147261"/>
                  <a:gd name="connsiteX97" fmla="*/ 1265929 w 3148171"/>
                  <a:gd name="connsiteY97" fmla="*/ 30480 h 3147261"/>
                  <a:gd name="connsiteX98" fmla="*/ 1387849 w 3148171"/>
                  <a:gd name="connsiteY98" fmla="*/ 15240 h 3147261"/>
                  <a:gd name="connsiteX99" fmla="*/ 1464049 w 3148171"/>
                  <a:gd name="connsiteY99" fmla="*/ 0 h 3147261"/>
                  <a:gd name="connsiteX100" fmla="*/ 1883149 w 3148171"/>
                  <a:gd name="connsiteY100" fmla="*/ 15240 h 3147261"/>
                  <a:gd name="connsiteX101" fmla="*/ 1913629 w 3148171"/>
                  <a:gd name="connsiteY101" fmla="*/ 22860 h 3147261"/>
                  <a:gd name="connsiteX102" fmla="*/ 2165089 w 3148171"/>
                  <a:gd name="connsiteY102" fmla="*/ 99060 h 3147261"/>
                  <a:gd name="connsiteX103" fmla="*/ 2340349 w 3148171"/>
                  <a:gd name="connsiteY103" fmla="*/ 182880 h 3147261"/>
                  <a:gd name="connsiteX104" fmla="*/ 2370829 w 3148171"/>
                  <a:gd name="connsiteY104" fmla="*/ 190500 h 3147261"/>
                  <a:gd name="connsiteX105" fmla="*/ 2393689 w 3148171"/>
                  <a:gd name="connsiteY105" fmla="*/ 205740 h 3147261"/>
                  <a:gd name="connsiteX106" fmla="*/ 2439409 w 3148171"/>
                  <a:gd name="connsiteY106" fmla="*/ 228600 h 3147261"/>
                  <a:gd name="connsiteX107" fmla="*/ 2447029 w 3148171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328669 w 3148171"/>
                  <a:gd name="connsiteY80" fmla="*/ 586740 h 3147261"/>
                  <a:gd name="connsiteX81" fmla="*/ 420109 w 3148171"/>
                  <a:gd name="connsiteY81" fmla="*/ 510540 h 3147261"/>
                  <a:gd name="connsiteX82" fmla="*/ 450589 w 3148171"/>
                  <a:gd name="connsiteY82" fmla="*/ 472440 h 3147261"/>
                  <a:gd name="connsiteX83" fmla="*/ 511549 w 3148171"/>
                  <a:gd name="connsiteY83" fmla="*/ 434340 h 3147261"/>
                  <a:gd name="connsiteX84" fmla="*/ 564889 w 3148171"/>
                  <a:gd name="connsiteY84" fmla="*/ 396240 h 3147261"/>
                  <a:gd name="connsiteX85" fmla="*/ 656329 w 3148171"/>
                  <a:gd name="connsiteY85" fmla="*/ 335280 h 3147261"/>
                  <a:gd name="connsiteX86" fmla="*/ 732529 w 3148171"/>
                  <a:gd name="connsiteY86" fmla="*/ 297180 h 3147261"/>
                  <a:gd name="connsiteX87" fmla="*/ 816349 w 3148171"/>
                  <a:gd name="connsiteY87" fmla="*/ 236220 h 3147261"/>
                  <a:gd name="connsiteX88" fmla="*/ 831589 w 3148171"/>
                  <a:gd name="connsiteY88" fmla="*/ 213360 h 3147261"/>
                  <a:gd name="connsiteX89" fmla="*/ 862069 w 3148171"/>
                  <a:gd name="connsiteY89" fmla="*/ 205740 h 3147261"/>
                  <a:gd name="connsiteX90" fmla="*/ 953509 w 3148171"/>
                  <a:gd name="connsiteY90" fmla="*/ 152400 h 3147261"/>
                  <a:gd name="connsiteX91" fmla="*/ 983989 w 3148171"/>
                  <a:gd name="connsiteY91" fmla="*/ 129540 h 3147261"/>
                  <a:gd name="connsiteX92" fmla="*/ 1105909 w 3148171"/>
                  <a:gd name="connsiteY92" fmla="*/ 76200 h 3147261"/>
                  <a:gd name="connsiteX93" fmla="*/ 1128769 w 3148171"/>
                  <a:gd name="connsiteY93" fmla="*/ 68580 h 3147261"/>
                  <a:gd name="connsiteX94" fmla="*/ 1189729 w 3148171"/>
                  <a:gd name="connsiteY94" fmla="*/ 53340 h 3147261"/>
                  <a:gd name="connsiteX95" fmla="*/ 1243069 w 3148171"/>
                  <a:gd name="connsiteY95" fmla="*/ 38100 h 3147261"/>
                  <a:gd name="connsiteX96" fmla="*/ 1265929 w 3148171"/>
                  <a:gd name="connsiteY96" fmla="*/ 30480 h 3147261"/>
                  <a:gd name="connsiteX97" fmla="*/ 1387849 w 3148171"/>
                  <a:gd name="connsiteY97" fmla="*/ 15240 h 3147261"/>
                  <a:gd name="connsiteX98" fmla="*/ 1464049 w 3148171"/>
                  <a:gd name="connsiteY98" fmla="*/ 0 h 3147261"/>
                  <a:gd name="connsiteX99" fmla="*/ 1883149 w 3148171"/>
                  <a:gd name="connsiteY99" fmla="*/ 15240 h 3147261"/>
                  <a:gd name="connsiteX100" fmla="*/ 1913629 w 3148171"/>
                  <a:gd name="connsiteY100" fmla="*/ 22860 h 3147261"/>
                  <a:gd name="connsiteX101" fmla="*/ 2165089 w 3148171"/>
                  <a:gd name="connsiteY101" fmla="*/ 99060 h 3147261"/>
                  <a:gd name="connsiteX102" fmla="*/ 2340349 w 3148171"/>
                  <a:gd name="connsiteY102" fmla="*/ 182880 h 3147261"/>
                  <a:gd name="connsiteX103" fmla="*/ 2370829 w 3148171"/>
                  <a:gd name="connsiteY103" fmla="*/ 190500 h 3147261"/>
                  <a:gd name="connsiteX104" fmla="*/ 2393689 w 3148171"/>
                  <a:gd name="connsiteY104" fmla="*/ 205740 h 3147261"/>
                  <a:gd name="connsiteX105" fmla="*/ 2439409 w 3148171"/>
                  <a:gd name="connsiteY105" fmla="*/ 228600 h 3147261"/>
                  <a:gd name="connsiteX106" fmla="*/ 2447029 w 3148171"/>
                  <a:gd name="connsiteY106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450589 w 3148171"/>
                  <a:gd name="connsiteY81" fmla="*/ 472440 h 3147261"/>
                  <a:gd name="connsiteX82" fmla="*/ 511549 w 3148171"/>
                  <a:gd name="connsiteY82" fmla="*/ 434340 h 3147261"/>
                  <a:gd name="connsiteX83" fmla="*/ 564889 w 3148171"/>
                  <a:gd name="connsiteY83" fmla="*/ 396240 h 3147261"/>
                  <a:gd name="connsiteX84" fmla="*/ 656329 w 3148171"/>
                  <a:gd name="connsiteY84" fmla="*/ 335280 h 3147261"/>
                  <a:gd name="connsiteX85" fmla="*/ 732529 w 3148171"/>
                  <a:gd name="connsiteY85" fmla="*/ 297180 h 3147261"/>
                  <a:gd name="connsiteX86" fmla="*/ 816349 w 3148171"/>
                  <a:gd name="connsiteY86" fmla="*/ 236220 h 3147261"/>
                  <a:gd name="connsiteX87" fmla="*/ 831589 w 3148171"/>
                  <a:gd name="connsiteY87" fmla="*/ 213360 h 3147261"/>
                  <a:gd name="connsiteX88" fmla="*/ 862069 w 3148171"/>
                  <a:gd name="connsiteY88" fmla="*/ 205740 h 3147261"/>
                  <a:gd name="connsiteX89" fmla="*/ 953509 w 3148171"/>
                  <a:gd name="connsiteY89" fmla="*/ 152400 h 3147261"/>
                  <a:gd name="connsiteX90" fmla="*/ 983989 w 3148171"/>
                  <a:gd name="connsiteY90" fmla="*/ 129540 h 3147261"/>
                  <a:gd name="connsiteX91" fmla="*/ 1105909 w 3148171"/>
                  <a:gd name="connsiteY91" fmla="*/ 76200 h 3147261"/>
                  <a:gd name="connsiteX92" fmla="*/ 1128769 w 3148171"/>
                  <a:gd name="connsiteY92" fmla="*/ 68580 h 3147261"/>
                  <a:gd name="connsiteX93" fmla="*/ 1189729 w 3148171"/>
                  <a:gd name="connsiteY93" fmla="*/ 53340 h 3147261"/>
                  <a:gd name="connsiteX94" fmla="*/ 1243069 w 3148171"/>
                  <a:gd name="connsiteY94" fmla="*/ 38100 h 3147261"/>
                  <a:gd name="connsiteX95" fmla="*/ 1265929 w 3148171"/>
                  <a:gd name="connsiteY95" fmla="*/ 30480 h 3147261"/>
                  <a:gd name="connsiteX96" fmla="*/ 1387849 w 3148171"/>
                  <a:gd name="connsiteY96" fmla="*/ 15240 h 3147261"/>
                  <a:gd name="connsiteX97" fmla="*/ 1464049 w 3148171"/>
                  <a:gd name="connsiteY97" fmla="*/ 0 h 3147261"/>
                  <a:gd name="connsiteX98" fmla="*/ 1883149 w 3148171"/>
                  <a:gd name="connsiteY98" fmla="*/ 15240 h 3147261"/>
                  <a:gd name="connsiteX99" fmla="*/ 1913629 w 3148171"/>
                  <a:gd name="connsiteY99" fmla="*/ 22860 h 3147261"/>
                  <a:gd name="connsiteX100" fmla="*/ 2165089 w 3148171"/>
                  <a:gd name="connsiteY100" fmla="*/ 99060 h 3147261"/>
                  <a:gd name="connsiteX101" fmla="*/ 2340349 w 3148171"/>
                  <a:gd name="connsiteY101" fmla="*/ 182880 h 3147261"/>
                  <a:gd name="connsiteX102" fmla="*/ 2370829 w 3148171"/>
                  <a:gd name="connsiteY102" fmla="*/ 190500 h 3147261"/>
                  <a:gd name="connsiteX103" fmla="*/ 2393689 w 3148171"/>
                  <a:gd name="connsiteY103" fmla="*/ 205740 h 3147261"/>
                  <a:gd name="connsiteX104" fmla="*/ 2439409 w 3148171"/>
                  <a:gd name="connsiteY104" fmla="*/ 228600 h 3147261"/>
                  <a:gd name="connsiteX105" fmla="*/ 2447029 w 3148171"/>
                  <a:gd name="connsiteY105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732529 w 3148171"/>
                  <a:gd name="connsiteY84" fmla="*/ 297180 h 3147261"/>
                  <a:gd name="connsiteX85" fmla="*/ 816349 w 3148171"/>
                  <a:gd name="connsiteY85" fmla="*/ 236220 h 3147261"/>
                  <a:gd name="connsiteX86" fmla="*/ 831589 w 3148171"/>
                  <a:gd name="connsiteY86" fmla="*/ 213360 h 3147261"/>
                  <a:gd name="connsiteX87" fmla="*/ 862069 w 3148171"/>
                  <a:gd name="connsiteY87" fmla="*/ 205740 h 3147261"/>
                  <a:gd name="connsiteX88" fmla="*/ 953509 w 3148171"/>
                  <a:gd name="connsiteY88" fmla="*/ 152400 h 3147261"/>
                  <a:gd name="connsiteX89" fmla="*/ 983989 w 3148171"/>
                  <a:gd name="connsiteY89" fmla="*/ 129540 h 3147261"/>
                  <a:gd name="connsiteX90" fmla="*/ 1105909 w 3148171"/>
                  <a:gd name="connsiteY90" fmla="*/ 76200 h 3147261"/>
                  <a:gd name="connsiteX91" fmla="*/ 1128769 w 3148171"/>
                  <a:gd name="connsiteY91" fmla="*/ 68580 h 3147261"/>
                  <a:gd name="connsiteX92" fmla="*/ 1189729 w 3148171"/>
                  <a:gd name="connsiteY92" fmla="*/ 53340 h 3147261"/>
                  <a:gd name="connsiteX93" fmla="*/ 1243069 w 3148171"/>
                  <a:gd name="connsiteY93" fmla="*/ 38100 h 3147261"/>
                  <a:gd name="connsiteX94" fmla="*/ 1265929 w 3148171"/>
                  <a:gd name="connsiteY94" fmla="*/ 30480 h 3147261"/>
                  <a:gd name="connsiteX95" fmla="*/ 1387849 w 3148171"/>
                  <a:gd name="connsiteY95" fmla="*/ 15240 h 3147261"/>
                  <a:gd name="connsiteX96" fmla="*/ 1464049 w 3148171"/>
                  <a:gd name="connsiteY96" fmla="*/ 0 h 3147261"/>
                  <a:gd name="connsiteX97" fmla="*/ 1883149 w 3148171"/>
                  <a:gd name="connsiteY97" fmla="*/ 15240 h 3147261"/>
                  <a:gd name="connsiteX98" fmla="*/ 1913629 w 3148171"/>
                  <a:gd name="connsiteY98" fmla="*/ 22860 h 3147261"/>
                  <a:gd name="connsiteX99" fmla="*/ 2165089 w 3148171"/>
                  <a:gd name="connsiteY99" fmla="*/ 99060 h 3147261"/>
                  <a:gd name="connsiteX100" fmla="*/ 2340349 w 3148171"/>
                  <a:gd name="connsiteY100" fmla="*/ 182880 h 3147261"/>
                  <a:gd name="connsiteX101" fmla="*/ 2370829 w 3148171"/>
                  <a:gd name="connsiteY101" fmla="*/ 190500 h 3147261"/>
                  <a:gd name="connsiteX102" fmla="*/ 2393689 w 3148171"/>
                  <a:gd name="connsiteY102" fmla="*/ 205740 h 3147261"/>
                  <a:gd name="connsiteX103" fmla="*/ 2439409 w 3148171"/>
                  <a:gd name="connsiteY103" fmla="*/ 228600 h 3147261"/>
                  <a:gd name="connsiteX104" fmla="*/ 2447029 w 3148171"/>
                  <a:gd name="connsiteY104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31589 w 3148171"/>
                  <a:gd name="connsiteY85" fmla="*/ 213360 h 3147261"/>
                  <a:gd name="connsiteX86" fmla="*/ 862069 w 3148171"/>
                  <a:gd name="connsiteY86" fmla="*/ 205740 h 3147261"/>
                  <a:gd name="connsiteX87" fmla="*/ 953509 w 3148171"/>
                  <a:gd name="connsiteY87" fmla="*/ 152400 h 3147261"/>
                  <a:gd name="connsiteX88" fmla="*/ 983989 w 3148171"/>
                  <a:gd name="connsiteY88" fmla="*/ 129540 h 3147261"/>
                  <a:gd name="connsiteX89" fmla="*/ 1105909 w 3148171"/>
                  <a:gd name="connsiteY89" fmla="*/ 76200 h 3147261"/>
                  <a:gd name="connsiteX90" fmla="*/ 1128769 w 3148171"/>
                  <a:gd name="connsiteY90" fmla="*/ 68580 h 3147261"/>
                  <a:gd name="connsiteX91" fmla="*/ 1189729 w 3148171"/>
                  <a:gd name="connsiteY91" fmla="*/ 53340 h 3147261"/>
                  <a:gd name="connsiteX92" fmla="*/ 1243069 w 3148171"/>
                  <a:gd name="connsiteY92" fmla="*/ 38100 h 3147261"/>
                  <a:gd name="connsiteX93" fmla="*/ 1265929 w 3148171"/>
                  <a:gd name="connsiteY93" fmla="*/ 30480 h 3147261"/>
                  <a:gd name="connsiteX94" fmla="*/ 1387849 w 3148171"/>
                  <a:gd name="connsiteY94" fmla="*/ 15240 h 3147261"/>
                  <a:gd name="connsiteX95" fmla="*/ 1464049 w 3148171"/>
                  <a:gd name="connsiteY95" fmla="*/ 0 h 3147261"/>
                  <a:gd name="connsiteX96" fmla="*/ 1883149 w 3148171"/>
                  <a:gd name="connsiteY96" fmla="*/ 15240 h 3147261"/>
                  <a:gd name="connsiteX97" fmla="*/ 1913629 w 3148171"/>
                  <a:gd name="connsiteY97" fmla="*/ 22860 h 3147261"/>
                  <a:gd name="connsiteX98" fmla="*/ 2165089 w 3148171"/>
                  <a:gd name="connsiteY98" fmla="*/ 99060 h 3147261"/>
                  <a:gd name="connsiteX99" fmla="*/ 2340349 w 3148171"/>
                  <a:gd name="connsiteY99" fmla="*/ 182880 h 3147261"/>
                  <a:gd name="connsiteX100" fmla="*/ 2370829 w 3148171"/>
                  <a:gd name="connsiteY100" fmla="*/ 190500 h 3147261"/>
                  <a:gd name="connsiteX101" fmla="*/ 2393689 w 3148171"/>
                  <a:gd name="connsiteY101" fmla="*/ 205740 h 3147261"/>
                  <a:gd name="connsiteX102" fmla="*/ 2439409 w 3148171"/>
                  <a:gd name="connsiteY102" fmla="*/ 228600 h 3147261"/>
                  <a:gd name="connsiteX103" fmla="*/ 2447029 w 3148171"/>
                  <a:gd name="connsiteY103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62069 w 3148171"/>
                  <a:gd name="connsiteY85" fmla="*/ 205740 h 3147261"/>
                  <a:gd name="connsiteX86" fmla="*/ 953509 w 3148171"/>
                  <a:gd name="connsiteY86" fmla="*/ 152400 h 3147261"/>
                  <a:gd name="connsiteX87" fmla="*/ 983989 w 3148171"/>
                  <a:gd name="connsiteY87" fmla="*/ 129540 h 3147261"/>
                  <a:gd name="connsiteX88" fmla="*/ 1105909 w 3148171"/>
                  <a:gd name="connsiteY88" fmla="*/ 76200 h 3147261"/>
                  <a:gd name="connsiteX89" fmla="*/ 1128769 w 3148171"/>
                  <a:gd name="connsiteY89" fmla="*/ 68580 h 3147261"/>
                  <a:gd name="connsiteX90" fmla="*/ 1189729 w 3148171"/>
                  <a:gd name="connsiteY90" fmla="*/ 53340 h 3147261"/>
                  <a:gd name="connsiteX91" fmla="*/ 1243069 w 3148171"/>
                  <a:gd name="connsiteY91" fmla="*/ 38100 h 3147261"/>
                  <a:gd name="connsiteX92" fmla="*/ 1265929 w 3148171"/>
                  <a:gd name="connsiteY92" fmla="*/ 30480 h 3147261"/>
                  <a:gd name="connsiteX93" fmla="*/ 1387849 w 3148171"/>
                  <a:gd name="connsiteY93" fmla="*/ 15240 h 3147261"/>
                  <a:gd name="connsiteX94" fmla="*/ 1464049 w 3148171"/>
                  <a:gd name="connsiteY94" fmla="*/ 0 h 3147261"/>
                  <a:gd name="connsiteX95" fmla="*/ 1883149 w 3148171"/>
                  <a:gd name="connsiteY95" fmla="*/ 15240 h 3147261"/>
                  <a:gd name="connsiteX96" fmla="*/ 1913629 w 3148171"/>
                  <a:gd name="connsiteY96" fmla="*/ 22860 h 3147261"/>
                  <a:gd name="connsiteX97" fmla="*/ 2165089 w 3148171"/>
                  <a:gd name="connsiteY97" fmla="*/ 99060 h 3147261"/>
                  <a:gd name="connsiteX98" fmla="*/ 2340349 w 3148171"/>
                  <a:gd name="connsiteY98" fmla="*/ 182880 h 3147261"/>
                  <a:gd name="connsiteX99" fmla="*/ 2370829 w 3148171"/>
                  <a:gd name="connsiteY99" fmla="*/ 190500 h 3147261"/>
                  <a:gd name="connsiteX100" fmla="*/ 2393689 w 3148171"/>
                  <a:gd name="connsiteY100" fmla="*/ 205740 h 3147261"/>
                  <a:gd name="connsiteX101" fmla="*/ 2439409 w 3148171"/>
                  <a:gd name="connsiteY101" fmla="*/ 228600 h 3147261"/>
                  <a:gd name="connsiteX102" fmla="*/ 2447029 w 3148171"/>
                  <a:gd name="connsiteY102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89729 w 3148171"/>
                  <a:gd name="connsiteY88" fmla="*/ 53340 h 3147261"/>
                  <a:gd name="connsiteX89" fmla="*/ 1243069 w 3148171"/>
                  <a:gd name="connsiteY89" fmla="*/ 38100 h 3147261"/>
                  <a:gd name="connsiteX90" fmla="*/ 1265929 w 3148171"/>
                  <a:gd name="connsiteY90" fmla="*/ 30480 h 3147261"/>
                  <a:gd name="connsiteX91" fmla="*/ 1387849 w 3148171"/>
                  <a:gd name="connsiteY91" fmla="*/ 15240 h 3147261"/>
                  <a:gd name="connsiteX92" fmla="*/ 1464049 w 3148171"/>
                  <a:gd name="connsiteY92" fmla="*/ 0 h 3147261"/>
                  <a:gd name="connsiteX93" fmla="*/ 1883149 w 3148171"/>
                  <a:gd name="connsiteY93" fmla="*/ 15240 h 3147261"/>
                  <a:gd name="connsiteX94" fmla="*/ 1913629 w 3148171"/>
                  <a:gd name="connsiteY94" fmla="*/ 22860 h 3147261"/>
                  <a:gd name="connsiteX95" fmla="*/ 2165089 w 3148171"/>
                  <a:gd name="connsiteY95" fmla="*/ 99060 h 3147261"/>
                  <a:gd name="connsiteX96" fmla="*/ 2340349 w 3148171"/>
                  <a:gd name="connsiteY96" fmla="*/ 182880 h 3147261"/>
                  <a:gd name="connsiteX97" fmla="*/ 2370829 w 3148171"/>
                  <a:gd name="connsiteY97" fmla="*/ 190500 h 3147261"/>
                  <a:gd name="connsiteX98" fmla="*/ 2393689 w 3148171"/>
                  <a:gd name="connsiteY98" fmla="*/ 205740 h 3147261"/>
                  <a:gd name="connsiteX99" fmla="*/ 2439409 w 3148171"/>
                  <a:gd name="connsiteY99" fmla="*/ 228600 h 3147261"/>
                  <a:gd name="connsiteX100" fmla="*/ 2447029 w 3148171"/>
                  <a:gd name="connsiteY100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243069 w 3148171"/>
                  <a:gd name="connsiteY88" fmla="*/ 38100 h 3147261"/>
                  <a:gd name="connsiteX89" fmla="*/ 1265929 w 3148171"/>
                  <a:gd name="connsiteY89" fmla="*/ 30480 h 3147261"/>
                  <a:gd name="connsiteX90" fmla="*/ 1387849 w 3148171"/>
                  <a:gd name="connsiteY90" fmla="*/ 15240 h 3147261"/>
                  <a:gd name="connsiteX91" fmla="*/ 1464049 w 3148171"/>
                  <a:gd name="connsiteY91" fmla="*/ 0 h 3147261"/>
                  <a:gd name="connsiteX92" fmla="*/ 1883149 w 3148171"/>
                  <a:gd name="connsiteY92" fmla="*/ 15240 h 3147261"/>
                  <a:gd name="connsiteX93" fmla="*/ 1913629 w 3148171"/>
                  <a:gd name="connsiteY93" fmla="*/ 22860 h 3147261"/>
                  <a:gd name="connsiteX94" fmla="*/ 2165089 w 3148171"/>
                  <a:gd name="connsiteY94" fmla="*/ 99060 h 3147261"/>
                  <a:gd name="connsiteX95" fmla="*/ 2340349 w 3148171"/>
                  <a:gd name="connsiteY95" fmla="*/ 182880 h 3147261"/>
                  <a:gd name="connsiteX96" fmla="*/ 2370829 w 3148171"/>
                  <a:gd name="connsiteY96" fmla="*/ 190500 h 3147261"/>
                  <a:gd name="connsiteX97" fmla="*/ 2393689 w 3148171"/>
                  <a:gd name="connsiteY97" fmla="*/ 205740 h 3147261"/>
                  <a:gd name="connsiteX98" fmla="*/ 2439409 w 3148171"/>
                  <a:gd name="connsiteY98" fmla="*/ 228600 h 3147261"/>
                  <a:gd name="connsiteX99" fmla="*/ 2447029 w 3148171"/>
                  <a:gd name="connsiteY99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39409 w 3148171"/>
                  <a:gd name="connsiteY0" fmla="*/ 2286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0" fmla="*/ 2393689 w 3148171"/>
                  <a:gd name="connsiteY0" fmla="*/ 20574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706109 w 3148171"/>
                  <a:gd name="connsiteY7" fmla="*/ 487680 h 3147261"/>
                  <a:gd name="connsiteX8" fmla="*/ 2728969 w 3148171"/>
                  <a:gd name="connsiteY8" fmla="*/ 510540 h 3147261"/>
                  <a:gd name="connsiteX9" fmla="*/ 2789929 w 3148171"/>
                  <a:gd name="connsiteY9" fmla="*/ 594360 h 3147261"/>
                  <a:gd name="connsiteX10" fmla="*/ 2850889 w 3148171"/>
                  <a:gd name="connsiteY10" fmla="*/ 662940 h 3147261"/>
                  <a:gd name="connsiteX11" fmla="*/ 2873749 w 3148171"/>
                  <a:gd name="connsiteY11" fmla="*/ 701040 h 3147261"/>
                  <a:gd name="connsiteX12" fmla="*/ 2911849 w 3148171"/>
                  <a:gd name="connsiteY12" fmla="*/ 762000 h 3147261"/>
                  <a:gd name="connsiteX13" fmla="*/ 2949949 w 3148171"/>
                  <a:gd name="connsiteY13" fmla="*/ 845820 h 3147261"/>
                  <a:gd name="connsiteX14" fmla="*/ 2957569 w 3148171"/>
                  <a:gd name="connsiteY14" fmla="*/ 868680 h 3147261"/>
                  <a:gd name="connsiteX15" fmla="*/ 2980429 w 3148171"/>
                  <a:gd name="connsiteY15" fmla="*/ 922020 h 3147261"/>
                  <a:gd name="connsiteX16" fmla="*/ 2995669 w 3148171"/>
                  <a:gd name="connsiteY16" fmla="*/ 952500 h 3147261"/>
                  <a:gd name="connsiteX17" fmla="*/ 3010909 w 3148171"/>
                  <a:gd name="connsiteY17" fmla="*/ 998220 h 3147261"/>
                  <a:gd name="connsiteX18" fmla="*/ 3026149 w 3148171"/>
                  <a:gd name="connsiteY18" fmla="*/ 1036320 h 3147261"/>
                  <a:gd name="connsiteX19" fmla="*/ 3033769 w 3148171"/>
                  <a:gd name="connsiteY19" fmla="*/ 1066800 h 3147261"/>
                  <a:gd name="connsiteX20" fmla="*/ 3056629 w 3148171"/>
                  <a:gd name="connsiteY20" fmla="*/ 1104900 h 3147261"/>
                  <a:gd name="connsiteX21" fmla="*/ 3071869 w 3148171"/>
                  <a:gd name="connsiteY21" fmla="*/ 1150620 h 3147261"/>
                  <a:gd name="connsiteX22" fmla="*/ 3087109 w 3148171"/>
                  <a:gd name="connsiteY22" fmla="*/ 1181100 h 3147261"/>
                  <a:gd name="connsiteX23" fmla="*/ 3094729 w 3148171"/>
                  <a:gd name="connsiteY23" fmla="*/ 1226820 h 3147261"/>
                  <a:gd name="connsiteX24" fmla="*/ 3102349 w 3148171"/>
                  <a:gd name="connsiteY24" fmla="*/ 1280160 h 3147261"/>
                  <a:gd name="connsiteX25" fmla="*/ 3117589 w 3148171"/>
                  <a:gd name="connsiteY25" fmla="*/ 1371600 h 3147261"/>
                  <a:gd name="connsiteX26" fmla="*/ 3132829 w 3148171"/>
                  <a:gd name="connsiteY26" fmla="*/ 1417320 h 3147261"/>
                  <a:gd name="connsiteX27" fmla="*/ 3140449 w 3148171"/>
                  <a:gd name="connsiteY27" fmla="*/ 1485900 h 3147261"/>
                  <a:gd name="connsiteX28" fmla="*/ 3148069 w 3148171"/>
                  <a:gd name="connsiteY28" fmla="*/ 1516380 h 3147261"/>
                  <a:gd name="connsiteX29" fmla="*/ 3132829 w 3148171"/>
                  <a:gd name="connsiteY29" fmla="*/ 1691640 h 3147261"/>
                  <a:gd name="connsiteX30" fmla="*/ 3125209 w 3148171"/>
                  <a:gd name="connsiteY30" fmla="*/ 1767840 h 3147261"/>
                  <a:gd name="connsiteX31" fmla="*/ 3109969 w 3148171"/>
                  <a:gd name="connsiteY31" fmla="*/ 1836420 h 3147261"/>
                  <a:gd name="connsiteX32" fmla="*/ 3087109 w 3148171"/>
                  <a:gd name="connsiteY32" fmla="*/ 1905000 h 3147261"/>
                  <a:gd name="connsiteX33" fmla="*/ 3079489 w 3148171"/>
                  <a:gd name="connsiteY33" fmla="*/ 1935480 h 3147261"/>
                  <a:gd name="connsiteX34" fmla="*/ 3071869 w 3148171"/>
                  <a:gd name="connsiteY34" fmla="*/ 1958340 h 3147261"/>
                  <a:gd name="connsiteX35" fmla="*/ 3056629 w 3148171"/>
                  <a:gd name="connsiteY35" fmla="*/ 2019300 h 3147261"/>
                  <a:gd name="connsiteX36" fmla="*/ 3041389 w 3148171"/>
                  <a:gd name="connsiteY36" fmla="*/ 2057400 h 3147261"/>
                  <a:gd name="connsiteX37" fmla="*/ 3033769 w 3148171"/>
                  <a:gd name="connsiteY37" fmla="*/ 2080260 h 3147261"/>
                  <a:gd name="connsiteX38" fmla="*/ 3018529 w 3148171"/>
                  <a:gd name="connsiteY38" fmla="*/ 2118360 h 3147261"/>
                  <a:gd name="connsiteX39" fmla="*/ 2995669 w 3148171"/>
                  <a:gd name="connsiteY39" fmla="*/ 2186940 h 3147261"/>
                  <a:gd name="connsiteX40" fmla="*/ 2988049 w 3148171"/>
                  <a:gd name="connsiteY40" fmla="*/ 2225040 h 3147261"/>
                  <a:gd name="connsiteX41" fmla="*/ 2972809 w 3148171"/>
                  <a:gd name="connsiteY41" fmla="*/ 2270760 h 3147261"/>
                  <a:gd name="connsiteX42" fmla="*/ 2965189 w 3148171"/>
                  <a:gd name="connsiteY42" fmla="*/ 2308860 h 3147261"/>
                  <a:gd name="connsiteX43" fmla="*/ 2949949 w 3148171"/>
                  <a:gd name="connsiteY43" fmla="*/ 2331720 h 3147261"/>
                  <a:gd name="connsiteX44" fmla="*/ 2927089 w 3148171"/>
                  <a:gd name="connsiteY44" fmla="*/ 2385060 h 3147261"/>
                  <a:gd name="connsiteX45" fmla="*/ 2904229 w 3148171"/>
                  <a:gd name="connsiteY45" fmla="*/ 2407920 h 3147261"/>
                  <a:gd name="connsiteX46" fmla="*/ 2858509 w 3148171"/>
                  <a:gd name="connsiteY46" fmla="*/ 2499360 h 3147261"/>
                  <a:gd name="connsiteX47" fmla="*/ 2843269 w 3148171"/>
                  <a:gd name="connsiteY47" fmla="*/ 2529840 h 3147261"/>
                  <a:gd name="connsiteX48" fmla="*/ 2835649 w 3148171"/>
                  <a:gd name="connsiteY48" fmla="*/ 2552700 h 3147261"/>
                  <a:gd name="connsiteX49" fmla="*/ 2759449 w 3148171"/>
                  <a:gd name="connsiteY49" fmla="*/ 2636520 h 3147261"/>
                  <a:gd name="connsiteX50" fmla="*/ 2706109 w 3148171"/>
                  <a:gd name="connsiteY50" fmla="*/ 2667000 h 3147261"/>
                  <a:gd name="connsiteX51" fmla="*/ 2302249 w 3148171"/>
                  <a:gd name="connsiteY51" fmla="*/ 2971800 h 3147261"/>
                  <a:gd name="connsiteX52" fmla="*/ 2195569 w 3148171"/>
                  <a:gd name="connsiteY52" fmla="*/ 3025140 h 3147261"/>
                  <a:gd name="connsiteX53" fmla="*/ 2096509 w 3148171"/>
                  <a:gd name="connsiteY53" fmla="*/ 3055620 h 3147261"/>
                  <a:gd name="connsiteX54" fmla="*/ 1913629 w 3148171"/>
                  <a:gd name="connsiteY54" fmla="*/ 3108960 h 3147261"/>
                  <a:gd name="connsiteX55" fmla="*/ 1799329 w 3148171"/>
                  <a:gd name="connsiteY55" fmla="*/ 3147060 h 3147261"/>
                  <a:gd name="connsiteX56" fmla="*/ 1334509 w 3148171"/>
                  <a:gd name="connsiteY56" fmla="*/ 3108960 h 3147261"/>
                  <a:gd name="connsiteX57" fmla="*/ 793489 w 3148171"/>
                  <a:gd name="connsiteY57" fmla="*/ 2933700 h 3147261"/>
                  <a:gd name="connsiteX58" fmla="*/ 420109 w 3148171"/>
                  <a:gd name="connsiteY58" fmla="*/ 2644140 h 3147261"/>
                  <a:gd name="connsiteX59" fmla="*/ 321049 w 3148171"/>
                  <a:gd name="connsiteY59" fmla="*/ 2484120 h 3147261"/>
                  <a:gd name="connsiteX60" fmla="*/ 298189 w 3148171"/>
                  <a:gd name="connsiteY60" fmla="*/ 2430780 h 3147261"/>
                  <a:gd name="connsiteX61" fmla="*/ 275329 w 3148171"/>
                  <a:gd name="connsiteY61" fmla="*/ 2377440 h 3147261"/>
                  <a:gd name="connsiteX62" fmla="*/ 229609 w 3148171"/>
                  <a:gd name="connsiteY62" fmla="*/ 2316480 h 3147261"/>
                  <a:gd name="connsiteX63" fmla="*/ 206749 w 3148171"/>
                  <a:gd name="connsiteY63" fmla="*/ 2293620 h 3147261"/>
                  <a:gd name="connsiteX64" fmla="*/ 176269 w 3148171"/>
                  <a:gd name="connsiteY64" fmla="*/ 2240280 h 3147261"/>
                  <a:gd name="connsiteX65" fmla="*/ 161029 w 3148171"/>
                  <a:gd name="connsiteY65" fmla="*/ 2202180 h 3147261"/>
                  <a:gd name="connsiteX66" fmla="*/ 145789 w 3148171"/>
                  <a:gd name="connsiteY66" fmla="*/ 2179320 h 3147261"/>
                  <a:gd name="connsiteX67" fmla="*/ 130549 w 3148171"/>
                  <a:gd name="connsiteY67" fmla="*/ 2133600 h 3147261"/>
                  <a:gd name="connsiteX68" fmla="*/ 100069 w 3148171"/>
                  <a:gd name="connsiteY68" fmla="*/ 2087880 h 3147261"/>
                  <a:gd name="connsiteX69" fmla="*/ 61969 w 3148171"/>
                  <a:gd name="connsiteY69" fmla="*/ 2026920 h 3147261"/>
                  <a:gd name="connsiteX70" fmla="*/ 54349 w 3148171"/>
                  <a:gd name="connsiteY70" fmla="*/ 2004060 h 3147261"/>
                  <a:gd name="connsiteX71" fmla="*/ 39109 w 3148171"/>
                  <a:gd name="connsiteY71" fmla="*/ 1943100 h 3147261"/>
                  <a:gd name="connsiteX72" fmla="*/ 23869 w 3148171"/>
                  <a:gd name="connsiteY72" fmla="*/ 1897380 h 3147261"/>
                  <a:gd name="connsiteX73" fmla="*/ 1009 w 3148171"/>
                  <a:gd name="connsiteY73" fmla="*/ 1562100 h 3147261"/>
                  <a:gd name="connsiteX74" fmla="*/ 54349 w 3148171"/>
                  <a:gd name="connsiteY74" fmla="*/ 1135380 h 3147261"/>
                  <a:gd name="connsiteX75" fmla="*/ 161029 w 3148171"/>
                  <a:gd name="connsiteY75" fmla="*/ 861060 h 3147261"/>
                  <a:gd name="connsiteX76" fmla="*/ 183889 w 3148171"/>
                  <a:gd name="connsiteY76" fmla="*/ 822960 h 3147261"/>
                  <a:gd name="connsiteX77" fmla="*/ 260089 w 3148171"/>
                  <a:gd name="connsiteY77" fmla="*/ 708660 h 3147261"/>
                  <a:gd name="connsiteX78" fmla="*/ 275329 w 3148171"/>
                  <a:gd name="connsiteY78" fmla="*/ 662940 h 3147261"/>
                  <a:gd name="connsiteX79" fmla="*/ 420109 w 3148171"/>
                  <a:gd name="connsiteY79" fmla="*/ 510540 h 3147261"/>
                  <a:gd name="connsiteX80" fmla="*/ 511549 w 3148171"/>
                  <a:gd name="connsiteY80" fmla="*/ 434340 h 3147261"/>
                  <a:gd name="connsiteX81" fmla="*/ 564889 w 3148171"/>
                  <a:gd name="connsiteY81" fmla="*/ 396240 h 3147261"/>
                  <a:gd name="connsiteX82" fmla="*/ 656329 w 3148171"/>
                  <a:gd name="connsiteY82" fmla="*/ 312420 h 3147261"/>
                  <a:gd name="connsiteX83" fmla="*/ 869689 w 3148171"/>
                  <a:gd name="connsiteY83" fmla="*/ 175260 h 3147261"/>
                  <a:gd name="connsiteX84" fmla="*/ 976369 w 3148171"/>
                  <a:gd name="connsiteY84" fmla="*/ 137160 h 3147261"/>
                  <a:gd name="connsiteX85" fmla="*/ 1105909 w 3148171"/>
                  <a:gd name="connsiteY85" fmla="*/ 76200 h 3147261"/>
                  <a:gd name="connsiteX86" fmla="*/ 1243069 w 3148171"/>
                  <a:gd name="connsiteY86" fmla="*/ 38100 h 3147261"/>
                  <a:gd name="connsiteX87" fmla="*/ 1265929 w 3148171"/>
                  <a:gd name="connsiteY87" fmla="*/ 30480 h 3147261"/>
                  <a:gd name="connsiteX88" fmla="*/ 1387849 w 3148171"/>
                  <a:gd name="connsiteY88" fmla="*/ 15240 h 3147261"/>
                  <a:gd name="connsiteX89" fmla="*/ 1464049 w 3148171"/>
                  <a:gd name="connsiteY89" fmla="*/ 0 h 3147261"/>
                  <a:gd name="connsiteX90" fmla="*/ 1745989 w 3148171"/>
                  <a:gd name="connsiteY90" fmla="*/ 0 h 3147261"/>
                  <a:gd name="connsiteX91" fmla="*/ 2165089 w 3148171"/>
                  <a:gd name="connsiteY91" fmla="*/ 99060 h 3147261"/>
                  <a:gd name="connsiteX92" fmla="*/ 2340349 w 3148171"/>
                  <a:gd name="connsiteY92" fmla="*/ 182880 h 3147261"/>
                  <a:gd name="connsiteX93" fmla="*/ 2370829 w 3148171"/>
                  <a:gd name="connsiteY93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629909 w 3148171"/>
                  <a:gd name="connsiteY5" fmla="*/ 434340 h 3147261"/>
                  <a:gd name="connsiteX6" fmla="*/ 2706109 w 3148171"/>
                  <a:gd name="connsiteY6" fmla="*/ 487680 h 3147261"/>
                  <a:gd name="connsiteX7" fmla="*/ 2728969 w 3148171"/>
                  <a:gd name="connsiteY7" fmla="*/ 510540 h 3147261"/>
                  <a:gd name="connsiteX8" fmla="*/ 2789929 w 3148171"/>
                  <a:gd name="connsiteY8" fmla="*/ 594360 h 3147261"/>
                  <a:gd name="connsiteX9" fmla="*/ 2850889 w 3148171"/>
                  <a:gd name="connsiteY9" fmla="*/ 662940 h 3147261"/>
                  <a:gd name="connsiteX10" fmla="*/ 2873749 w 3148171"/>
                  <a:gd name="connsiteY10" fmla="*/ 701040 h 3147261"/>
                  <a:gd name="connsiteX11" fmla="*/ 2911849 w 3148171"/>
                  <a:gd name="connsiteY11" fmla="*/ 762000 h 3147261"/>
                  <a:gd name="connsiteX12" fmla="*/ 2949949 w 3148171"/>
                  <a:gd name="connsiteY12" fmla="*/ 845820 h 3147261"/>
                  <a:gd name="connsiteX13" fmla="*/ 2957569 w 3148171"/>
                  <a:gd name="connsiteY13" fmla="*/ 868680 h 3147261"/>
                  <a:gd name="connsiteX14" fmla="*/ 2980429 w 3148171"/>
                  <a:gd name="connsiteY14" fmla="*/ 922020 h 3147261"/>
                  <a:gd name="connsiteX15" fmla="*/ 2995669 w 3148171"/>
                  <a:gd name="connsiteY15" fmla="*/ 952500 h 3147261"/>
                  <a:gd name="connsiteX16" fmla="*/ 3010909 w 3148171"/>
                  <a:gd name="connsiteY16" fmla="*/ 998220 h 3147261"/>
                  <a:gd name="connsiteX17" fmla="*/ 3026149 w 3148171"/>
                  <a:gd name="connsiteY17" fmla="*/ 1036320 h 3147261"/>
                  <a:gd name="connsiteX18" fmla="*/ 3033769 w 3148171"/>
                  <a:gd name="connsiteY18" fmla="*/ 1066800 h 3147261"/>
                  <a:gd name="connsiteX19" fmla="*/ 3056629 w 3148171"/>
                  <a:gd name="connsiteY19" fmla="*/ 1104900 h 3147261"/>
                  <a:gd name="connsiteX20" fmla="*/ 3071869 w 3148171"/>
                  <a:gd name="connsiteY20" fmla="*/ 1150620 h 3147261"/>
                  <a:gd name="connsiteX21" fmla="*/ 3087109 w 3148171"/>
                  <a:gd name="connsiteY21" fmla="*/ 1181100 h 3147261"/>
                  <a:gd name="connsiteX22" fmla="*/ 3094729 w 3148171"/>
                  <a:gd name="connsiteY22" fmla="*/ 1226820 h 3147261"/>
                  <a:gd name="connsiteX23" fmla="*/ 3102349 w 3148171"/>
                  <a:gd name="connsiteY23" fmla="*/ 1280160 h 3147261"/>
                  <a:gd name="connsiteX24" fmla="*/ 3117589 w 3148171"/>
                  <a:gd name="connsiteY24" fmla="*/ 1371600 h 3147261"/>
                  <a:gd name="connsiteX25" fmla="*/ 3132829 w 3148171"/>
                  <a:gd name="connsiteY25" fmla="*/ 1417320 h 3147261"/>
                  <a:gd name="connsiteX26" fmla="*/ 3140449 w 3148171"/>
                  <a:gd name="connsiteY26" fmla="*/ 1485900 h 3147261"/>
                  <a:gd name="connsiteX27" fmla="*/ 3148069 w 3148171"/>
                  <a:gd name="connsiteY27" fmla="*/ 1516380 h 3147261"/>
                  <a:gd name="connsiteX28" fmla="*/ 3132829 w 3148171"/>
                  <a:gd name="connsiteY28" fmla="*/ 1691640 h 3147261"/>
                  <a:gd name="connsiteX29" fmla="*/ 3125209 w 3148171"/>
                  <a:gd name="connsiteY29" fmla="*/ 1767840 h 3147261"/>
                  <a:gd name="connsiteX30" fmla="*/ 3109969 w 3148171"/>
                  <a:gd name="connsiteY30" fmla="*/ 1836420 h 3147261"/>
                  <a:gd name="connsiteX31" fmla="*/ 3087109 w 3148171"/>
                  <a:gd name="connsiteY31" fmla="*/ 1905000 h 3147261"/>
                  <a:gd name="connsiteX32" fmla="*/ 3079489 w 3148171"/>
                  <a:gd name="connsiteY32" fmla="*/ 1935480 h 3147261"/>
                  <a:gd name="connsiteX33" fmla="*/ 3071869 w 3148171"/>
                  <a:gd name="connsiteY33" fmla="*/ 1958340 h 3147261"/>
                  <a:gd name="connsiteX34" fmla="*/ 3056629 w 3148171"/>
                  <a:gd name="connsiteY34" fmla="*/ 2019300 h 3147261"/>
                  <a:gd name="connsiteX35" fmla="*/ 3041389 w 3148171"/>
                  <a:gd name="connsiteY35" fmla="*/ 2057400 h 3147261"/>
                  <a:gd name="connsiteX36" fmla="*/ 3033769 w 3148171"/>
                  <a:gd name="connsiteY36" fmla="*/ 2080260 h 3147261"/>
                  <a:gd name="connsiteX37" fmla="*/ 3018529 w 3148171"/>
                  <a:gd name="connsiteY37" fmla="*/ 2118360 h 3147261"/>
                  <a:gd name="connsiteX38" fmla="*/ 2995669 w 3148171"/>
                  <a:gd name="connsiteY38" fmla="*/ 2186940 h 3147261"/>
                  <a:gd name="connsiteX39" fmla="*/ 2988049 w 3148171"/>
                  <a:gd name="connsiteY39" fmla="*/ 2225040 h 3147261"/>
                  <a:gd name="connsiteX40" fmla="*/ 2972809 w 3148171"/>
                  <a:gd name="connsiteY40" fmla="*/ 2270760 h 3147261"/>
                  <a:gd name="connsiteX41" fmla="*/ 2965189 w 3148171"/>
                  <a:gd name="connsiteY41" fmla="*/ 2308860 h 3147261"/>
                  <a:gd name="connsiteX42" fmla="*/ 2949949 w 3148171"/>
                  <a:gd name="connsiteY42" fmla="*/ 2331720 h 3147261"/>
                  <a:gd name="connsiteX43" fmla="*/ 2927089 w 3148171"/>
                  <a:gd name="connsiteY43" fmla="*/ 2385060 h 3147261"/>
                  <a:gd name="connsiteX44" fmla="*/ 2904229 w 3148171"/>
                  <a:gd name="connsiteY44" fmla="*/ 2407920 h 3147261"/>
                  <a:gd name="connsiteX45" fmla="*/ 2858509 w 3148171"/>
                  <a:gd name="connsiteY45" fmla="*/ 2499360 h 3147261"/>
                  <a:gd name="connsiteX46" fmla="*/ 2843269 w 3148171"/>
                  <a:gd name="connsiteY46" fmla="*/ 2529840 h 3147261"/>
                  <a:gd name="connsiteX47" fmla="*/ 2835649 w 3148171"/>
                  <a:gd name="connsiteY47" fmla="*/ 2552700 h 3147261"/>
                  <a:gd name="connsiteX48" fmla="*/ 2759449 w 3148171"/>
                  <a:gd name="connsiteY48" fmla="*/ 2636520 h 3147261"/>
                  <a:gd name="connsiteX49" fmla="*/ 2706109 w 3148171"/>
                  <a:gd name="connsiteY49" fmla="*/ 2667000 h 3147261"/>
                  <a:gd name="connsiteX50" fmla="*/ 2302249 w 3148171"/>
                  <a:gd name="connsiteY50" fmla="*/ 2971800 h 3147261"/>
                  <a:gd name="connsiteX51" fmla="*/ 2195569 w 3148171"/>
                  <a:gd name="connsiteY51" fmla="*/ 3025140 h 3147261"/>
                  <a:gd name="connsiteX52" fmla="*/ 2096509 w 3148171"/>
                  <a:gd name="connsiteY52" fmla="*/ 3055620 h 3147261"/>
                  <a:gd name="connsiteX53" fmla="*/ 1913629 w 3148171"/>
                  <a:gd name="connsiteY53" fmla="*/ 3108960 h 3147261"/>
                  <a:gd name="connsiteX54" fmla="*/ 1799329 w 3148171"/>
                  <a:gd name="connsiteY54" fmla="*/ 3147060 h 3147261"/>
                  <a:gd name="connsiteX55" fmla="*/ 1334509 w 3148171"/>
                  <a:gd name="connsiteY55" fmla="*/ 3108960 h 3147261"/>
                  <a:gd name="connsiteX56" fmla="*/ 793489 w 3148171"/>
                  <a:gd name="connsiteY56" fmla="*/ 2933700 h 3147261"/>
                  <a:gd name="connsiteX57" fmla="*/ 420109 w 3148171"/>
                  <a:gd name="connsiteY57" fmla="*/ 2644140 h 3147261"/>
                  <a:gd name="connsiteX58" fmla="*/ 321049 w 3148171"/>
                  <a:gd name="connsiteY58" fmla="*/ 2484120 h 3147261"/>
                  <a:gd name="connsiteX59" fmla="*/ 298189 w 3148171"/>
                  <a:gd name="connsiteY59" fmla="*/ 2430780 h 3147261"/>
                  <a:gd name="connsiteX60" fmla="*/ 275329 w 3148171"/>
                  <a:gd name="connsiteY60" fmla="*/ 2377440 h 3147261"/>
                  <a:gd name="connsiteX61" fmla="*/ 229609 w 3148171"/>
                  <a:gd name="connsiteY61" fmla="*/ 2316480 h 3147261"/>
                  <a:gd name="connsiteX62" fmla="*/ 206749 w 3148171"/>
                  <a:gd name="connsiteY62" fmla="*/ 2293620 h 3147261"/>
                  <a:gd name="connsiteX63" fmla="*/ 176269 w 3148171"/>
                  <a:gd name="connsiteY63" fmla="*/ 2240280 h 3147261"/>
                  <a:gd name="connsiteX64" fmla="*/ 161029 w 3148171"/>
                  <a:gd name="connsiteY64" fmla="*/ 2202180 h 3147261"/>
                  <a:gd name="connsiteX65" fmla="*/ 145789 w 3148171"/>
                  <a:gd name="connsiteY65" fmla="*/ 2179320 h 3147261"/>
                  <a:gd name="connsiteX66" fmla="*/ 130549 w 3148171"/>
                  <a:gd name="connsiteY66" fmla="*/ 2133600 h 3147261"/>
                  <a:gd name="connsiteX67" fmla="*/ 100069 w 3148171"/>
                  <a:gd name="connsiteY67" fmla="*/ 2087880 h 3147261"/>
                  <a:gd name="connsiteX68" fmla="*/ 61969 w 3148171"/>
                  <a:gd name="connsiteY68" fmla="*/ 2026920 h 3147261"/>
                  <a:gd name="connsiteX69" fmla="*/ 54349 w 3148171"/>
                  <a:gd name="connsiteY69" fmla="*/ 2004060 h 3147261"/>
                  <a:gd name="connsiteX70" fmla="*/ 39109 w 3148171"/>
                  <a:gd name="connsiteY70" fmla="*/ 1943100 h 3147261"/>
                  <a:gd name="connsiteX71" fmla="*/ 23869 w 3148171"/>
                  <a:gd name="connsiteY71" fmla="*/ 1897380 h 3147261"/>
                  <a:gd name="connsiteX72" fmla="*/ 1009 w 3148171"/>
                  <a:gd name="connsiteY72" fmla="*/ 1562100 h 3147261"/>
                  <a:gd name="connsiteX73" fmla="*/ 54349 w 3148171"/>
                  <a:gd name="connsiteY73" fmla="*/ 1135380 h 3147261"/>
                  <a:gd name="connsiteX74" fmla="*/ 161029 w 3148171"/>
                  <a:gd name="connsiteY74" fmla="*/ 861060 h 3147261"/>
                  <a:gd name="connsiteX75" fmla="*/ 183889 w 3148171"/>
                  <a:gd name="connsiteY75" fmla="*/ 822960 h 3147261"/>
                  <a:gd name="connsiteX76" fmla="*/ 260089 w 3148171"/>
                  <a:gd name="connsiteY76" fmla="*/ 708660 h 3147261"/>
                  <a:gd name="connsiteX77" fmla="*/ 275329 w 3148171"/>
                  <a:gd name="connsiteY77" fmla="*/ 662940 h 3147261"/>
                  <a:gd name="connsiteX78" fmla="*/ 420109 w 3148171"/>
                  <a:gd name="connsiteY78" fmla="*/ 510540 h 3147261"/>
                  <a:gd name="connsiteX79" fmla="*/ 511549 w 3148171"/>
                  <a:gd name="connsiteY79" fmla="*/ 434340 h 3147261"/>
                  <a:gd name="connsiteX80" fmla="*/ 564889 w 3148171"/>
                  <a:gd name="connsiteY80" fmla="*/ 396240 h 3147261"/>
                  <a:gd name="connsiteX81" fmla="*/ 656329 w 3148171"/>
                  <a:gd name="connsiteY81" fmla="*/ 312420 h 3147261"/>
                  <a:gd name="connsiteX82" fmla="*/ 869689 w 3148171"/>
                  <a:gd name="connsiteY82" fmla="*/ 175260 h 3147261"/>
                  <a:gd name="connsiteX83" fmla="*/ 976369 w 3148171"/>
                  <a:gd name="connsiteY83" fmla="*/ 137160 h 3147261"/>
                  <a:gd name="connsiteX84" fmla="*/ 1105909 w 3148171"/>
                  <a:gd name="connsiteY84" fmla="*/ 76200 h 3147261"/>
                  <a:gd name="connsiteX85" fmla="*/ 1243069 w 3148171"/>
                  <a:gd name="connsiteY85" fmla="*/ 38100 h 3147261"/>
                  <a:gd name="connsiteX86" fmla="*/ 1265929 w 3148171"/>
                  <a:gd name="connsiteY86" fmla="*/ 30480 h 3147261"/>
                  <a:gd name="connsiteX87" fmla="*/ 1387849 w 3148171"/>
                  <a:gd name="connsiteY87" fmla="*/ 15240 h 3147261"/>
                  <a:gd name="connsiteX88" fmla="*/ 1464049 w 3148171"/>
                  <a:gd name="connsiteY88" fmla="*/ 0 h 3147261"/>
                  <a:gd name="connsiteX89" fmla="*/ 1745989 w 3148171"/>
                  <a:gd name="connsiteY89" fmla="*/ 0 h 3147261"/>
                  <a:gd name="connsiteX90" fmla="*/ 2165089 w 3148171"/>
                  <a:gd name="connsiteY90" fmla="*/ 99060 h 3147261"/>
                  <a:gd name="connsiteX91" fmla="*/ 2340349 w 3148171"/>
                  <a:gd name="connsiteY91" fmla="*/ 182880 h 3147261"/>
                  <a:gd name="connsiteX92" fmla="*/ 2370829 w 3148171"/>
                  <a:gd name="connsiteY92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53709 w 3148171"/>
                  <a:gd name="connsiteY3" fmla="*/ 373380 h 3147261"/>
                  <a:gd name="connsiteX4" fmla="*/ 2629909 w 3148171"/>
                  <a:gd name="connsiteY4" fmla="*/ 434340 h 3147261"/>
                  <a:gd name="connsiteX5" fmla="*/ 2706109 w 3148171"/>
                  <a:gd name="connsiteY5" fmla="*/ 487680 h 3147261"/>
                  <a:gd name="connsiteX6" fmla="*/ 2728969 w 3148171"/>
                  <a:gd name="connsiteY6" fmla="*/ 510540 h 3147261"/>
                  <a:gd name="connsiteX7" fmla="*/ 2789929 w 3148171"/>
                  <a:gd name="connsiteY7" fmla="*/ 594360 h 3147261"/>
                  <a:gd name="connsiteX8" fmla="*/ 2850889 w 3148171"/>
                  <a:gd name="connsiteY8" fmla="*/ 662940 h 3147261"/>
                  <a:gd name="connsiteX9" fmla="*/ 2873749 w 3148171"/>
                  <a:gd name="connsiteY9" fmla="*/ 701040 h 3147261"/>
                  <a:gd name="connsiteX10" fmla="*/ 2911849 w 3148171"/>
                  <a:gd name="connsiteY10" fmla="*/ 762000 h 3147261"/>
                  <a:gd name="connsiteX11" fmla="*/ 2949949 w 3148171"/>
                  <a:gd name="connsiteY11" fmla="*/ 845820 h 3147261"/>
                  <a:gd name="connsiteX12" fmla="*/ 2957569 w 3148171"/>
                  <a:gd name="connsiteY12" fmla="*/ 868680 h 3147261"/>
                  <a:gd name="connsiteX13" fmla="*/ 2980429 w 3148171"/>
                  <a:gd name="connsiteY13" fmla="*/ 922020 h 3147261"/>
                  <a:gd name="connsiteX14" fmla="*/ 2995669 w 3148171"/>
                  <a:gd name="connsiteY14" fmla="*/ 952500 h 3147261"/>
                  <a:gd name="connsiteX15" fmla="*/ 3010909 w 3148171"/>
                  <a:gd name="connsiteY15" fmla="*/ 998220 h 3147261"/>
                  <a:gd name="connsiteX16" fmla="*/ 3026149 w 3148171"/>
                  <a:gd name="connsiteY16" fmla="*/ 1036320 h 3147261"/>
                  <a:gd name="connsiteX17" fmla="*/ 3033769 w 3148171"/>
                  <a:gd name="connsiteY17" fmla="*/ 1066800 h 3147261"/>
                  <a:gd name="connsiteX18" fmla="*/ 3056629 w 3148171"/>
                  <a:gd name="connsiteY18" fmla="*/ 1104900 h 3147261"/>
                  <a:gd name="connsiteX19" fmla="*/ 3071869 w 3148171"/>
                  <a:gd name="connsiteY19" fmla="*/ 1150620 h 3147261"/>
                  <a:gd name="connsiteX20" fmla="*/ 3087109 w 3148171"/>
                  <a:gd name="connsiteY20" fmla="*/ 1181100 h 3147261"/>
                  <a:gd name="connsiteX21" fmla="*/ 3094729 w 3148171"/>
                  <a:gd name="connsiteY21" fmla="*/ 1226820 h 3147261"/>
                  <a:gd name="connsiteX22" fmla="*/ 3102349 w 3148171"/>
                  <a:gd name="connsiteY22" fmla="*/ 1280160 h 3147261"/>
                  <a:gd name="connsiteX23" fmla="*/ 3117589 w 3148171"/>
                  <a:gd name="connsiteY23" fmla="*/ 1371600 h 3147261"/>
                  <a:gd name="connsiteX24" fmla="*/ 3132829 w 3148171"/>
                  <a:gd name="connsiteY24" fmla="*/ 1417320 h 3147261"/>
                  <a:gd name="connsiteX25" fmla="*/ 3140449 w 3148171"/>
                  <a:gd name="connsiteY25" fmla="*/ 1485900 h 3147261"/>
                  <a:gd name="connsiteX26" fmla="*/ 3148069 w 3148171"/>
                  <a:gd name="connsiteY26" fmla="*/ 1516380 h 3147261"/>
                  <a:gd name="connsiteX27" fmla="*/ 3132829 w 3148171"/>
                  <a:gd name="connsiteY27" fmla="*/ 1691640 h 3147261"/>
                  <a:gd name="connsiteX28" fmla="*/ 3125209 w 3148171"/>
                  <a:gd name="connsiteY28" fmla="*/ 1767840 h 3147261"/>
                  <a:gd name="connsiteX29" fmla="*/ 3109969 w 3148171"/>
                  <a:gd name="connsiteY29" fmla="*/ 1836420 h 3147261"/>
                  <a:gd name="connsiteX30" fmla="*/ 3087109 w 3148171"/>
                  <a:gd name="connsiteY30" fmla="*/ 1905000 h 3147261"/>
                  <a:gd name="connsiteX31" fmla="*/ 3079489 w 3148171"/>
                  <a:gd name="connsiteY31" fmla="*/ 1935480 h 3147261"/>
                  <a:gd name="connsiteX32" fmla="*/ 3071869 w 3148171"/>
                  <a:gd name="connsiteY32" fmla="*/ 1958340 h 3147261"/>
                  <a:gd name="connsiteX33" fmla="*/ 3056629 w 3148171"/>
                  <a:gd name="connsiteY33" fmla="*/ 2019300 h 3147261"/>
                  <a:gd name="connsiteX34" fmla="*/ 3041389 w 3148171"/>
                  <a:gd name="connsiteY34" fmla="*/ 2057400 h 3147261"/>
                  <a:gd name="connsiteX35" fmla="*/ 3033769 w 3148171"/>
                  <a:gd name="connsiteY35" fmla="*/ 2080260 h 3147261"/>
                  <a:gd name="connsiteX36" fmla="*/ 3018529 w 3148171"/>
                  <a:gd name="connsiteY36" fmla="*/ 2118360 h 3147261"/>
                  <a:gd name="connsiteX37" fmla="*/ 2995669 w 3148171"/>
                  <a:gd name="connsiteY37" fmla="*/ 2186940 h 3147261"/>
                  <a:gd name="connsiteX38" fmla="*/ 2988049 w 3148171"/>
                  <a:gd name="connsiteY38" fmla="*/ 2225040 h 3147261"/>
                  <a:gd name="connsiteX39" fmla="*/ 2972809 w 3148171"/>
                  <a:gd name="connsiteY39" fmla="*/ 2270760 h 3147261"/>
                  <a:gd name="connsiteX40" fmla="*/ 2965189 w 3148171"/>
                  <a:gd name="connsiteY40" fmla="*/ 2308860 h 3147261"/>
                  <a:gd name="connsiteX41" fmla="*/ 2949949 w 3148171"/>
                  <a:gd name="connsiteY41" fmla="*/ 2331720 h 3147261"/>
                  <a:gd name="connsiteX42" fmla="*/ 2927089 w 3148171"/>
                  <a:gd name="connsiteY42" fmla="*/ 2385060 h 3147261"/>
                  <a:gd name="connsiteX43" fmla="*/ 2904229 w 3148171"/>
                  <a:gd name="connsiteY43" fmla="*/ 2407920 h 3147261"/>
                  <a:gd name="connsiteX44" fmla="*/ 2858509 w 3148171"/>
                  <a:gd name="connsiteY44" fmla="*/ 2499360 h 3147261"/>
                  <a:gd name="connsiteX45" fmla="*/ 2843269 w 3148171"/>
                  <a:gd name="connsiteY45" fmla="*/ 2529840 h 3147261"/>
                  <a:gd name="connsiteX46" fmla="*/ 2835649 w 3148171"/>
                  <a:gd name="connsiteY46" fmla="*/ 2552700 h 3147261"/>
                  <a:gd name="connsiteX47" fmla="*/ 2759449 w 3148171"/>
                  <a:gd name="connsiteY47" fmla="*/ 2636520 h 3147261"/>
                  <a:gd name="connsiteX48" fmla="*/ 2706109 w 3148171"/>
                  <a:gd name="connsiteY48" fmla="*/ 2667000 h 3147261"/>
                  <a:gd name="connsiteX49" fmla="*/ 2302249 w 3148171"/>
                  <a:gd name="connsiteY49" fmla="*/ 2971800 h 3147261"/>
                  <a:gd name="connsiteX50" fmla="*/ 2195569 w 3148171"/>
                  <a:gd name="connsiteY50" fmla="*/ 3025140 h 3147261"/>
                  <a:gd name="connsiteX51" fmla="*/ 2096509 w 3148171"/>
                  <a:gd name="connsiteY51" fmla="*/ 3055620 h 3147261"/>
                  <a:gd name="connsiteX52" fmla="*/ 1913629 w 3148171"/>
                  <a:gd name="connsiteY52" fmla="*/ 3108960 h 3147261"/>
                  <a:gd name="connsiteX53" fmla="*/ 1799329 w 3148171"/>
                  <a:gd name="connsiteY53" fmla="*/ 3147060 h 3147261"/>
                  <a:gd name="connsiteX54" fmla="*/ 1334509 w 3148171"/>
                  <a:gd name="connsiteY54" fmla="*/ 3108960 h 3147261"/>
                  <a:gd name="connsiteX55" fmla="*/ 793489 w 3148171"/>
                  <a:gd name="connsiteY55" fmla="*/ 2933700 h 3147261"/>
                  <a:gd name="connsiteX56" fmla="*/ 420109 w 3148171"/>
                  <a:gd name="connsiteY56" fmla="*/ 2644140 h 3147261"/>
                  <a:gd name="connsiteX57" fmla="*/ 321049 w 3148171"/>
                  <a:gd name="connsiteY57" fmla="*/ 2484120 h 3147261"/>
                  <a:gd name="connsiteX58" fmla="*/ 298189 w 3148171"/>
                  <a:gd name="connsiteY58" fmla="*/ 2430780 h 3147261"/>
                  <a:gd name="connsiteX59" fmla="*/ 275329 w 3148171"/>
                  <a:gd name="connsiteY59" fmla="*/ 2377440 h 3147261"/>
                  <a:gd name="connsiteX60" fmla="*/ 229609 w 3148171"/>
                  <a:gd name="connsiteY60" fmla="*/ 2316480 h 3147261"/>
                  <a:gd name="connsiteX61" fmla="*/ 206749 w 3148171"/>
                  <a:gd name="connsiteY61" fmla="*/ 2293620 h 3147261"/>
                  <a:gd name="connsiteX62" fmla="*/ 176269 w 3148171"/>
                  <a:gd name="connsiteY62" fmla="*/ 2240280 h 3147261"/>
                  <a:gd name="connsiteX63" fmla="*/ 161029 w 3148171"/>
                  <a:gd name="connsiteY63" fmla="*/ 2202180 h 3147261"/>
                  <a:gd name="connsiteX64" fmla="*/ 145789 w 3148171"/>
                  <a:gd name="connsiteY64" fmla="*/ 2179320 h 3147261"/>
                  <a:gd name="connsiteX65" fmla="*/ 130549 w 3148171"/>
                  <a:gd name="connsiteY65" fmla="*/ 2133600 h 3147261"/>
                  <a:gd name="connsiteX66" fmla="*/ 100069 w 3148171"/>
                  <a:gd name="connsiteY66" fmla="*/ 2087880 h 3147261"/>
                  <a:gd name="connsiteX67" fmla="*/ 61969 w 3148171"/>
                  <a:gd name="connsiteY67" fmla="*/ 2026920 h 3147261"/>
                  <a:gd name="connsiteX68" fmla="*/ 54349 w 3148171"/>
                  <a:gd name="connsiteY68" fmla="*/ 2004060 h 3147261"/>
                  <a:gd name="connsiteX69" fmla="*/ 39109 w 3148171"/>
                  <a:gd name="connsiteY69" fmla="*/ 1943100 h 3147261"/>
                  <a:gd name="connsiteX70" fmla="*/ 23869 w 3148171"/>
                  <a:gd name="connsiteY70" fmla="*/ 1897380 h 3147261"/>
                  <a:gd name="connsiteX71" fmla="*/ 1009 w 3148171"/>
                  <a:gd name="connsiteY71" fmla="*/ 1562100 h 3147261"/>
                  <a:gd name="connsiteX72" fmla="*/ 54349 w 3148171"/>
                  <a:gd name="connsiteY72" fmla="*/ 1135380 h 3147261"/>
                  <a:gd name="connsiteX73" fmla="*/ 161029 w 3148171"/>
                  <a:gd name="connsiteY73" fmla="*/ 861060 h 3147261"/>
                  <a:gd name="connsiteX74" fmla="*/ 183889 w 3148171"/>
                  <a:gd name="connsiteY74" fmla="*/ 822960 h 3147261"/>
                  <a:gd name="connsiteX75" fmla="*/ 260089 w 3148171"/>
                  <a:gd name="connsiteY75" fmla="*/ 708660 h 3147261"/>
                  <a:gd name="connsiteX76" fmla="*/ 275329 w 3148171"/>
                  <a:gd name="connsiteY76" fmla="*/ 662940 h 3147261"/>
                  <a:gd name="connsiteX77" fmla="*/ 420109 w 3148171"/>
                  <a:gd name="connsiteY77" fmla="*/ 510540 h 3147261"/>
                  <a:gd name="connsiteX78" fmla="*/ 511549 w 3148171"/>
                  <a:gd name="connsiteY78" fmla="*/ 434340 h 3147261"/>
                  <a:gd name="connsiteX79" fmla="*/ 564889 w 3148171"/>
                  <a:gd name="connsiteY79" fmla="*/ 396240 h 3147261"/>
                  <a:gd name="connsiteX80" fmla="*/ 656329 w 3148171"/>
                  <a:gd name="connsiteY80" fmla="*/ 312420 h 3147261"/>
                  <a:gd name="connsiteX81" fmla="*/ 869689 w 3148171"/>
                  <a:gd name="connsiteY81" fmla="*/ 175260 h 3147261"/>
                  <a:gd name="connsiteX82" fmla="*/ 976369 w 3148171"/>
                  <a:gd name="connsiteY82" fmla="*/ 137160 h 3147261"/>
                  <a:gd name="connsiteX83" fmla="*/ 1105909 w 3148171"/>
                  <a:gd name="connsiteY83" fmla="*/ 76200 h 3147261"/>
                  <a:gd name="connsiteX84" fmla="*/ 1243069 w 3148171"/>
                  <a:gd name="connsiteY84" fmla="*/ 38100 h 3147261"/>
                  <a:gd name="connsiteX85" fmla="*/ 1265929 w 3148171"/>
                  <a:gd name="connsiteY85" fmla="*/ 30480 h 3147261"/>
                  <a:gd name="connsiteX86" fmla="*/ 1387849 w 3148171"/>
                  <a:gd name="connsiteY86" fmla="*/ 15240 h 3147261"/>
                  <a:gd name="connsiteX87" fmla="*/ 1464049 w 3148171"/>
                  <a:gd name="connsiteY87" fmla="*/ 0 h 3147261"/>
                  <a:gd name="connsiteX88" fmla="*/ 1745989 w 3148171"/>
                  <a:gd name="connsiteY88" fmla="*/ 0 h 3147261"/>
                  <a:gd name="connsiteX89" fmla="*/ 2165089 w 3148171"/>
                  <a:gd name="connsiteY89" fmla="*/ 99060 h 3147261"/>
                  <a:gd name="connsiteX90" fmla="*/ 2340349 w 3148171"/>
                  <a:gd name="connsiteY90" fmla="*/ 182880 h 3147261"/>
                  <a:gd name="connsiteX91" fmla="*/ 2370829 w 3148171"/>
                  <a:gd name="connsiteY91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629909 w 3148171"/>
                  <a:gd name="connsiteY3" fmla="*/ 434340 h 3147261"/>
                  <a:gd name="connsiteX4" fmla="*/ 2706109 w 3148171"/>
                  <a:gd name="connsiteY4" fmla="*/ 487680 h 3147261"/>
                  <a:gd name="connsiteX5" fmla="*/ 2728969 w 3148171"/>
                  <a:gd name="connsiteY5" fmla="*/ 510540 h 3147261"/>
                  <a:gd name="connsiteX6" fmla="*/ 2789929 w 3148171"/>
                  <a:gd name="connsiteY6" fmla="*/ 594360 h 3147261"/>
                  <a:gd name="connsiteX7" fmla="*/ 2850889 w 3148171"/>
                  <a:gd name="connsiteY7" fmla="*/ 662940 h 3147261"/>
                  <a:gd name="connsiteX8" fmla="*/ 2873749 w 3148171"/>
                  <a:gd name="connsiteY8" fmla="*/ 701040 h 3147261"/>
                  <a:gd name="connsiteX9" fmla="*/ 2911849 w 3148171"/>
                  <a:gd name="connsiteY9" fmla="*/ 762000 h 3147261"/>
                  <a:gd name="connsiteX10" fmla="*/ 2949949 w 3148171"/>
                  <a:gd name="connsiteY10" fmla="*/ 845820 h 3147261"/>
                  <a:gd name="connsiteX11" fmla="*/ 2957569 w 3148171"/>
                  <a:gd name="connsiteY11" fmla="*/ 868680 h 3147261"/>
                  <a:gd name="connsiteX12" fmla="*/ 2980429 w 3148171"/>
                  <a:gd name="connsiteY12" fmla="*/ 922020 h 3147261"/>
                  <a:gd name="connsiteX13" fmla="*/ 2995669 w 3148171"/>
                  <a:gd name="connsiteY13" fmla="*/ 952500 h 3147261"/>
                  <a:gd name="connsiteX14" fmla="*/ 3010909 w 3148171"/>
                  <a:gd name="connsiteY14" fmla="*/ 998220 h 3147261"/>
                  <a:gd name="connsiteX15" fmla="*/ 3026149 w 3148171"/>
                  <a:gd name="connsiteY15" fmla="*/ 1036320 h 3147261"/>
                  <a:gd name="connsiteX16" fmla="*/ 3033769 w 3148171"/>
                  <a:gd name="connsiteY16" fmla="*/ 1066800 h 3147261"/>
                  <a:gd name="connsiteX17" fmla="*/ 3056629 w 3148171"/>
                  <a:gd name="connsiteY17" fmla="*/ 1104900 h 3147261"/>
                  <a:gd name="connsiteX18" fmla="*/ 3071869 w 3148171"/>
                  <a:gd name="connsiteY18" fmla="*/ 1150620 h 3147261"/>
                  <a:gd name="connsiteX19" fmla="*/ 3087109 w 3148171"/>
                  <a:gd name="connsiteY19" fmla="*/ 1181100 h 3147261"/>
                  <a:gd name="connsiteX20" fmla="*/ 3094729 w 3148171"/>
                  <a:gd name="connsiteY20" fmla="*/ 1226820 h 3147261"/>
                  <a:gd name="connsiteX21" fmla="*/ 3102349 w 3148171"/>
                  <a:gd name="connsiteY21" fmla="*/ 1280160 h 3147261"/>
                  <a:gd name="connsiteX22" fmla="*/ 3117589 w 3148171"/>
                  <a:gd name="connsiteY22" fmla="*/ 1371600 h 3147261"/>
                  <a:gd name="connsiteX23" fmla="*/ 3132829 w 3148171"/>
                  <a:gd name="connsiteY23" fmla="*/ 1417320 h 3147261"/>
                  <a:gd name="connsiteX24" fmla="*/ 3140449 w 3148171"/>
                  <a:gd name="connsiteY24" fmla="*/ 1485900 h 3147261"/>
                  <a:gd name="connsiteX25" fmla="*/ 3148069 w 3148171"/>
                  <a:gd name="connsiteY25" fmla="*/ 1516380 h 3147261"/>
                  <a:gd name="connsiteX26" fmla="*/ 3132829 w 3148171"/>
                  <a:gd name="connsiteY26" fmla="*/ 1691640 h 3147261"/>
                  <a:gd name="connsiteX27" fmla="*/ 3125209 w 3148171"/>
                  <a:gd name="connsiteY27" fmla="*/ 1767840 h 3147261"/>
                  <a:gd name="connsiteX28" fmla="*/ 3109969 w 3148171"/>
                  <a:gd name="connsiteY28" fmla="*/ 1836420 h 3147261"/>
                  <a:gd name="connsiteX29" fmla="*/ 3087109 w 3148171"/>
                  <a:gd name="connsiteY29" fmla="*/ 1905000 h 3147261"/>
                  <a:gd name="connsiteX30" fmla="*/ 3079489 w 3148171"/>
                  <a:gd name="connsiteY30" fmla="*/ 1935480 h 3147261"/>
                  <a:gd name="connsiteX31" fmla="*/ 3071869 w 3148171"/>
                  <a:gd name="connsiteY31" fmla="*/ 1958340 h 3147261"/>
                  <a:gd name="connsiteX32" fmla="*/ 3056629 w 3148171"/>
                  <a:gd name="connsiteY32" fmla="*/ 2019300 h 3147261"/>
                  <a:gd name="connsiteX33" fmla="*/ 3041389 w 3148171"/>
                  <a:gd name="connsiteY33" fmla="*/ 2057400 h 3147261"/>
                  <a:gd name="connsiteX34" fmla="*/ 3033769 w 3148171"/>
                  <a:gd name="connsiteY34" fmla="*/ 2080260 h 3147261"/>
                  <a:gd name="connsiteX35" fmla="*/ 3018529 w 3148171"/>
                  <a:gd name="connsiteY35" fmla="*/ 2118360 h 3147261"/>
                  <a:gd name="connsiteX36" fmla="*/ 2995669 w 3148171"/>
                  <a:gd name="connsiteY36" fmla="*/ 2186940 h 3147261"/>
                  <a:gd name="connsiteX37" fmla="*/ 2988049 w 3148171"/>
                  <a:gd name="connsiteY37" fmla="*/ 2225040 h 3147261"/>
                  <a:gd name="connsiteX38" fmla="*/ 2972809 w 3148171"/>
                  <a:gd name="connsiteY38" fmla="*/ 2270760 h 3147261"/>
                  <a:gd name="connsiteX39" fmla="*/ 2965189 w 3148171"/>
                  <a:gd name="connsiteY39" fmla="*/ 2308860 h 3147261"/>
                  <a:gd name="connsiteX40" fmla="*/ 2949949 w 3148171"/>
                  <a:gd name="connsiteY40" fmla="*/ 2331720 h 3147261"/>
                  <a:gd name="connsiteX41" fmla="*/ 2927089 w 3148171"/>
                  <a:gd name="connsiteY41" fmla="*/ 2385060 h 3147261"/>
                  <a:gd name="connsiteX42" fmla="*/ 2904229 w 3148171"/>
                  <a:gd name="connsiteY42" fmla="*/ 2407920 h 3147261"/>
                  <a:gd name="connsiteX43" fmla="*/ 2858509 w 3148171"/>
                  <a:gd name="connsiteY43" fmla="*/ 2499360 h 3147261"/>
                  <a:gd name="connsiteX44" fmla="*/ 2843269 w 3148171"/>
                  <a:gd name="connsiteY44" fmla="*/ 2529840 h 3147261"/>
                  <a:gd name="connsiteX45" fmla="*/ 2835649 w 3148171"/>
                  <a:gd name="connsiteY45" fmla="*/ 2552700 h 3147261"/>
                  <a:gd name="connsiteX46" fmla="*/ 2759449 w 3148171"/>
                  <a:gd name="connsiteY46" fmla="*/ 2636520 h 3147261"/>
                  <a:gd name="connsiteX47" fmla="*/ 2706109 w 3148171"/>
                  <a:gd name="connsiteY47" fmla="*/ 2667000 h 3147261"/>
                  <a:gd name="connsiteX48" fmla="*/ 2302249 w 3148171"/>
                  <a:gd name="connsiteY48" fmla="*/ 2971800 h 3147261"/>
                  <a:gd name="connsiteX49" fmla="*/ 2195569 w 3148171"/>
                  <a:gd name="connsiteY49" fmla="*/ 3025140 h 3147261"/>
                  <a:gd name="connsiteX50" fmla="*/ 2096509 w 3148171"/>
                  <a:gd name="connsiteY50" fmla="*/ 3055620 h 3147261"/>
                  <a:gd name="connsiteX51" fmla="*/ 1913629 w 3148171"/>
                  <a:gd name="connsiteY51" fmla="*/ 3108960 h 3147261"/>
                  <a:gd name="connsiteX52" fmla="*/ 1799329 w 3148171"/>
                  <a:gd name="connsiteY52" fmla="*/ 3147060 h 3147261"/>
                  <a:gd name="connsiteX53" fmla="*/ 1334509 w 3148171"/>
                  <a:gd name="connsiteY53" fmla="*/ 3108960 h 3147261"/>
                  <a:gd name="connsiteX54" fmla="*/ 793489 w 3148171"/>
                  <a:gd name="connsiteY54" fmla="*/ 2933700 h 3147261"/>
                  <a:gd name="connsiteX55" fmla="*/ 420109 w 3148171"/>
                  <a:gd name="connsiteY55" fmla="*/ 2644140 h 3147261"/>
                  <a:gd name="connsiteX56" fmla="*/ 321049 w 3148171"/>
                  <a:gd name="connsiteY56" fmla="*/ 2484120 h 3147261"/>
                  <a:gd name="connsiteX57" fmla="*/ 298189 w 3148171"/>
                  <a:gd name="connsiteY57" fmla="*/ 2430780 h 3147261"/>
                  <a:gd name="connsiteX58" fmla="*/ 275329 w 3148171"/>
                  <a:gd name="connsiteY58" fmla="*/ 2377440 h 3147261"/>
                  <a:gd name="connsiteX59" fmla="*/ 229609 w 3148171"/>
                  <a:gd name="connsiteY59" fmla="*/ 2316480 h 3147261"/>
                  <a:gd name="connsiteX60" fmla="*/ 206749 w 3148171"/>
                  <a:gd name="connsiteY60" fmla="*/ 2293620 h 3147261"/>
                  <a:gd name="connsiteX61" fmla="*/ 176269 w 3148171"/>
                  <a:gd name="connsiteY61" fmla="*/ 2240280 h 3147261"/>
                  <a:gd name="connsiteX62" fmla="*/ 161029 w 3148171"/>
                  <a:gd name="connsiteY62" fmla="*/ 2202180 h 3147261"/>
                  <a:gd name="connsiteX63" fmla="*/ 145789 w 3148171"/>
                  <a:gd name="connsiteY63" fmla="*/ 2179320 h 3147261"/>
                  <a:gd name="connsiteX64" fmla="*/ 130549 w 3148171"/>
                  <a:gd name="connsiteY64" fmla="*/ 2133600 h 3147261"/>
                  <a:gd name="connsiteX65" fmla="*/ 100069 w 3148171"/>
                  <a:gd name="connsiteY65" fmla="*/ 2087880 h 3147261"/>
                  <a:gd name="connsiteX66" fmla="*/ 61969 w 3148171"/>
                  <a:gd name="connsiteY66" fmla="*/ 2026920 h 3147261"/>
                  <a:gd name="connsiteX67" fmla="*/ 54349 w 3148171"/>
                  <a:gd name="connsiteY67" fmla="*/ 2004060 h 3147261"/>
                  <a:gd name="connsiteX68" fmla="*/ 39109 w 3148171"/>
                  <a:gd name="connsiteY68" fmla="*/ 1943100 h 3147261"/>
                  <a:gd name="connsiteX69" fmla="*/ 23869 w 3148171"/>
                  <a:gd name="connsiteY69" fmla="*/ 1897380 h 3147261"/>
                  <a:gd name="connsiteX70" fmla="*/ 1009 w 3148171"/>
                  <a:gd name="connsiteY70" fmla="*/ 1562100 h 3147261"/>
                  <a:gd name="connsiteX71" fmla="*/ 54349 w 3148171"/>
                  <a:gd name="connsiteY71" fmla="*/ 1135380 h 3147261"/>
                  <a:gd name="connsiteX72" fmla="*/ 161029 w 3148171"/>
                  <a:gd name="connsiteY72" fmla="*/ 861060 h 3147261"/>
                  <a:gd name="connsiteX73" fmla="*/ 183889 w 3148171"/>
                  <a:gd name="connsiteY73" fmla="*/ 822960 h 3147261"/>
                  <a:gd name="connsiteX74" fmla="*/ 260089 w 3148171"/>
                  <a:gd name="connsiteY74" fmla="*/ 708660 h 3147261"/>
                  <a:gd name="connsiteX75" fmla="*/ 275329 w 3148171"/>
                  <a:gd name="connsiteY75" fmla="*/ 662940 h 3147261"/>
                  <a:gd name="connsiteX76" fmla="*/ 420109 w 3148171"/>
                  <a:gd name="connsiteY76" fmla="*/ 510540 h 3147261"/>
                  <a:gd name="connsiteX77" fmla="*/ 511549 w 3148171"/>
                  <a:gd name="connsiteY77" fmla="*/ 434340 h 3147261"/>
                  <a:gd name="connsiteX78" fmla="*/ 564889 w 3148171"/>
                  <a:gd name="connsiteY78" fmla="*/ 396240 h 3147261"/>
                  <a:gd name="connsiteX79" fmla="*/ 656329 w 3148171"/>
                  <a:gd name="connsiteY79" fmla="*/ 312420 h 3147261"/>
                  <a:gd name="connsiteX80" fmla="*/ 869689 w 3148171"/>
                  <a:gd name="connsiteY80" fmla="*/ 175260 h 3147261"/>
                  <a:gd name="connsiteX81" fmla="*/ 976369 w 3148171"/>
                  <a:gd name="connsiteY81" fmla="*/ 137160 h 3147261"/>
                  <a:gd name="connsiteX82" fmla="*/ 1105909 w 3148171"/>
                  <a:gd name="connsiteY82" fmla="*/ 76200 h 3147261"/>
                  <a:gd name="connsiteX83" fmla="*/ 1243069 w 3148171"/>
                  <a:gd name="connsiteY83" fmla="*/ 38100 h 3147261"/>
                  <a:gd name="connsiteX84" fmla="*/ 1265929 w 3148171"/>
                  <a:gd name="connsiteY84" fmla="*/ 30480 h 3147261"/>
                  <a:gd name="connsiteX85" fmla="*/ 1387849 w 3148171"/>
                  <a:gd name="connsiteY85" fmla="*/ 15240 h 3147261"/>
                  <a:gd name="connsiteX86" fmla="*/ 1464049 w 3148171"/>
                  <a:gd name="connsiteY86" fmla="*/ 0 h 3147261"/>
                  <a:gd name="connsiteX87" fmla="*/ 1745989 w 3148171"/>
                  <a:gd name="connsiteY87" fmla="*/ 0 h 3147261"/>
                  <a:gd name="connsiteX88" fmla="*/ 2165089 w 3148171"/>
                  <a:gd name="connsiteY88" fmla="*/ 99060 h 3147261"/>
                  <a:gd name="connsiteX89" fmla="*/ 2340349 w 3148171"/>
                  <a:gd name="connsiteY89" fmla="*/ 182880 h 3147261"/>
                  <a:gd name="connsiteX90" fmla="*/ 2370829 w 3148171"/>
                  <a:gd name="connsiteY90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29909 w 3148171"/>
                  <a:gd name="connsiteY2" fmla="*/ 43434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87109 w 3148171"/>
                  <a:gd name="connsiteY17" fmla="*/ 1181100 h 3147261"/>
                  <a:gd name="connsiteX18" fmla="*/ 3094729 w 3148171"/>
                  <a:gd name="connsiteY18" fmla="*/ 1226820 h 3147261"/>
                  <a:gd name="connsiteX19" fmla="*/ 3102349 w 3148171"/>
                  <a:gd name="connsiteY19" fmla="*/ 1280160 h 3147261"/>
                  <a:gd name="connsiteX20" fmla="*/ 3117589 w 3148171"/>
                  <a:gd name="connsiteY20" fmla="*/ 1371600 h 3147261"/>
                  <a:gd name="connsiteX21" fmla="*/ 3132829 w 3148171"/>
                  <a:gd name="connsiteY21" fmla="*/ 1417320 h 3147261"/>
                  <a:gd name="connsiteX22" fmla="*/ 3140449 w 3148171"/>
                  <a:gd name="connsiteY22" fmla="*/ 1485900 h 3147261"/>
                  <a:gd name="connsiteX23" fmla="*/ 3148069 w 3148171"/>
                  <a:gd name="connsiteY23" fmla="*/ 1516380 h 3147261"/>
                  <a:gd name="connsiteX24" fmla="*/ 3132829 w 3148171"/>
                  <a:gd name="connsiteY24" fmla="*/ 1691640 h 3147261"/>
                  <a:gd name="connsiteX25" fmla="*/ 3125209 w 3148171"/>
                  <a:gd name="connsiteY25" fmla="*/ 1767840 h 3147261"/>
                  <a:gd name="connsiteX26" fmla="*/ 3109969 w 3148171"/>
                  <a:gd name="connsiteY26" fmla="*/ 1836420 h 3147261"/>
                  <a:gd name="connsiteX27" fmla="*/ 3087109 w 3148171"/>
                  <a:gd name="connsiteY27" fmla="*/ 1905000 h 3147261"/>
                  <a:gd name="connsiteX28" fmla="*/ 3079489 w 3148171"/>
                  <a:gd name="connsiteY28" fmla="*/ 1935480 h 3147261"/>
                  <a:gd name="connsiteX29" fmla="*/ 3071869 w 3148171"/>
                  <a:gd name="connsiteY29" fmla="*/ 1958340 h 3147261"/>
                  <a:gd name="connsiteX30" fmla="*/ 3056629 w 3148171"/>
                  <a:gd name="connsiteY30" fmla="*/ 2019300 h 3147261"/>
                  <a:gd name="connsiteX31" fmla="*/ 3041389 w 3148171"/>
                  <a:gd name="connsiteY31" fmla="*/ 2057400 h 3147261"/>
                  <a:gd name="connsiteX32" fmla="*/ 3033769 w 3148171"/>
                  <a:gd name="connsiteY32" fmla="*/ 2080260 h 3147261"/>
                  <a:gd name="connsiteX33" fmla="*/ 3018529 w 3148171"/>
                  <a:gd name="connsiteY33" fmla="*/ 2118360 h 3147261"/>
                  <a:gd name="connsiteX34" fmla="*/ 2995669 w 3148171"/>
                  <a:gd name="connsiteY34" fmla="*/ 2186940 h 3147261"/>
                  <a:gd name="connsiteX35" fmla="*/ 2988049 w 3148171"/>
                  <a:gd name="connsiteY35" fmla="*/ 2225040 h 3147261"/>
                  <a:gd name="connsiteX36" fmla="*/ 2972809 w 3148171"/>
                  <a:gd name="connsiteY36" fmla="*/ 2270760 h 3147261"/>
                  <a:gd name="connsiteX37" fmla="*/ 2965189 w 3148171"/>
                  <a:gd name="connsiteY37" fmla="*/ 2308860 h 3147261"/>
                  <a:gd name="connsiteX38" fmla="*/ 2949949 w 3148171"/>
                  <a:gd name="connsiteY38" fmla="*/ 2331720 h 3147261"/>
                  <a:gd name="connsiteX39" fmla="*/ 2927089 w 3148171"/>
                  <a:gd name="connsiteY39" fmla="*/ 2385060 h 3147261"/>
                  <a:gd name="connsiteX40" fmla="*/ 2904229 w 3148171"/>
                  <a:gd name="connsiteY40" fmla="*/ 2407920 h 3147261"/>
                  <a:gd name="connsiteX41" fmla="*/ 2858509 w 3148171"/>
                  <a:gd name="connsiteY41" fmla="*/ 2499360 h 3147261"/>
                  <a:gd name="connsiteX42" fmla="*/ 2843269 w 3148171"/>
                  <a:gd name="connsiteY42" fmla="*/ 2529840 h 3147261"/>
                  <a:gd name="connsiteX43" fmla="*/ 2835649 w 3148171"/>
                  <a:gd name="connsiteY43" fmla="*/ 2552700 h 3147261"/>
                  <a:gd name="connsiteX44" fmla="*/ 2759449 w 3148171"/>
                  <a:gd name="connsiteY44" fmla="*/ 2636520 h 3147261"/>
                  <a:gd name="connsiteX45" fmla="*/ 2706109 w 3148171"/>
                  <a:gd name="connsiteY45" fmla="*/ 2667000 h 3147261"/>
                  <a:gd name="connsiteX46" fmla="*/ 2302249 w 3148171"/>
                  <a:gd name="connsiteY46" fmla="*/ 2971800 h 3147261"/>
                  <a:gd name="connsiteX47" fmla="*/ 2195569 w 3148171"/>
                  <a:gd name="connsiteY47" fmla="*/ 3025140 h 3147261"/>
                  <a:gd name="connsiteX48" fmla="*/ 2096509 w 3148171"/>
                  <a:gd name="connsiteY48" fmla="*/ 3055620 h 3147261"/>
                  <a:gd name="connsiteX49" fmla="*/ 1913629 w 3148171"/>
                  <a:gd name="connsiteY49" fmla="*/ 3108960 h 3147261"/>
                  <a:gd name="connsiteX50" fmla="*/ 1799329 w 3148171"/>
                  <a:gd name="connsiteY50" fmla="*/ 3147060 h 3147261"/>
                  <a:gd name="connsiteX51" fmla="*/ 1334509 w 3148171"/>
                  <a:gd name="connsiteY51" fmla="*/ 3108960 h 3147261"/>
                  <a:gd name="connsiteX52" fmla="*/ 793489 w 3148171"/>
                  <a:gd name="connsiteY52" fmla="*/ 2933700 h 3147261"/>
                  <a:gd name="connsiteX53" fmla="*/ 420109 w 3148171"/>
                  <a:gd name="connsiteY53" fmla="*/ 2644140 h 3147261"/>
                  <a:gd name="connsiteX54" fmla="*/ 321049 w 3148171"/>
                  <a:gd name="connsiteY54" fmla="*/ 2484120 h 3147261"/>
                  <a:gd name="connsiteX55" fmla="*/ 298189 w 3148171"/>
                  <a:gd name="connsiteY55" fmla="*/ 2430780 h 3147261"/>
                  <a:gd name="connsiteX56" fmla="*/ 275329 w 3148171"/>
                  <a:gd name="connsiteY56" fmla="*/ 2377440 h 3147261"/>
                  <a:gd name="connsiteX57" fmla="*/ 229609 w 3148171"/>
                  <a:gd name="connsiteY57" fmla="*/ 2316480 h 3147261"/>
                  <a:gd name="connsiteX58" fmla="*/ 206749 w 3148171"/>
                  <a:gd name="connsiteY58" fmla="*/ 2293620 h 3147261"/>
                  <a:gd name="connsiteX59" fmla="*/ 176269 w 3148171"/>
                  <a:gd name="connsiteY59" fmla="*/ 2240280 h 3147261"/>
                  <a:gd name="connsiteX60" fmla="*/ 161029 w 3148171"/>
                  <a:gd name="connsiteY60" fmla="*/ 2202180 h 3147261"/>
                  <a:gd name="connsiteX61" fmla="*/ 145789 w 3148171"/>
                  <a:gd name="connsiteY61" fmla="*/ 2179320 h 3147261"/>
                  <a:gd name="connsiteX62" fmla="*/ 130549 w 3148171"/>
                  <a:gd name="connsiteY62" fmla="*/ 2133600 h 3147261"/>
                  <a:gd name="connsiteX63" fmla="*/ 100069 w 3148171"/>
                  <a:gd name="connsiteY63" fmla="*/ 2087880 h 3147261"/>
                  <a:gd name="connsiteX64" fmla="*/ 61969 w 3148171"/>
                  <a:gd name="connsiteY64" fmla="*/ 2026920 h 3147261"/>
                  <a:gd name="connsiteX65" fmla="*/ 54349 w 3148171"/>
                  <a:gd name="connsiteY65" fmla="*/ 2004060 h 3147261"/>
                  <a:gd name="connsiteX66" fmla="*/ 39109 w 3148171"/>
                  <a:gd name="connsiteY66" fmla="*/ 1943100 h 3147261"/>
                  <a:gd name="connsiteX67" fmla="*/ 23869 w 3148171"/>
                  <a:gd name="connsiteY67" fmla="*/ 1897380 h 3147261"/>
                  <a:gd name="connsiteX68" fmla="*/ 1009 w 3148171"/>
                  <a:gd name="connsiteY68" fmla="*/ 1562100 h 3147261"/>
                  <a:gd name="connsiteX69" fmla="*/ 54349 w 3148171"/>
                  <a:gd name="connsiteY69" fmla="*/ 1135380 h 3147261"/>
                  <a:gd name="connsiteX70" fmla="*/ 161029 w 3148171"/>
                  <a:gd name="connsiteY70" fmla="*/ 861060 h 3147261"/>
                  <a:gd name="connsiteX71" fmla="*/ 183889 w 3148171"/>
                  <a:gd name="connsiteY71" fmla="*/ 822960 h 3147261"/>
                  <a:gd name="connsiteX72" fmla="*/ 260089 w 3148171"/>
                  <a:gd name="connsiteY72" fmla="*/ 708660 h 3147261"/>
                  <a:gd name="connsiteX73" fmla="*/ 275329 w 3148171"/>
                  <a:gd name="connsiteY73" fmla="*/ 662940 h 3147261"/>
                  <a:gd name="connsiteX74" fmla="*/ 420109 w 3148171"/>
                  <a:gd name="connsiteY74" fmla="*/ 510540 h 3147261"/>
                  <a:gd name="connsiteX75" fmla="*/ 511549 w 3148171"/>
                  <a:gd name="connsiteY75" fmla="*/ 434340 h 3147261"/>
                  <a:gd name="connsiteX76" fmla="*/ 564889 w 3148171"/>
                  <a:gd name="connsiteY76" fmla="*/ 396240 h 3147261"/>
                  <a:gd name="connsiteX77" fmla="*/ 656329 w 3148171"/>
                  <a:gd name="connsiteY77" fmla="*/ 312420 h 3147261"/>
                  <a:gd name="connsiteX78" fmla="*/ 869689 w 3148171"/>
                  <a:gd name="connsiteY78" fmla="*/ 175260 h 3147261"/>
                  <a:gd name="connsiteX79" fmla="*/ 976369 w 3148171"/>
                  <a:gd name="connsiteY79" fmla="*/ 137160 h 3147261"/>
                  <a:gd name="connsiteX80" fmla="*/ 1105909 w 3148171"/>
                  <a:gd name="connsiteY80" fmla="*/ 76200 h 3147261"/>
                  <a:gd name="connsiteX81" fmla="*/ 1243069 w 3148171"/>
                  <a:gd name="connsiteY81" fmla="*/ 38100 h 3147261"/>
                  <a:gd name="connsiteX82" fmla="*/ 1265929 w 3148171"/>
                  <a:gd name="connsiteY82" fmla="*/ 30480 h 3147261"/>
                  <a:gd name="connsiteX83" fmla="*/ 1387849 w 3148171"/>
                  <a:gd name="connsiteY83" fmla="*/ 15240 h 3147261"/>
                  <a:gd name="connsiteX84" fmla="*/ 1464049 w 3148171"/>
                  <a:gd name="connsiteY84" fmla="*/ 0 h 3147261"/>
                  <a:gd name="connsiteX85" fmla="*/ 1745989 w 3148171"/>
                  <a:gd name="connsiteY85" fmla="*/ 0 h 3147261"/>
                  <a:gd name="connsiteX86" fmla="*/ 2165089 w 3148171"/>
                  <a:gd name="connsiteY86" fmla="*/ 99060 h 3147261"/>
                  <a:gd name="connsiteX87" fmla="*/ 2340349 w 3148171"/>
                  <a:gd name="connsiteY87" fmla="*/ 182880 h 3147261"/>
                  <a:gd name="connsiteX88" fmla="*/ 2370829 w 3148171"/>
                  <a:gd name="connsiteY88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87109 w 3148171"/>
                  <a:gd name="connsiteY16" fmla="*/ 1181100 h 3147261"/>
                  <a:gd name="connsiteX17" fmla="*/ 3094729 w 3148171"/>
                  <a:gd name="connsiteY17" fmla="*/ 1226820 h 3147261"/>
                  <a:gd name="connsiteX18" fmla="*/ 3102349 w 3148171"/>
                  <a:gd name="connsiteY18" fmla="*/ 1280160 h 3147261"/>
                  <a:gd name="connsiteX19" fmla="*/ 3117589 w 3148171"/>
                  <a:gd name="connsiteY19" fmla="*/ 1371600 h 3147261"/>
                  <a:gd name="connsiteX20" fmla="*/ 3132829 w 3148171"/>
                  <a:gd name="connsiteY20" fmla="*/ 1417320 h 3147261"/>
                  <a:gd name="connsiteX21" fmla="*/ 3140449 w 3148171"/>
                  <a:gd name="connsiteY21" fmla="*/ 1485900 h 3147261"/>
                  <a:gd name="connsiteX22" fmla="*/ 3148069 w 3148171"/>
                  <a:gd name="connsiteY22" fmla="*/ 1516380 h 3147261"/>
                  <a:gd name="connsiteX23" fmla="*/ 3132829 w 3148171"/>
                  <a:gd name="connsiteY23" fmla="*/ 1691640 h 3147261"/>
                  <a:gd name="connsiteX24" fmla="*/ 3125209 w 3148171"/>
                  <a:gd name="connsiteY24" fmla="*/ 1767840 h 3147261"/>
                  <a:gd name="connsiteX25" fmla="*/ 3109969 w 3148171"/>
                  <a:gd name="connsiteY25" fmla="*/ 1836420 h 3147261"/>
                  <a:gd name="connsiteX26" fmla="*/ 3087109 w 3148171"/>
                  <a:gd name="connsiteY26" fmla="*/ 1905000 h 3147261"/>
                  <a:gd name="connsiteX27" fmla="*/ 3079489 w 3148171"/>
                  <a:gd name="connsiteY27" fmla="*/ 1935480 h 3147261"/>
                  <a:gd name="connsiteX28" fmla="*/ 3071869 w 3148171"/>
                  <a:gd name="connsiteY28" fmla="*/ 1958340 h 3147261"/>
                  <a:gd name="connsiteX29" fmla="*/ 3056629 w 3148171"/>
                  <a:gd name="connsiteY29" fmla="*/ 2019300 h 3147261"/>
                  <a:gd name="connsiteX30" fmla="*/ 3041389 w 3148171"/>
                  <a:gd name="connsiteY30" fmla="*/ 2057400 h 3147261"/>
                  <a:gd name="connsiteX31" fmla="*/ 3033769 w 3148171"/>
                  <a:gd name="connsiteY31" fmla="*/ 2080260 h 3147261"/>
                  <a:gd name="connsiteX32" fmla="*/ 3018529 w 3148171"/>
                  <a:gd name="connsiteY32" fmla="*/ 2118360 h 3147261"/>
                  <a:gd name="connsiteX33" fmla="*/ 2995669 w 3148171"/>
                  <a:gd name="connsiteY33" fmla="*/ 2186940 h 3147261"/>
                  <a:gd name="connsiteX34" fmla="*/ 2988049 w 3148171"/>
                  <a:gd name="connsiteY34" fmla="*/ 2225040 h 3147261"/>
                  <a:gd name="connsiteX35" fmla="*/ 2972809 w 3148171"/>
                  <a:gd name="connsiteY35" fmla="*/ 2270760 h 3147261"/>
                  <a:gd name="connsiteX36" fmla="*/ 2965189 w 3148171"/>
                  <a:gd name="connsiteY36" fmla="*/ 2308860 h 3147261"/>
                  <a:gd name="connsiteX37" fmla="*/ 2949949 w 3148171"/>
                  <a:gd name="connsiteY37" fmla="*/ 2331720 h 3147261"/>
                  <a:gd name="connsiteX38" fmla="*/ 2927089 w 3148171"/>
                  <a:gd name="connsiteY38" fmla="*/ 2385060 h 3147261"/>
                  <a:gd name="connsiteX39" fmla="*/ 2904229 w 3148171"/>
                  <a:gd name="connsiteY39" fmla="*/ 2407920 h 3147261"/>
                  <a:gd name="connsiteX40" fmla="*/ 2858509 w 3148171"/>
                  <a:gd name="connsiteY40" fmla="*/ 2499360 h 3147261"/>
                  <a:gd name="connsiteX41" fmla="*/ 2843269 w 3148171"/>
                  <a:gd name="connsiteY41" fmla="*/ 2529840 h 3147261"/>
                  <a:gd name="connsiteX42" fmla="*/ 2835649 w 3148171"/>
                  <a:gd name="connsiteY42" fmla="*/ 2552700 h 3147261"/>
                  <a:gd name="connsiteX43" fmla="*/ 2759449 w 3148171"/>
                  <a:gd name="connsiteY43" fmla="*/ 2636520 h 3147261"/>
                  <a:gd name="connsiteX44" fmla="*/ 2706109 w 3148171"/>
                  <a:gd name="connsiteY44" fmla="*/ 2667000 h 3147261"/>
                  <a:gd name="connsiteX45" fmla="*/ 2302249 w 3148171"/>
                  <a:gd name="connsiteY45" fmla="*/ 2971800 h 3147261"/>
                  <a:gd name="connsiteX46" fmla="*/ 2195569 w 3148171"/>
                  <a:gd name="connsiteY46" fmla="*/ 3025140 h 3147261"/>
                  <a:gd name="connsiteX47" fmla="*/ 2096509 w 3148171"/>
                  <a:gd name="connsiteY47" fmla="*/ 3055620 h 3147261"/>
                  <a:gd name="connsiteX48" fmla="*/ 1913629 w 3148171"/>
                  <a:gd name="connsiteY48" fmla="*/ 3108960 h 3147261"/>
                  <a:gd name="connsiteX49" fmla="*/ 1799329 w 3148171"/>
                  <a:gd name="connsiteY49" fmla="*/ 3147060 h 3147261"/>
                  <a:gd name="connsiteX50" fmla="*/ 1334509 w 3148171"/>
                  <a:gd name="connsiteY50" fmla="*/ 3108960 h 3147261"/>
                  <a:gd name="connsiteX51" fmla="*/ 793489 w 3148171"/>
                  <a:gd name="connsiteY51" fmla="*/ 2933700 h 3147261"/>
                  <a:gd name="connsiteX52" fmla="*/ 420109 w 3148171"/>
                  <a:gd name="connsiteY52" fmla="*/ 2644140 h 3147261"/>
                  <a:gd name="connsiteX53" fmla="*/ 321049 w 3148171"/>
                  <a:gd name="connsiteY53" fmla="*/ 2484120 h 3147261"/>
                  <a:gd name="connsiteX54" fmla="*/ 298189 w 3148171"/>
                  <a:gd name="connsiteY54" fmla="*/ 2430780 h 3147261"/>
                  <a:gd name="connsiteX55" fmla="*/ 275329 w 3148171"/>
                  <a:gd name="connsiteY55" fmla="*/ 2377440 h 3147261"/>
                  <a:gd name="connsiteX56" fmla="*/ 229609 w 3148171"/>
                  <a:gd name="connsiteY56" fmla="*/ 2316480 h 3147261"/>
                  <a:gd name="connsiteX57" fmla="*/ 206749 w 3148171"/>
                  <a:gd name="connsiteY57" fmla="*/ 2293620 h 3147261"/>
                  <a:gd name="connsiteX58" fmla="*/ 176269 w 3148171"/>
                  <a:gd name="connsiteY58" fmla="*/ 2240280 h 3147261"/>
                  <a:gd name="connsiteX59" fmla="*/ 161029 w 3148171"/>
                  <a:gd name="connsiteY59" fmla="*/ 2202180 h 3147261"/>
                  <a:gd name="connsiteX60" fmla="*/ 145789 w 3148171"/>
                  <a:gd name="connsiteY60" fmla="*/ 2179320 h 3147261"/>
                  <a:gd name="connsiteX61" fmla="*/ 130549 w 3148171"/>
                  <a:gd name="connsiteY61" fmla="*/ 2133600 h 3147261"/>
                  <a:gd name="connsiteX62" fmla="*/ 100069 w 3148171"/>
                  <a:gd name="connsiteY62" fmla="*/ 2087880 h 3147261"/>
                  <a:gd name="connsiteX63" fmla="*/ 61969 w 3148171"/>
                  <a:gd name="connsiteY63" fmla="*/ 2026920 h 3147261"/>
                  <a:gd name="connsiteX64" fmla="*/ 54349 w 3148171"/>
                  <a:gd name="connsiteY64" fmla="*/ 2004060 h 3147261"/>
                  <a:gd name="connsiteX65" fmla="*/ 39109 w 3148171"/>
                  <a:gd name="connsiteY65" fmla="*/ 1943100 h 3147261"/>
                  <a:gd name="connsiteX66" fmla="*/ 23869 w 3148171"/>
                  <a:gd name="connsiteY66" fmla="*/ 1897380 h 3147261"/>
                  <a:gd name="connsiteX67" fmla="*/ 1009 w 3148171"/>
                  <a:gd name="connsiteY67" fmla="*/ 1562100 h 3147261"/>
                  <a:gd name="connsiteX68" fmla="*/ 54349 w 3148171"/>
                  <a:gd name="connsiteY68" fmla="*/ 1135380 h 3147261"/>
                  <a:gd name="connsiteX69" fmla="*/ 161029 w 3148171"/>
                  <a:gd name="connsiteY69" fmla="*/ 861060 h 3147261"/>
                  <a:gd name="connsiteX70" fmla="*/ 183889 w 3148171"/>
                  <a:gd name="connsiteY70" fmla="*/ 822960 h 3147261"/>
                  <a:gd name="connsiteX71" fmla="*/ 260089 w 3148171"/>
                  <a:gd name="connsiteY71" fmla="*/ 708660 h 3147261"/>
                  <a:gd name="connsiteX72" fmla="*/ 275329 w 3148171"/>
                  <a:gd name="connsiteY72" fmla="*/ 662940 h 3147261"/>
                  <a:gd name="connsiteX73" fmla="*/ 420109 w 3148171"/>
                  <a:gd name="connsiteY73" fmla="*/ 510540 h 3147261"/>
                  <a:gd name="connsiteX74" fmla="*/ 511549 w 3148171"/>
                  <a:gd name="connsiteY74" fmla="*/ 434340 h 3147261"/>
                  <a:gd name="connsiteX75" fmla="*/ 564889 w 3148171"/>
                  <a:gd name="connsiteY75" fmla="*/ 396240 h 3147261"/>
                  <a:gd name="connsiteX76" fmla="*/ 656329 w 3148171"/>
                  <a:gd name="connsiteY76" fmla="*/ 312420 h 3147261"/>
                  <a:gd name="connsiteX77" fmla="*/ 869689 w 3148171"/>
                  <a:gd name="connsiteY77" fmla="*/ 175260 h 3147261"/>
                  <a:gd name="connsiteX78" fmla="*/ 976369 w 3148171"/>
                  <a:gd name="connsiteY78" fmla="*/ 137160 h 3147261"/>
                  <a:gd name="connsiteX79" fmla="*/ 1105909 w 3148171"/>
                  <a:gd name="connsiteY79" fmla="*/ 76200 h 3147261"/>
                  <a:gd name="connsiteX80" fmla="*/ 1243069 w 3148171"/>
                  <a:gd name="connsiteY80" fmla="*/ 38100 h 3147261"/>
                  <a:gd name="connsiteX81" fmla="*/ 1265929 w 3148171"/>
                  <a:gd name="connsiteY81" fmla="*/ 30480 h 3147261"/>
                  <a:gd name="connsiteX82" fmla="*/ 1387849 w 3148171"/>
                  <a:gd name="connsiteY82" fmla="*/ 15240 h 3147261"/>
                  <a:gd name="connsiteX83" fmla="*/ 1464049 w 3148171"/>
                  <a:gd name="connsiteY83" fmla="*/ 0 h 3147261"/>
                  <a:gd name="connsiteX84" fmla="*/ 1745989 w 3148171"/>
                  <a:gd name="connsiteY84" fmla="*/ 0 h 3147261"/>
                  <a:gd name="connsiteX85" fmla="*/ 2165089 w 3148171"/>
                  <a:gd name="connsiteY85" fmla="*/ 99060 h 3147261"/>
                  <a:gd name="connsiteX86" fmla="*/ 2340349 w 3148171"/>
                  <a:gd name="connsiteY86" fmla="*/ 182880 h 3147261"/>
                  <a:gd name="connsiteX87" fmla="*/ 2370829 w 3148171"/>
                  <a:gd name="connsiteY87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3010909 w 3148171"/>
                  <a:gd name="connsiteY12" fmla="*/ 998220 h 3147261"/>
                  <a:gd name="connsiteX13" fmla="*/ 3026149 w 3148171"/>
                  <a:gd name="connsiteY13" fmla="*/ 1036320 h 3147261"/>
                  <a:gd name="connsiteX14" fmla="*/ 3033769 w 3148171"/>
                  <a:gd name="connsiteY14" fmla="*/ 1066800 h 3147261"/>
                  <a:gd name="connsiteX15" fmla="*/ 3087109 w 3148171"/>
                  <a:gd name="connsiteY15" fmla="*/ 1181100 h 3147261"/>
                  <a:gd name="connsiteX16" fmla="*/ 3094729 w 3148171"/>
                  <a:gd name="connsiteY16" fmla="*/ 1226820 h 3147261"/>
                  <a:gd name="connsiteX17" fmla="*/ 3102349 w 3148171"/>
                  <a:gd name="connsiteY17" fmla="*/ 1280160 h 3147261"/>
                  <a:gd name="connsiteX18" fmla="*/ 3117589 w 3148171"/>
                  <a:gd name="connsiteY18" fmla="*/ 1371600 h 3147261"/>
                  <a:gd name="connsiteX19" fmla="*/ 3132829 w 3148171"/>
                  <a:gd name="connsiteY19" fmla="*/ 1417320 h 3147261"/>
                  <a:gd name="connsiteX20" fmla="*/ 3140449 w 3148171"/>
                  <a:gd name="connsiteY20" fmla="*/ 1485900 h 3147261"/>
                  <a:gd name="connsiteX21" fmla="*/ 3148069 w 3148171"/>
                  <a:gd name="connsiteY21" fmla="*/ 1516380 h 3147261"/>
                  <a:gd name="connsiteX22" fmla="*/ 3132829 w 3148171"/>
                  <a:gd name="connsiteY22" fmla="*/ 1691640 h 3147261"/>
                  <a:gd name="connsiteX23" fmla="*/ 3125209 w 3148171"/>
                  <a:gd name="connsiteY23" fmla="*/ 1767840 h 3147261"/>
                  <a:gd name="connsiteX24" fmla="*/ 3109969 w 3148171"/>
                  <a:gd name="connsiteY24" fmla="*/ 1836420 h 3147261"/>
                  <a:gd name="connsiteX25" fmla="*/ 3087109 w 3148171"/>
                  <a:gd name="connsiteY25" fmla="*/ 1905000 h 3147261"/>
                  <a:gd name="connsiteX26" fmla="*/ 3079489 w 3148171"/>
                  <a:gd name="connsiteY26" fmla="*/ 1935480 h 3147261"/>
                  <a:gd name="connsiteX27" fmla="*/ 3071869 w 3148171"/>
                  <a:gd name="connsiteY27" fmla="*/ 1958340 h 3147261"/>
                  <a:gd name="connsiteX28" fmla="*/ 3056629 w 3148171"/>
                  <a:gd name="connsiteY28" fmla="*/ 2019300 h 3147261"/>
                  <a:gd name="connsiteX29" fmla="*/ 3041389 w 3148171"/>
                  <a:gd name="connsiteY29" fmla="*/ 2057400 h 3147261"/>
                  <a:gd name="connsiteX30" fmla="*/ 3033769 w 3148171"/>
                  <a:gd name="connsiteY30" fmla="*/ 2080260 h 3147261"/>
                  <a:gd name="connsiteX31" fmla="*/ 3018529 w 3148171"/>
                  <a:gd name="connsiteY31" fmla="*/ 2118360 h 3147261"/>
                  <a:gd name="connsiteX32" fmla="*/ 2995669 w 3148171"/>
                  <a:gd name="connsiteY32" fmla="*/ 2186940 h 3147261"/>
                  <a:gd name="connsiteX33" fmla="*/ 2988049 w 3148171"/>
                  <a:gd name="connsiteY33" fmla="*/ 2225040 h 3147261"/>
                  <a:gd name="connsiteX34" fmla="*/ 2972809 w 3148171"/>
                  <a:gd name="connsiteY34" fmla="*/ 2270760 h 3147261"/>
                  <a:gd name="connsiteX35" fmla="*/ 2965189 w 3148171"/>
                  <a:gd name="connsiteY35" fmla="*/ 2308860 h 3147261"/>
                  <a:gd name="connsiteX36" fmla="*/ 2949949 w 3148171"/>
                  <a:gd name="connsiteY36" fmla="*/ 2331720 h 3147261"/>
                  <a:gd name="connsiteX37" fmla="*/ 2927089 w 3148171"/>
                  <a:gd name="connsiteY37" fmla="*/ 2385060 h 3147261"/>
                  <a:gd name="connsiteX38" fmla="*/ 2904229 w 3148171"/>
                  <a:gd name="connsiteY38" fmla="*/ 2407920 h 3147261"/>
                  <a:gd name="connsiteX39" fmla="*/ 2858509 w 3148171"/>
                  <a:gd name="connsiteY39" fmla="*/ 2499360 h 3147261"/>
                  <a:gd name="connsiteX40" fmla="*/ 2843269 w 3148171"/>
                  <a:gd name="connsiteY40" fmla="*/ 2529840 h 3147261"/>
                  <a:gd name="connsiteX41" fmla="*/ 2835649 w 3148171"/>
                  <a:gd name="connsiteY41" fmla="*/ 2552700 h 3147261"/>
                  <a:gd name="connsiteX42" fmla="*/ 2759449 w 3148171"/>
                  <a:gd name="connsiteY42" fmla="*/ 2636520 h 3147261"/>
                  <a:gd name="connsiteX43" fmla="*/ 2706109 w 3148171"/>
                  <a:gd name="connsiteY43" fmla="*/ 2667000 h 3147261"/>
                  <a:gd name="connsiteX44" fmla="*/ 2302249 w 3148171"/>
                  <a:gd name="connsiteY44" fmla="*/ 2971800 h 3147261"/>
                  <a:gd name="connsiteX45" fmla="*/ 2195569 w 3148171"/>
                  <a:gd name="connsiteY45" fmla="*/ 3025140 h 3147261"/>
                  <a:gd name="connsiteX46" fmla="*/ 2096509 w 3148171"/>
                  <a:gd name="connsiteY46" fmla="*/ 3055620 h 3147261"/>
                  <a:gd name="connsiteX47" fmla="*/ 1913629 w 3148171"/>
                  <a:gd name="connsiteY47" fmla="*/ 3108960 h 3147261"/>
                  <a:gd name="connsiteX48" fmla="*/ 1799329 w 3148171"/>
                  <a:gd name="connsiteY48" fmla="*/ 3147060 h 3147261"/>
                  <a:gd name="connsiteX49" fmla="*/ 1334509 w 3148171"/>
                  <a:gd name="connsiteY49" fmla="*/ 3108960 h 3147261"/>
                  <a:gd name="connsiteX50" fmla="*/ 793489 w 3148171"/>
                  <a:gd name="connsiteY50" fmla="*/ 2933700 h 3147261"/>
                  <a:gd name="connsiteX51" fmla="*/ 420109 w 3148171"/>
                  <a:gd name="connsiteY51" fmla="*/ 2644140 h 3147261"/>
                  <a:gd name="connsiteX52" fmla="*/ 321049 w 3148171"/>
                  <a:gd name="connsiteY52" fmla="*/ 2484120 h 3147261"/>
                  <a:gd name="connsiteX53" fmla="*/ 298189 w 3148171"/>
                  <a:gd name="connsiteY53" fmla="*/ 2430780 h 3147261"/>
                  <a:gd name="connsiteX54" fmla="*/ 275329 w 3148171"/>
                  <a:gd name="connsiteY54" fmla="*/ 2377440 h 3147261"/>
                  <a:gd name="connsiteX55" fmla="*/ 229609 w 3148171"/>
                  <a:gd name="connsiteY55" fmla="*/ 2316480 h 3147261"/>
                  <a:gd name="connsiteX56" fmla="*/ 206749 w 3148171"/>
                  <a:gd name="connsiteY56" fmla="*/ 2293620 h 3147261"/>
                  <a:gd name="connsiteX57" fmla="*/ 176269 w 3148171"/>
                  <a:gd name="connsiteY57" fmla="*/ 2240280 h 3147261"/>
                  <a:gd name="connsiteX58" fmla="*/ 161029 w 3148171"/>
                  <a:gd name="connsiteY58" fmla="*/ 2202180 h 3147261"/>
                  <a:gd name="connsiteX59" fmla="*/ 145789 w 3148171"/>
                  <a:gd name="connsiteY59" fmla="*/ 2179320 h 3147261"/>
                  <a:gd name="connsiteX60" fmla="*/ 130549 w 3148171"/>
                  <a:gd name="connsiteY60" fmla="*/ 2133600 h 3147261"/>
                  <a:gd name="connsiteX61" fmla="*/ 100069 w 3148171"/>
                  <a:gd name="connsiteY61" fmla="*/ 2087880 h 3147261"/>
                  <a:gd name="connsiteX62" fmla="*/ 61969 w 3148171"/>
                  <a:gd name="connsiteY62" fmla="*/ 2026920 h 3147261"/>
                  <a:gd name="connsiteX63" fmla="*/ 54349 w 3148171"/>
                  <a:gd name="connsiteY63" fmla="*/ 2004060 h 3147261"/>
                  <a:gd name="connsiteX64" fmla="*/ 39109 w 3148171"/>
                  <a:gd name="connsiteY64" fmla="*/ 1943100 h 3147261"/>
                  <a:gd name="connsiteX65" fmla="*/ 23869 w 3148171"/>
                  <a:gd name="connsiteY65" fmla="*/ 1897380 h 3147261"/>
                  <a:gd name="connsiteX66" fmla="*/ 1009 w 3148171"/>
                  <a:gd name="connsiteY66" fmla="*/ 1562100 h 3147261"/>
                  <a:gd name="connsiteX67" fmla="*/ 54349 w 3148171"/>
                  <a:gd name="connsiteY67" fmla="*/ 1135380 h 3147261"/>
                  <a:gd name="connsiteX68" fmla="*/ 161029 w 3148171"/>
                  <a:gd name="connsiteY68" fmla="*/ 861060 h 3147261"/>
                  <a:gd name="connsiteX69" fmla="*/ 183889 w 3148171"/>
                  <a:gd name="connsiteY69" fmla="*/ 822960 h 3147261"/>
                  <a:gd name="connsiteX70" fmla="*/ 260089 w 3148171"/>
                  <a:gd name="connsiteY70" fmla="*/ 708660 h 3147261"/>
                  <a:gd name="connsiteX71" fmla="*/ 275329 w 3148171"/>
                  <a:gd name="connsiteY71" fmla="*/ 662940 h 3147261"/>
                  <a:gd name="connsiteX72" fmla="*/ 420109 w 3148171"/>
                  <a:gd name="connsiteY72" fmla="*/ 510540 h 3147261"/>
                  <a:gd name="connsiteX73" fmla="*/ 511549 w 3148171"/>
                  <a:gd name="connsiteY73" fmla="*/ 434340 h 3147261"/>
                  <a:gd name="connsiteX74" fmla="*/ 564889 w 3148171"/>
                  <a:gd name="connsiteY74" fmla="*/ 396240 h 3147261"/>
                  <a:gd name="connsiteX75" fmla="*/ 656329 w 3148171"/>
                  <a:gd name="connsiteY75" fmla="*/ 312420 h 3147261"/>
                  <a:gd name="connsiteX76" fmla="*/ 869689 w 3148171"/>
                  <a:gd name="connsiteY76" fmla="*/ 175260 h 3147261"/>
                  <a:gd name="connsiteX77" fmla="*/ 976369 w 3148171"/>
                  <a:gd name="connsiteY77" fmla="*/ 137160 h 3147261"/>
                  <a:gd name="connsiteX78" fmla="*/ 1105909 w 3148171"/>
                  <a:gd name="connsiteY78" fmla="*/ 76200 h 3147261"/>
                  <a:gd name="connsiteX79" fmla="*/ 1243069 w 3148171"/>
                  <a:gd name="connsiteY79" fmla="*/ 38100 h 3147261"/>
                  <a:gd name="connsiteX80" fmla="*/ 1265929 w 3148171"/>
                  <a:gd name="connsiteY80" fmla="*/ 30480 h 3147261"/>
                  <a:gd name="connsiteX81" fmla="*/ 1387849 w 3148171"/>
                  <a:gd name="connsiteY81" fmla="*/ 15240 h 3147261"/>
                  <a:gd name="connsiteX82" fmla="*/ 1464049 w 3148171"/>
                  <a:gd name="connsiteY82" fmla="*/ 0 h 3147261"/>
                  <a:gd name="connsiteX83" fmla="*/ 1745989 w 3148171"/>
                  <a:gd name="connsiteY83" fmla="*/ 0 h 3147261"/>
                  <a:gd name="connsiteX84" fmla="*/ 2165089 w 3148171"/>
                  <a:gd name="connsiteY84" fmla="*/ 99060 h 3147261"/>
                  <a:gd name="connsiteX85" fmla="*/ 2340349 w 3148171"/>
                  <a:gd name="connsiteY85" fmla="*/ 182880 h 3147261"/>
                  <a:gd name="connsiteX86" fmla="*/ 2370829 w 3148171"/>
                  <a:gd name="connsiteY86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80429 w 3148171"/>
                  <a:gd name="connsiteY10" fmla="*/ 922020 h 3147261"/>
                  <a:gd name="connsiteX11" fmla="*/ 3010909 w 3148171"/>
                  <a:gd name="connsiteY11" fmla="*/ 998220 h 3147261"/>
                  <a:gd name="connsiteX12" fmla="*/ 3026149 w 3148171"/>
                  <a:gd name="connsiteY12" fmla="*/ 1036320 h 3147261"/>
                  <a:gd name="connsiteX13" fmla="*/ 3033769 w 3148171"/>
                  <a:gd name="connsiteY13" fmla="*/ 1066800 h 3147261"/>
                  <a:gd name="connsiteX14" fmla="*/ 3087109 w 3148171"/>
                  <a:gd name="connsiteY14" fmla="*/ 1181100 h 3147261"/>
                  <a:gd name="connsiteX15" fmla="*/ 3094729 w 3148171"/>
                  <a:gd name="connsiteY15" fmla="*/ 1226820 h 3147261"/>
                  <a:gd name="connsiteX16" fmla="*/ 3102349 w 3148171"/>
                  <a:gd name="connsiteY16" fmla="*/ 1280160 h 3147261"/>
                  <a:gd name="connsiteX17" fmla="*/ 3117589 w 3148171"/>
                  <a:gd name="connsiteY17" fmla="*/ 1371600 h 3147261"/>
                  <a:gd name="connsiteX18" fmla="*/ 3132829 w 3148171"/>
                  <a:gd name="connsiteY18" fmla="*/ 1417320 h 3147261"/>
                  <a:gd name="connsiteX19" fmla="*/ 3140449 w 3148171"/>
                  <a:gd name="connsiteY19" fmla="*/ 1485900 h 3147261"/>
                  <a:gd name="connsiteX20" fmla="*/ 3148069 w 3148171"/>
                  <a:gd name="connsiteY20" fmla="*/ 1516380 h 3147261"/>
                  <a:gd name="connsiteX21" fmla="*/ 3132829 w 3148171"/>
                  <a:gd name="connsiteY21" fmla="*/ 1691640 h 3147261"/>
                  <a:gd name="connsiteX22" fmla="*/ 3125209 w 3148171"/>
                  <a:gd name="connsiteY22" fmla="*/ 1767840 h 3147261"/>
                  <a:gd name="connsiteX23" fmla="*/ 3109969 w 3148171"/>
                  <a:gd name="connsiteY23" fmla="*/ 1836420 h 3147261"/>
                  <a:gd name="connsiteX24" fmla="*/ 3087109 w 3148171"/>
                  <a:gd name="connsiteY24" fmla="*/ 1905000 h 3147261"/>
                  <a:gd name="connsiteX25" fmla="*/ 3079489 w 3148171"/>
                  <a:gd name="connsiteY25" fmla="*/ 1935480 h 3147261"/>
                  <a:gd name="connsiteX26" fmla="*/ 3071869 w 3148171"/>
                  <a:gd name="connsiteY26" fmla="*/ 1958340 h 3147261"/>
                  <a:gd name="connsiteX27" fmla="*/ 3056629 w 3148171"/>
                  <a:gd name="connsiteY27" fmla="*/ 2019300 h 3147261"/>
                  <a:gd name="connsiteX28" fmla="*/ 3041389 w 3148171"/>
                  <a:gd name="connsiteY28" fmla="*/ 2057400 h 3147261"/>
                  <a:gd name="connsiteX29" fmla="*/ 3033769 w 3148171"/>
                  <a:gd name="connsiteY29" fmla="*/ 2080260 h 3147261"/>
                  <a:gd name="connsiteX30" fmla="*/ 3018529 w 3148171"/>
                  <a:gd name="connsiteY30" fmla="*/ 2118360 h 3147261"/>
                  <a:gd name="connsiteX31" fmla="*/ 2995669 w 3148171"/>
                  <a:gd name="connsiteY31" fmla="*/ 2186940 h 3147261"/>
                  <a:gd name="connsiteX32" fmla="*/ 2988049 w 3148171"/>
                  <a:gd name="connsiteY32" fmla="*/ 2225040 h 3147261"/>
                  <a:gd name="connsiteX33" fmla="*/ 2972809 w 3148171"/>
                  <a:gd name="connsiteY33" fmla="*/ 2270760 h 3147261"/>
                  <a:gd name="connsiteX34" fmla="*/ 2965189 w 3148171"/>
                  <a:gd name="connsiteY34" fmla="*/ 2308860 h 3147261"/>
                  <a:gd name="connsiteX35" fmla="*/ 2949949 w 3148171"/>
                  <a:gd name="connsiteY35" fmla="*/ 2331720 h 3147261"/>
                  <a:gd name="connsiteX36" fmla="*/ 2927089 w 3148171"/>
                  <a:gd name="connsiteY36" fmla="*/ 2385060 h 3147261"/>
                  <a:gd name="connsiteX37" fmla="*/ 2904229 w 3148171"/>
                  <a:gd name="connsiteY37" fmla="*/ 2407920 h 3147261"/>
                  <a:gd name="connsiteX38" fmla="*/ 2858509 w 3148171"/>
                  <a:gd name="connsiteY38" fmla="*/ 2499360 h 3147261"/>
                  <a:gd name="connsiteX39" fmla="*/ 2843269 w 3148171"/>
                  <a:gd name="connsiteY39" fmla="*/ 2529840 h 3147261"/>
                  <a:gd name="connsiteX40" fmla="*/ 2835649 w 3148171"/>
                  <a:gd name="connsiteY40" fmla="*/ 2552700 h 3147261"/>
                  <a:gd name="connsiteX41" fmla="*/ 2759449 w 3148171"/>
                  <a:gd name="connsiteY41" fmla="*/ 2636520 h 3147261"/>
                  <a:gd name="connsiteX42" fmla="*/ 2706109 w 3148171"/>
                  <a:gd name="connsiteY42" fmla="*/ 2667000 h 3147261"/>
                  <a:gd name="connsiteX43" fmla="*/ 2302249 w 3148171"/>
                  <a:gd name="connsiteY43" fmla="*/ 2971800 h 3147261"/>
                  <a:gd name="connsiteX44" fmla="*/ 2195569 w 3148171"/>
                  <a:gd name="connsiteY44" fmla="*/ 3025140 h 3147261"/>
                  <a:gd name="connsiteX45" fmla="*/ 2096509 w 3148171"/>
                  <a:gd name="connsiteY45" fmla="*/ 3055620 h 3147261"/>
                  <a:gd name="connsiteX46" fmla="*/ 1913629 w 3148171"/>
                  <a:gd name="connsiteY46" fmla="*/ 3108960 h 3147261"/>
                  <a:gd name="connsiteX47" fmla="*/ 1799329 w 3148171"/>
                  <a:gd name="connsiteY47" fmla="*/ 3147060 h 3147261"/>
                  <a:gd name="connsiteX48" fmla="*/ 1334509 w 3148171"/>
                  <a:gd name="connsiteY48" fmla="*/ 3108960 h 3147261"/>
                  <a:gd name="connsiteX49" fmla="*/ 793489 w 3148171"/>
                  <a:gd name="connsiteY49" fmla="*/ 2933700 h 3147261"/>
                  <a:gd name="connsiteX50" fmla="*/ 420109 w 3148171"/>
                  <a:gd name="connsiteY50" fmla="*/ 2644140 h 3147261"/>
                  <a:gd name="connsiteX51" fmla="*/ 321049 w 3148171"/>
                  <a:gd name="connsiteY51" fmla="*/ 2484120 h 3147261"/>
                  <a:gd name="connsiteX52" fmla="*/ 298189 w 3148171"/>
                  <a:gd name="connsiteY52" fmla="*/ 2430780 h 3147261"/>
                  <a:gd name="connsiteX53" fmla="*/ 275329 w 3148171"/>
                  <a:gd name="connsiteY53" fmla="*/ 2377440 h 3147261"/>
                  <a:gd name="connsiteX54" fmla="*/ 229609 w 3148171"/>
                  <a:gd name="connsiteY54" fmla="*/ 2316480 h 3147261"/>
                  <a:gd name="connsiteX55" fmla="*/ 206749 w 3148171"/>
                  <a:gd name="connsiteY55" fmla="*/ 2293620 h 3147261"/>
                  <a:gd name="connsiteX56" fmla="*/ 176269 w 3148171"/>
                  <a:gd name="connsiteY56" fmla="*/ 2240280 h 3147261"/>
                  <a:gd name="connsiteX57" fmla="*/ 161029 w 3148171"/>
                  <a:gd name="connsiteY57" fmla="*/ 2202180 h 3147261"/>
                  <a:gd name="connsiteX58" fmla="*/ 145789 w 3148171"/>
                  <a:gd name="connsiteY58" fmla="*/ 2179320 h 3147261"/>
                  <a:gd name="connsiteX59" fmla="*/ 130549 w 3148171"/>
                  <a:gd name="connsiteY59" fmla="*/ 2133600 h 3147261"/>
                  <a:gd name="connsiteX60" fmla="*/ 100069 w 3148171"/>
                  <a:gd name="connsiteY60" fmla="*/ 2087880 h 3147261"/>
                  <a:gd name="connsiteX61" fmla="*/ 61969 w 3148171"/>
                  <a:gd name="connsiteY61" fmla="*/ 2026920 h 3147261"/>
                  <a:gd name="connsiteX62" fmla="*/ 54349 w 3148171"/>
                  <a:gd name="connsiteY62" fmla="*/ 2004060 h 3147261"/>
                  <a:gd name="connsiteX63" fmla="*/ 39109 w 3148171"/>
                  <a:gd name="connsiteY63" fmla="*/ 1943100 h 3147261"/>
                  <a:gd name="connsiteX64" fmla="*/ 23869 w 3148171"/>
                  <a:gd name="connsiteY64" fmla="*/ 1897380 h 3147261"/>
                  <a:gd name="connsiteX65" fmla="*/ 1009 w 3148171"/>
                  <a:gd name="connsiteY65" fmla="*/ 1562100 h 3147261"/>
                  <a:gd name="connsiteX66" fmla="*/ 54349 w 3148171"/>
                  <a:gd name="connsiteY66" fmla="*/ 1135380 h 3147261"/>
                  <a:gd name="connsiteX67" fmla="*/ 161029 w 3148171"/>
                  <a:gd name="connsiteY67" fmla="*/ 861060 h 3147261"/>
                  <a:gd name="connsiteX68" fmla="*/ 183889 w 3148171"/>
                  <a:gd name="connsiteY68" fmla="*/ 822960 h 3147261"/>
                  <a:gd name="connsiteX69" fmla="*/ 260089 w 3148171"/>
                  <a:gd name="connsiteY69" fmla="*/ 708660 h 3147261"/>
                  <a:gd name="connsiteX70" fmla="*/ 275329 w 3148171"/>
                  <a:gd name="connsiteY70" fmla="*/ 662940 h 3147261"/>
                  <a:gd name="connsiteX71" fmla="*/ 420109 w 3148171"/>
                  <a:gd name="connsiteY71" fmla="*/ 510540 h 3147261"/>
                  <a:gd name="connsiteX72" fmla="*/ 511549 w 3148171"/>
                  <a:gd name="connsiteY72" fmla="*/ 434340 h 3147261"/>
                  <a:gd name="connsiteX73" fmla="*/ 564889 w 3148171"/>
                  <a:gd name="connsiteY73" fmla="*/ 396240 h 3147261"/>
                  <a:gd name="connsiteX74" fmla="*/ 656329 w 3148171"/>
                  <a:gd name="connsiteY74" fmla="*/ 312420 h 3147261"/>
                  <a:gd name="connsiteX75" fmla="*/ 869689 w 3148171"/>
                  <a:gd name="connsiteY75" fmla="*/ 175260 h 3147261"/>
                  <a:gd name="connsiteX76" fmla="*/ 976369 w 3148171"/>
                  <a:gd name="connsiteY76" fmla="*/ 137160 h 3147261"/>
                  <a:gd name="connsiteX77" fmla="*/ 1105909 w 3148171"/>
                  <a:gd name="connsiteY77" fmla="*/ 76200 h 3147261"/>
                  <a:gd name="connsiteX78" fmla="*/ 1243069 w 3148171"/>
                  <a:gd name="connsiteY78" fmla="*/ 38100 h 3147261"/>
                  <a:gd name="connsiteX79" fmla="*/ 1265929 w 3148171"/>
                  <a:gd name="connsiteY79" fmla="*/ 30480 h 3147261"/>
                  <a:gd name="connsiteX80" fmla="*/ 1387849 w 3148171"/>
                  <a:gd name="connsiteY80" fmla="*/ 15240 h 3147261"/>
                  <a:gd name="connsiteX81" fmla="*/ 1464049 w 3148171"/>
                  <a:gd name="connsiteY81" fmla="*/ 0 h 3147261"/>
                  <a:gd name="connsiteX82" fmla="*/ 1745989 w 3148171"/>
                  <a:gd name="connsiteY82" fmla="*/ 0 h 3147261"/>
                  <a:gd name="connsiteX83" fmla="*/ 2165089 w 3148171"/>
                  <a:gd name="connsiteY83" fmla="*/ 99060 h 3147261"/>
                  <a:gd name="connsiteX84" fmla="*/ 2340349 w 3148171"/>
                  <a:gd name="connsiteY84" fmla="*/ 182880 h 3147261"/>
                  <a:gd name="connsiteX85" fmla="*/ 2370829 w 3148171"/>
                  <a:gd name="connsiteY85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32829 w 3148171"/>
                  <a:gd name="connsiteY17" fmla="*/ 1417320 h 3147261"/>
                  <a:gd name="connsiteX18" fmla="*/ 3140449 w 3148171"/>
                  <a:gd name="connsiteY18" fmla="*/ 1485900 h 3147261"/>
                  <a:gd name="connsiteX19" fmla="*/ 3148069 w 3148171"/>
                  <a:gd name="connsiteY19" fmla="*/ 1516380 h 3147261"/>
                  <a:gd name="connsiteX20" fmla="*/ 3132829 w 3148171"/>
                  <a:gd name="connsiteY20" fmla="*/ 1691640 h 3147261"/>
                  <a:gd name="connsiteX21" fmla="*/ 3125209 w 3148171"/>
                  <a:gd name="connsiteY21" fmla="*/ 1767840 h 3147261"/>
                  <a:gd name="connsiteX22" fmla="*/ 3109969 w 3148171"/>
                  <a:gd name="connsiteY22" fmla="*/ 1836420 h 3147261"/>
                  <a:gd name="connsiteX23" fmla="*/ 3087109 w 3148171"/>
                  <a:gd name="connsiteY23" fmla="*/ 1905000 h 3147261"/>
                  <a:gd name="connsiteX24" fmla="*/ 3079489 w 3148171"/>
                  <a:gd name="connsiteY24" fmla="*/ 1935480 h 3147261"/>
                  <a:gd name="connsiteX25" fmla="*/ 3071869 w 3148171"/>
                  <a:gd name="connsiteY25" fmla="*/ 1958340 h 3147261"/>
                  <a:gd name="connsiteX26" fmla="*/ 3056629 w 3148171"/>
                  <a:gd name="connsiteY26" fmla="*/ 2019300 h 3147261"/>
                  <a:gd name="connsiteX27" fmla="*/ 3041389 w 3148171"/>
                  <a:gd name="connsiteY27" fmla="*/ 2057400 h 3147261"/>
                  <a:gd name="connsiteX28" fmla="*/ 3033769 w 3148171"/>
                  <a:gd name="connsiteY28" fmla="*/ 2080260 h 3147261"/>
                  <a:gd name="connsiteX29" fmla="*/ 3018529 w 3148171"/>
                  <a:gd name="connsiteY29" fmla="*/ 2118360 h 3147261"/>
                  <a:gd name="connsiteX30" fmla="*/ 2995669 w 3148171"/>
                  <a:gd name="connsiteY30" fmla="*/ 2186940 h 3147261"/>
                  <a:gd name="connsiteX31" fmla="*/ 2988049 w 3148171"/>
                  <a:gd name="connsiteY31" fmla="*/ 2225040 h 3147261"/>
                  <a:gd name="connsiteX32" fmla="*/ 2972809 w 3148171"/>
                  <a:gd name="connsiteY32" fmla="*/ 2270760 h 3147261"/>
                  <a:gd name="connsiteX33" fmla="*/ 2965189 w 3148171"/>
                  <a:gd name="connsiteY33" fmla="*/ 2308860 h 3147261"/>
                  <a:gd name="connsiteX34" fmla="*/ 2949949 w 3148171"/>
                  <a:gd name="connsiteY34" fmla="*/ 2331720 h 3147261"/>
                  <a:gd name="connsiteX35" fmla="*/ 2927089 w 3148171"/>
                  <a:gd name="connsiteY35" fmla="*/ 2385060 h 3147261"/>
                  <a:gd name="connsiteX36" fmla="*/ 2904229 w 3148171"/>
                  <a:gd name="connsiteY36" fmla="*/ 2407920 h 3147261"/>
                  <a:gd name="connsiteX37" fmla="*/ 2858509 w 3148171"/>
                  <a:gd name="connsiteY37" fmla="*/ 2499360 h 3147261"/>
                  <a:gd name="connsiteX38" fmla="*/ 2843269 w 3148171"/>
                  <a:gd name="connsiteY38" fmla="*/ 2529840 h 3147261"/>
                  <a:gd name="connsiteX39" fmla="*/ 2835649 w 3148171"/>
                  <a:gd name="connsiteY39" fmla="*/ 2552700 h 3147261"/>
                  <a:gd name="connsiteX40" fmla="*/ 2759449 w 3148171"/>
                  <a:gd name="connsiteY40" fmla="*/ 2636520 h 3147261"/>
                  <a:gd name="connsiteX41" fmla="*/ 2706109 w 3148171"/>
                  <a:gd name="connsiteY41" fmla="*/ 2667000 h 3147261"/>
                  <a:gd name="connsiteX42" fmla="*/ 2302249 w 3148171"/>
                  <a:gd name="connsiteY42" fmla="*/ 2971800 h 3147261"/>
                  <a:gd name="connsiteX43" fmla="*/ 2195569 w 3148171"/>
                  <a:gd name="connsiteY43" fmla="*/ 3025140 h 3147261"/>
                  <a:gd name="connsiteX44" fmla="*/ 2096509 w 3148171"/>
                  <a:gd name="connsiteY44" fmla="*/ 3055620 h 3147261"/>
                  <a:gd name="connsiteX45" fmla="*/ 1913629 w 3148171"/>
                  <a:gd name="connsiteY45" fmla="*/ 3108960 h 3147261"/>
                  <a:gd name="connsiteX46" fmla="*/ 1799329 w 3148171"/>
                  <a:gd name="connsiteY46" fmla="*/ 3147060 h 3147261"/>
                  <a:gd name="connsiteX47" fmla="*/ 1334509 w 3148171"/>
                  <a:gd name="connsiteY47" fmla="*/ 3108960 h 3147261"/>
                  <a:gd name="connsiteX48" fmla="*/ 793489 w 3148171"/>
                  <a:gd name="connsiteY48" fmla="*/ 2933700 h 3147261"/>
                  <a:gd name="connsiteX49" fmla="*/ 420109 w 3148171"/>
                  <a:gd name="connsiteY49" fmla="*/ 2644140 h 3147261"/>
                  <a:gd name="connsiteX50" fmla="*/ 321049 w 3148171"/>
                  <a:gd name="connsiteY50" fmla="*/ 2484120 h 3147261"/>
                  <a:gd name="connsiteX51" fmla="*/ 298189 w 3148171"/>
                  <a:gd name="connsiteY51" fmla="*/ 2430780 h 3147261"/>
                  <a:gd name="connsiteX52" fmla="*/ 275329 w 3148171"/>
                  <a:gd name="connsiteY52" fmla="*/ 2377440 h 3147261"/>
                  <a:gd name="connsiteX53" fmla="*/ 229609 w 3148171"/>
                  <a:gd name="connsiteY53" fmla="*/ 2316480 h 3147261"/>
                  <a:gd name="connsiteX54" fmla="*/ 206749 w 3148171"/>
                  <a:gd name="connsiteY54" fmla="*/ 2293620 h 3147261"/>
                  <a:gd name="connsiteX55" fmla="*/ 176269 w 3148171"/>
                  <a:gd name="connsiteY55" fmla="*/ 2240280 h 3147261"/>
                  <a:gd name="connsiteX56" fmla="*/ 161029 w 3148171"/>
                  <a:gd name="connsiteY56" fmla="*/ 2202180 h 3147261"/>
                  <a:gd name="connsiteX57" fmla="*/ 145789 w 3148171"/>
                  <a:gd name="connsiteY57" fmla="*/ 2179320 h 3147261"/>
                  <a:gd name="connsiteX58" fmla="*/ 130549 w 3148171"/>
                  <a:gd name="connsiteY58" fmla="*/ 2133600 h 3147261"/>
                  <a:gd name="connsiteX59" fmla="*/ 100069 w 3148171"/>
                  <a:gd name="connsiteY59" fmla="*/ 2087880 h 3147261"/>
                  <a:gd name="connsiteX60" fmla="*/ 61969 w 3148171"/>
                  <a:gd name="connsiteY60" fmla="*/ 2026920 h 3147261"/>
                  <a:gd name="connsiteX61" fmla="*/ 54349 w 3148171"/>
                  <a:gd name="connsiteY61" fmla="*/ 2004060 h 3147261"/>
                  <a:gd name="connsiteX62" fmla="*/ 39109 w 3148171"/>
                  <a:gd name="connsiteY62" fmla="*/ 1943100 h 3147261"/>
                  <a:gd name="connsiteX63" fmla="*/ 23869 w 3148171"/>
                  <a:gd name="connsiteY63" fmla="*/ 1897380 h 3147261"/>
                  <a:gd name="connsiteX64" fmla="*/ 1009 w 3148171"/>
                  <a:gd name="connsiteY64" fmla="*/ 1562100 h 3147261"/>
                  <a:gd name="connsiteX65" fmla="*/ 54349 w 3148171"/>
                  <a:gd name="connsiteY65" fmla="*/ 1135380 h 3147261"/>
                  <a:gd name="connsiteX66" fmla="*/ 161029 w 3148171"/>
                  <a:gd name="connsiteY66" fmla="*/ 861060 h 3147261"/>
                  <a:gd name="connsiteX67" fmla="*/ 183889 w 3148171"/>
                  <a:gd name="connsiteY67" fmla="*/ 822960 h 3147261"/>
                  <a:gd name="connsiteX68" fmla="*/ 260089 w 3148171"/>
                  <a:gd name="connsiteY68" fmla="*/ 708660 h 3147261"/>
                  <a:gd name="connsiteX69" fmla="*/ 275329 w 3148171"/>
                  <a:gd name="connsiteY69" fmla="*/ 662940 h 3147261"/>
                  <a:gd name="connsiteX70" fmla="*/ 420109 w 3148171"/>
                  <a:gd name="connsiteY70" fmla="*/ 510540 h 3147261"/>
                  <a:gd name="connsiteX71" fmla="*/ 511549 w 3148171"/>
                  <a:gd name="connsiteY71" fmla="*/ 434340 h 3147261"/>
                  <a:gd name="connsiteX72" fmla="*/ 564889 w 3148171"/>
                  <a:gd name="connsiteY72" fmla="*/ 396240 h 3147261"/>
                  <a:gd name="connsiteX73" fmla="*/ 656329 w 3148171"/>
                  <a:gd name="connsiteY73" fmla="*/ 312420 h 3147261"/>
                  <a:gd name="connsiteX74" fmla="*/ 869689 w 3148171"/>
                  <a:gd name="connsiteY74" fmla="*/ 175260 h 3147261"/>
                  <a:gd name="connsiteX75" fmla="*/ 976369 w 3148171"/>
                  <a:gd name="connsiteY75" fmla="*/ 137160 h 3147261"/>
                  <a:gd name="connsiteX76" fmla="*/ 1105909 w 3148171"/>
                  <a:gd name="connsiteY76" fmla="*/ 76200 h 3147261"/>
                  <a:gd name="connsiteX77" fmla="*/ 1243069 w 3148171"/>
                  <a:gd name="connsiteY77" fmla="*/ 38100 h 3147261"/>
                  <a:gd name="connsiteX78" fmla="*/ 1265929 w 3148171"/>
                  <a:gd name="connsiteY78" fmla="*/ 30480 h 3147261"/>
                  <a:gd name="connsiteX79" fmla="*/ 1387849 w 3148171"/>
                  <a:gd name="connsiteY79" fmla="*/ 15240 h 3147261"/>
                  <a:gd name="connsiteX80" fmla="*/ 1464049 w 3148171"/>
                  <a:gd name="connsiteY80" fmla="*/ 0 h 3147261"/>
                  <a:gd name="connsiteX81" fmla="*/ 1745989 w 3148171"/>
                  <a:gd name="connsiteY81" fmla="*/ 0 h 3147261"/>
                  <a:gd name="connsiteX82" fmla="*/ 2165089 w 3148171"/>
                  <a:gd name="connsiteY82" fmla="*/ 99060 h 3147261"/>
                  <a:gd name="connsiteX83" fmla="*/ 2340349 w 3148171"/>
                  <a:gd name="connsiteY83" fmla="*/ 182880 h 3147261"/>
                  <a:gd name="connsiteX84" fmla="*/ 2370829 w 3148171"/>
                  <a:gd name="connsiteY8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40449 w 3148171"/>
                  <a:gd name="connsiteY17" fmla="*/ 1485900 h 3147261"/>
                  <a:gd name="connsiteX18" fmla="*/ 3148069 w 3148171"/>
                  <a:gd name="connsiteY18" fmla="*/ 1516380 h 3147261"/>
                  <a:gd name="connsiteX19" fmla="*/ 3132829 w 3148171"/>
                  <a:gd name="connsiteY19" fmla="*/ 1691640 h 3147261"/>
                  <a:gd name="connsiteX20" fmla="*/ 3125209 w 3148171"/>
                  <a:gd name="connsiteY20" fmla="*/ 1767840 h 3147261"/>
                  <a:gd name="connsiteX21" fmla="*/ 3109969 w 3148171"/>
                  <a:gd name="connsiteY21" fmla="*/ 1836420 h 3147261"/>
                  <a:gd name="connsiteX22" fmla="*/ 3087109 w 3148171"/>
                  <a:gd name="connsiteY22" fmla="*/ 1905000 h 3147261"/>
                  <a:gd name="connsiteX23" fmla="*/ 3079489 w 3148171"/>
                  <a:gd name="connsiteY23" fmla="*/ 1935480 h 3147261"/>
                  <a:gd name="connsiteX24" fmla="*/ 3071869 w 3148171"/>
                  <a:gd name="connsiteY24" fmla="*/ 1958340 h 3147261"/>
                  <a:gd name="connsiteX25" fmla="*/ 3056629 w 3148171"/>
                  <a:gd name="connsiteY25" fmla="*/ 2019300 h 3147261"/>
                  <a:gd name="connsiteX26" fmla="*/ 3041389 w 3148171"/>
                  <a:gd name="connsiteY26" fmla="*/ 2057400 h 3147261"/>
                  <a:gd name="connsiteX27" fmla="*/ 3033769 w 3148171"/>
                  <a:gd name="connsiteY27" fmla="*/ 2080260 h 3147261"/>
                  <a:gd name="connsiteX28" fmla="*/ 3018529 w 3148171"/>
                  <a:gd name="connsiteY28" fmla="*/ 2118360 h 3147261"/>
                  <a:gd name="connsiteX29" fmla="*/ 2995669 w 3148171"/>
                  <a:gd name="connsiteY29" fmla="*/ 2186940 h 3147261"/>
                  <a:gd name="connsiteX30" fmla="*/ 2988049 w 3148171"/>
                  <a:gd name="connsiteY30" fmla="*/ 2225040 h 3147261"/>
                  <a:gd name="connsiteX31" fmla="*/ 2972809 w 3148171"/>
                  <a:gd name="connsiteY31" fmla="*/ 2270760 h 3147261"/>
                  <a:gd name="connsiteX32" fmla="*/ 2965189 w 3148171"/>
                  <a:gd name="connsiteY32" fmla="*/ 2308860 h 3147261"/>
                  <a:gd name="connsiteX33" fmla="*/ 2949949 w 3148171"/>
                  <a:gd name="connsiteY33" fmla="*/ 2331720 h 3147261"/>
                  <a:gd name="connsiteX34" fmla="*/ 2927089 w 3148171"/>
                  <a:gd name="connsiteY34" fmla="*/ 2385060 h 3147261"/>
                  <a:gd name="connsiteX35" fmla="*/ 2904229 w 3148171"/>
                  <a:gd name="connsiteY35" fmla="*/ 2407920 h 3147261"/>
                  <a:gd name="connsiteX36" fmla="*/ 2858509 w 3148171"/>
                  <a:gd name="connsiteY36" fmla="*/ 2499360 h 3147261"/>
                  <a:gd name="connsiteX37" fmla="*/ 2843269 w 3148171"/>
                  <a:gd name="connsiteY37" fmla="*/ 2529840 h 3147261"/>
                  <a:gd name="connsiteX38" fmla="*/ 2835649 w 3148171"/>
                  <a:gd name="connsiteY38" fmla="*/ 2552700 h 3147261"/>
                  <a:gd name="connsiteX39" fmla="*/ 2759449 w 3148171"/>
                  <a:gd name="connsiteY39" fmla="*/ 2636520 h 3147261"/>
                  <a:gd name="connsiteX40" fmla="*/ 2706109 w 3148171"/>
                  <a:gd name="connsiteY40" fmla="*/ 2667000 h 3147261"/>
                  <a:gd name="connsiteX41" fmla="*/ 2302249 w 3148171"/>
                  <a:gd name="connsiteY41" fmla="*/ 2971800 h 3147261"/>
                  <a:gd name="connsiteX42" fmla="*/ 2195569 w 3148171"/>
                  <a:gd name="connsiteY42" fmla="*/ 3025140 h 3147261"/>
                  <a:gd name="connsiteX43" fmla="*/ 2096509 w 3148171"/>
                  <a:gd name="connsiteY43" fmla="*/ 3055620 h 3147261"/>
                  <a:gd name="connsiteX44" fmla="*/ 1913629 w 3148171"/>
                  <a:gd name="connsiteY44" fmla="*/ 3108960 h 3147261"/>
                  <a:gd name="connsiteX45" fmla="*/ 1799329 w 3148171"/>
                  <a:gd name="connsiteY45" fmla="*/ 3147060 h 3147261"/>
                  <a:gd name="connsiteX46" fmla="*/ 1334509 w 3148171"/>
                  <a:gd name="connsiteY46" fmla="*/ 3108960 h 3147261"/>
                  <a:gd name="connsiteX47" fmla="*/ 793489 w 3148171"/>
                  <a:gd name="connsiteY47" fmla="*/ 2933700 h 3147261"/>
                  <a:gd name="connsiteX48" fmla="*/ 420109 w 3148171"/>
                  <a:gd name="connsiteY48" fmla="*/ 2644140 h 3147261"/>
                  <a:gd name="connsiteX49" fmla="*/ 321049 w 3148171"/>
                  <a:gd name="connsiteY49" fmla="*/ 2484120 h 3147261"/>
                  <a:gd name="connsiteX50" fmla="*/ 298189 w 3148171"/>
                  <a:gd name="connsiteY50" fmla="*/ 2430780 h 3147261"/>
                  <a:gd name="connsiteX51" fmla="*/ 275329 w 3148171"/>
                  <a:gd name="connsiteY51" fmla="*/ 2377440 h 3147261"/>
                  <a:gd name="connsiteX52" fmla="*/ 229609 w 3148171"/>
                  <a:gd name="connsiteY52" fmla="*/ 2316480 h 3147261"/>
                  <a:gd name="connsiteX53" fmla="*/ 206749 w 3148171"/>
                  <a:gd name="connsiteY53" fmla="*/ 2293620 h 3147261"/>
                  <a:gd name="connsiteX54" fmla="*/ 176269 w 3148171"/>
                  <a:gd name="connsiteY54" fmla="*/ 2240280 h 3147261"/>
                  <a:gd name="connsiteX55" fmla="*/ 161029 w 3148171"/>
                  <a:gd name="connsiteY55" fmla="*/ 2202180 h 3147261"/>
                  <a:gd name="connsiteX56" fmla="*/ 145789 w 3148171"/>
                  <a:gd name="connsiteY56" fmla="*/ 2179320 h 3147261"/>
                  <a:gd name="connsiteX57" fmla="*/ 130549 w 3148171"/>
                  <a:gd name="connsiteY57" fmla="*/ 2133600 h 3147261"/>
                  <a:gd name="connsiteX58" fmla="*/ 100069 w 3148171"/>
                  <a:gd name="connsiteY58" fmla="*/ 2087880 h 3147261"/>
                  <a:gd name="connsiteX59" fmla="*/ 61969 w 3148171"/>
                  <a:gd name="connsiteY59" fmla="*/ 2026920 h 3147261"/>
                  <a:gd name="connsiteX60" fmla="*/ 54349 w 3148171"/>
                  <a:gd name="connsiteY60" fmla="*/ 2004060 h 3147261"/>
                  <a:gd name="connsiteX61" fmla="*/ 39109 w 3148171"/>
                  <a:gd name="connsiteY61" fmla="*/ 1943100 h 3147261"/>
                  <a:gd name="connsiteX62" fmla="*/ 23869 w 3148171"/>
                  <a:gd name="connsiteY62" fmla="*/ 1897380 h 3147261"/>
                  <a:gd name="connsiteX63" fmla="*/ 1009 w 3148171"/>
                  <a:gd name="connsiteY63" fmla="*/ 1562100 h 3147261"/>
                  <a:gd name="connsiteX64" fmla="*/ 54349 w 3148171"/>
                  <a:gd name="connsiteY64" fmla="*/ 1135380 h 3147261"/>
                  <a:gd name="connsiteX65" fmla="*/ 161029 w 3148171"/>
                  <a:gd name="connsiteY65" fmla="*/ 861060 h 3147261"/>
                  <a:gd name="connsiteX66" fmla="*/ 183889 w 3148171"/>
                  <a:gd name="connsiteY66" fmla="*/ 822960 h 3147261"/>
                  <a:gd name="connsiteX67" fmla="*/ 260089 w 3148171"/>
                  <a:gd name="connsiteY67" fmla="*/ 708660 h 3147261"/>
                  <a:gd name="connsiteX68" fmla="*/ 275329 w 3148171"/>
                  <a:gd name="connsiteY68" fmla="*/ 662940 h 3147261"/>
                  <a:gd name="connsiteX69" fmla="*/ 420109 w 3148171"/>
                  <a:gd name="connsiteY69" fmla="*/ 510540 h 3147261"/>
                  <a:gd name="connsiteX70" fmla="*/ 511549 w 3148171"/>
                  <a:gd name="connsiteY70" fmla="*/ 434340 h 3147261"/>
                  <a:gd name="connsiteX71" fmla="*/ 564889 w 3148171"/>
                  <a:gd name="connsiteY71" fmla="*/ 396240 h 3147261"/>
                  <a:gd name="connsiteX72" fmla="*/ 656329 w 3148171"/>
                  <a:gd name="connsiteY72" fmla="*/ 312420 h 3147261"/>
                  <a:gd name="connsiteX73" fmla="*/ 869689 w 3148171"/>
                  <a:gd name="connsiteY73" fmla="*/ 175260 h 3147261"/>
                  <a:gd name="connsiteX74" fmla="*/ 976369 w 3148171"/>
                  <a:gd name="connsiteY74" fmla="*/ 137160 h 3147261"/>
                  <a:gd name="connsiteX75" fmla="*/ 1105909 w 3148171"/>
                  <a:gd name="connsiteY75" fmla="*/ 76200 h 3147261"/>
                  <a:gd name="connsiteX76" fmla="*/ 1243069 w 3148171"/>
                  <a:gd name="connsiteY76" fmla="*/ 38100 h 3147261"/>
                  <a:gd name="connsiteX77" fmla="*/ 1265929 w 3148171"/>
                  <a:gd name="connsiteY77" fmla="*/ 30480 h 3147261"/>
                  <a:gd name="connsiteX78" fmla="*/ 1387849 w 3148171"/>
                  <a:gd name="connsiteY78" fmla="*/ 15240 h 3147261"/>
                  <a:gd name="connsiteX79" fmla="*/ 1464049 w 3148171"/>
                  <a:gd name="connsiteY79" fmla="*/ 0 h 3147261"/>
                  <a:gd name="connsiteX80" fmla="*/ 1745989 w 3148171"/>
                  <a:gd name="connsiteY80" fmla="*/ 0 h 3147261"/>
                  <a:gd name="connsiteX81" fmla="*/ 2165089 w 3148171"/>
                  <a:gd name="connsiteY81" fmla="*/ 99060 h 3147261"/>
                  <a:gd name="connsiteX82" fmla="*/ 2340349 w 3148171"/>
                  <a:gd name="connsiteY82" fmla="*/ 182880 h 3147261"/>
                  <a:gd name="connsiteX83" fmla="*/ 2370829 w 3148171"/>
                  <a:gd name="connsiteY8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71869 w 3140960"/>
                  <a:gd name="connsiteY23" fmla="*/ 1958340 h 3147261"/>
                  <a:gd name="connsiteX24" fmla="*/ 3056629 w 3140960"/>
                  <a:gd name="connsiteY24" fmla="*/ 2019300 h 3147261"/>
                  <a:gd name="connsiteX25" fmla="*/ 3041389 w 3140960"/>
                  <a:gd name="connsiteY25" fmla="*/ 2057400 h 3147261"/>
                  <a:gd name="connsiteX26" fmla="*/ 3033769 w 3140960"/>
                  <a:gd name="connsiteY26" fmla="*/ 2080260 h 3147261"/>
                  <a:gd name="connsiteX27" fmla="*/ 3018529 w 3140960"/>
                  <a:gd name="connsiteY27" fmla="*/ 2118360 h 3147261"/>
                  <a:gd name="connsiteX28" fmla="*/ 2995669 w 3140960"/>
                  <a:gd name="connsiteY28" fmla="*/ 2186940 h 3147261"/>
                  <a:gd name="connsiteX29" fmla="*/ 2988049 w 3140960"/>
                  <a:gd name="connsiteY29" fmla="*/ 2225040 h 3147261"/>
                  <a:gd name="connsiteX30" fmla="*/ 2972809 w 3140960"/>
                  <a:gd name="connsiteY30" fmla="*/ 2270760 h 3147261"/>
                  <a:gd name="connsiteX31" fmla="*/ 2965189 w 3140960"/>
                  <a:gd name="connsiteY31" fmla="*/ 2308860 h 3147261"/>
                  <a:gd name="connsiteX32" fmla="*/ 2949949 w 3140960"/>
                  <a:gd name="connsiteY32" fmla="*/ 2331720 h 3147261"/>
                  <a:gd name="connsiteX33" fmla="*/ 2927089 w 3140960"/>
                  <a:gd name="connsiteY33" fmla="*/ 2385060 h 3147261"/>
                  <a:gd name="connsiteX34" fmla="*/ 2904229 w 3140960"/>
                  <a:gd name="connsiteY34" fmla="*/ 2407920 h 3147261"/>
                  <a:gd name="connsiteX35" fmla="*/ 2858509 w 3140960"/>
                  <a:gd name="connsiteY35" fmla="*/ 2499360 h 3147261"/>
                  <a:gd name="connsiteX36" fmla="*/ 2843269 w 3140960"/>
                  <a:gd name="connsiteY36" fmla="*/ 2529840 h 3147261"/>
                  <a:gd name="connsiteX37" fmla="*/ 2835649 w 3140960"/>
                  <a:gd name="connsiteY37" fmla="*/ 2552700 h 3147261"/>
                  <a:gd name="connsiteX38" fmla="*/ 2759449 w 3140960"/>
                  <a:gd name="connsiteY38" fmla="*/ 2636520 h 3147261"/>
                  <a:gd name="connsiteX39" fmla="*/ 2706109 w 3140960"/>
                  <a:gd name="connsiteY39" fmla="*/ 2667000 h 3147261"/>
                  <a:gd name="connsiteX40" fmla="*/ 2302249 w 3140960"/>
                  <a:gd name="connsiteY40" fmla="*/ 2971800 h 3147261"/>
                  <a:gd name="connsiteX41" fmla="*/ 2195569 w 3140960"/>
                  <a:gd name="connsiteY41" fmla="*/ 3025140 h 3147261"/>
                  <a:gd name="connsiteX42" fmla="*/ 2096509 w 3140960"/>
                  <a:gd name="connsiteY42" fmla="*/ 3055620 h 3147261"/>
                  <a:gd name="connsiteX43" fmla="*/ 1913629 w 3140960"/>
                  <a:gd name="connsiteY43" fmla="*/ 3108960 h 3147261"/>
                  <a:gd name="connsiteX44" fmla="*/ 1799329 w 3140960"/>
                  <a:gd name="connsiteY44" fmla="*/ 3147060 h 3147261"/>
                  <a:gd name="connsiteX45" fmla="*/ 1334509 w 3140960"/>
                  <a:gd name="connsiteY45" fmla="*/ 3108960 h 3147261"/>
                  <a:gd name="connsiteX46" fmla="*/ 793489 w 3140960"/>
                  <a:gd name="connsiteY46" fmla="*/ 2933700 h 3147261"/>
                  <a:gd name="connsiteX47" fmla="*/ 420109 w 3140960"/>
                  <a:gd name="connsiteY47" fmla="*/ 2644140 h 3147261"/>
                  <a:gd name="connsiteX48" fmla="*/ 321049 w 3140960"/>
                  <a:gd name="connsiteY48" fmla="*/ 2484120 h 3147261"/>
                  <a:gd name="connsiteX49" fmla="*/ 298189 w 3140960"/>
                  <a:gd name="connsiteY49" fmla="*/ 2430780 h 3147261"/>
                  <a:gd name="connsiteX50" fmla="*/ 275329 w 3140960"/>
                  <a:gd name="connsiteY50" fmla="*/ 2377440 h 3147261"/>
                  <a:gd name="connsiteX51" fmla="*/ 229609 w 3140960"/>
                  <a:gd name="connsiteY51" fmla="*/ 2316480 h 3147261"/>
                  <a:gd name="connsiteX52" fmla="*/ 206749 w 3140960"/>
                  <a:gd name="connsiteY52" fmla="*/ 2293620 h 3147261"/>
                  <a:gd name="connsiteX53" fmla="*/ 176269 w 3140960"/>
                  <a:gd name="connsiteY53" fmla="*/ 2240280 h 3147261"/>
                  <a:gd name="connsiteX54" fmla="*/ 161029 w 3140960"/>
                  <a:gd name="connsiteY54" fmla="*/ 2202180 h 3147261"/>
                  <a:gd name="connsiteX55" fmla="*/ 145789 w 3140960"/>
                  <a:gd name="connsiteY55" fmla="*/ 2179320 h 3147261"/>
                  <a:gd name="connsiteX56" fmla="*/ 130549 w 3140960"/>
                  <a:gd name="connsiteY56" fmla="*/ 2133600 h 3147261"/>
                  <a:gd name="connsiteX57" fmla="*/ 100069 w 3140960"/>
                  <a:gd name="connsiteY57" fmla="*/ 2087880 h 3147261"/>
                  <a:gd name="connsiteX58" fmla="*/ 61969 w 3140960"/>
                  <a:gd name="connsiteY58" fmla="*/ 2026920 h 3147261"/>
                  <a:gd name="connsiteX59" fmla="*/ 54349 w 3140960"/>
                  <a:gd name="connsiteY59" fmla="*/ 2004060 h 3147261"/>
                  <a:gd name="connsiteX60" fmla="*/ 39109 w 3140960"/>
                  <a:gd name="connsiteY60" fmla="*/ 1943100 h 3147261"/>
                  <a:gd name="connsiteX61" fmla="*/ 23869 w 3140960"/>
                  <a:gd name="connsiteY61" fmla="*/ 1897380 h 3147261"/>
                  <a:gd name="connsiteX62" fmla="*/ 1009 w 3140960"/>
                  <a:gd name="connsiteY62" fmla="*/ 1562100 h 3147261"/>
                  <a:gd name="connsiteX63" fmla="*/ 54349 w 3140960"/>
                  <a:gd name="connsiteY63" fmla="*/ 1135380 h 3147261"/>
                  <a:gd name="connsiteX64" fmla="*/ 161029 w 3140960"/>
                  <a:gd name="connsiteY64" fmla="*/ 861060 h 3147261"/>
                  <a:gd name="connsiteX65" fmla="*/ 183889 w 3140960"/>
                  <a:gd name="connsiteY65" fmla="*/ 822960 h 3147261"/>
                  <a:gd name="connsiteX66" fmla="*/ 260089 w 3140960"/>
                  <a:gd name="connsiteY66" fmla="*/ 708660 h 3147261"/>
                  <a:gd name="connsiteX67" fmla="*/ 275329 w 3140960"/>
                  <a:gd name="connsiteY67" fmla="*/ 662940 h 3147261"/>
                  <a:gd name="connsiteX68" fmla="*/ 420109 w 3140960"/>
                  <a:gd name="connsiteY68" fmla="*/ 510540 h 3147261"/>
                  <a:gd name="connsiteX69" fmla="*/ 511549 w 3140960"/>
                  <a:gd name="connsiteY69" fmla="*/ 434340 h 3147261"/>
                  <a:gd name="connsiteX70" fmla="*/ 564889 w 3140960"/>
                  <a:gd name="connsiteY70" fmla="*/ 396240 h 3147261"/>
                  <a:gd name="connsiteX71" fmla="*/ 656329 w 3140960"/>
                  <a:gd name="connsiteY71" fmla="*/ 312420 h 3147261"/>
                  <a:gd name="connsiteX72" fmla="*/ 869689 w 3140960"/>
                  <a:gd name="connsiteY72" fmla="*/ 175260 h 3147261"/>
                  <a:gd name="connsiteX73" fmla="*/ 976369 w 3140960"/>
                  <a:gd name="connsiteY73" fmla="*/ 137160 h 3147261"/>
                  <a:gd name="connsiteX74" fmla="*/ 1105909 w 3140960"/>
                  <a:gd name="connsiteY74" fmla="*/ 76200 h 3147261"/>
                  <a:gd name="connsiteX75" fmla="*/ 1243069 w 3140960"/>
                  <a:gd name="connsiteY75" fmla="*/ 38100 h 3147261"/>
                  <a:gd name="connsiteX76" fmla="*/ 1265929 w 3140960"/>
                  <a:gd name="connsiteY76" fmla="*/ 30480 h 3147261"/>
                  <a:gd name="connsiteX77" fmla="*/ 1387849 w 3140960"/>
                  <a:gd name="connsiteY77" fmla="*/ 15240 h 3147261"/>
                  <a:gd name="connsiteX78" fmla="*/ 1464049 w 3140960"/>
                  <a:gd name="connsiteY78" fmla="*/ 0 h 3147261"/>
                  <a:gd name="connsiteX79" fmla="*/ 1745989 w 3140960"/>
                  <a:gd name="connsiteY79" fmla="*/ 0 h 3147261"/>
                  <a:gd name="connsiteX80" fmla="*/ 2165089 w 3140960"/>
                  <a:gd name="connsiteY80" fmla="*/ 99060 h 3147261"/>
                  <a:gd name="connsiteX81" fmla="*/ 2340349 w 3140960"/>
                  <a:gd name="connsiteY81" fmla="*/ 182880 h 3147261"/>
                  <a:gd name="connsiteX82" fmla="*/ 2370829 w 3140960"/>
                  <a:gd name="connsiteY8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33769 w 3140960"/>
                  <a:gd name="connsiteY25" fmla="*/ 2080260 h 3147261"/>
                  <a:gd name="connsiteX26" fmla="*/ 3018529 w 3140960"/>
                  <a:gd name="connsiteY26" fmla="*/ 2118360 h 3147261"/>
                  <a:gd name="connsiteX27" fmla="*/ 2995669 w 3140960"/>
                  <a:gd name="connsiteY27" fmla="*/ 2186940 h 3147261"/>
                  <a:gd name="connsiteX28" fmla="*/ 2988049 w 3140960"/>
                  <a:gd name="connsiteY28" fmla="*/ 2225040 h 3147261"/>
                  <a:gd name="connsiteX29" fmla="*/ 2972809 w 3140960"/>
                  <a:gd name="connsiteY29" fmla="*/ 2270760 h 3147261"/>
                  <a:gd name="connsiteX30" fmla="*/ 2965189 w 3140960"/>
                  <a:gd name="connsiteY30" fmla="*/ 2308860 h 3147261"/>
                  <a:gd name="connsiteX31" fmla="*/ 2949949 w 3140960"/>
                  <a:gd name="connsiteY31" fmla="*/ 2331720 h 3147261"/>
                  <a:gd name="connsiteX32" fmla="*/ 2927089 w 3140960"/>
                  <a:gd name="connsiteY32" fmla="*/ 2385060 h 3147261"/>
                  <a:gd name="connsiteX33" fmla="*/ 2904229 w 3140960"/>
                  <a:gd name="connsiteY33" fmla="*/ 2407920 h 3147261"/>
                  <a:gd name="connsiteX34" fmla="*/ 2858509 w 3140960"/>
                  <a:gd name="connsiteY34" fmla="*/ 2499360 h 3147261"/>
                  <a:gd name="connsiteX35" fmla="*/ 2843269 w 3140960"/>
                  <a:gd name="connsiteY35" fmla="*/ 2529840 h 3147261"/>
                  <a:gd name="connsiteX36" fmla="*/ 2835649 w 3140960"/>
                  <a:gd name="connsiteY36" fmla="*/ 2552700 h 3147261"/>
                  <a:gd name="connsiteX37" fmla="*/ 2759449 w 3140960"/>
                  <a:gd name="connsiteY37" fmla="*/ 2636520 h 3147261"/>
                  <a:gd name="connsiteX38" fmla="*/ 2706109 w 3140960"/>
                  <a:gd name="connsiteY38" fmla="*/ 2667000 h 3147261"/>
                  <a:gd name="connsiteX39" fmla="*/ 2302249 w 3140960"/>
                  <a:gd name="connsiteY39" fmla="*/ 2971800 h 3147261"/>
                  <a:gd name="connsiteX40" fmla="*/ 2195569 w 3140960"/>
                  <a:gd name="connsiteY40" fmla="*/ 3025140 h 3147261"/>
                  <a:gd name="connsiteX41" fmla="*/ 2096509 w 3140960"/>
                  <a:gd name="connsiteY41" fmla="*/ 3055620 h 3147261"/>
                  <a:gd name="connsiteX42" fmla="*/ 1913629 w 3140960"/>
                  <a:gd name="connsiteY42" fmla="*/ 3108960 h 3147261"/>
                  <a:gd name="connsiteX43" fmla="*/ 1799329 w 3140960"/>
                  <a:gd name="connsiteY43" fmla="*/ 3147060 h 3147261"/>
                  <a:gd name="connsiteX44" fmla="*/ 1334509 w 3140960"/>
                  <a:gd name="connsiteY44" fmla="*/ 3108960 h 3147261"/>
                  <a:gd name="connsiteX45" fmla="*/ 793489 w 3140960"/>
                  <a:gd name="connsiteY45" fmla="*/ 2933700 h 3147261"/>
                  <a:gd name="connsiteX46" fmla="*/ 420109 w 3140960"/>
                  <a:gd name="connsiteY46" fmla="*/ 2644140 h 3147261"/>
                  <a:gd name="connsiteX47" fmla="*/ 321049 w 3140960"/>
                  <a:gd name="connsiteY47" fmla="*/ 2484120 h 3147261"/>
                  <a:gd name="connsiteX48" fmla="*/ 298189 w 3140960"/>
                  <a:gd name="connsiteY48" fmla="*/ 2430780 h 3147261"/>
                  <a:gd name="connsiteX49" fmla="*/ 275329 w 3140960"/>
                  <a:gd name="connsiteY49" fmla="*/ 2377440 h 3147261"/>
                  <a:gd name="connsiteX50" fmla="*/ 229609 w 3140960"/>
                  <a:gd name="connsiteY50" fmla="*/ 2316480 h 3147261"/>
                  <a:gd name="connsiteX51" fmla="*/ 206749 w 3140960"/>
                  <a:gd name="connsiteY51" fmla="*/ 2293620 h 3147261"/>
                  <a:gd name="connsiteX52" fmla="*/ 176269 w 3140960"/>
                  <a:gd name="connsiteY52" fmla="*/ 2240280 h 3147261"/>
                  <a:gd name="connsiteX53" fmla="*/ 161029 w 3140960"/>
                  <a:gd name="connsiteY53" fmla="*/ 2202180 h 3147261"/>
                  <a:gd name="connsiteX54" fmla="*/ 145789 w 3140960"/>
                  <a:gd name="connsiteY54" fmla="*/ 2179320 h 3147261"/>
                  <a:gd name="connsiteX55" fmla="*/ 130549 w 3140960"/>
                  <a:gd name="connsiteY55" fmla="*/ 2133600 h 3147261"/>
                  <a:gd name="connsiteX56" fmla="*/ 100069 w 3140960"/>
                  <a:gd name="connsiteY56" fmla="*/ 2087880 h 3147261"/>
                  <a:gd name="connsiteX57" fmla="*/ 61969 w 3140960"/>
                  <a:gd name="connsiteY57" fmla="*/ 2026920 h 3147261"/>
                  <a:gd name="connsiteX58" fmla="*/ 54349 w 3140960"/>
                  <a:gd name="connsiteY58" fmla="*/ 2004060 h 3147261"/>
                  <a:gd name="connsiteX59" fmla="*/ 39109 w 3140960"/>
                  <a:gd name="connsiteY59" fmla="*/ 1943100 h 3147261"/>
                  <a:gd name="connsiteX60" fmla="*/ 23869 w 3140960"/>
                  <a:gd name="connsiteY60" fmla="*/ 1897380 h 3147261"/>
                  <a:gd name="connsiteX61" fmla="*/ 1009 w 3140960"/>
                  <a:gd name="connsiteY61" fmla="*/ 1562100 h 3147261"/>
                  <a:gd name="connsiteX62" fmla="*/ 54349 w 3140960"/>
                  <a:gd name="connsiteY62" fmla="*/ 1135380 h 3147261"/>
                  <a:gd name="connsiteX63" fmla="*/ 161029 w 3140960"/>
                  <a:gd name="connsiteY63" fmla="*/ 861060 h 3147261"/>
                  <a:gd name="connsiteX64" fmla="*/ 183889 w 3140960"/>
                  <a:gd name="connsiteY64" fmla="*/ 822960 h 3147261"/>
                  <a:gd name="connsiteX65" fmla="*/ 260089 w 3140960"/>
                  <a:gd name="connsiteY65" fmla="*/ 708660 h 3147261"/>
                  <a:gd name="connsiteX66" fmla="*/ 275329 w 3140960"/>
                  <a:gd name="connsiteY66" fmla="*/ 662940 h 3147261"/>
                  <a:gd name="connsiteX67" fmla="*/ 420109 w 3140960"/>
                  <a:gd name="connsiteY67" fmla="*/ 510540 h 3147261"/>
                  <a:gd name="connsiteX68" fmla="*/ 511549 w 3140960"/>
                  <a:gd name="connsiteY68" fmla="*/ 434340 h 3147261"/>
                  <a:gd name="connsiteX69" fmla="*/ 564889 w 3140960"/>
                  <a:gd name="connsiteY69" fmla="*/ 396240 h 3147261"/>
                  <a:gd name="connsiteX70" fmla="*/ 656329 w 3140960"/>
                  <a:gd name="connsiteY70" fmla="*/ 312420 h 3147261"/>
                  <a:gd name="connsiteX71" fmla="*/ 869689 w 3140960"/>
                  <a:gd name="connsiteY71" fmla="*/ 175260 h 3147261"/>
                  <a:gd name="connsiteX72" fmla="*/ 976369 w 3140960"/>
                  <a:gd name="connsiteY72" fmla="*/ 137160 h 3147261"/>
                  <a:gd name="connsiteX73" fmla="*/ 1105909 w 3140960"/>
                  <a:gd name="connsiteY73" fmla="*/ 76200 h 3147261"/>
                  <a:gd name="connsiteX74" fmla="*/ 1243069 w 3140960"/>
                  <a:gd name="connsiteY74" fmla="*/ 38100 h 3147261"/>
                  <a:gd name="connsiteX75" fmla="*/ 1265929 w 3140960"/>
                  <a:gd name="connsiteY75" fmla="*/ 30480 h 3147261"/>
                  <a:gd name="connsiteX76" fmla="*/ 1387849 w 3140960"/>
                  <a:gd name="connsiteY76" fmla="*/ 15240 h 3147261"/>
                  <a:gd name="connsiteX77" fmla="*/ 1464049 w 3140960"/>
                  <a:gd name="connsiteY77" fmla="*/ 0 h 3147261"/>
                  <a:gd name="connsiteX78" fmla="*/ 1745989 w 3140960"/>
                  <a:gd name="connsiteY78" fmla="*/ 0 h 3147261"/>
                  <a:gd name="connsiteX79" fmla="*/ 2165089 w 3140960"/>
                  <a:gd name="connsiteY79" fmla="*/ 99060 h 3147261"/>
                  <a:gd name="connsiteX80" fmla="*/ 2340349 w 3140960"/>
                  <a:gd name="connsiteY80" fmla="*/ 182880 h 3147261"/>
                  <a:gd name="connsiteX81" fmla="*/ 2370829 w 3140960"/>
                  <a:gd name="connsiteY8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88049 w 3140960"/>
                  <a:gd name="connsiteY27" fmla="*/ 2225040 h 3147261"/>
                  <a:gd name="connsiteX28" fmla="*/ 2972809 w 3140960"/>
                  <a:gd name="connsiteY28" fmla="*/ 2270760 h 3147261"/>
                  <a:gd name="connsiteX29" fmla="*/ 2965189 w 3140960"/>
                  <a:gd name="connsiteY29" fmla="*/ 2308860 h 3147261"/>
                  <a:gd name="connsiteX30" fmla="*/ 2949949 w 3140960"/>
                  <a:gd name="connsiteY30" fmla="*/ 2331720 h 3147261"/>
                  <a:gd name="connsiteX31" fmla="*/ 2927089 w 3140960"/>
                  <a:gd name="connsiteY31" fmla="*/ 2385060 h 3147261"/>
                  <a:gd name="connsiteX32" fmla="*/ 2904229 w 3140960"/>
                  <a:gd name="connsiteY32" fmla="*/ 2407920 h 3147261"/>
                  <a:gd name="connsiteX33" fmla="*/ 2858509 w 3140960"/>
                  <a:gd name="connsiteY33" fmla="*/ 2499360 h 3147261"/>
                  <a:gd name="connsiteX34" fmla="*/ 2843269 w 3140960"/>
                  <a:gd name="connsiteY34" fmla="*/ 2529840 h 3147261"/>
                  <a:gd name="connsiteX35" fmla="*/ 2835649 w 3140960"/>
                  <a:gd name="connsiteY35" fmla="*/ 2552700 h 3147261"/>
                  <a:gd name="connsiteX36" fmla="*/ 2759449 w 3140960"/>
                  <a:gd name="connsiteY36" fmla="*/ 2636520 h 3147261"/>
                  <a:gd name="connsiteX37" fmla="*/ 2706109 w 3140960"/>
                  <a:gd name="connsiteY37" fmla="*/ 2667000 h 3147261"/>
                  <a:gd name="connsiteX38" fmla="*/ 2302249 w 3140960"/>
                  <a:gd name="connsiteY38" fmla="*/ 2971800 h 3147261"/>
                  <a:gd name="connsiteX39" fmla="*/ 2195569 w 3140960"/>
                  <a:gd name="connsiteY39" fmla="*/ 3025140 h 3147261"/>
                  <a:gd name="connsiteX40" fmla="*/ 2096509 w 3140960"/>
                  <a:gd name="connsiteY40" fmla="*/ 3055620 h 3147261"/>
                  <a:gd name="connsiteX41" fmla="*/ 1913629 w 3140960"/>
                  <a:gd name="connsiteY41" fmla="*/ 3108960 h 3147261"/>
                  <a:gd name="connsiteX42" fmla="*/ 1799329 w 3140960"/>
                  <a:gd name="connsiteY42" fmla="*/ 3147060 h 3147261"/>
                  <a:gd name="connsiteX43" fmla="*/ 1334509 w 3140960"/>
                  <a:gd name="connsiteY43" fmla="*/ 3108960 h 3147261"/>
                  <a:gd name="connsiteX44" fmla="*/ 793489 w 3140960"/>
                  <a:gd name="connsiteY44" fmla="*/ 2933700 h 3147261"/>
                  <a:gd name="connsiteX45" fmla="*/ 420109 w 3140960"/>
                  <a:gd name="connsiteY45" fmla="*/ 2644140 h 3147261"/>
                  <a:gd name="connsiteX46" fmla="*/ 321049 w 3140960"/>
                  <a:gd name="connsiteY46" fmla="*/ 2484120 h 3147261"/>
                  <a:gd name="connsiteX47" fmla="*/ 298189 w 3140960"/>
                  <a:gd name="connsiteY47" fmla="*/ 2430780 h 3147261"/>
                  <a:gd name="connsiteX48" fmla="*/ 275329 w 3140960"/>
                  <a:gd name="connsiteY48" fmla="*/ 2377440 h 3147261"/>
                  <a:gd name="connsiteX49" fmla="*/ 229609 w 3140960"/>
                  <a:gd name="connsiteY49" fmla="*/ 2316480 h 3147261"/>
                  <a:gd name="connsiteX50" fmla="*/ 206749 w 3140960"/>
                  <a:gd name="connsiteY50" fmla="*/ 2293620 h 3147261"/>
                  <a:gd name="connsiteX51" fmla="*/ 176269 w 3140960"/>
                  <a:gd name="connsiteY51" fmla="*/ 2240280 h 3147261"/>
                  <a:gd name="connsiteX52" fmla="*/ 161029 w 3140960"/>
                  <a:gd name="connsiteY52" fmla="*/ 2202180 h 3147261"/>
                  <a:gd name="connsiteX53" fmla="*/ 145789 w 3140960"/>
                  <a:gd name="connsiteY53" fmla="*/ 2179320 h 3147261"/>
                  <a:gd name="connsiteX54" fmla="*/ 130549 w 3140960"/>
                  <a:gd name="connsiteY54" fmla="*/ 2133600 h 3147261"/>
                  <a:gd name="connsiteX55" fmla="*/ 100069 w 3140960"/>
                  <a:gd name="connsiteY55" fmla="*/ 2087880 h 3147261"/>
                  <a:gd name="connsiteX56" fmla="*/ 61969 w 3140960"/>
                  <a:gd name="connsiteY56" fmla="*/ 2026920 h 3147261"/>
                  <a:gd name="connsiteX57" fmla="*/ 54349 w 3140960"/>
                  <a:gd name="connsiteY57" fmla="*/ 2004060 h 3147261"/>
                  <a:gd name="connsiteX58" fmla="*/ 39109 w 3140960"/>
                  <a:gd name="connsiteY58" fmla="*/ 1943100 h 3147261"/>
                  <a:gd name="connsiteX59" fmla="*/ 23869 w 3140960"/>
                  <a:gd name="connsiteY59" fmla="*/ 1897380 h 3147261"/>
                  <a:gd name="connsiteX60" fmla="*/ 1009 w 3140960"/>
                  <a:gd name="connsiteY60" fmla="*/ 1562100 h 3147261"/>
                  <a:gd name="connsiteX61" fmla="*/ 54349 w 3140960"/>
                  <a:gd name="connsiteY61" fmla="*/ 1135380 h 3147261"/>
                  <a:gd name="connsiteX62" fmla="*/ 161029 w 3140960"/>
                  <a:gd name="connsiteY62" fmla="*/ 861060 h 3147261"/>
                  <a:gd name="connsiteX63" fmla="*/ 183889 w 3140960"/>
                  <a:gd name="connsiteY63" fmla="*/ 822960 h 3147261"/>
                  <a:gd name="connsiteX64" fmla="*/ 260089 w 3140960"/>
                  <a:gd name="connsiteY64" fmla="*/ 708660 h 3147261"/>
                  <a:gd name="connsiteX65" fmla="*/ 275329 w 3140960"/>
                  <a:gd name="connsiteY65" fmla="*/ 662940 h 3147261"/>
                  <a:gd name="connsiteX66" fmla="*/ 420109 w 3140960"/>
                  <a:gd name="connsiteY66" fmla="*/ 510540 h 3147261"/>
                  <a:gd name="connsiteX67" fmla="*/ 511549 w 3140960"/>
                  <a:gd name="connsiteY67" fmla="*/ 434340 h 3147261"/>
                  <a:gd name="connsiteX68" fmla="*/ 564889 w 3140960"/>
                  <a:gd name="connsiteY68" fmla="*/ 396240 h 3147261"/>
                  <a:gd name="connsiteX69" fmla="*/ 656329 w 3140960"/>
                  <a:gd name="connsiteY69" fmla="*/ 312420 h 3147261"/>
                  <a:gd name="connsiteX70" fmla="*/ 869689 w 3140960"/>
                  <a:gd name="connsiteY70" fmla="*/ 175260 h 3147261"/>
                  <a:gd name="connsiteX71" fmla="*/ 976369 w 3140960"/>
                  <a:gd name="connsiteY71" fmla="*/ 137160 h 3147261"/>
                  <a:gd name="connsiteX72" fmla="*/ 1105909 w 3140960"/>
                  <a:gd name="connsiteY72" fmla="*/ 76200 h 3147261"/>
                  <a:gd name="connsiteX73" fmla="*/ 1243069 w 3140960"/>
                  <a:gd name="connsiteY73" fmla="*/ 38100 h 3147261"/>
                  <a:gd name="connsiteX74" fmla="*/ 1265929 w 3140960"/>
                  <a:gd name="connsiteY74" fmla="*/ 30480 h 3147261"/>
                  <a:gd name="connsiteX75" fmla="*/ 1387849 w 3140960"/>
                  <a:gd name="connsiteY75" fmla="*/ 15240 h 3147261"/>
                  <a:gd name="connsiteX76" fmla="*/ 1464049 w 3140960"/>
                  <a:gd name="connsiteY76" fmla="*/ 0 h 3147261"/>
                  <a:gd name="connsiteX77" fmla="*/ 1745989 w 3140960"/>
                  <a:gd name="connsiteY77" fmla="*/ 0 h 3147261"/>
                  <a:gd name="connsiteX78" fmla="*/ 2165089 w 3140960"/>
                  <a:gd name="connsiteY78" fmla="*/ 99060 h 3147261"/>
                  <a:gd name="connsiteX79" fmla="*/ 2340349 w 3140960"/>
                  <a:gd name="connsiteY79" fmla="*/ 182880 h 3147261"/>
                  <a:gd name="connsiteX80" fmla="*/ 2370829 w 3140960"/>
                  <a:gd name="connsiteY8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65189 w 3140960"/>
                  <a:gd name="connsiteY28" fmla="*/ 2308860 h 3147261"/>
                  <a:gd name="connsiteX29" fmla="*/ 2949949 w 3140960"/>
                  <a:gd name="connsiteY29" fmla="*/ 2331720 h 3147261"/>
                  <a:gd name="connsiteX30" fmla="*/ 2927089 w 3140960"/>
                  <a:gd name="connsiteY30" fmla="*/ 2385060 h 3147261"/>
                  <a:gd name="connsiteX31" fmla="*/ 2904229 w 3140960"/>
                  <a:gd name="connsiteY31" fmla="*/ 2407920 h 3147261"/>
                  <a:gd name="connsiteX32" fmla="*/ 2858509 w 3140960"/>
                  <a:gd name="connsiteY32" fmla="*/ 2499360 h 3147261"/>
                  <a:gd name="connsiteX33" fmla="*/ 2843269 w 3140960"/>
                  <a:gd name="connsiteY33" fmla="*/ 2529840 h 3147261"/>
                  <a:gd name="connsiteX34" fmla="*/ 2835649 w 3140960"/>
                  <a:gd name="connsiteY34" fmla="*/ 2552700 h 3147261"/>
                  <a:gd name="connsiteX35" fmla="*/ 2759449 w 3140960"/>
                  <a:gd name="connsiteY35" fmla="*/ 2636520 h 3147261"/>
                  <a:gd name="connsiteX36" fmla="*/ 2706109 w 3140960"/>
                  <a:gd name="connsiteY36" fmla="*/ 2667000 h 3147261"/>
                  <a:gd name="connsiteX37" fmla="*/ 2302249 w 3140960"/>
                  <a:gd name="connsiteY37" fmla="*/ 2971800 h 3147261"/>
                  <a:gd name="connsiteX38" fmla="*/ 2195569 w 3140960"/>
                  <a:gd name="connsiteY38" fmla="*/ 3025140 h 3147261"/>
                  <a:gd name="connsiteX39" fmla="*/ 2096509 w 3140960"/>
                  <a:gd name="connsiteY39" fmla="*/ 3055620 h 3147261"/>
                  <a:gd name="connsiteX40" fmla="*/ 1913629 w 3140960"/>
                  <a:gd name="connsiteY40" fmla="*/ 3108960 h 3147261"/>
                  <a:gd name="connsiteX41" fmla="*/ 1799329 w 3140960"/>
                  <a:gd name="connsiteY41" fmla="*/ 3147060 h 3147261"/>
                  <a:gd name="connsiteX42" fmla="*/ 1334509 w 3140960"/>
                  <a:gd name="connsiteY42" fmla="*/ 3108960 h 3147261"/>
                  <a:gd name="connsiteX43" fmla="*/ 793489 w 3140960"/>
                  <a:gd name="connsiteY43" fmla="*/ 2933700 h 3147261"/>
                  <a:gd name="connsiteX44" fmla="*/ 420109 w 3140960"/>
                  <a:gd name="connsiteY44" fmla="*/ 2644140 h 3147261"/>
                  <a:gd name="connsiteX45" fmla="*/ 321049 w 3140960"/>
                  <a:gd name="connsiteY45" fmla="*/ 2484120 h 3147261"/>
                  <a:gd name="connsiteX46" fmla="*/ 298189 w 3140960"/>
                  <a:gd name="connsiteY46" fmla="*/ 2430780 h 3147261"/>
                  <a:gd name="connsiteX47" fmla="*/ 275329 w 3140960"/>
                  <a:gd name="connsiteY47" fmla="*/ 2377440 h 3147261"/>
                  <a:gd name="connsiteX48" fmla="*/ 229609 w 3140960"/>
                  <a:gd name="connsiteY48" fmla="*/ 2316480 h 3147261"/>
                  <a:gd name="connsiteX49" fmla="*/ 206749 w 3140960"/>
                  <a:gd name="connsiteY49" fmla="*/ 2293620 h 3147261"/>
                  <a:gd name="connsiteX50" fmla="*/ 176269 w 3140960"/>
                  <a:gd name="connsiteY50" fmla="*/ 2240280 h 3147261"/>
                  <a:gd name="connsiteX51" fmla="*/ 161029 w 3140960"/>
                  <a:gd name="connsiteY51" fmla="*/ 2202180 h 3147261"/>
                  <a:gd name="connsiteX52" fmla="*/ 145789 w 3140960"/>
                  <a:gd name="connsiteY52" fmla="*/ 2179320 h 3147261"/>
                  <a:gd name="connsiteX53" fmla="*/ 130549 w 3140960"/>
                  <a:gd name="connsiteY53" fmla="*/ 2133600 h 3147261"/>
                  <a:gd name="connsiteX54" fmla="*/ 100069 w 3140960"/>
                  <a:gd name="connsiteY54" fmla="*/ 2087880 h 3147261"/>
                  <a:gd name="connsiteX55" fmla="*/ 61969 w 3140960"/>
                  <a:gd name="connsiteY55" fmla="*/ 2026920 h 3147261"/>
                  <a:gd name="connsiteX56" fmla="*/ 54349 w 3140960"/>
                  <a:gd name="connsiteY56" fmla="*/ 2004060 h 3147261"/>
                  <a:gd name="connsiteX57" fmla="*/ 39109 w 3140960"/>
                  <a:gd name="connsiteY57" fmla="*/ 1943100 h 3147261"/>
                  <a:gd name="connsiteX58" fmla="*/ 23869 w 3140960"/>
                  <a:gd name="connsiteY58" fmla="*/ 1897380 h 3147261"/>
                  <a:gd name="connsiteX59" fmla="*/ 1009 w 3140960"/>
                  <a:gd name="connsiteY59" fmla="*/ 1562100 h 3147261"/>
                  <a:gd name="connsiteX60" fmla="*/ 54349 w 3140960"/>
                  <a:gd name="connsiteY60" fmla="*/ 1135380 h 3147261"/>
                  <a:gd name="connsiteX61" fmla="*/ 161029 w 3140960"/>
                  <a:gd name="connsiteY61" fmla="*/ 861060 h 3147261"/>
                  <a:gd name="connsiteX62" fmla="*/ 183889 w 3140960"/>
                  <a:gd name="connsiteY62" fmla="*/ 822960 h 3147261"/>
                  <a:gd name="connsiteX63" fmla="*/ 260089 w 3140960"/>
                  <a:gd name="connsiteY63" fmla="*/ 708660 h 3147261"/>
                  <a:gd name="connsiteX64" fmla="*/ 275329 w 3140960"/>
                  <a:gd name="connsiteY64" fmla="*/ 662940 h 3147261"/>
                  <a:gd name="connsiteX65" fmla="*/ 420109 w 3140960"/>
                  <a:gd name="connsiteY65" fmla="*/ 510540 h 3147261"/>
                  <a:gd name="connsiteX66" fmla="*/ 511549 w 3140960"/>
                  <a:gd name="connsiteY66" fmla="*/ 434340 h 3147261"/>
                  <a:gd name="connsiteX67" fmla="*/ 564889 w 3140960"/>
                  <a:gd name="connsiteY67" fmla="*/ 396240 h 3147261"/>
                  <a:gd name="connsiteX68" fmla="*/ 656329 w 3140960"/>
                  <a:gd name="connsiteY68" fmla="*/ 312420 h 3147261"/>
                  <a:gd name="connsiteX69" fmla="*/ 869689 w 3140960"/>
                  <a:gd name="connsiteY69" fmla="*/ 175260 h 3147261"/>
                  <a:gd name="connsiteX70" fmla="*/ 976369 w 3140960"/>
                  <a:gd name="connsiteY70" fmla="*/ 137160 h 3147261"/>
                  <a:gd name="connsiteX71" fmla="*/ 1105909 w 3140960"/>
                  <a:gd name="connsiteY71" fmla="*/ 76200 h 3147261"/>
                  <a:gd name="connsiteX72" fmla="*/ 1243069 w 3140960"/>
                  <a:gd name="connsiteY72" fmla="*/ 38100 h 3147261"/>
                  <a:gd name="connsiteX73" fmla="*/ 1265929 w 3140960"/>
                  <a:gd name="connsiteY73" fmla="*/ 30480 h 3147261"/>
                  <a:gd name="connsiteX74" fmla="*/ 1387849 w 3140960"/>
                  <a:gd name="connsiteY74" fmla="*/ 15240 h 3147261"/>
                  <a:gd name="connsiteX75" fmla="*/ 1464049 w 3140960"/>
                  <a:gd name="connsiteY75" fmla="*/ 0 h 3147261"/>
                  <a:gd name="connsiteX76" fmla="*/ 1745989 w 3140960"/>
                  <a:gd name="connsiteY76" fmla="*/ 0 h 3147261"/>
                  <a:gd name="connsiteX77" fmla="*/ 2165089 w 3140960"/>
                  <a:gd name="connsiteY77" fmla="*/ 99060 h 3147261"/>
                  <a:gd name="connsiteX78" fmla="*/ 2340349 w 3140960"/>
                  <a:gd name="connsiteY78" fmla="*/ 182880 h 3147261"/>
                  <a:gd name="connsiteX79" fmla="*/ 2370829 w 3140960"/>
                  <a:gd name="connsiteY7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904229 w 3140960"/>
                  <a:gd name="connsiteY30" fmla="*/ 2407920 h 3147261"/>
                  <a:gd name="connsiteX31" fmla="*/ 2858509 w 3140960"/>
                  <a:gd name="connsiteY31" fmla="*/ 2499360 h 3147261"/>
                  <a:gd name="connsiteX32" fmla="*/ 2843269 w 3140960"/>
                  <a:gd name="connsiteY32" fmla="*/ 2529840 h 3147261"/>
                  <a:gd name="connsiteX33" fmla="*/ 2835649 w 3140960"/>
                  <a:gd name="connsiteY33" fmla="*/ 2552700 h 3147261"/>
                  <a:gd name="connsiteX34" fmla="*/ 2759449 w 3140960"/>
                  <a:gd name="connsiteY34" fmla="*/ 2636520 h 3147261"/>
                  <a:gd name="connsiteX35" fmla="*/ 2706109 w 3140960"/>
                  <a:gd name="connsiteY35" fmla="*/ 2667000 h 3147261"/>
                  <a:gd name="connsiteX36" fmla="*/ 2302249 w 3140960"/>
                  <a:gd name="connsiteY36" fmla="*/ 2971800 h 3147261"/>
                  <a:gd name="connsiteX37" fmla="*/ 2195569 w 3140960"/>
                  <a:gd name="connsiteY37" fmla="*/ 3025140 h 3147261"/>
                  <a:gd name="connsiteX38" fmla="*/ 2096509 w 3140960"/>
                  <a:gd name="connsiteY38" fmla="*/ 3055620 h 3147261"/>
                  <a:gd name="connsiteX39" fmla="*/ 1913629 w 3140960"/>
                  <a:gd name="connsiteY39" fmla="*/ 3108960 h 3147261"/>
                  <a:gd name="connsiteX40" fmla="*/ 1799329 w 3140960"/>
                  <a:gd name="connsiteY40" fmla="*/ 3147060 h 3147261"/>
                  <a:gd name="connsiteX41" fmla="*/ 1334509 w 3140960"/>
                  <a:gd name="connsiteY41" fmla="*/ 3108960 h 3147261"/>
                  <a:gd name="connsiteX42" fmla="*/ 793489 w 3140960"/>
                  <a:gd name="connsiteY42" fmla="*/ 2933700 h 3147261"/>
                  <a:gd name="connsiteX43" fmla="*/ 420109 w 3140960"/>
                  <a:gd name="connsiteY43" fmla="*/ 2644140 h 3147261"/>
                  <a:gd name="connsiteX44" fmla="*/ 321049 w 3140960"/>
                  <a:gd name="connsiteY44" fmla="*/ 2484120 h 3147261"/>
                  <a:gd name="connsiteX45" fmla="*/ 298189 w 3140960"/>
                  <a:gd name="connsiteY45" fmla="*/ 2430780 h 3147261"/>
                  <a:gd name="connsiteX46" fmla="*/ 275329 w 3140960"/>
                  <a:gd name="connsiteY46" fmla="*/ 2377440 h 3147261"/>
                  <a:gd name="connsiteX47" fmla="*/ 229609 w 3140960"/>
                  <a:gd name="connsiteY47" fmla="*/ 2316480 h 3147261"/>
                  <a:gd name="connsiteX48" fmla="*/ 206749 w 3140960"/>
                  <a:gd name="connsiteY48" fmla="*/ 2293620 h 3147261"/>
                  <a:gd name="connsiteX49" fmla="*/ 176269 w 3140960"/>
                  <a:gd name="connsiteY49" fmla="*/ 2240280 h 3147261"/>
                  <a:gd name="connsiteX50" fmla="*/ 161029 w 3140960"/>
                  <a:gd name="connsiteY50" fmla="*/ 2202180 h 3147261"/>
                  <a:gd name="connsiteX51" fmla="*/ 145789 w 3140960"/>
                  <a:gd name="connsiteY51" fmla="*/ 2179320 h 3147261"/>
                  <a:gd name="connsiteX52" fmla="*/ 130549 w 3140960"/>
                  <a:gd name="connsiteY52" fmla="*/ 2133600 h 3147261"/>
                  <a:gd name="connsiteX53" fmla="*/ 100069 w 3140960"/>
                  <a:gd name="connsiteY53" fmla="*/ 2087880 h 3147261"/>
                  <a:gd name="connsiteX54" fmla="*/ 61969 w 3140960"/>
                  <a:gd name="connsiteY54" fmla="*/ 2026920 h 3147261"/>
                  <a:gd name="connsiteX55" fmla="*/ 54349 w 3140960"/>
                  <a:gd name="connsiteY55" fmla="*/ 2004060 h 3147261"/>
                  <a:gd name="connsiteX56" fmla="*/ 39109 w 3140960"/>
                  <a:gd name="connsiteY56" fmla="*/ 1943100 h 3147261"/>
                  <a:gd name="connsiteX57" fmla="*/ 23869 w 3140960"/>
                  <a:gd name="connsiteY57" fmla="*/ 1897380 h 3147261"/>
                  <a:gd name="connsiteX58" fmla="*/ 1009 w 3140960"/>
                  <a:gd name="connsiteY58" fmla="*/ 1562100 h 3147261"/>
                  <a:gd name="connsiteX59" fmla="*/ 54349 w 3140960"/>
                  <a:gd name="connsiteY59" fmla="*/ 1135380 h 3147261"/>
                  <a:gd name="connsiteX60" fmla="*/ 161029 w 3140960"/>
                  <a:gd name="connsiteY60" fmla="*/ 861060 h 3147261"/>
                  <a:gd name="connsiteX61" fmla="*/ 183889 w 3140960"/>
                  <a:gd name="connsiteY61" fmla="*/ 822960 h 3147261"/>
                  <a:gd name="connsiteX62" fmla="*/ 260089 w 3140960"/>
                  <a:gd name="connsiteY62" fmla="*/ 708660 h 3147261"/>
                  <a:gd name="connsiteX63" fmla="*/ 275329 w 3140960"/>
                  <a:gd name="connsiteY63" fmla="*/ 662940 h 3147261"/>
                  <a:gd name="connsiteX64" fmla="*/ 420109 w 3140960"/>
                  <a:gd name="connsiteY64" fmla="*/ 510540 h 3147261"/>
                  <a:gd name="connsiteX65" fmla="*/ 511549 w 3140960"/>
                  <a:gd name="connsiteY65" fmla="*/ 434340 h 3147261"/>
                  <a:gd name="connsiteX66" fmla="*/ 564889 w 3140960"/>
                  <a:gd name="connsiteY66" fmla="*/ 396240 h 3147261"/>
                  <a:gd name="connsiteX67" fmla="*/ 656329 w 3140960"/>
                  <a:gd name="connsiteY67" fmla="*/ 312420 h 3147261"/>
                  <a:gd name="connsiteX68" fmla="*/ 869689 w 3140960"/>
                  <a:gd name="connsiteY68" fmla="*/ 175260 h 3147261"/>
                  <a:gd name="connsiteX69" fmla="*/ 976369 w 3140960"/>
                  <a:gd name="connsiteY69" fmla="*/ 137160 h 3147261"/>
                  <a:gd name="connsiteX70" fmla="*/ 1105909 w 3140960"/>
                  <a:gd name="connsiteY70" fmla="*/ 76200 h 3147261"/>
                  <a:gd name="connsiteX71" fmla="*/ 1243069 w 3140960"/>
                  <a:gd name="connsiteY71" fmla="*/ 38100 h 3147261"/>
                  <a:gd name="connsiteX72" fmla="*/ 1265929 w 3140960"/>
                  <a:gd name="connsiteY72" fmla="*/ 30480 h 3147261"/>
                  <a:gd name="connsiteX73" fmla="*/ 1387849 w 3140960"/>
                  <a:gd name="connsiteY73" fmla="*/ 15240 h 3147261"/>
                  <a:gd name="connsiteX74" fmla="*/ 1464049 w 3140960"/>
                  <a:gd name="connsiteY74" fmla="*/ 0 h 3147261"/>
                  <a:gd name="connsiteX75" fmla="*/ 1745989 w 3140960"/>
                  <a:gd name="connsiteY75" fmla="*/ 0 h 3147261"/>
                  <a:gd name="connsiteX76" fmla="*/ 2165089 w 3140960"/>
                  <a:gd name="connsiteY76" fmla="*/ 99060 h 3147261"/>
                  <a:gd name="connsiteX77" fmla="*/ 2340349 w 3140960"/>
                  <a:gd name="connsiteY77" fmla="*/ 182880 h 3147261"/>
                  <a:gd name="connsiteX78" fmla="*/ 2370829 w 3140960"/>
                  <a:gd name="connsiteY7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858509 w 3140960"/>
                  <a:gd name="connsiteY30" fmla="*/ 2499360 h 3147261"/>
                  <a:gd name="connsiteX31" fmla="*/ 2843269 w 3140960"/>
                  <a:gd name="connsiteY31" fmla="*/ 2529840 h 3147261"/>
                  <a:gd name="connsiteX32" fmla="*/ 2835649 w 3140960"/>
                  <a:gd name="connsiteY32" fmla="*/ 2552700 h 3147261"/>
                  <a:gd name="connsiteX33" fmla="*/ 2759449 w 3140960"/>
                  <a:gd name="connsiteY33" fmla="*/ 2636520 h 3147261"/>
                  <a:gd name="connsiteX34" fmla="*/ 2706109 w 3140960"/>
                  <a:gd name="connsiteY34" fmla="*/ 2667000 h 3147261"/>
                  <a:gd name="connsiteX35" fmla="*/ 2302249 w 3140960"/>
                  <a:gd name="connsiteY35" fmla="*/ 2971800 h 3147261"/>
                  <a:gd name="connsiteX36" fmla="*/ 2195569 w 3140960"/>
                  <a:gd name="connsiteY36" fmla="*/ 3025140 h 3147261"/>
                  <a:gd name="connsiteX37" fmla="*/ 2096509 w 3140960"/>
                  <a:gd name="connsiteY37" fmla="*/ 3055620 h 3147261"/>
                  <a:gd name="connsiteX38" fmla="*/ 1913629 w 3140960"/>
                  <a:gd name="connsiteY38" fmla="*/ 3108960 h 3147261"/>
                  <a:gd name="connsiteX39" fmla="*/ 1799329 w 3140960"/>
                  <a:gd name="connsiteY39" fmla="*/ 3147060 h 3147261"/>
                  <a:gd name="connsiteX40" fmla="*/ 1334509 w 3140960"/>
                  <a:gd name="connsiteY40" fmla="*/ 3108960 h 3147261"/>
                  <a:gd name="connsiteX41" fmla="*/ 793489 w 3140960"/>
                  <a:gd name="connsiteY41" fmla="*/ 2933700 h 3147261"/>
                  <a:gd name="connsiteX42" fmla="*/ 420109 w 3140960"/>
                  <a:gd name="connsiteY42" fmla="*/ 2644140 h 3147261"/>
                  <a:gd name="connsiteX43" fmla="*/ 321049 w 3140960"/>
                  <a:gd name="connsiteY43" fmla="*/ 2484120 h 3147261"/>
                  <a:gd name="connsiteX44" fmla="*/ 298189 w 3140960"/>
                  <a:gd name="connsiteY44" fmla="*/ 2430780 h 3147261"/>
                  <a:gd name="connsiteX45" fmla="*/ 275329 w 3140960"/>
                  <a:gd name="connsiteY45" fmla="*/ 2377440 h 3147261"/>
                  <a:gd name="connsiteX46" fmla="*/ 229609 w 3140960"/>
                  <a:gd name="connsiteY46" fmla="*/ 2316480 h 3147261"/>
                  <a:gd name="connsiteX47" fmla="*/ 206749 w 3140960"/>
                  <a:gd name="connsiteY47" fmla="*/ 2293620 h 3147261"/>
                  <a:gd name="connsiteX48" fmla="*/ 176269 w 3140960"/>
                  <a:gd name="connsiteY48" fmla="*/ 2240280 h 3147261"/>
                  <a:gd name="connsiteX49" fmla="*/ 161029 w 3140960"/>
                  <a:gd name="connsiteY49" fmla="*/ 2202180 h 3147261"/>
                  <a:gd name="connsiteX50" fmla="*/ 145789 w 3140960"/>
                  <a:gd name="connsiteY50" fmla="*/ 2179320 h 3147261"/>
                  <a:gd name="connsiteX51" fmla="*/ 130549 w 3140960"/>
                  <a:gd name="connsiteY51" fmla="*/ 2133600 h 3147261"/>
                  <a:gd name="connsiteX52" fmla="*/ 100069 w 3140960"/>
                  <a:gd name="connsiteY52" fmla="*/ 2087880 h 3147261"/>
                  <a:gd name="connsiteX53" fmla="*/ 61969 w 3140960"/>
                  <a:gd name="connsiteY53" fmla="*/ 2026920 h 3147261"/>
                  <a:gd name="connsiteX54" fmla="*/ 54349 w 3140960"/>
                  <a:gd name="connsiteY54" fmla="*/ 2004060 h 3147261"/>
                  <a:gd name="connsiteX55" fmla="*/ 39109 w 3140960"/>
                  <a:gd name="connsiteY55" fmla="*/ 1943100 h 3147261"/>
                  <a:gd name="connsiteX56" fmla="*/ 23869 w 3140960"/>
                  <a:gd name="connsiteY56" fmla="*/ 1897380 h 3147261"/>
                  <a:gd name="connsiteX57" fmla="*/ 1009 w 3140960"/>
                  <a:gd name="connsiteY57" fmla="*/ 1562100 h 3147261"/>
                  <a:gd name="connsiteX58" fmla="*/ 54349 w 3140960"/>
                  <a:gd name="connsiteY58" fmla="*/ 1135380 h 3147261"/>
                  <a:gd name="connsiteX59" fmla="*/ 161029 w 3140960"/>
                  <a:gd name="connsiteY59" fmla="*/ 861060 h 3147261"/>
                  <a:gd name="connsiteX60" fmla="*/ 183889 w 3140960"/>
                  <a:gd name="connsiteY60" fmla="*/ 822960 h 3147261"/>
                  <a:gd name="connsiteX61" fmla="*/ 260089 w 3140960"/>
                  <a:gd name="connsiteY61" fmla="*/ 708660 h 3147261"/>
                  <a:gd name="connsiteX62" fmla="*/ 275329 w 3140960"/>
                  <a:gd name="connsiteY62" fmla="*/ 662940 h 3147261"/>
                  <a:gd name="connsiteX63" fmla="*/ 420109 w 3140960"/>
                  <a:gd name="connsiteY63" fmla="*/ 510540 h 3147261"/>
                  <a:gd name="connsiteX64" fmla="*/ 511549 w 3140960"/>
                  <a:gd name="connsiteY64" fmla="*/ 434340 h 3147261"/>
                  <a:gd name="connsiteX65" fmla="*/ 564889 w 3140960"/>
                  <a:gd name="connsiteY65" fmla="*/ 396240 h 3147261"/>
                  <a:gd name="connsiteX66" fmla="*/ 656329 w 3140960"/>
                  <a:gd name="connsiteY66" fmla="*/ 312420 h 3147261"/>
                  <a:gd name="connsiteX67" fmla="*/ 869689 w 3140960"/>
                  <a:gd name="connsiteY67" fmla="*/ 175260 h 3147261"/>
                  <a:gd name="connsiteX68" fmla="*/ 976369 w 3140960"/>
                  <a:gd name="connsiteY68" fmla="*/ 137160 h 3147261"/>
                  <a:gd name="connsiteX69" fmla="*/ 1105909 w 3140960"/>
                  <a:gd name="connsiteY69" fmla="*/ 76200 h 3147261"/>
                  <a:gd name="connsiteX70" fmla="*/ 1243069 w 3140960"/>
                  <a:gd name="connsiteY70" fmla="*/ 38100 h 3147261"/>
                  <a:gd name="connsiteX71" fmla="*/ 1265929 w 3140960"/>
                  <a:gd name="connsiteY71" fmla="*/ 30480 h 3147261"/>
                  <a:gd name="connsiteX72" fmla="*/ 1387849 w 3140960"/>
                  <a:gd name="connsiteY72" fmla="*/ 15240 h 3147261"/>
                  <a:gd name="connsiteX73" fmla="*/ 1464049 w 3140960"/>
                  <a:gd name="connsiteY73" fmla="*/ 0 h 3147261"/>
                  <a:gd name="connsiteX74" fmla="*/ 1745989 w 3140960"/>
                  <a:gd name="connsiteY74" fmla="*/ 0 h 3147261"/>
                  <a:gd name="connsiteX75" fmla="*/ 2165089 w 3140960"/>
                  <a:gd name="connsiteY75" fmla="*/ 99060 h 3147261"/>
                  <a:gd name="connsiteX76" fmla="*/ 2340349 w 3140960"/>
                  <a:gd name="connsiteY76" fmla="*/ 182880 h 3147261"/>
                  <a:gd name="connsiteX77" fmla="*/ 2370829 w 3140960"/>
                  <a:gd name="connsiteY7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49949 w 3140960"/>
                  <a:gd name="connsiteY27" fmla="*/ 2331720 h 3147261"/>
                  <a:gd name="connsiteX28" fmla="*/ 2927089 w 3140960"/>
                  <a:gd name="connsiteY28" fmla="*/ 2385060 h 3147261"/>
                  <a:gd name="connsiteX29" fmla="*/ 2858509 w 3140960"/>
                  <a:gd name="connsiteY29" fmla="*/ 2499360 h 3147261"/>
                  <a:gd name="connsiteX30" fmla="*/ 2843269 w 3140960"/>
                  <a:gd name="connsiteY30" fmla="*/ 2529840 h 3147261"/>
                  <a:gd name="connsiteX31" fmla="*/ 2835649 w 3140960"/>
                  <a:gd name="connsiteY31" fmla="*/ 2552700 h 3147261"/>
                  <a:gd name="connsiteX32" fmla="*/ 2759449 w 3140960"/>
                  <a:gd name="connsiteY32" fmla="*/ 2636520 h 3147261"/>
                  <a:gd name="connsiteX33" fmla="*/ 2706109 w 3140960"/>
                  <a:gd name="connsiteY33" fmla="*/ 2667000 h 3147261"/>
                  <a:gd name="connsiteX34" fmla="*/ 2302249 w 3140960"/>
                  <a:gd name="connsiteY34" fmla="*/ 2971800 h 3147261"/>
                  <a:gd name="connsiteX35" fmla="*/ 2195569 w 3140960"/>
                  <a:gd name="connsiteY35" fmla="*/ 3025140 h 3147261"/>
                  <a:gd name="connsiteX36" fmla="*/ 2096509 w 3140960"/>
                  <a:gd name="connsiteY36" fmla="*/ 3055620 h 3147261"/>
                  <a:gd name="connsiteX37" fmla="*/ 1913629 w 3140960"/>
                  <a:gd name="connsiteY37" fmla="*/ 3108960 h 3147261"/>
                  <a:gd name="connsiteX38" fmla="*/ 1799329 w 3140960"/>
                  <a:gd name="connsiteY38" fmla="*/ 3147060 h 3147261"/>
                  <a:gd name="connsiteX39" fmla="*/ 1334509 w 3140960"/>
                  <a:gd name="connsiteY39" fmla="*/ 3108960 h 3147261"/>
                  <a:gd name="connsiteX40" fmla="*/ 793489 w 3140960"/>
                  <a:gd name="connsiteY40" fmla="*/ 2933700 h 3147261"/>
                  <a:gd name="connsiteX41" fmla="*/ 420109 w 3140960"/>
                  <a:gd name="connsiteY41" fmla="*/ 2644140 h 3147261"/>
                  <a:gd name="connsiteX42" fmla="*/ 321049 w 3140960"/>
                  <a:gd name="connsiteY42" fmla="*/ 2484120 h 3147261"/>
                  <a:gd name="connsiteX43" fmla="*/ 298189 w 3140960"/>
                  <a:gd name="connsiteY43" fmla="*/ 2430780 h 3147261"/>
                  <a:gd name="connsiteX44" fmla="*/ 275329 w 3140960"/>
                  <a:gd name="connsiteY44" fmla="*/ 2377440 h 3147261"/>
                  <a:gd name="connsiteX45" fmla="*/ 229609 w 3140960"/>
                  <a:gd name="connsiteY45" fmla="*/ 2316480 h 3147261"/>
                  <a:gd name="connsiteX46" fmla="*/ 206749 w 3140960"/>
                  <a:gd name="connsiteY46" fmla="*/ 2293620 h 3147261"/>
                  <a:gd name="connsiteX47" fmla="*/ 176269 w 3140960"/>
                  <a:gd name="connsiteY47" fmla="*/ 2240280 h 3147261"/>
                  <a:gd name="connsiteX48" fmla="*/ 161029 w 3140960"/>
                  <a:gd name="connsiteY48" fmla="*/ 2202180 h 3147261"/>
                  <a:gd name="connsiteX49" fmla="*/ 145789 w 3140960"/>
                  <a:gd name="connsiteY49" fmla="*/ 2179320 h 3147261"/>
                  <a:gd name="connsiteX50" fmla="*/ 130549 w 3140960"/>
                  <a:gd name="connsiteY50" fmla="*/ 2133600 h 3147261"/>
                  <a:gd name="connsiteX51" fmla="*/ 100069 w 3140960"/>
                  <a:gd name="connsiteY51" fmla="*/ 2087880 h 3147261"/>
                  <a:gd name="connsiteX52" fmla="*/ 61969 w 3140960"/>
                  <a:gd name="connsiteY52" fmla="*/ 2026920 h 3147261"/>
                  <a:gd name="connsiteX53" fmla="*/ 54349 w 3140960"/>
                  <a:gd name="connsiteY53" fmla="*/ 2004060 h 3147261"/>
                  <a:gd name="connsiteX54" fmla="*/ 39109 w 3140960"/>
                  <a:gd name="connsiteY54" fmla="*/ 1943100 h 3147261"/>
                  <a:gd name="connsiteX55" fmla="*/ 23869 w 3140960"/>
                  <a:gd name="connsiteY55" fmla="*/ 1897380 h 3147261"/>
                  <a:gd name="connsiteX56" fmla="*/ 1009 w 3140960"/>
                  <a:gd name="connsiteY56" fmla="*/ 1562100 h 3147261"/>
                  <a:gd name="connsiteX57" fmla="*/ 54349 w 3140960"/>
                  <a:gd name="connsiteY57" fmla="*/ 1135380 h 3147261"/>
                  <a:gd name="connsiteX58" fmla="*/ 161029 w 3140960"/>
                  <a:gd name="connsiteY58" fmla="*/ 861060 h 3147261"/>
                  <a:gd name="connsiteX59" fmla="*/ 183889 w 3140960"/>
                  <a:gd name="connsiteY59" fmla="*/ 822960 h 3147261"/>
                  <a:gd name="connsiteX60" fmla="*/ 260089 w 3140960"/>
                  <a:gd name="connsiteY60" fmla="*/ 708660 h 3147261"/>
                  <a:gd name="connsiteX61" fmla="*/ 275329 w 3140960"/>
                  <a:gd name="connsiteY61" fmla="*/ 662940 h 3147261"/>
                  <a:gd name="connsiteX62" fmla="*/ 420109 w 3140960"/>
                  <a:gd name="connsiteY62" fmla="*/ 510540 h 3147261"/>
                  <a:gd name="connsiteX63" fmla="*/ 511549 w 3140960"/>
                  <a:gd name="connsiteY63" fmla="*/ 434340 h 3147261"/>
                  <a:gd name="connsiteX64" fmla="*/ 564889 w 3140960"/>
                  <a:gd name="connsiteY64" fmla="*/ 396240 h 3147261"/>
                  <a:gd name="connsiteX65" fmla="*/ 656329 w 3140960"/>
                  <a:gd name="connsiteY65" fmla="*/ 312420 h 3147261"/>
                  <a:gd name="connsiteX66" fmla="*/ 869689 w 3140960"/>
                  <a:gd name="connsiteY66" fmla="*/ 175260 h 3147261"/>
                  <a:gd name="connsiteX67" fmla="*/ 976369 w 3140960"/>
                  <a:gd name="connsiteY67" fmla="*/ 137160 h 3147261"/>
                  <a:gd name="connsiteX68" fmla="*/ 1105909 w 3140960"/>
                  <a:gd name="connsiteY68" fmla="*/ 76200 h 3147261"/>
                  <a:gd name="connsiteX69" fmla="*/ 1243069 w 3140960"/>
                  <a:gd name="connsiteY69" fmla="*/ 38100 h 3147261"/>
                  <a:gd name="connsiteX70" fmla="*/ 1265929 w 3140960"/>
                  <a:gd name="connsiteY70" fmla="*/ 30480 h 3147261"/>
                  <a:gd name="connsiteX71" fmla="*/ 1387849 w 3140960"/>
                  <a:gd name="connsiteY71" fmla="*/ 15240 h 3147261"/>
                  <a:gd name="connsiteX72" fmla="*/ 1464049 w 3140960"/>
                  <a:gd name="connsiteY72" fmla="*/ 0 h 3147261"/>
                  <a:gd name="connsiteX73" fmla="*/ 1745989 w 3140960"/>
                  <a:gd name="connsiteY73" fmla="*/ 0 h 3147261"/>
                  <a:gd name="connsiteX74" fmla="*/ 2165089 w 3140960"/>
                  <a:gd name="connsiteY74" fmla="*/ 99060 h 3147261"/>
                  <a:gd name="connsiteX75" fmla="*/ 2340349 w 3140960"/>
                  <a:gd name="connsiteY75" fmla="*/ 182880 h 3147261"/>
                  <a:gd name="connsiteX76" fmla="*/ 2370829 w 3140960"/>
                  <a:gd name="connsiteY7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49949 w 3140960"/>
                  <a:gd name="connsiteY26" fmla="*/ 2331720 h 3147261"/>
                  <a:gd name="connsiteX27" fmla="*/ 2927089 w 3140960"/>
                  <a:gd name="connsiteY27" fmla="*/ 2385060 h 3147261"/>
                  <a:gd name="connsiteX28" fmla="*/ 2858509 w 3140960"/>
                  <a:gd name="connsiteY28" fmla="*/ 2499360 h 3147261"/>
                  <a:gd name="connsiteX29" fmla="*/ 2843269 w 3140960"/>
                  <a:gd name="connsiteY29" fmla="*/ 2529840 h 3147261"/>
                  <a:gd name="connsiteX30" fmla="*/ 2835649 w 3140960"/>
                  <a:gd name="connsiteY30" fmla="*/ 2552700 h 3147261"/>
                  <a:gd name="connsiteX31" fmla="*/ 2759449 w 3140960"/>
                  <a:gd name="connsiteY31" fmla="*/ 2636520 h 3147261"/>
                  <a:gd name="connsiteX32" fmla="*/ 2706109 w 3140960"/>
                  <a:gd name="connsiteY32" fmla="*/ 2667000 h 3147261"/>
                  <a:gd name="connsiteX33" fmla="*/ 2302249 w 3140960"/>
                  <a:gd name="connsiteY33" fmla="*/ 2971800 h 3147261"/>
                  <a:gd name="connsiteX34" fmla="*/ 2195569 w 3140960"/>
                  <a:gd name="connsiteY34" fmla="*/ 3025140 h 3147261"/>
                  <a:gd name="connsiteX35" fmla="*/ 2096509 w 3140960"/>
                  <a:gd name="connsiteY35" fmla="*/ 3055620 h 3147261"/>
                  <a:gd name="connsiteX36" fmla="*/ 1913629 w 3140960"/>
                  <a:gd name="connsiteY36" fmla="*/ 3108960 h 3147261"/>
                  <a:gd name="connsiteX37" fmla="*/ 1799329 w 3140960"/>
                  <a:gd name="connsiteY37" fmla="*/ 3147060 h 3147261"/>
                  <a:gd name="connsiteX38" fmla="*/ 1334509 w 3140960"/>
                  <a:gd name="connsiteY38" fmla="*/ 3108960 h 3147261"/>
                  <a:gd name="connsiteX39" fmla="*/ 793489 w 3140960"/>
                  <a:gd name="connsiteY39" fmla="*/ 2933700 h 3147261"/>
                  <a:gd name="connsiteX40" fmla="*/ 420109 w 3140960"/>
                  <a:gd name="connsiteY40" fmla="*/ 2644140 h 3147261"/>
                  <a:gd name="connsiteX41" fmla="*/ 321049 w 3140960"/>
                  <a:gd name="connsiteY41" fmla="*/ 2484120 h 3147261"/>
                  <a:gd name="connsiteX42" fmla="*/ 298189 w 3140960"/>
                  <a:gd name="connsiteY42" fmla="*/ 2430780 h 3147261"/>
                  <a:gd name="connsiteX43" fmla="*/ 275329 w 3140960"/>
                  <a:gd name="connsiteY43" fmla="*/ 2377440 h 3147261"/>
                  <a:gd name="connsiteX44" fmla="*/ 229609 w 3140960"/>
                  <a:gd name="connsiteY44" fmla="*/ 2316480 h 3147261"/>
                  <a:gd name="connsiteX45" fmla="*/ 206749 w 3140960"/>
                  <a:gd name="connsiteY45" fmla="*/ 2293620 h 3147261"/>
                  <a:gd name="connsiteX46" fmla="*/ 176269 w 3140960"/>
                  <a:gd name="connsiteY46" fmla="*/ 2240280 h 3147261"/>
                  <a:gd name="connsiteX47" fmla="*/ 161029 w 3140960"/>
                  <a:gd name="connsiteY47" fmla="*/ 2202180 h 3147261"/>
                  <a:gd name="connsiteX48" fmla="*/ 145789 w 3140960"/>
                  <a:gd name="connsiteY48" fmla="*/ 2179320 h 3147261"/>
                  <a:gd name="connsiteX49" fmla="*/ 130549 w 3140960"/>
                  <a:gd name="connsiteY49" fmla="*/ 2133600 h 3147261"/>
                  <a:gd name="connsiteX50" fmla="*/ 100069 w 3140960"/>
                  <a:gd name="connsiteY50" fmla="*/ 2087880 h 3147261"/>
                  <a:gd name="connsiteX51" fmla="*/ 61969 w 3140960"/>
                  <a:gd name="connsiteY51" fmla="*/ 2026920 h 3147261"/>
                  <a:gd name="connsiteX52" fmla="*/ 54349 w 3140960"/>
                  <a:gd name="connsiteY52" fmla="*/ 2004060 h 3147261"/>
                  <a:gd name="connsiteX53" fmla="*/ 39109 w 3140960"/>
                  <a:gd name="connsiteY53" fmla="*/ 1943100 h 3147261"/>
                  <a:gd name="connsiteX54" fmla="*/ 23869 w 3140960"/>
                  <a:gd name="connsiteY54" fmla="*/ 1897380 h 3147261"/>
                  <a:gd name="connsiteX55" fmla="*/ 1009 w 3140960"/>
                  <a:gd name="connsiteY55" fmla="*/ 1562100 h 3147261"/>
                  <a:gd name="connsiteX56" fmla="*/ 54349 w 3140960"/>
                  <a:gd name="connsiteY56" fmla="*/ 1135380 h 3147261"/>
                  <a:gd name="connsiteX57" fmla="*/ 161029 w 3140960"/>
                  <a:gd name="connsiteY57" fmla="*/ 861060 h 3147261"/>
                  <a:gd name="connsiteX58" fmla="*/ 183889 w 3140960"/>
                  <a:gd name="connsiteY58" fmla="*/ 822960 h 3147261"/>
                  <a:gd name="connsiteX59" fmla="*/ 260089 w 3140960"/>
                  <a:gd name="connsiteY59" fmla="*/ 708660 h 3147261"/>
                  <a:gd name="connsiteX60" fmla="*/ 275329 w 3140960"/>
                  <a:gd name="connsiteY60" fmla="*/ 662940 h 3147261"/>
                  <a:gd name="connsiteX61" fmla="*/ 420109 w 3140960"/>
                  <a:gd name="connsiteY61" fmla="*/ 510540 h 3147261"/>
                  <a:gd name="connsiteX62" fmla="*/ 511549 w 3140960"/>
                  <a:gd name="connsiteY62" fmla="*/ 434340 h 3147261"/>
                  <a:gd name="connsiteX63" fmla="*/ 564889 w 3140960"/>
                  <a:gd name="connsiteY63" fmla="*/ 396240 h 3147261"/>
                  <a:gd name="connsiteX64" fmla="*/ 656329 w 3140960"/>
                  <a:gd name="connsiteY64" fmla="*/ 312420 h 3147261"/>
                  <a:gd name="connsiteX65" fmla="*/ 869689 w 3140960"/>
                  <a:gd name="connsiteY65" fmla="*/ 175260 h 3147261"/>
                  <a:gd name="connsiteX66" fmla="*/ 976369 w 3140960"/>
                  <a:gd name="connsiteY66" fmla="*/ 137160 h 3147261"/>
                  <a:gd name="connsiteX67" fmla="*/ 1105909 w 3140960"/>
                  <a:gd name="connsiteY67" fmla="*/ 76200 h 3147261"/>
                  <a:gd name="connsiteX68" fmla="*/ 1243069 w 3140960"/>
                  <a:gd name="connsiteY68" fmla="*/ 38100 h 3147261"/>
                  <a:gd name="connsiteX69" fmla="*/ 1265929 w 3140960"/>
                  <a:gd name="connsiteY69" fmla="*/ 30480 h 3147261"/>
                  <a:gd name="connsiteX70" fmla="*/ 1387849 w 3140960"/>
                  <a:gd name="connsiteY70" fmla="*/ 15240 h 3147261"/>
                  <a:gd name="connsiteX71" fmla="*/ 1464049 w 3140960"/>
                  <a:gd name="connsiteY71" fmla="*/ 0 h 3147261"/>
                  <a:gd name="connsiteX72" fmla="*/ 1745989 w 3140960"/>
                  <a:gd name="connsiteY72" fmla="*/ 0 h 3147261"/>
                  <a:gd name="connsiteX73" fmla="*/ 2165089 w 3140960"/>
                  <a:gd name="connsiteY73" fmla="*/ 99060 h 3147261"/>
                  <a:gd name="connsiteX74" fmla="*/ 2340349 w 3140960"/>
                  <a:gd name="connsiteY74" fmla="*/ 182880 h 3147261"/>
                  <a:gd name="connsiteX75" fmla="*/ 2370829 w 3140960"/>
                  <a:gd name="connsiteY7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2949949 w 3140960"/>
                  <a:gd name="connsiteY25" fmla="*/ 2331720 h 3147261"/>
                  <a:gd name="connsiteX26" fmla="*/ 2927089 w 3140960"/>
                  <a:gd name="connsiteY26" fmla="*/ 2385060 h 3147261"/>
                  <a:gd name="connsiteX27" fmla="*/ 2858509 w 3140960"/>
                  <a:gd name="connsiteY27" fmla="*/ 2499360 h 3147261"/>
                  <a:gd name="connsiteX28" fmla="*/ 2843269 w 3140960"/>
                  <a:gd name="connsiteY28" fmla="*/ 2529840 h 3147261"/>
                  <a:gd name="connsiteX29" fmla="*/ 2835649 w 3140960"/>
                  <a:gd name="connsiteY29" fmla="*/ 2552700 h 3147261"/>
                  <a:gd name="connsiteX30" fmla="*/ 2759449 w 3140960"/>
                  <a:gd name="connsiteY30" fmla="*/ 2636520 h 3147261"/>
                  <a:gd name="connsiteX31" fmla="*/ 2706109 w 3140960"/>
                  <a:gd name="connsiteY31" fmla="*/ 2667000 h 3147261"/>
                  <a:gd name="connsiteX32" fmla="*/ 2302249 w 3140960"/>
                  <a:gd name="connsiteY32" fmla="*/ 2971800 h 3147261"/>
                  <a:gd name="connsiteX33" fmla="*/ 2195569 w 3140960"/>
                  <a:gd name="connsiteY33" fmla="*/ 3025140 h 3147261"/>
                  <a:gd name="connsiteX34" fmla="*/ 2096509 w 3140960"/>
                  <a:gd name="connsiteY34" fmla="*/ 3055620 h 3147261"/>
                  <a:gd name="connsiteX35" fmla="*/ 1913629 w 3140960"/>
                  <a:gd name="connsiteY35" fmla="*/ 3108960 h 3147261"/>
                  <a:gd name="connsiteX36" fmla="*/ 1799329 w 3140960"/>
                  <a:gd name="connsiteY36" fmla="*/ 3147060 h 3147261"/>
                  <a:gd name="connsiteX37" fmla="*/ 1334509 w 3140960"/>
                  <a:gd name="connsiteY37" fmla="*/ 3108960 h 3147261"/>
                  <a:gd name="connsiteX38" fmla="*/ 793489 w 3140960"/>
                  <a:gd name="connsiteY38" fmla="*/ 2933700 h 3147261"/>
                  <a:gd name="connsiteX39" fmla="*/ 420109 w 3140960"/>
                  <a:gd name="connsiteY39" fmla="*/ 2644140 h 3147261"/>
                  <a:gd name="connsiteX40" fmla="*/ 321049 w 3140960"/>
                  <a:gd name="connsiteY40" fmla="*/ 2484120 h 3147261"/>
                  <a:gd name="connsiteX41" fmla="*/ 298189 w 3140960"/>
                  <a:gd name="connsiteY41" fmla="*/ 2430780 h 3147261"/>
                  <a:gd name="connsiteX42" fmla="*/ 275329 w 3140960"/>
                  <a:gd name="connsiteY42" fmla="*/ 2377440 h 3147261"/>
                  <a:gd name="connsiteX43" fmla="*/ 229609 w 3140960"/>
                  <a:gd name="connsiteY43" fmla="*/ 2316480 h 3147261"/>
                  <a:gd name="connsiteX44" fmla="*/ 206749 w 3140960"/>
                  <a:gd name="connsiteY44" fmla="*/ 2293620 h 3147261"/>
                  <a:gd name="connsiteX45" fmla="*/ 176269 w 3140960"/>
                  <a:gd name="connsiteY45" fmla="*/ 2240280 h 3147261"/>
                  <a:gd name="connsiteX46" fmla="*/ 161029 w 3140960"/>
                  <a:gd name="connsiteY46" fmla="*/ 2202180 h 3147261"/>
                  <a:gd name="connsiteX47" fmla="*/ 145789 w 3140960"/>
                  <a:gd name="connsiteY47" fmla="*/ 2179320 h 3147261"/>
                  <a:gd name="connsiteX48" fmla="*/ 130549 w 3140960"/>
                  <a:gd name="connsiteY48" fmla="*/ 2133600 h 3147261"/>
                  <a:gd name="connsiteX49" fmla="*/ 100069 w 3140960"/>
                  <a:gd name="connsiteY49" fmla="*/ 2087880 h 3147261"/>
                  <a:gd name="connsiteX50" fmla="*/ 61969 w 3140960"/>
                  <a:gd name="connsiteY50" fmla="*/ 2026920 h 3147261"/>
                  <a:gd name="connsiteX51" fmla="*/ 54349 w 3140960"/>
                  <a:gd name="connsiteY51" fmla="*/ 2004060 h 3147261"/>
                  <a:gd name="connsiteX52" fmla="*/ 39109 w 3140960"/>
                  <a:gd name="connsiteY52" fmla="*/ 1943100 h 3147261"/>
                  <a:gd name="connsiteX53" fmla="*/ 23869 w 3140960"/>
                  <a:gd name="connsiteY53" fmla="*/ 1897380 h 3147261"/>
                  <a:gd name="connsiteX54" fmla="*/ 1009 w 3140960"/>
                  <a:gd name="connsiteY54" fmla="*/ 1562100 h 3147261"/>
                  <a:gd name="connsiteX55" fmla="*/ 54349 w 3140960"/>
                  <a:gd name="connsiteY55" fmla="*/ 1135380 h 3147261"/>
                  <a:gd name="connsiteX56" fmla="*/ 161029 w 3140960"/>
                  <a:gd name="connsiteY56" fmla="*/ 861060 h 3147261"/>
                  <a:gd name="connsiteX57" fmla="*/ 183889 w 3140960"/>
                  <a:gd name="connsiteY57" fmla="*/ 822960 h 3147261"/>
                  <a:gd name="connsiteX58" fmla="*/ 260089 w 3140960"/>
                  <a:gd name="connsiteY58" fmla="*/ 708660 h 3147261"/>
                  <a:gd name="connsiteX59" fmla="*/ 275329 w 3140960"/>
                  <a:gd name="connsiteY59" fmla="*/ 662940 h 3147261"/>
                  <a:gd name="connsiteX60" fmla="*/ 420109 w 3140960"/>
                  <a:gd name="connsiteY60" fmla="*/ 510540 h 3147261"/>
                  <a:gd name="connsiteX61" fmla="*/ 511549 w 3140960"/>
                  <a:gd name="connsiteY61" fmla="*/ 434340 h 3147261"/>
                  <a:gd name="connsiteX62" fmla="*/ 564889 w 3140960"/>
                  <a:gd name="connsiteY62" fmla="*/ 396240 h 3147261"/>
                  <a:gd name="connsiteX63" fmla="*/ 656329 w 3140960"/>
                  <a:gd name="connsiteY63" fmla="*/ 312420 h 3147261"/>
                  <a:gd name="connsiteX64" fmla="*/ 869689 w 3140960"/>
                  <a:gd name="connsiteY64" fmla="*/ 175260 h 3147261"/>
                  <a:gd name="connsiteX65" fmla="*/ 976369 w 3140960"/>
                  <a:gd name="connsiteY65" fmla="*/ 137160 h 3147261"/>
                  <a:gd name="connsiteX66" fmla="*/ 1105909 w 3140960"/>
                  <a:gd name="connsiteY66" fmla="*/ 76200 h 3147261"/>
                  <a:gd name="connsiteX67" fmla="*/ 1243069 w 3140960"/>
                  <a:gd name="connsiteY67" fmla="*/ 38100 h 3147261"/>
                  <a:gd name="connsiteX68" fmla="*/ 1265929 w 3140960"/>
                  <a:gd name="connsiteY68" fmla="*/ 30480 h 3147261"/>
                  <a:gd name="connsiteX69" fmla="*/ 1387849 w 3140960"/>
                  <a:gd name="connsiteY69" fmla="*/ 15240 h 3147261"/>
                  <a:gd name="connsiteX70" fmla="*/ 1464049 w 3140960"/>
                  <a:gd name="connsiteY70" fmla="*/ 0 h 3147261"/>
                  <a:gd name="connsiteX71" fmla="*/ 1745989 w 3140960"/>
                  <a:gd name="connsiteY71" fmla="*/ 0 h 3147261"/>
                  <a:gd name="connsiteX72" fmla="*/ 2165089 w 3140960"/>
                  <a:gd name="connsiteY72" fmla="*/ 99060 h 3147261"/>
                  <a:gd name="connsiteX73" fmla="*/ 2340349 w 3140960"/>
                  <a:gd name="connsiteY73" fmla="*/ 182880 h 3147261"/>
                  <a:gd name="connsiteX74" fmla="*/ 2370829 w 3140960"/>
                  <a:gd name="connsiteY7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2949949 w 3140960"/>
                  <a:gd name="connsiteY24" fmla="*/ 2331720 h 3147261"/>
                  <a:gd name="connsiteX25" fmla="*/ 2927089 w 3140960"/>
                  <a:gd name="connsiteY25" fmla="*/ 2385060 h 3147261"/>
                  <a:gd name="connsiteX26" fmla="*/ 2858509 w 3140960"/>
                  <a:gd name="connsiteY26" fmla="*/ 2499360 h 3147261"/>
                  <a:gd name="connsiteX27" fmla="*/ 2843269 w 3140960"/>
                  <a:gd name="connsiteY27" fmla="*/ 2529840 h 3147261"/>
                  <a:gd name="connsiteX28" fmla="*/ 2835649 w 3140960"/>
                  <a:gd name="connsiteY28" fmla="*/ 2552700 h 3147261"/>
                  <a:gd name="connsiteX29" fmla="*/ 2759449 w 3140960"/>
                  <a:gd name="connsiteY29" fmla="*/ 2636520 h 3147261"/>
                  <a:gd name="connsiteX30" fmla="*/ 2706109 w 3140960"/>
                  <a:gd name="connsiteY30" fmla="*/ 2667000 h 3147261"/>
                  <a:gd name="connsiteX31" fmla="*/ 2302249 w 3140960"/>
                  <a:gd name="connsiteY31" fmla="*/ 2971800 h 3147261"/>
                  <a:gd name="connsiteX32" fmla="*/ 2195569 w 3140960"/>
                  <a:gd name="connsiteY32" fmla="*/ 3025140 h 3147261"/>
                  <a:gd name="connsiteX33" fmla="*/ 2096509 w 3140960"/>
                  <a:gd name="connsiteY33" fmla="*/ 3055620 h 3147261"/>
                  <a:gd name="connsiteX34" fmla="*/ 1913629 w 3140960"/>
                  <a:gd name="connsiteY34" fmla="*/ 3108960 h 3147261"/>
                  <a:gd name="connsiteX35" fmla="*/ 1799329 w 3140960"/>
                  <a:gd name="connsiteY35" fmla="*/ 3147060 h 3147261"/>
                  <a:gd name="connsiteX36" fmla="*/ 1334509 w 3140960"/>
                  <a:gd name="connsiteY36" fmla="*/ 3108960 h 3147261"/>
                  <a:gd name="connsiteX37" fmla="*/ 793489 w 3140960"/>
                  <a:gd name="connsiteY37" fmla="*/ 2933700 h 3147261"/>
                  <a:gd name="connsiteX38" fmla="*/ 420109 w 3140960"/>
                  <a:gd name="connsiteY38" fmla="*/ 2644140 h 3147261"/>
                  <a:gd name="connsiteX39" fmla="*/ 321049 w 3140960"/>
                  <a:gd name="connsiteY39" fmla="*/ 2484120 h 3147261"/>
                  <a:gd name="connsiteX40" fmla="*/ 298189 w 3140960"/>
                  <a:gd name="connsiteY40" fmla="*/ 2430780 h 3147261"/>
                  <a:gd name="connsiteX41" fmla="*/ 275329 w 3140960"/>
                  <a:gd name="connsiteY41" fmla="*/ 2377440 h 3147261"/>
                  <a:gd name="connsiteX42" fmla="*/ 229609 w 3140960"/>
                  <a:gd name="connsiteY42" fmla="*/ 2316480 h 3147261"/>
                  <a:gd name="connsiteX43" fmla="*/ 206749 w 3140960"/>
                  <a:gd name="connsiteY43" fmla="*/ 2293620 h 3147261"/>
                  <a:gd name="connsiteX44" fmla="*/ 176269 w 3140960"/>
                  <a:gd name="connsiteY44" fmla="*/ 2240280 h 3147261"/>
                  <a:gd name="connsiteX45" fmla="*/ 161029 w 3140960"/>
                  <a:gd name="connsiteY45" fmla="*/ 2202180 h 3147261"/>
                  <a:gd name="connsiteX46" fmla="*/ 145789 w 3140960"/>
                  <a:gd name="connsiteY46" fmla="*/ 2179320 h 3147261"/>
                  <a:gd name="connsiteX47" fmla="*/ 130549 w 3140960"/>
                  <a:gd name="connsiteY47" fmla="*/ 2133600 h 3147261"/>
                  <a:gd name="connsiteX48" fmla="*/ 100069 w 3140960"/>
                  <a:gd name="connsiteY48" fmla="*/ 2087880 h 3147261"/>
                  <a:gd name="connsiteX49" fmla="*/ 61969 w 3140960"/>
                  <a:gd name="connsiteY49" fmla="*/ 2026920 h 3147261"/>
                  <a:gd name="connsiteX50" fmla="*/ 54349 w 3140960"/>
                  <a:gd name="connsiteY50" fmla="*/ 2004060 h 3147261"/>
                  <a:gd name="connsiteX51" fmla="*/ 39109 w 3140960"/>
                  <a:gd name="connsiteY51" fmla="*/ 1943100 h 3147261"/>
                  <a:gd name="connsiteX52" fmla="*/ 23869 w 3140960"/>
                  <a:gd name="connsiteY52" fmla="*/ 1897380 h 3147261"/>
                  <a:gd name="connsiteX53" fmla="*/ 1009 w 3140960"/>
                  <a:gd name="connsiteY53" fmla="*/ 1562100 h 3147261"/>
                  <a:gd name="connsiteX54" fmla="*/ 54349 w 3140960"/>
                  <a:gd name="connsiteY54" fmla="*/ 1135380 h 3147261"/>
                  <a:gd name="connsiteX55" fmla="*/ 161029 w 3140960"/>
                  <a:gd name="connsiteY55" fmla="*/ 861060 h 3147261"/>
                  <a:gd name="connsiteX56" fmla="*/ 183889 w 3140960"/>
                  <a:gd name="connsiteY56" fmla="*/ 822960 h 3147261"/>
                  <a:gd name="connsiteX57" fmla="*/ 260089 w 3140960"/>
                  <a:gd name="connsiteY57" fmla="*/ 708660 h 3147261"/>
                  <a:gd name="connsiteX58" fmla="*/ 275329 w 3140960"/>
                  <a:gd name="connsiteY58" fmla="*/ 662940 h 3147261"/>
                  <a:gd name="connsiteX59" fmla="*/ 420109 w 3140960"/>
                  <a:gd name="connsiteY59" fmla="*/ 510540 h 3147261"/>
                  <a:gd name="connsiteX60" fmla="*/ 511549 w 3140960"/>
                  <a:gd name="connsiteY60" fmla="*/ 434340 h 3147261"/>
                  <a:gd name="connsiteX61" fmla="*/ 564889 w 3140960"/>
                  <a:gd name="connsiteY61" fmla="*/ 396240 h 3147261"/>
                  <a:gd name="connsiteX62" fmla="*/ 656329 w 3140960"/>
                  <a:gd name="connsiteY62" fmla="*/ 312420 h 3147261"/>
                  <a:gd name="connsiteX63" fmla="*/ 869689 w 3140960"/>
                  <a:gd name="connsiteY63" fmla="*/ 175260 h 3147261"/>
                  <a:gd name="connsiteX64" fmla="*/ 976369 w 3140960"/>
                  <a:gd name="connsiteY64" fmla="*/ 137160 h 3147261"/>
                  <a:gd name="connsiteX65" fmla="*/ 1105909 w 3140960"/>
                  <a:gd name="connsiteY65" fmla="*/ 76200 h 3147261"/>
                  <a:gd name="connsiteX66" fmla="*/ 1243069 w 3140960"/>
                  <a:gd name="connsiteY66" fmla="*/ 38100 h 3147261"/>
                  <a:gd name="connsiteX67" fmla="*/ 1265929 w 3140960"/>
                  <a:gd name="connsiteY67" fmla="*/ 30480 h 3147261"/>
                  <a:gd name="connsiteX68" fmla="*/ 1387849 w 3140960"/>
                  <a:gd name="connsiteY68" fmla="*/ 15240 h 3147261"/>
                  <a:gd name="connsiteX69" fmla="*/ 1464049 w 3140960"/>
                  <a:gd name="connsiteY69" fmla="*/ 0 h 3147261"/>
                  <a:gd name="connsiteX70" fmla="*/ 1745989 w 3140960"/>
                  <a:gd name="connsiteY70" fmla="*/ 0 h 3147261"/>
                  <a:gd name="connsiteX71" fmla="*/ 2165089 w 3140960"/>
                  <a:gd name="connsiteY71" fmla="*/ 99060 h 3147261"/>
                  <a:gd name="connsiteX72" fmla="*/ 2340349 w 3140960"/>
                  <a:gd name="connsiteY72" fmla="*/ 182880 h 3147261"/>
                  <a:gd name="connsiteX73" fmla="*/ 2370829 w 3140960"/>
                  <a:gd name="connsiteY7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30549 w 3140960"/>
                  <a:gd name="connsiteY46" fmla="*/ 2133600 h 3147261"/>
                  <a:gd name="connsiteX47" fmla="*/ 100069 w 3140960"/>
                  <a:gd name="connsiteY47" fmla="*/ 2087880 h 3147261"/>
                  <a:gd name="connsiteX48" fmla="*/ 61969 w 3140960"/>
                  <a:gd name="connsiteY48" fmla="*/ 2026920 h 3147261"/>
                  <a:gd name="connsiteX49" fmla="*/ 54349 w 3140960"/>
                  <a:gd name="connsiteY49" fmla="*/ 2004060 h 3147261"/>
                  <a:gd name="connsiteX50" fmla="*/ 39109 w 3140960"/>
                  <a:gd name="connsiteY50" fmla="*/ 1943100 h 3147261"/>
                  <a:gd name="connsiteX51" fmla="*/ 23869 w 3140960"/>
                  <a:gd name="connsiteY51" fmla="*/ 1897380 h 3147261"/>
                  <a:gd name="connsiteX52" fmla="*/ 1009 w 3140960"/>
                  <a:gd name="connsiteY52" fmla="*/ 1562100 h 3147261"/>
                  <a:gd name="connsiteX53" fmla="*/ 54349 w 3140960"/>
                  <a:gd name="connsiteY53" fmla="*/ 1135380 h 3147261"/>
                  <a:gd name="connsiteX54" fmla="*/ 161029 w 3140960"/>
                  <a:gd name="connsiteY54" fmla="*/ 861060 h 3147261"/>
                  <a:gd name="connsiteX55" fmla="*/ 183889 w 3140960"/>
                  <a:gd name="connsiteY55" fmla="*/ 822960 h 3147261"/>
                  <a:gd name="connsiteX56" fmla="*/ 260089 w 3140960"/>
                  <a:gd name="connsiteY56" fmla="*/ 708660 h 3147261"/>
                  <a:gd name="connsiteX57" fmla="*/ 275329 w 3140960"/>
                  <a:gd name="connsiteY57" fmla="*/ 662940 h 3147261"/>
                  <a:gd name="connsiteX58" fmla="*/ 420109 w 3140960"/>
                  <a:gd name="connsiteY58" fmla="*/ 510540 h 3147261"/>
                  <a:gd name="connsiteX59" fmla="*/ 511549 w 3140960"/>
                  <a:gd name="connsiteY59" fmla="*/ 434340 h 3147261"/>
                  <a:gd name="connsiteX60" fmla="*/ 564889 w 3140960"/>
                  <a:gd name="connsiteY60" fmla="*/ 396240 h 3147261"/>
                  <a:gd name="connsiteX61" fmla="*/ 656329 w 3140960"/>
                  <a:gd name="connsiteY61" fmla="*/ 312420 h 3147261"/>
                  <a:gd name="connsiteX62" fmla="*/ 869689 w 3140960"/>
                  <a:gd name="connsiteY62" fmla="*/ 175260 h 3147261"/>
                  <a:gd name="connsiteX63" fmla="*/ 976369 w 3140960"/>
                  <a:gd name="connsiteY63" fmla="*/ 137160 h 3147261"/>
                  <a:gd name="connsiteX64" fmla="*/ 1105909 w 3140960"/>
                  <a:gd name="connsiteY64" fmla="*/ 76200 h 3147261"/>
                  <a:gd name="connsiteX65" fmla="*/ 1243069 w 3140960"/>
                  <a:gd name="connsiteY65" fmla="*/ 38100 h 3147261"/>
                  <a:gd name="connsiteX66" fmla="*/ 1265929 w 3140960"/>
                  <a:gd name="connsiteY66" fmla="*/ 30480 h 3147261"/>
                  <a:gd name="connsiteX67" fmla="*/ 1387849 w 3140960"/>
                  <a:gd name="connsiteY67" fmla="*/ 15240 h 3147261"/>
                  <a:gd name="connsiteX68" fmla="*/ 1464049 w 3140960"/>
                  <a:gd name="connsiteY68" fmla="*/ 0 h 3147261"/>
                  <a:gd name="connsiteX69" fmla="*/ 1745989 w 3140960"/>
                  <a:gd name="connsiteY69" fmla="*/ 0 h 3147261"/>
                  <a:gd name="connsiteX70" fmla="*/ 2165089 w 3140960"/>
                  <a:gd name="connsiteY70" fmla="*/ 99060 h 3147261"/>
                  <a:gd name="connsiteX71" fmla="*/ 2340349 w 3140960"/>
                  <a:gd name="connsiteY71" fmla="*/ 182880 h 3147261"/>
                  <a:gd name="connsiteX72" fmla="*/ 2370829 w 3140960"/>
                  <a:gd name="connsiteY7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00069 w 3140960"/>
                  <a:gd name="connsiteY46" fmla="*/ 2087880 h 3147261"/>
                  <a:gd name="connsiteX47" fmla="*/ 61969 w 3140960"/>
                  <a:gd name="connsiteY47" fmla="*/ 2026920 h 3147261"/>
                  <a:gd name="connsiteX48" fmla="*/ 54349 w 3140960"/>
                  <a:gd name="connsiteY48" fmla="*/ 2004060 h 3147261"/>
                  <a:gd name="connsiteX49" fmla="*/ 39109 w 3140960"/>
                  <a:gd name="connsiteY49" fmla="*/ 1943100 h 3147261"/>
                  <a:gd name="connsiteX50" fmla="*/ 23869 w 3140960"/>
                  <a:gd name="connsiteY50" fmla="*/ 1897380 h 3147261"/>
                  <a:gd name="connsiteX51" fmla="*/ 1009 w 3140960"/>
                  <a:gd name="connsiteY51" fmla="*/ 1562100 h 3147261"/>
                  <a:gd name="connsiteX52" fmla="*/ 54349 w 3140960"/>
                  <a:gd name="connsiteY52" fmla="*/ 1135380 h 3147261"/>
                  <a:gd name="connsiteX53" fmla="*/ 161029 w 3140960"/>
                  <a:gd name="connsiteY53" fmla="*/ 861060 h 3147261"/>
                  <a:gd name="connsiteX54" fmla="*/ 183889 w 3140960"/>
                  <a:gd name="connsiteY54" fmla="*/ 822960 h 3147261"/>
                  <a:gd name="connsiteX55" fmla="*/ 260089 w 3140960"/>
                  <a:gd name="connsiteY55" fmla="*/ 708660 h 3147261"/>
                  <a:gd name="connsiteX56" fmla="*/ 275329 w 3140960"/>
                  <a:gd name="connsiteY56" fmla="*/ 662940 h 3147261"/>
                  <a:gd name="connsiteX57" fmla="*/ 420109 w 3140960"/>
                  <a:gd name="connsiteY57" fmla="*/ 510540 h 3147261"/>
                  <a:gd name="connsiteX58" fmla="*/ 511549 w 3140960"/>
                  <a:gd name="connsiteY58" fmla="*/ 434340 h 3147261"/>
                  <a:gd name="connsiteX59" fmla="*/ 564889 w 3140960"/>
                  <a:gd name="connsiteY59" fmla="*/ 396240 h 3147261"/>
                  <a:gd name="connsiteX60" fmla="*/ 656329 w 3140960"/>
                  <a:gd name="connsiteY60" fmla="*/ 312420 h 3147261"/>
                  <a:gd name="connsiteX61" fmla="*/ 869689 w 3140960"/>
                  <a:gd name="connsiteY61" fmla="*/ 175260 h 3147261"/>
                  <a:gd name="connsiteX62" fmla="*/ 976369 w 3140960"/>
                  <a:gd name="connsiteY62" fmla="*/ 137160 h 3147261"/>
                  <a:gd name="connsiteX63" fmla="*/ 1105909 w 3140960"/>
                  <a:gd name="connsiteY63" fmla="*/ 76200 h 3147261"/>
                  <a:gd name="connsiteX64" fmla="*/ 1243069 w 3140960"/>
                  <a:gd name="connsiteY64" fmla="*/ 38100 h 3147261"/>
                  <a:gd name="connsiteX65" fmla="*/ 1265929 w 3140960"/>
                  <a:gd name="connsiteY65" fmla="*/ 30480 h 3147261"/>
                  <a:gd name="connsiteX66" fmla="*/ 1387849 w 3140960"/>
                  <a:gd name="connsiteY66" fmla="*/ 15240 h 3147261"/>
                  <a:gd name="connsiteX67" fmla="*/ 1464049 w 3140960"/>
                  <a:gd name="connsiteY67" fmla="*/ 0 h 3147261"/>
                  <a:gd name="connsiteX68" fmla="*/ 1745989 w 3140960"/>
                  <a:gd name="connsiteY68" fmla="*/ 0 h 3147261"/>
                  <a:gd name="connsiteX69" fmla="*/ 2165089 w 3140960"/>
                  <a:gd name="connsiteY69" fmla="*/ 99060 h 3147261"/>
                  <a:gd name="connsiteX70" fmla="*/ 2340349 w 3140960"/>
                  <a:gd name="connsiteY70" fmla="*/ 182880 h 3147261"/>
                  <a:gd name="connsiteX71" fmla="*/ 2370829 w 3140960"/>
                  <a:gd name="connsiteY7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45789 w 3140960"/>
                  <a:gd name="connsiteY44" fmla="*/ 2179320 h 3147261"/>
                  <a:gd name="connsiteX45" fmla="*/ 100069 w 3140960"/>
                  <a:gd name="connsiteY45" fmla="*/ 2087880 h 3147261"/>
                  <a:gd name="connsiteX46" fmla="*/ 61969 w 3140960"/>
                  <a:gd name="connsiteY46" fmla="*/ 2026920 h 3147261"/>
                  <a:gd name="connsiteX47" fmla="*/ 54349 w 3140960"/>
                  <a:gd name="connsiteY47" fmla="*/ 2004060 h 3147261"/>
                  <a:gd name="connsiteX48" fmla="*/ 39109 w 3140960"/>
                  <a:gd name="connsiteY48" fmla="*/ 1943100 h 3147261"/>
                  <a:gd name="connsiteX49" fmla="*/ 23869 w 3140960"/>
                  <a:gd name="connsiteY49" fmla="*/ 1897380 h 3147261"/>
                  <a:gd name="connsiteX50" fmla="*/ 1009 w 3140960"/>
                  <a:gd name="connsiteY50" fmla="*/ 1562100 h 3147261"/>
                  <a:gd name="connsiteX51" fmla="*/ 54349 w 3140960"/>
                  <a:gd name="connsiteY51" fmla="*/ 1135380 h 3147261"/>
                  <a:gd name="connsiteX52" fmla="*/ 161029 w 3140960"/>
                  <a:gd name="connsiteY52" fmla="*/ 861060 h 3147261"/>
                  <a:gd name="connsiteX53" fmla="*/ 183889 w 3140960"/>
                  <a:gd name="connsiteY53" fmla="*/ 822960 h 3147261"/>
                  <a:gd name="connsiteX54" fmla="*/ 260089 w 3140960"/>
                  <a:gd name="connsiteY54" fmla="*/ 708660 h 3147261"/>
                  <a:gd name="connsiteX55" fmla="*/ 275329 w 3140960"/>
                  <a:gd name="connsiteY55" fmla="*/ 662940 h 3147261"/>
                  <a:gd name="connsiteX56" fmla="*/ 420109 w 3140960"/>
                  <a:gd name="connsiteY56" fmla="*/ 510540 h 3147261"/>
                  <a:gd name="connsiteX57" fmla="*/ 511549 w 3140960"/>
                  <a:gd name="connsiteY57" fmla="*/ 434340 h 3147261"/>
                  <a:gd name="connsiteX58" fmla="*/ 564889 w 3140960"/>
                  <a:gd name="connsiteY58" fmla="*/ 396240 h 3147261"/>
                  <a:gd name="connsiteX59" fmla="*/ 656329 w 3140960"/>
                  <a:gd name="connsiteY59" fmla="*/ 312420 h 3147261"/>
                  <a:gd name="connsiteX60" fmla="*/ 869689 w 3140960"/>
                  <a:gd name="connsiteY60" fmla="*/ 175260 h 3147261"/>
                  <a:gd name="connsiteX61" fmla="*/ 976369 w 3140960"/>
                  <a:gd name="connsiteY61" fmla="*/ 137160 h 3147261"/>
                  <a:gd name="connsiteX62" fmla="*/ 1105909 w 3140960"/>
                  <a:gd name="connsiteY62" fmla="*/ 76200 h 3147261"/>
                  <a:gd name="connsiteX63" fmla="*/ 1243069 w 3140960"/>
                  <a:gd name="connsiteY63" fmla="*/ 38100 h 3147261"/>
                  <a:gd name="connsiteX64" fmla="*/ 1265929 w 3140960"/>
                  <a:gd name="connsiteY64" fmla="*/ 30480 h 3147261"/>
                  <a:gd name="connsiteX65" fmla="*/ 1387849 w 3140960"/>
                  <a:gd name="connsiteY65" fmla="*/ 15240 h 3147261"/>
                  <a:gd name="connsiteX66" fmla="*/ 1464049 w 3140960"/>
                  <a:gd name="connsiteY66" fmla="*/ 0 h 3147261"/>
                  <a:gd name="connsiteX67" fmla="*/ 1745989 w 3140960"/>
                  <a:gd name="connsiteY67" fmla="*/ 0 h 3147261"/>
                  <a:gd name="connsiteX68" fmla="*/ 2165089 w 3140960"/>
                  <a:gd name="connsiteY68" fmla="*/ 99060 h 3147261"/>
                  <a:gd name="connsiteX69" fmla="*/ 2340349 w 3140960"/>
                  <a:gd name="connsiteY69" fmla="*/ 182880 h 3147261"/>
                  <a:gd name="connsiteX70" fmla="*/ 2370829 w 3140960"/>
                  <a:gd name="connsiteY7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45789 w 3140960"/>
                  <a:gd name="connsiteY43" fmla="*/ 2179320 h 3147261"/>
                  <a:gd name="connsiteX44" fmla="*/ 100069 w 3140960"/>
                  <a:gd name="connsiteY44" fmla="*/ 2087880 h 3147261"/>
                  <a:gd name="connsiteX45" fmla="*/ 61969 w 3140960"/>
                  <a:gd name="connsiteY45" fmla="*/ 2026920 h 3147261"/>
                  <a:gd name="connsiteX46" fmla="*/ 54349 w 3140960"/>
                  <a:gd name="connsiteY46" fmla="*/ 2004060 h 3147261"/>
                  <a:gd name="connsiteX47" fmla="*/ 39109 w 3140960"/>
                  <a:gd name="connsiteY47" fmla="*/ 1943100 h 3147261"/>
                  <a:gd name="connsiteX48" fmla="*/ 23869 w 3140960"/>
                  <a:gd name="connsiteY48" fmla="*/ 1897380 h 3147261"/>
                  <a:gd name="connsiteX49" fmla="*/ 1009 w 3140960"/>
                  <a:gd name="connsiteY49" fmla="*/ 1562100 h 3147261"/>
                  <a:gd name="connsiteX50" fmla="*/ 54349 w 3140960"/>
                  <a:gd name="connsiteY50" fmla="*/ 1135380 h 3147261"/>
                  <a:gd name="connsiteX51" fmla="*/ 161029 w 3140960"/>
                  <a:gd name="connsiteY51" fmla="*/ 861060 h 3147261"/>
                  <a:gd name="connsiteX52" fmla="*/ 183889 w 3140960"/>
                  <a:gd name="connsiteY52" fmla="*/ 822960 h 3147261"/>
                  <a:gd name="connsiteX53" fmla="*/ 260089 w 3140960"/>
                  <a:gd name="connsiteY53" fmla="*/ 708660 h 3147261"/>
                  <a:gd name="connsiteX54" fmla="*/ 275329 w 3140960"/>
                  <a:gd name="connsiteY54" fmla="*/ 662940 h 3147261"/>
                  <a:gd name="connsiteX55" fmla="*/ 420109 w 3140960"/>
                  <a:gd name="connsiteY55" fmla="*/ 510540 h 3147261"/>
                  <a:gd name="connsiteX56" fmla="*/ 511549 w 3140960"/>
                  <a:gd name="connsiteY56" fmla="*/ 434340 h 3147261"/>
                  <a:gd name="connsiteX57" fmla="*/ 564889 w 3140960"/>
                  <a:gd name="connsiteY57" fmla="*/ 396240 h 3147261"/>
                  <a:gd name="connsiteX58" fmla="*/ 656329 w 3140960"/>
                  <a:gd name="connsiteY58" fmla="*/ 312420 h 3147261"/>
                  <a:gd name="connsiteX59" fmla="*/ 869689 w 3140960"/>
                  <a:gd name="connsiteY59" fmla="*/ 175260 h 3147261"/>
                  <a:gd name="connsiteX60" fmla="*/ 976369 w 3140960"/>
                  <a:gd name="connsiteY60" fmla="*/ 137160 h 3147261"/>
                  <a:gd name="connsiteX61" fmla="*/ 1105909 w 3140960"/>
                  <a:gd name="connsiteY61" fmla="*/ 76200 h 3147261"/>
                  <a:gd name="connsiteX62" fmla="*/ 1243069 w 3140960"/>
                  <a:gd name="connsiteY62" fmla="*/ 38100 h 3147261"/>
                  <a:gd name="connsiteX63" fmla="*/ 1265929 w 3140960"/>
                  <a:gd name="connsiteY63" fmla="*/ 30480 h 3147261"/>
                  <a:gd name="connsiteX64" fmla="*/ 1387849 w 3140960"/>
                  <a:gd name="connsiteY64" fmla="*/ 15240 h 3147261"/>
                  <a:gd name="connsiteX65" fmla="*/ 1464049 w 3140960"/>
                  <a:gd name="connsiteY65" fmla="*/ 0 h 3147261"/>
                  <a:gd name="connsiteX66" fmla="*/ 1745989 w 3140960"/>
                  <a:gd name="connsiteY66" fmla="*/ 0 h 3147261"/>
                  <a:gd name="connsiteX67" fmla="*/ 2165089 w 3140960"/>
                  <a:gd name="connsiteY67" fmla="*/ 99060 h 3147261"/>
                  <a:gd name="connsiteX68" fmla="*/ 2340349 w 3140960"/>
                  <a:gd name="connsiteY68" fmla="*/ 182880 h 3147261"/>
                  <a:gd name="connsiteX69" fmla="*/ 2370829 w 3140960"/>
                  <a:gd name="connsiteY6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45789 w 3140960"/>
                  <a:gd name="connsiteY42" fmla="*/ 2179320 h 3147261"/>
                  <a:gd name="connsiteX43" fmla="*/ 100069 w 3140960"/>
                  <a:gd name="connsiteY43" fmla="*/ 2087880 h 3147261"/>
                  <a:gd name="connsiteX44" fmla="*/ 61969 w 3140960"/>
                  <a:gd name="connsiteY44" fmla="*/ 2026920 h 3147261"/>
                  <a:gd name="connsiteX45" fmla="*/ 54349 w 3140960"/>
                  <a:gd name="connsiteY45" fmla="*/ 2004060 h 3147261"/>
                  <a:gd name="connsiteX46" fmla="*/ 39109 w 3140960"/>
                  <a:gd name="connsiteY46" fmla="*/ 1943100 h 3147261"/>
                  <a:gd name="connsiteX47" fmla="*/ 23869 w 3140960"/>
                  <a:gd name="connsiteY47" fmla="*/ 1897380 h 3147261"/>
                  <a:gd name="connsiteX48" fmla="*/ 1009 w 3140960"/>
                  <a:gd name="connsiteY48" fmla="*/ 1562100 h 3147261"/>
                  <a:gd name="connsiteX49" fmla="*/ 54349 w 3140960"/>
                  <a:gd name="connsiteY49" fmla="*/ 1135380 h 3147261"/>
                  <a:gd name="connsiteX50" fmla="*/ 161029 w 3140960"/>
                  <a:gd name="connsiteY50" fmla="*/ 861060 h 3147261"/>
                  <a:gd name="connsiteX51" fmla="*/ 183889 w 3140960"/>
                  <a:gd name="connsiteY51" fmla="*/ 822960 h 3147261"/>
                  <a:gd name="connsiteX52" fmla="*/ 260089 w 3140960"/>
                  <a:gd name="connsiteY52" fmla="*/ 708660 h 3147261"/>
                  <a:gd name="connsiteX53" fmla="*/ 275329 w 3140960"/>
                  <a:gd name="connsiteY53" fmla="*/ 662940 h 3147261"/>
                  <a:gd name="connsiteX54" fmla="*/ 420109 w 3140960"/>
                  <a:gd name="connsiteY54" fmla="*/ 510540 h 3147261"/>
                  <a:gd name="connsiteX55" fmla="*/ 511549 w 3140960"/>
                  <a:gd name="connsiteY55" fmla="*/ 434340 h 3147261"/>
                  <a:gd name="connsiteX56" fmla="*/ 564889 w 3140960"/>
                  <a:gd name="connsiteY56" fmla="*/ 396240 h 3147261"/>
                  <a:gd name="connsiteX57" fmla="*/ 656329 w 3140960"/>
                  <a:gd name="connsiteY57" fmla="*/ 312420 h 3147261"/>
                  <a:gd name="connsiteX58" fmla="*/ 869689 w 3140960"/>
                  <a:gd name="connsiteY58" fmla="*/ 175260 h 3147261"/>
                  <a:gd name="connsiteX59" fmla="*/ 976369 w 3140960"/>
                  <a:gd name="connsiteY59" fmla="*/ 137160 h 3147261"/>
                  <a:gd name="connsiteX60" fmla="*/ 1105909 w 3140960"/>
                  <a:gd name="connsiteY60" fmla="*/ 76200 h 3147261"/>
                  <a:gd name="connsiteX61" fmla="*/ 1243069 w 3140960"/>
                  <a:gd name="connsiteY61" fmla="*/ 38100 h 3147261"/>
                  <a:gd name="connsiteX62" fmla="*/ 1265929 w 3140960"/>
                  <a:gd name="connsiteY62" fmla="*/ 30480 h 3147261"/>
                  <a:gd name="connsiteX63" fmla="*/ 1387849 w 3140960"/>
                  <a:gd name="connsiteY63" fmla="*/ 15240 h 3147261"/>
                  <a:gd name="connsiteX64" fmla="*/ 1464049 w 3140960"/>
                  <a:gd name="connsiteY64" fmla="*/ 0 h 3147261"/>
                  <a:gd name="connsiteX65" fmla="*/ 1745989 w 3140960"/>
                  <a:gd name="connsiteY65" fmla="*/ 0 h 3147261"/>
                  <a:gd name="connsiteX66" fmla="*/ 2165089 w 3140960"/>
                  <a:gd name="connsiteY66" fmla="*/ 99060 h 3147261"/>
                  <a:gd name="connsiteX67" fmla="*/ 2340349 w 3140960"/>
                  <a:gd name="connsiteY67" fmla="*/ 182880 h 3147261"/>
                  <a:gd name="connsiteX68" fmla="*/ 2370829 w 3140960"/>
                  <a:gd name="connsiteY6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00069 w 3140960"/>
                  <a:gd name="connsiteY42" fmla="*/ 2087880 h 3147261"/>
                  <a:gd name="connsiteX43" fmla="*/ 61969 w 3140960"/>
                  <a:gd name="connsiteY43" fmla="*/ 2026920 h 3147261"/>
                  <a:gd name="connsiteX44" fmla="*/ 54349 w 3140960"/>
                  <a:gd name="connsiteY44" fmla="*/ 2004060 h 3147261"/>
                  <a:gd name="connsiteX45" fmla="*/ 39109 w 3140960"/>
                  <a:gd name="connsiteY45" fmla="*/ 1943100 h 3147261"/>
                  <a:gd name="connsiteX46" fmla="*/ 23869 w 3140960"/>
                  <a:gd name="connsiteY46" fmla="*/ 1897380 h 3147261"/>
                  <a:gd name="connsiteX47" fmla="*/ 1009 w 3140960"/>
                  <a:gd name="connsiteY47" fmla="*/ 1562100 h 3147261"/>
                  <a:gd name="connsiteX48" fmla="*/ 54349 w 3140960"/>
                  <a:gd name="connsiteY48" fmla="*/ 1135380 h 3147261"/>
                  <a:gd name="connsiteX49" fmla="*/ 161029 w 3140960"/>
                  <a:gd name="connsiteY49" fmla="*/ 861060 h 3147261"/>
                  <a:gd name="connsiteX50" fmla="*/ 183889 w 3140960"/>
                  <a:gd name="connsiteY50" fmla="*/ 822960 h 3147261"/>
                  <a:gd name="connsiteX51" fmla="*/ 260089 w 3140960"/>
                  <a:gd name="connsiteY51" fmla="*/ 708660 h 3147261"/>
                  <a:gd name="connsiteX52" fmla="*/ 275329 w 3140960"/>
                  <a:gd name="connsiteY52" fmla="*/ 662940 h 3147261"/>
                  <a:gd name="connsiteX53" fmla="*/ 420109 w 3140960"/>
                  <a:gd name="connsiteY53" fmla="*/ 510540 h 3147261"/>
                  <a:gd name="connsiteX54" fmla="*/ 511549 w 3140960"/>
                  <a:gd name="connsiteY54" fmla="*/ 434340 h 3147261"/>
                  <a:gd name="connsiteX55" fmla="*/ 564889 w 3140960"/>
                  <a:gd name="connsiteY55" fmla="*/ 396240 h 3147261"/>
                  <a:gd name="connsiteX56" fmla="*/ 656329 w 3140960"/>
                  <a:gd name="connsiteY56" fmla="*/ 312420 h 3147261"/>
                  <a:gd name="connsiteX57" fmla="*/ 869689 w 3140960"/>
                  <a:gd name="connsiteY57" fmla="*/ 175260 h 3147261"/>
                  <a:gd name="connsiteX58" fmla="*/ 976369 w 3140960"/>
                  <a:gd name="connsiteY58" fmla="*/ 137160 h 3147261"/>
                  <a:gd name="connsiteX59" fmla="*/ 1105909 w 3140960"/>
                  <a:gd name="connsiteY59" fmla="*/ 76200 h 3147261"/>
                  <a:gd name="connsiteX60" fmla="*/ 1243069 w 3140960"/>
                  <a:gd name="connsiteY60" fmla="*/ 38100 h 3147261"/>
                  <a:gd name="connsiteX61" fmla="*/ 1265929 w 3140960"/>
                  <a:gd name="connsiteY61" fmla="*/ 30480 h 3147261"/>
                  <a:gd name="connsiteX62" fmla="*/ 1387849 w 3140960"/>
                  <a:gd name="connsiteY62" fmla="*/ 15240 h 3147261"/>
                  <a:gd name="connsiteX63" fmla="*/ 1464049 w 3140960"/>
                  <a:gd name="connsiteY63" fmla="*/ 0 h 3147261"/>
                  <a:gd name="connsiteX64" fmla="*/ 1745989 w 3140960"/>
                  <a:gd name="connsiteY64" fmla="*/ 0 h 3147261"/>
                  <a:gd name="connsiteX65" fmla="*/ 2165089 w 3140960"/>
                  <a:gd name="connsiteY65" fmla="*/ 99060 h 3147261"/>
                  <a:gd name="connsiteX66" fmla="*/ 2340349 w 3140960"/>
                  <a:gd name="connsiteY66" fmla="*/ 182880 h 3147261"/>
                  <a:gd name="connsiteX67" fmla="*/ 2370829 w 3140960"/>
                  <a:gd name="connsiteY6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100069 w 3140960"/>
                  <a:gd name="connsiteY41" fmla="*/ 2087880 h 3147261"/>
                  <a:gd name="connsiteX42" fmla="*/ 61969 w 3140960"/>
                  <a:gd name="connsiteY42" fmla="*/ 2026920 h 3147261"/>
                  <a:gd name="connsiteX43" fmla="*/ 54349 w 3140960"/>
                  <a:gd name="connsiteY43" fmla="*/ 2004060 h 3147261"/>
                  <a:gd name="connsiteX44" fmla="*/ 39109 w 3140960"/>
                  <a:gd name="connsiteY44" fmla="*/ 1943100 h 3147261"/>
                  <a:gd name="connsiteX45" fmla="*/ 23869 w 3140960"/>
                  <a:gd name="connsiteY45" fmla="*/ 1897380 h 3147261"/>
                  <a:gd name="connsiteX46" fmla="*/ 1009 w 3140960"/>
                  <a:gd name="connsiteY46" fmla="*/ 1562100 h 3147261"/>
                  <a:gd name="connsiteX47" fmla="*/ 54349 w 3140960"/>
                  <a:gd name="connsiteY47" fmla="*/ 1135380 h 3147261"/>
                  <a:gd name="connsiteX48" fmla="*/ 161029 w 3140960"/>
                  <a:gd name="connsiteY48" fmla="*/ 861060 h 3147261"/>
                  <a:gd name="connsiteX49" fmla="*/ 183889 w 3140960"/>
                  <a:gd name="connsiteY49" fmla="*/ 822960 h 3147261"/>
                  <a:gd name="connsiteX50" fmla="*/ 260089 w 3140960"/>
                  <a:gd name="connsiteY50" fmla="*/ 708660 h 3147261"/>
                  <a:gd name="connsiteX51" fmla="*/ 275329 w 3140960"/>
                  <a:gd name="connsiteY51" fmla="*/ 662940 h 3147261"/>
                  <a:gd name="connsiteX52" fmla="*/ 420109 w 3140960"/>
                  <a:gd name="connsiteY52" fmla="*/ 510540 h 3147261"/>
                  <a:gd name="connsiteX53" fmla="*/ 511549 w 3140960"/>
                  <a:gd name="connsiteY53" fmla="*/ 434340 h 3147261"/>
                  <a:gd name="connsiteX54" fmla="*/ 564889 w 3140960"/>
                  <a:gd name="connsiteY54" fmla="*/ 396240 h 3147261"/>
                  <a:gd name="connsiteX55" fmla="*/ 656329 w 3140960"/>
                  <a:gd name="connsiteY55" fmla="*/ 312420 h 3147261"/>
                  <a:gd name="connsiteX56" fmla="*/ 869689 w 3140960"/>
                  <a:gd name="connsiteY56" fmla="*/ 175260 h 3147261"/>
                  <a:gd name="connsiteX57" fmla="*/ 976369 w 3140960"/>
                  <a:gd name="connsiteY57" fmla="*/ 137160 h 3147261"/>
                  <a:gd name="connsiteX58" fmla="*/ 1105909 w 3140960"/>
                  <a:gd name="connsiteY58" fmla="*/ 76200 h 3147261"/>
                  <a:gd name="connsiteX59" fmla="*/ 1243069 w 3140960"/>
                  <a:gd name="connsiteY59" fmla="*/ 38100 h 3147261"/>
                  <a:gd name="connsiteX60" fmla="*/ 1265929 w 3140960"/>
                  <a:gd name="connsiteY60" fmla="*/ 30480 h 3147261"/>
                  <a:gd name="connsiteX61" fmla="*/ 1387849 w 3140960"/>
                  <a:gd name="connsiteY61" fmla="*/ 15240 h 3147261"/>
                  <a:gd name="connsiteX62" fmla="*/ 1464049 w 3140960"/>
                  <a:gd name="connsiteY62" fmla="*/ 0 h 3147261"/>
                  <a:gd name="connsiteX63" fmla="*/ 1745989 w 3140960"/>
                  <a:gd name="connsiteY63" fmla="*/ 0 h 3147261"/>
                  <a:gd name="connsiteX64" fmla="*/ 2165089 w 3140960"/>
                  <a:gd name="connsiteY64" fmla="*/ 99060 h 3147261"/>
                  <a:gd name="connsiteX65" fmla="*/ 2340349 w 3140960"/>
                  <a:gd name="connsiteY65" fmla="*/ 182880 h 3147261"/>
                  <a:gd name="connsiteX66" fmla="*/ 2370829 w 3140960"/>
                  <a:gd name="connsiteY6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21989 w 3140960"/>
                  <a:gd name="connsiteY40" fmla="*/ 231648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183889 w 3140960"/>
                  <a:gd name="connsiteY40" fmla="*/ 230886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3078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39109 w 3140960"/>
                  <a:gd name="connsiteY41" fmla="*/ 1943100 h 3147261"/>
                  <a:gd name="connsiteX42" fmla="*/ 23869 w 3140960"/>
                  <a:gd name="connsiteY42" fmla="*/ 1897380 h 3147261"/>
                  <a:gd name="connsiteX43" fmla="*/ 1009 w 3140960"/>
                  <a:gd name="connsiteY43" fmla="*/ 1562100 h 3147261"/>
                  <a:gd name="connsiteX44" fmla="*/ 54349 w 3140960"/>
                  <a:gd name="connsiteY44" fmla="*/ 1135380 h 3147261"/>
                  <a:gd name="connsiteX45" fmla="*/ 161029 w 3140960"/>
                  <a:gd name="connsiteY45" fmla="*/ 861060 h 3147261"/>
                  <a:gd name="connsiteX46" fmla="*/ 183889 w 3140960"/>
                  <a:gd name="connsiteY46" fmla="*/ 822960 h 3147261"/>
                  <a:gd name="connsiteX47" fmla="*/ 260089 w 3140960"/>
                  <a:gd name="connsiteY47" fmla="*/ 708660 h 3147261"/>
                  <a:gd name="connsiteX48" fmla="*/ 275329 w 3140960"/>
                  <a:gd name="connsiteY48" fmla="*/ 662940 h 3147261"/>
                  <a:gd name="connsiteX49" fmla="*/ 420109 w 3140960"/>
                  <a:gd name="connsiteY49" fmla="*/ 510540 h 3147261"/>
                  <a:gd name="connsiteX50" fmla="*/ 511549 w 3140960"/>
                  <a:gd name="connsiteY50" fmla="*/ 434340 h 3147261"/>
                  <a:gd name="connsiteX51" fmla="*/ 564889 w 3140960"/>
                  <a:gd name="connsiteY51" fmla="*/ 396240 h 3147261"/>
                  <a:gd name="connsiteX52" fmla="*/ 656329 w 3140960"/>
                  <a:gd name="connsiteY52" fmla="*/ 312420 h 3147261"/>
                  <a:gd name="connsiteX53" fmla="*/ 869689 w 3140960"/>
                  <a:gd name="connsiteY53" fmla="*/ 175260 h 3147261"/>
                  <a:gd name="connsiteX54" fmla="*/ 976369 w 3140960"/>
                  <a:gd name="connsiteY54" fmla="*/ 137160 h 3147261"/>
                  <a:gd name="connsiteX55" fmla="*/ 1105909 w 3140960"/>
                  <a:gd name="connsiteY55" fmla="*/ 76200 h 3147261"/>
                  <a:gd name="connsiteX56" fmla="*/ 1243069 w 3140960"/>
                  <a:gd name="connsiteY56" fmla="*/ 38100 h 3147261"/>
                  <a:gd name="connsiteX57" fmla="*/ 1265929 w 3140960"/>
                  <a:gd name="connsiteY57" fmla="*/ 30480 h 3147261"/>
                  <a:gd name="connsiteX58" fmla="*/ 1387849 w 3140960"/>
                  <a:gd name="connsiteY58" fmla="*/ 15240 h 3147261"/>
                  <a:gd name="connsiteX59" fmla="*/ 1464049 w 3140960"/>
                  <a:gd name="connsiteY59" fmla="*/ 0 h 3147261"/>
                  <a:gd name="connsiteX60" fmla="*/ 1745989 w 3140960"/>
                  <a:gd name="connsiteY60" fmla="*/ 0 h 3147261"/>
                  <a:gd name="connsiteX61" fmla="*/ 2165089 w 3140960"/>
                  <a:gd name="connsiteY61" fmla="*/ 99060 h 3147261"/>
                  <a:gd name="connsiteX62" fmla="*/ 2340349 w 3140960"/>
                  <a:gd name="connsiteY62" fmla="*/ 182880 h 3147261"/>
                  <a:gd name="connsiteX63" fmla="*/ 2370829 w 3140960"/>
                  <a:gd name="connsiteY63" fmla="*/ 190500 h 3147261"/>
                  <a:gd name="connsiteX0" fmla="*/ 2369820 w 3139951"/>
                  <a:gd name="connsiteY0" fmla="*/ 190500 h 3147261"/>
                  <a:gd name="connsiteX1" fmla="*/ 2491740 w 3139951"/>
                  <a:gd name="connsiteY1" fmla="*/ 297180 h 3147261"/>
                  <a:gd name="connsiteX2" fmla="*/ 2606040 w 3139951"/>
                  <a:gd name="connsiteY2" fmla="*/ 381000 h 3147261"/>
                  <a:gd name="connsiteX3" fmla="*/ 2705100 w 3139951"/>
                  <a:gd name="connsiteY3" fmla="*/ 487680 h 3147261"/>
                  <a:gd name="connsiteX4" fmla="*/ 2727960 w 3139951"/>
                  <a:gd name="connsiteY4" fmla="*/ 510540 h 3147261"/>
                  <a:gd name="connsiteX5" fmla="*/ 2788920 w 3139951"/>
                  <a:gd name="connsiteY5" fmla="*/ 594360 h 3147261"/>
                  <a:gd name="connsiteX6" fmla="*/ 2849880 w 3139951"/>
                  <a:gd name="connsiteY6" fmla="*/ 662940 h 3147261"/>
                  <a:gd name="connsiteX7" fmla="*/ 2872740 w 3139951"/>
                  <a:gd name="connsiteY7" fmla="*/ 701040 h 3147261"/>
                  <a:gd name="connsiteX8" fmla="*/ 2910840 w 3139951"/>
                  <a:gd name="connsiteY8" fmla="*/ 762000 h 3147261"/>
                  <a:gd name="connsiteX9" fmla="*/ 2948940 w 3139951"/>
                  <a:gd name="connsiteY9" fmla="*/ 845820 h 3147261"/>
                  <a:gd name="connsiteX10" fmla="*/ 3009900 w 3139951"/>
                  <a:gd name="connsiteY10" fmla="*/ 998220 h 3147261"/>
                  <a:gd name="connsiteX11" fmla="*/ 3025140 w 3139951"/>
                  <a:gd name="connsiteY11" fmla="*/ 1036320 h 3147261"/>
                  <a:gd name="connsiteX12" fmla="*/ 3032760 w 3139951"/>
                  <a:gd name="connsiteY12" fmla="*/ 1066800 h 3147261"/>
                  <a:gd name="connsiteX13" fmla="*/ 3086100 w 3139951"/>
                  <a:gd name="connsiteY13" fmla="*/ 1181100 h 3147261"/>
                  <a:gd name="connsiteX14" fmla="*/ 3093720 w 3139951"/>
                  <a:gd name="connsiteY14" fmla="*/ 1226820 h 3147261"/>
                  <a:gd name="connsiteX15" fmla="*/ 3101340 w 3139951"/>
                  <a:gd name="connsiteY15" fmla="*/ 1280160 h 3147261"/>
                  <a:gd name="connsiteX16" fmla="*/ 3116580 w 3139951"/>
                  <a:gd name="connsiteY16" fmla="*/ 1371600 h 3147261"/>
                  <a:gd name="connsiteX17" fmla="*/ 3139440 w 3139951"/>
                  <a:gd name="connsiteY17" fmla="*/ 1485900 h 3147261"/>
                  <a:gd name="connsiteX18" fmla="*/ 3131820 w 3139951"/>
                  <a:gd name="connsiteY18" fmla="*/ 1691640 h 3147261"/>
                  <a:gd name="connsiteX19" fmla="*/ 3124200 w 3139951"/>
                  <a:gd name="connsiteY19" fmla="*/ 1767840 h 3147261"/>
                  <a:gd name="connsiteX20" fmla="*/ 3086100 w 3139951"/>
                  <a:gd name="connsiteY20" fmla="*/ 1905000 h 3147261"/>
                  <a:gd name="connsiteX21" fmla="*/ 3078480 w 3139951"/>
                  <a:gd name="connsiteY21" fmla="*/ 1935480 h 3147261"/>
                  <a:gd name="connsiteX22" fmla="*/ 3055620 w 3139951"/>
                  <a:gd name="connsiteY22" fmla="*/ 2019300 h 3147261"/>
                  <a:gd name="connsiteX23" fmla="*/ 2948940 w 3139951"/>
                  <a:gd name="connsiteY23" fmla="*/ 2331720 h 3147261"/>
                  <a:gd name="connsiteX24" fmla="*/ 2926080 w 3139951"/>
                  <a:gd name="connsiteY24" fmla="*/ 2385060 h 3147261"/>
                  <a:gd name="connsiteX25" fmla="*/ 2857500 w 3139951"/>
                  <a:gd name="connsiteY25" fmla="*/ 2499360 h 3147261"/>
                  <a:gd name="connsiteX26" fmla="*/ 2842260 w 3139951"/>
                  <a:gd name="connsiteY26" fmla="*/ 2529840 h 3147261"/>
                  <a:gd name="connsiteX27" fmla="*/ 2834640 w 3139951"/>
                  <a:gd name="connsiteY27" fmla="*/ 2552700 h 3147261"/>
                  <a:gd name="connsiteX28" fmla="*/ 2758440 w 3139951"/>
                  <a:gd name="connsiteY28" fmla="*/ 2636520 h 3147261"/>
                  <a:gd name="connsiteX29" fmla="*/ 2705100 w 3139951"/>
                  <a:gd name="connsiteY29" fmla="*/ 2667000 h 3147261"/>
                  <a:gd name="connsiteX30" fmla="*/ 2301240 w 3139951"/>
                  <a:gd name="connsiteY30" fmla="*/ 2971800 h 3147261"/>
                  <a:gd name="connsiteX31" fmla="*/ 2194560 w 3139951"/>
                  <a:gd name="connsiteY31" fmla="*/ 3025140 h 3147261"/>
                  <a:gd name="connsiteX32" fmla="*/ 2095500 w 3139951"/>
                  <a:gd name="connsiteY32" fmla="*/ 3055620 h 3147261"/>
                  <a:gd name="connsiteX33" fmla="*/ 1912620 w 3139951"/>
                  <a:gd name="connsiteY33" fmla="*/ 3108960 h 3147261"/>
                  <a:gd name="connsiteX34" fmla="*/ 1798320 w 3139951"/>
                  <a:gd name="connsiteY34" fmla="*/ 3147060 h 3147261"/>
                  <a:gd name="connsiteX35" fmla="*/ 1333500 w 3139951"/>
                  <a:gd name="connsiteY35" fmla="*/ 3108960 h 3147261"/>
                  <a:gd name="connsiteX36" fmla="*/ 792480 w 3139951"/>
                  <a:gd name="connsiteY36" fmla="*/ 2933700 h 3147261"/>
                  <a:gd name="connsiteX37" fmla="*/ 419100 w 3139951"/>
                  <a:gd name="connsiteY37" fmla="*/ 2644140 h 3147261"/>
                  <a:gd name="connsiteX38" fmla="*/ 297180 w 3139951"/>
                  <a:gd name="connsiteY38" fmla="*/ 2499360 h 3147261"/>
                  <a:gd name="connsiteX39" fmla="*/ 182880 w 3139951"/>
                  <a:gd name="connsiteY39" fmla="*/ 2308860 h 3147261"/>
                  <a:gd name="connsiteX40" fmla="*/ 60960 w 3139951"/>
                  <a:gd name="connsiteY40" fmla="*/ 2026920 h 3147261"/>
                  <a:gd name="connsiteX41" fmla="*/ 38100 w 3139951"/>
                  <a:gd name="connsiteY41" fmla="*/ 1943100 h 3147261"/>
                  <a:gd name="connsiteX42" fmla="*/ 0 w 3139951"/>
                  <a:gd name="connsiteY42" fmla="*/ 1562100 h 3147261"/>
                  <a:gd name="connsiteX43" fmla="*/ 53340 w 3139951"/>
                  <a:gd name="connsiteY43" fmla="*/ 1135380 h 3147261"/>
                  <a:gd name="connsiteX44" fmla="*/ 160020 w 3139951"/>
                  <a:gd name="connsiteY44" fmla="*/ 861060 h 3147261"/>
                  <a:gd name="connsiteX45" fmla="*/ 182880 w 3139951"/>
                  <a:gd name="connsiteY45" fmla="*/ 822960 h 3147261"/>
                  <a:gd name="connsiteX46" fmla="*/ 259080 w 3139951"/>
                  <a:gd name="connsiteY46" fmla="*/ 708660 h 3147261"/>
                  <a:gd name="connsiteX47" fmla="*/ 274320 w 3139951"/>
                  <a:gd name="connsiteY47" fmla="*/ 662940 h 3147261"/>
                  <a:gd name="connsiteX48" fmla="*/ 419100 w 3139951"/>
                  <a:gd name="connsiteY48" fmla="*/ 510540 h 3147261"/>
                  <a:gd name="connsiteX49" fmla="*/ 510540 w 3139951"/>
                  <a:gd name="connsiteY49" fmla="*/ 434340 h 3147261"/>
                  <a:gd name="connsiteX50" fmla="*/ 563880 w 3139951"/>
                  <a:gd name="connsiteY50" fmla="*/ 396240 h 3147261"/>
                  <a:gd name="connsiteX51" fmla="*/ 655320 w 3139951"/>
                  <a:gd name="connsiteY51" fmla="*/ 312420 h 3147261"/>
                  <a:gd name="connsiteX52" fmla="*/ 868680 w 3139951"/>
                  <a:gd name="connsiteY52" fmla="*/ 175260 h 3147261"/>
                  <a:gd name="connsiteX53" fmla="*/ 975360 w 3139951"/>
                  <a:gd name="connsiteY53" fmla="*/ 137160 h 3147261"/>
                  <a:gd name="connsiteX54" fmla="*/ 1104900 w 3139951"/>
                  <a:gd name="connsiteY54" fmla="*/ 76200 h 3147261"/>
                  <a:gd name="connsiteX55" fmla="*/ 1242060 w 3139951"/>
                  <a:gd name="connsiteY55" fmla="*/ 38100 h 3147261"/>
                  <a:gd name="connsiteX56" fmla="*/ 1264920 w 3139951"/>
                  <a:gd name="connsiteY56" fmla="*/ 30480 h 3147261"/>
                  <a:gd name="connsiteX57" fmla="*/ 1386840 w 3139951"/>
                  <a:gd name="connsiteY57" fmla="*/ 15240 h 3147261"/>
                  <a:gd name="connsiteX58" fmla="*/ 1463040 w 3139951"/>
                  <a:gd name="connsiteY58" fmla="*/ 0 h 3147261"/>
                  <a:gd name="connsiteX59" fmla="*/ 1744980 w 3139951"/>
                  <a:gd name="connsiteY59" fmla="*/ 0 h 3147261"/>
                  <a:gd name="connsiteX60" fmla="*/ 2164080 w 3139951"/>
                  <a:gd name="connsiteY60" fmla="*/ 99060 h 3147261"/>
                  <a:gd name="connsiteX61" fmla="*/ 2339340 w 3139951"/>
                  <a:gd name="connsiteY61" fmla="*/ 182880 h 3147261"/>
                  <a:gd name="connsiteX62" fmla="*/ 2369820 w 3139951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266721 w 3141752"/>
                  <a:gd name="connsiteY56" fmla="*/ 30480 h 3147261"/>
                  <a:gd name="connsiteX57" fmla="*/ 1388641 w 3141752"/>
                  <a:gd name="connsiteY57" fmla="*/ 15240 h 3147261"/>
                  <a:gd name="connsiteX58" fmla="*/ 1464841 w 3141752"/>
                  <a:gd name="connsiteY58" fmla="*/ 0 h 3147261"/>
                  <a:gd name="connsiteX59" fmla="*/ 1746781 w 3141752"/>
                  <a:gd name="connsiteY59" fmla="*/ 0 h 3147261"/>
                  <a:gd name="connsiteX60" fmla="*/ 2165881 w 3141752"/>
                  <a:gd name="connsiteY60" fmla="*/ 99060 h 3147261"/>
                  <a:gd name="connsiteX61" fmla="*/ 2341141 w 3141752"/>
                  <a:gd name="connsiteY61" fmla="*/ 182880 h 3147261"/>
                  <a:gd name="connsiteX62" fmla="*/ 2371621 w 3141752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388641 w 3141752"/>
                  <a:gd name="connsiteY56" fmla="*/ 15240 h 3147261"/>
                  <a:gd name="connsiteX57" fmla="*/ 1464841 w 3141752"/>
                  <a:gd name="connsiteY57" fmla="*/ 0 h 3147261"/>
                  <a:gd name="connsiteX58" fmla="*/ 1746781 w 3141752"/>
                  <a:gd name="connsiteY58" fmla="*/ 0 h 3147261"/>
                  <a:gd name="connsiteX59" fmla="*/ 2165881 w 3141752"/>
                  <a:gd name="connsiteY59" fmla="*/ 99060 h 3147261"/>
                  <a:gd name="connsiteX60" fmla="*/ 2341141 w 3141752"/>
                  <a:gd name="connsiteY60" fmla="*/ 182880 h 3147261"/>
                  <a:gd name="connsiteX61" fmla="*/ 2371621 w 3141752"/>
                  <a:gd name="connsiteY61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1106701 w 3141752"/>
                  <a:gd name="connsiteY53" fmla="*/ 76200 h 3147261"/>
                  <a:gd name="connsiteX54" fmla="*/ 1243861 w 3141752"/>
                  <a:gd name="connsiteY54" fmla="*/ 38100 h 3147261"/>
                  <a:gd name="connsiteX55" fmla="*/ 1388641 w 3141752"/>
                  <a:gd name="connsiteY55" fmla="*/ 15240 h 3147261"/>
                  <a:gd name="connsiteX56" fmla="*/ 1464841 w 3141752"/>
                  <a:gd name="connsiteY56" fmla="*/ 0 h 3147261"/>
                  <a:gd name="connsiteX57" fmla="*/ 1746781 w 3141752"/>
                  <a:gd name="connsiteY57" fmla="*/ 0 h 3147261"/>
                  <a:gd name="connsiteX58" fmla="*/ 2165881 w 3141752"/>
                  <a:gd name="connsiteY58" fmla="*/ 99060 h 3147261"/>
                  <a:gd name="connsiteX59" fmla="*/ 2341141 w 3141752"/>
                  <a:gd name="connsiteY59" fmla="*/ 182880 h 3147261"/>
                  <a:gd name="connsiteX60" fmla="*/ 2371621 w 3141752"/>
                  <a:gd name="connsiteY60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657121 w 3141752"/>
                  <a:gd name="connsiteY50" fmla="*/ 312420 h 3147261"/>
                  <a:gd name="connsiteX51" fmla="*/ 870481 w 3141752"/>
                  <a:gd name="connsiteY51" fmla="*/ 175260 h 3147261"/>
                  <a:gd name="connsiteX52" fmla="*/ 1106701 w 3141752"/>
                  <a:gd name="connsiteY52" fmla="*/ 76200 h 3147261"/>
                  <a:gd name="connsiteX53" fmla="*/ 1243861 w 3141752"/>
                  <a:gd name="connsiteY53" fmla="*/ 38100 h 3147261"/>
                  <a:gd name="connsiteX54" fmla="*/ 1388641 w 3141752"/>
                  <a:gd name="connsiteY54" fmla="*/ 15240 h 3147261"/>
                  <a:gd name="connsiteX55" fmla="*/ 1464841 w 3141752"/>
                  <a:gd name="connsiteY55" fmla="*/ 0 h 3147261"/>
                  <a:gd name="connsiteX56" fmla="*/ 1746781 w 3141752"/>
                  <a:gd name="connsiteY56" fmla="*/ 0 h 3147261"/>
                  <a:gd name="connsiteX57" fmla="*/ 2165881 w 3141752"/>
                  <a:gd name="connsiteY57" fmla="*/ 99060 h 3147261"/>
                  <a:gd name="connsiteX58" fmla="*/ 2341141 w 3141752"/>
                  <a:gd name="connsiteY58" fmla="*/ 182880 h 3147261"/>
                  <a:gd name="connsiteX59" fmla="*/ 2371621 w 3141752"/>
                  <a:gd name="connsiteY59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420901 w 3141752"/>
                  <a:gd name="connsiteY47" fmla="*/ 510540 h 3147261"/>
                  <a:gd name="connsiteX48" fmla="*/ 512341 w 3141752"/>
                  <a:gd name="connsiteY48" fmla="*/ 434340 h 3147261"/>
                  <a:gd name="connsiteX49" fmla="*/ 657121 w 3141752"/>
                  <a:gd name="connsiteY49" fmla="*/ 312420 h 3147261"/>
                  <a:gd name="connsiteX50" fmla="*/ 870481 w 3141752"/>
                  <a:gd name="connsiteY50" fmla="*/ 175260 h 3147261"/>
                  <a:gd name="connsiteX51" fmla="*/ 1106701 w 3141752"/>
                  <a:gd name="connsiteY51" fmla="*/ 76200 h 3147261"/>
                  <a:gd name="connsiteX52" fmla="*/ 1243861 w 3141752"/>
                  <a:gd name="connsiteY52" fmla="*/ 38100 h 3147261"/>
                  <a:gd name="connsiteX53" fmla="*/ 1388641 w 3141752"/>
                  <a:gd name="connsiteY53" fmla="*/ 15240 h 3147261"/>
                  <a:gd name="connsiteX54" fmla="*/ 1464841 w 3141752"/>
                  <a:gd name="connsiteY54" fmla="*/ 0 h 3147261"/>
                  <a:gd name="connsiteX55" fmla="*/ 1746781 w 3141752"/>
                  <a:gd name="connsiteY55" fmla="*/ 0 h 3147261"/>
                  <a:gd name="connsiteX56" fmla="*/ 2165881 w 3141752"/>
                  <a:gd name="connsiteY56" fmla="*/ 99060 h 3147261"/>
                  <a:gd name="connsiteX57" fmla="*/ 2341141 w 3141752"/>
                  <a:gd name="connsiteY57" fmla="*/ 182880 h 3147261"/>
                  <a:gd name="connsiteX58" fmla="*/ 2371621 w 3141752"/>
                  <a:gd name="connsiteY58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260881 w 3141752"/>
                  <a:gd name="connsiteY45" fmla="*/ 708660 h 3147261"/>
                  <a:gd name="connsiteX46" fmla="*/ 420901 w 3141752"/>
                  <a:gd name="connsiteY46" fmla="*/ 510540 h 3147261"/>
                  <a:gd name="connsiteX47" fmla="*/ 512341 w 3141752"/>
                  <a:gd name="connsiteY47" fmla="*/ 434340 h 3147261"/>
                  <a:gd name="connsiteX48" fmla="*/ 657121 w 3141752"/>
                  <a:gd name="connsiteY48" fmla="*/ 312420 h 3147261"/>
                  <a:gd name="connsiteX49" fmla="*/ 870481 w 3141752"/>
                  <a:gd name="connsiteY49" fmla="*/ 175260 h 3147261"/>
                  <a:gd name="connsiteX50" fmla="*/ 1106701 w 3141752"/>
                  <a:gd name="connsiteY50" fmla="*/ 76200 h 3147261"/>
                  <a:gd name="connsiteX51" fmla="*/ 1243861 w 3141752"/>
                  <a:gd name="connsiteY51" fmla="*/ 38100 h 3147261"/>
                  <a:gd name="connsiteX52" fmla="*/ 1388641 w 3141752"/>
                  <a:gd name="connsiteY52" fmla="*/ 15240 h 3147261"/>
                  <a:gd name="connsiteX53" fmla="*/ 1464841 w 3141752"/>
                  <a:gd name="connsiteY53" fmla="*/ 0 h 3147261"/>
                  <a:gd name="connsiteX54" fmla="*/ 1746781 w 3141752"/>
                  <a:gd name="connsiteY54" fmla="*/ 0 h 3147261"/>
                  <a:gd name="connsiteX55" fmla="*/ 2165881 w 3141752"/>
                  <a:gd name="connsiteY55" fmla="*/ 99060 h 3147261"/>
                  <a:gd name="connsiteX56" fmla="*/ 2341141 w 3141752"/>
                  <a:gd name="connsiteY56" fmla="*/ 182880 h 3147261"/>
                  <a:gd name="connsiteX57" fmla="*/ 2371621 w 3141752"/>
                  <a:gd name="connsiteY57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39901 w 3141752"/>
                  <a:gd name="connsiteY40" fmla="*/ 1943100 h 3147261"/>
                  <a:gd name="connsiteX41" fmla="*/ 1801 w 3141752"/>
                  <a:gd name="connsiteY41" fmla="*/ 1562100 h 3147261"/>
                  <a:gd name="connsiteX42" fmla="*/ 55141 w 3141752"/>
                  <a:gd name="connsiteY42" fmla="*/ 1135380 h 3147261"/>
                  <a:gd name="connsiteX43" fmla="*/ 161821 w 3141752"/>
                  <a:gd name="connsiteY43" fmla="*/ 861060 h 3147261"/>
                  <a:gd name="connsiteX44" fmla="*/ 260881 w 3141752"/>
                  <a:gd name="connsiteY44" fmla="*/ 708660 h 3147261"/>
                  <a:gd name="connsiteX45" fmla="*/ 420901 w 3141752"/>
                  <a:gd name="connsiteY45" fmla="*/ 510540 h 3147261"/>
                  <a:gd name="connsiteX46" fmla="*/ 512341 w 3141752"/>
                  <a:gd name="connsiteY46" fmla="*/ 434340 h 3147261"/>
                  <a:gd name="connsiteX47" fmla="*/ 657121 w 3141752"/>
                  <a:gd name="connsiteY47" fmla="*/ 312420 h 3147261"/>
                  <a:gd name="connsiteX48" fmla="*/ 870481 w 3141752"/>
                  <a:gd name="connsiteY48" fmla="*/ 175260 h 3147261"/>
                  <a:gd name="connsiteX49" fmla="*/ 1106701 w 3141752"/>
                  <a:gd name="connsiteY49" fmla="*/ 76200 h 3147261"/>
                  <a:gd name="connsiteX50" fmla="*/ 1243861 w 3141752"/>
                  <a:gd name="connsiteY50" fmla="*/ 38100 h 3147261"/>
                  <a:gd name="connsiteX51" fmla="*/ 1388641 w 3141752"/>
                  <a:gd name="connsiteY51" fmla="*/ 15240 h 3147261"/>
                  <a:gd name="connsiteX52" fmla="*/ 1464841 w 3141752"/>
                  <a:gd name="connsiteY52" fmla="*/ 0 h 3147261"/>
                  <a:gd name="connsiteX53" fmla="*/ 1746781 w 3141752"/>
                  <a:gd name="connsiteY53" fmla="*/ 0 h 3147261"/>
                  <a:gd name="connsiteX54" fmla="*/ 2165881 w 3141752"/>
                  <a:gd name="connsiteY54" fmla="*/ 99060 h 3147261"/>
                  <a:gd name="connsiteX55" fmla="*/ 2341141 w 3141752"/>
                  <a:gd name="connsiteY55" fmla="*/ 182880 h 3147261"/>
                  <a:gd name="connsiteX56" fmla="*/ 2371621 w 3141752"/>
                  <a:gd name="connsiteY56" fmla="*/ 190500 h 3147261"/>
                  <a:gd name="connsiteX0" fmla="*/ 2371621 w 3141752"/>
                  <a:gd name="connsiteY0" fmla="*/ 190500 h 3149938"/>
                  <a:gd name="connsiteX1" fmla="*/ 2493541 w 3141752"/>
                  <a:gd name="connsiteY1" fmla="*/ 297180 h 3149938"/>
                  <a:gd name="connsiteX2" fmla="*/ 2607841 w 3141752"/>
                  <a:gd name="connsiteY2" fmla="*/ 381000 h 3149938"/>
                  <a:gd name="connsiteX3" fmla="*/ 2706901 w 3141752"/>
                  <a:gd name="connsiteY3" fmla="*/ 487680 h 3149938"/>
                  <a:gd name="connsiteX4" fmla="*/ 2729761 w 3141752"/>
                  <a:gd name="connsiteY4" fmla="*/ 510540 h 3149938"/>
                  <a:gd name="connsiteX5" fmla="*/ 2790721 w 3141752"/>
                  <a:gd name="connsiteY5" fmla="*/ 594360 h 3149938"/>
                  <a:gd name="connsiteX6" fmla="*/ 2851681 w 3141752"/>
                  <a:gd name="connsiteY6" fmla="*/ 662940 h 3149938"/>
                  <a:gd name="connsiteX7" fmla="*/ 2874541 w 3141752"/>
                  <a:gd name="connsiteY7" fmla="*/ 701040 h 3149938"/>
                  <a:gd name="connsiteX8" fmla="*/ 2912641 w 3141752"/>
                  <a:gd name="connsiteY8" fmla="*/ 762000 h 3149938"/>
                  <a:gd name="connsiteX9" fmla="*/ 2950741 w 3141752"/>
                  <a:gd name="connsiteY9" fmla="*/ 845820 h 3149938"/>
                  <a:gd name="connsiteX10" fmla="*/ 3011701 w 3141752"/>
                  <a:gd name="connsiteY10" fmla="*/ 998220 h 3149938"/>
                  <a:gd name="connsiteX11" fmla="*/ 3026941 w 3141752"/>
                  <a:gd name="connsiteY11" fmla="*/ 1036320 h 3149938"/>
                  <a:gd name="connsiteX12" fmla="*/ 3034561 w 3141752"/>
                  <a:gd name="connsiteY12" fmla="*/ 1066800 h 3149938"/>
                  <a:gd name="connsiteX13" fmla="*/ 3087901 w 3141752"/>
                  <a:gd name="connsiteY13" fmla="*/ 1181100 h 3149938"/>
                  <a:gd name="connsiteX14" fmla="*/ 3095521 w 3141752"/>
                  <a:gd name="connsiteY14" fmla="*/ 1226820 h 3149938"/>
                  <a:gd name="connsiteX15" fmla="*/ 3103141 w 3141752"/>
                  <a:gd name="connsiteY15" fmla="*/ 1280160 h 3149938"/>
                  <a:gd name="connsiteX16" fmla="*/ 3118381 w 3141752"/>
                  <a:gd name="connsiteY16" fmla="*/ 1371600 h 3149938"/>
                  <a:gd name="connsiteX17" fmla="*/ 3141241 w 3141752"/>
                  <a:gd name="connsiteY17" fmla="*/ 1485900 h 3149938"/>
                  <a:gd name="connsiteX18" fmla="*/ 3133621 w 3141752"/>
                  <a:gd name="connsiteY18" fmla="*/ 1691640 h 3149938"/>
                  <a:gd name="connsiteX19" fmla="*/ 3126001 w 3141752"/>
                  <a:gd name="connsiteY19" fmla="*/ 1767840 h 3149938"/>
                  <a:gd name="connsiteX20" fmla="*/ 3087901 w 3141752"/>
                  <a:gd name="connsiteY20" fmla="*/ 1905000 h 3149938"/>
                  <a:gd name="connsiteX21" fmla="*/ 3080281 w 3141752"/>
                  <a:gd name="connsiteY21" fmla="*/ 1935480 h 3149938"/>
                  <a:gd name="connsiteX22" fmla="*/ 3057421 w 3141752"/>
                  <a:gd name="connsiteY22" fmla="*/ 2019300 h 3149938"/>
                  <a:gd name="connsiteX23" fmla="*/ 2950741 w 3141752"/>
                  <a:gd name="connsiteY23" fmla="*/ 2331720 h 3149938"/>
                  <a:gd name="connsiteX24" fmla="*/ 2927881 w 3141752"/>
                  <a:gd name="connsiteY24" fmla="*/ 2385060 h 3149938"/>
                  <a:gd name="connsiteX25" fmla="*/ 2859301 w 3141752"/>
                  <a:gd name="connsiteY25" fmla="*/ 2499360 h 3149938"/>
                  <a:gd name="connsiteX26" fmla="*/ 2844061 w 3141752"/>
                  <a:gd name="connsiteY26" fmla="*/ 2529840 h 3149938"/>
                  <a:gd name="connsiteX27" fmla="*/ 2836441 w 3141752"/>
                  <a:gd name="connsiteY27" fmla="*/ 2552700 h 3149938"/>
                  <a:gd name="connsiteX28" fmla="*/ 2760241 w 3141752"/>
                  <a:gd name="connsiteY28" fmla="*/ 2636520 h 3149938"/>
                  <a:gd name="connsiteX29" fmla="*/ 2706901 w 3141752"/>
                  <a:gd name="connsiteY29" fmla="*/ 2667000 h 3149938"/>
                  <a:gd name="connsiteX30" fmla="*/ 2303041 w 3141752"/>
                  <a:gd name="connsiteY30" fmla="*/ 2971800 h 3149938"/>
                  <a:gd name="connsiteX31" fmla="*/ 2196361 w 3141752"/>
                  <a:gd name="connsiteY31" fmla="*/ 3025140 h 3149938"/>
                  <a:gd name="connsiteX32" fmla="*/ 2097301 w 3141752"/>
                  <a:gd name="connsiteY32" fmla="*/ 3055620 h 3149938"/>
                  <a:gd name="connsiteX33" fmla="*/ 1800121 w 3141752"/>
                  <a:gd name="connsiteY33" fmla="*/ 3147060 h 3149938"/>
                  <a:gd name="connsiteX34" fmla="*/ 1335301 w 3141752"/>
                  <a:gd name="connsiteY34" fmla="*/ 3108960 h 3149938"/>
                  <a:gd name="connsiteX35" fmla="*/ 794281 w 3141752"/>
                  <a:gd name="connsiteY35" fmla="*/ 2933700 h 3149938"/>
                  <a:gd name="connsiteX36" fmla="*/ 420901 w 3141752"/>
                  <a:gd name="connsiteY36" fmla="*/ 2644140 h 3149938"/>
                  <a:gd name="connsiteX37" fmla="*/ 298981 w 3141752"/>
                  <a:gd name="connsiteY37" fmla="*/ 2499360 h 3149938"/>
                  <a:gd name="connsiteX38" fmla="*/ 184681 w 3141752"/>
                  <a:gd name="connsiteY38" fmla="*/ 2308860 h 3149938"/>
                  <a:gd name="connsiteX39" fmla="*/ 39901 w 3141752"/>
                  <a:gd name="connsiteY39" fmla="*/ 1943100 h 3149938"/>
                  <a:gd name="connsiteX40" fmla="*/ 1801 w 3141752"/>
                  <a:gd name="connsiteY40" fmla="*/ 1562100 h 3149938"/>
                  <a:gd name="connsiteX41" fmla="*/ 55141 w 3141752"/>
                  <a:gd name="connsiteY41" fmla="*/ 1135380 h 3149938"/>
                  <a:gd name="connsiteX42" fmla="*/ 161821 w 3141752"/>
                  <a:gd name="connsiteY42" fmla="*/ 861060 h 3149938"/>
                  <a:gd name="connsiteX43" fmla="*/ 260881 w 3141752"/>
                  <a:gd name="connsiteY43" fmla="*/ 708660 h 3149938"/>
                  <a:gd name="connsiteX44" fmla="*/ 420901 w 3141752"/>
                  <a:gd name="connsiteY44" fmla="*/ 510540 h 3149938"/>
                  <a:gd name="connsiteX45" fmla="*/ 512341 w 3141752"/>
                  <a:gd name="connsiteY45" fmla="*/ 434340 h 3149938"/>
                  <a:gd name="connsiteX46" fmla="*/ 657121 w 3141752"/>
                  <a:gd name="connsiteY46" fmla="*/ 312420 h 3149938"/>
                  <a:gd name="connsiteX47" fmla="*/ 870481 w 3141752"/>
                  <a:gd name="connsiteY47" fmla="*/ 175260 h 3149938"/>
                  <a:gd name="connsiteX48" fmla="*/ 1106701 w 3141752"/>
                  <a:gd name="connsiteY48" fmla="*/ 76200 h 3149938"/>
                  <a:gd name="connsiteX49" fmla="*/ 1243861 w 3141752"/>
                  <a:gd name="connsiteY49" fmla="*/ 38100 h 3149938"/>
                  <a:gd name="connsiteX50" fmla="*/ 1388641 w 3141752"/>
                  <a:gd name="connsiteY50" fmla="*/ 15240 h 3149938"/>
                  <a:gd name="connsiteX51" fmla="*/ 1464841 w 3141752"/>
                  <a:gd name="connsiteY51" fmla="*/ 0 h 3149938"/>
                  <a:gd name="connsiteX52" fmla="*/ 1746781 w 3141752"/>
                  <a:gd name="connsiteY52" fmla="*/ 0 h 3149938"/>
                  <a:gd name="connsiteX53" fmla="*/ 2165881 w 3141752"/>
                  <a:gd name="connsiteY53" fmla="*/ 99060 h 3149938"/>
                  <a:gd name="connsiteX54" fmla="*/ 2341141 w 3141752"/>
                  <a:gd name="connsiteY54" fmla="*/ 182880 h 3149938"/>
                  <a:gd name="connsiteX55" fmla="*/ 2371621 w 3141752"/>
                  <a:gd name="connsiteY55" fmla="*/ 190500 h 3149938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196361 w 3141752"/>
                  <a:gd name="connsiteY31" fmla="*/ 3025140 h 3131365"/>
                  <a:gd name="connsiteX32" fmla="*/ 2097301 w 3141752"/>
                  <a:gd name="connsiteY32" fmla="*/ 3055620 h 3131365"/>
                  <a:gd name="connsiteX33" fmla="*/ 1809646 w 3141752"/>
                  <a:gd name="connsiteY33" fmla="*/ 3123247 h 3131365"/>
                  <a:gd name="connsiteX34" fmla="*/ 1335301 w 3141752"/>
                  <a:gd name="connsiteY34" fmla="*/ 3108960 h 3131365"/>
                  <a:gd name="connsiteX35" fmla="*/ 794281 w 3141752"/>
                  <a:gd name="connsiteY35" fmla="*/ 2933700 h 3131365"/>
                  <a:gd name="connsiteX36" fmla="*/ 420901 w 3141752"/>
                  <a:gd name="connsiteY36" fmla="*/ 2644140 h 3131365"/>
                  <a:gd name="connsiteX37" fmla="*/ 298981 w 3141752"/>
                  <a:gd name="connsiteY37" fmla="*/ 2499360 h 3131365"/>
                  <a:gd name="connsiteX38" fmla="*/ 184681 w 3141752"/>
                  <a:gd name="connsiteY38" fmla="*/ 2308860 h 3131365"/>
                  <a:gd name="connsiteX39" fmla="*/ 39901 w 3141752"/>
                  <a:gd name="connsiteY39" fmla="*/ 1943100 h 3131365"/>
                  <a:gd name="connsiteX40" fmla="*/ 1801 w 3141752"/>
                  <a:gd name="connsiteY40" fmla="*/ 1562100 h 3131365"/>
                  <a:gd name="connsiteX41" fmla="*/ 55141 w 3141752"/>
                  <a:gd name="connsiteY41" fmla="*/ 1135380 h 3131365"/>
                  <a:gd name="connsiteX42" fmla="*/ 161821 w 3141752"/>
                  <a:gd name="connsiteY42" fmla="*/ 861060 h 3131365"/>
                  <a:gd name="connsiteX43" fmla="*/ 260881 w 3141752"/>
                  <a:gd name="connsiteY43" fmla="*/ 708660 h 3131365"/>
                  <a:gd name="connsiteX44" fmla="*/ 420901 w 3141752"/>
                  <a:gd name="connsiteY44" fmla="*/ 510540 h 3131365"/>
                  <a:gd name="connsiteX45" fmla="*/ 512341 w 3141752"/>
                  <a:gd name="connsiteY45" fmla="*/ 434340 h 3131365"/>
                  <a:gd name="connsiteX46" fmla="*/ 657121 w 3141752"/>
                  <a:gd name="connsiteY46" fmla="*/ 312420 h 3131365"/>
                  <a:gd name="connsiteX47" fmla="*/ 870481 w 3141752"/>
                  <a:gd name="connsiteY47" fmla="*/ 175260 h 3131365"/>
                  <a:gd name="connsiteX48" fmla="*/ 1106701 w 3141752"/>
                  <a:gd name="connsiteY48" fmla="*/ 76200 h 3131365"/>
                  <a:gd name="connsiteX49" fmla="*/ 1243861 w 3141752"/>
                  <a:gd name="connsiteY49" fmla="*/ 38100 h 3131365"/>
                  <a:gd name="connsiteX50" fmla="*/ 1388641 w 3141752"/>
                  <a:gd name="connsiteY50" fmla="*/ 15240 h 3131365"/>
                  <a:gd name="connsiteX51" fmla="*/ 1464841 w 3141752"/>
                  <a:gd name="connsiteY51" fmla="*/ 0 h 3131365"/>
                  <a:gd name="connsiteX52" fmla="*/ 1746781 w 3141752"/>
                  <a:gd name="connsiteY52" fmla="*/ 0 h 3131365"/>
                  <a:gd name="connsiteX53" fmla="*/ 2165881 w 3141752"/>
                  <a:gd name="connsiteY53" fmla="*/ 99060 h 3131365"/>
                  <a:gd name="connsiteX54" fmla="*/ 2341141 w 3141752"/>
                  <a:gd name="connsiteY54" fmla="*/ 182880 h 3131365"/>
                  <a:gd name="connsiteX55" fmla="*/ 2371621 w 3141752"/>
                  <a:gd name="connsiteY55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097301 w 3141752"/>
                  <a:gd name="connsiteY31" fmla="*/ 3055620 h 3131365"/>
                  <a:gd name="connsiteX32" fmla="*/ 1809646 w 3141752"/>
                  <a:gd name="connsiteY32" fmla="*/ 3123247 h 3131365"/>
                  <a:gd name="connsiteX33" fmla="*/ 1335301 w 3141752"/>
                  <a:gd name="connsiteY33" fmla="*/ 3108960 h 3131365"/>
                  <a:gd name="connsiteX34" fmla="*/ 794281 w 3141752"/>
                  <a:gd name="connsiteY34" fmla="*/ 2933700 h 3131365"/>
                  <a:gd name="connsiteX35" fmla="*/ 420901 w 3141752"/>
                  <a:gd name="connsiteY35" fmla="*/ 2644140 h 3131365"/>
                  <a:gd name="connsiteX36" fmla="*/ 298981 w 3141752"/>
                  <a:gd name="connsiteY36" fmla="*/ 2499360 h 3131365"/>
                  <a:gd name="connsiteX37" fmla="*/ 184681 w 3141752"/>
                  <a:gd name="connsiteY37" fmla="*/ 2308860 h 3131365"/>
                  <a:gd name="connsiteX38" fmla="*/ 39901 w 3141752"/>
                  <a:gd name="connsiteY38" fmla="*/ 1943100 h 3131365"/>
                  <a:gd name="connsiteX39" fmla="*/ 1801 w 3141752"/>
                  <a:gd name="connsiteY39" fmla="*/ 1562100 h 3131365"/>
                  <a:gd name="connsiteX40" fmla="*/ 55141 w 3141752"/>
                  <a:gd name="connsiteY40" fmla="*/ 1135380 h 3131365"/>
                  <a:gd name="connsiteX41" fmla="*/ 161821 w 3141752"/>
                  <a:gd name="connsiteY41" fmla="*/ 861060 h 3131365"/>
                  <a:gd name="connsiteX42" fmla="*/ 260881 w 3141752"/>
                  <a:gd name="connsiteY42" fmla="*/ 708660 h 3131365"/>
                  <a:gd name="connsiteX43" fmla="*/ 420901 w 3141752"/>
                  <a:gd name="connsiteY43" fmla="*/ 510540 h 3131365"/>
                  <a:gd name="connsiteX44" fmla="*/ 512341 w 3141752"/>
                  <a:gd name="connsiteY44" fmla="*/ 434340 h 3131365"/>
                  <a:gd name="connsiteX45" fmla="*/ 657121 w 3141752"/>
                  <a:gd name="connsiteY45" fmla="*/ 312420 h 3131365"/>
                  <a:gd name="connsiteX46" fmla="*/ 870481 w 3141752"/>
                  <a:gd name="connsiteY46" fmla="*/ 175260 h 3131365"/>
                  <a:gd name="connsiteX47" fmla="*/ 1106701 w 3141752"/>
                  <a:gd name="connsiteY47" fmla="*/ 76200 h 3131365"/>
                  <a:gd name="connsiteX48" fmla="*/ 1243861 w 3141752"/>
                  <a:gd name="connsiteY48" fmla="*/ 38100 h 3131365"/>
                  <a:gd name="connsiteX49" fmla="*/ 1388641 w 3141752"/>
                  <a:gd name="connsiteY49" fmla="*/ 15240 h 3131365"/>
                  <a:gd name="connsiteX50" fmla="*/ 1464841 w 3141752"/>
                  <a:gd name="connsiteY50" fmla="*/ 0 h 3131365"/>
                  <a:gd name="connsiteX51" fmla="*/ 1746781 w 3141752"/>
                  <a:gd name="connsiteY51" fmla="*/ 0 h 3131365"/>
                  <a:gd name="connsiteX52" fmla="*/ 2165881 w 3141752"/>
                  <a:gd name="connsiteY52" fmla="*/ 99060 h 3131365"/>
                  <a:gd name="connsiteX53" fmla="*/ 2341141 w 3141752"/>
                  <a:gd name="connsiteY53" fmla="*/ 182880 h 3131365"/>
                  <a:gd name="connsiteX54" fmla="*/ 2371621 w 3141752"/>
                  <a:gd name="connsiteY54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06901 w 3141752"/>
                  <a:gd name="connsiteY28" fmla="*/ 2667000 h 3131365"/>
                  <a:gd name="connsiteX29" fmla="*/ 2303041 w 3141752"/>
                  <a:gd name="connsiteY29" fmla="*/ 2971800 h 3131365"/>
                  <a:gd name="connsiteX30" fmla="*/ 2097301 w 3141752"/>
                  <a:gd name="connsiteY30" fmla="*/ 3055620 h 3131365"/>
                  <a:gd name="connsiteX31" fmla="*/ 1809646 w 3141752"/>
                  <a:gd name="connsiteY31" fmla="*/ 3123247 h 3131365"/>
                  <a:gd name="connsiteX32" fmla="*/ 1335301 w 3141752"/>
                  <a:gd name="connsiteY32" fmla="*/ 3108960 h 3131365"/>
                  <a:gd name="connsiteX33" fmla="*/ 794281 w 3141752"/>
                  <a:gd name="connsiteY33" fmla="*/ 2933700 h 3131365"/>
                  <a:gd name="connsiteX34" fmla="*/ 420901 w 3141752"/>
                  <a:gd name="connsiteY34" fmla="*/ 2644140 h 3131365"/>
                  <a:gd name="connsiteX35" fmla="*/ 298981 w 3141752"/>
                  <a:gd name="connsiteY35" fmla="*/ 2499360 h 3131365"/>
                  <a:gd name="connsiteX36" fmla="*/ 184681 w 3141752"/>
                  <a:gd name="connsiteY36" fmla="*/ 2308860 h 3131365"/>
                  <a:gd name="connsiteX37" fmla="*/ 39901 w 3141752"/>
                  <a:gd name="connsiteY37" fmla="*/ 1943100 h 3131365"/>
                  <a:gd name="connsiteX38" fmla="*/ 1801 w 3141752"/>
                  <a:gd name="connsiteY38" fmla="*/ 1562100 h 3131365"/>
                  <a:gd name="connsiteX39" fmla="*/ 55141 w 3141752"/>
                  <a:gd name="connsiteY39" fmla="*/ 1135380 h 3131365"/>
                  <a:gd name="connsiteX40" fmla="*/ 161821 w 3141752"/>
                  <a:gd name="connsiteY40" fmla="*/ 861060 h 3131365"/>
                  <a:gd name="connsiteX41" fmla="*/ 260881 w 3141752"/>
                  <a:gd name="connsiteY41" fmla="*/ 708660 h 3131365"/>
                  <a:gd name="connsiteX42" fmla="*/ 420901 w 3141752"/>
                  <a:gd name="connsiteY42" fmla="*/ 510540 h 3131365"/>
                  <a:gd name="connsiteX43" fmla="*/ 512341 w 3141752"/>
                  <a:gd name="connsiteY43" fmla="*/ 434340 h 3131365"/>
                  <a:gd name="connsiteX44" fmla="*/ 657121 w 3141752"/>
                  <a:gd name="connsiteY44" fmla="*/ 312420 h 3131365"/>
                  <a:gd name="connsiteX45" fmla="*/ 870481 w 3141752"/>
                  <a:gd name="connsiteY45" fmla="*/ 175260 h 3131365"/>
                  <a:gd name="connsiteX46" fmla="*/ 1106701 w 3141752"/>
                  <a:gd name="connsiteY46" fmla="*/ 76200 h 3131365"/>
                  <a:gd name="connsiteX47" fmla="*/ 1243861 w 3141752"/>
                  <a:gd name="connsiteY47" fmla="*/ 38100 h 3131365"/>
                  <a:gd name="connsiteX48" fmla="*/ 1388641 w 3141752"/>
                  <a:gd name="connsiteY48" fmla="*/ 15240 h 3131365"/>
                  <a:gd name="connsiteX49" fmla="*/ 1464841 w 3141752"/>
                  <a:gd name="connsiteY49" fmla="*/ 0 h 3131365"/>
                  <a:gd name="connsiteX50" fmla="*/ 1746781 w 3141752"/>
                  <a:gd name="connsiteY50" fmla="*/ 0 h 3131365"/>
                  <a:gd name="connsiteX51" fmla="*/ 2165881 w 3141752"/>
                  <a:gd name="connsiteY51" fmla="*/ 99060 h 3131365"/>
                  <a:gd name="connsiteX52" fmla="*/ 2341141 w 3141752"/>
                  <a:gd name="connsiteY52" fmla="*/ 182880 h 3131365"/>
                  <a:gd name="connsiteX53" fmla="*/ 2371621 w 3141752"/>
                  <a:gd name="connsiteY53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706901 w 3141752"/>
                  <a:gd name="connsiteY27" fmla="*/ 2667000 h 3131365"/>
                  <a:gd name="connsiteX28" fmla="*/ 2303041 w 3141752"/>
                  <a:gd name="connsiteY28" fmla="*/ 2971800 h 3131365"/>
                  <a:gd name="connsiteX29" fmla="*/ 2097301 w 3141752"/>
                  <a:gd name="connsiteY29" fmla="*/ 3055620 h 3131365"/>
                  <a:gd name="connsiteX30" fmla="*/ 1809646 w 3141752"/>
                  <a:gd name="connsiteY30" fmla="*/ 3123247 h 3131365"/>
                  <a:gd name="connsiteX31" fmla="*/ 1335301 w 3141752"/>
                  <a:gd name="connsiteY31" fmla="*/ 3108960 h 3131365"/>
                  <a:gd name="connsiteX32" fmla="*/ 794281 w 3141752"/>
                  <a:gd name="connsiteY32" fmla="*/ 2933700 h 3131365"/>
                  <a:gd name="connsiteX33" fmla="*/ 420901 w 3141752"/>
                  <a:gd name="connsiteY33" fmla="*/ 2644140 h 3131365"/>
                  <a:gd name="connsiteX34" fmla="*/ 298981 w 3141752"/>
                  <a:gd name="connsiteY34" fmla="*/ 2499360 h 3131365"/>
                  <a:gd name="connsiteX35" fmla="*/ 184681 w 3141752"/>
                  <a:gd name="connsiteY35" fmla="*/ 2308860 h 3131365"/>
                  <a:gd name="connsiteX36" fmla="*/ 39901 w 3141752"/>
                  <a:gd name="connsiteY36" fmla="*/ 1943100 h 3131365"/>
                  <a:gd name="connsiteX37" fmla="*/ 1801 w 3141752"/>
                  <a:gd name="connsiteY37" fmla="*/ 1562100 h 3131365"/>
                  <a:gd name="connsiteX38" fmla="*/ 55141 w 3141752"/>
                  <a:gd name="connsiteY38" fmla="*/ 1135380 h 3131365"/>
                  <a:gd name="connsiteX39" fmla="*/ 161821 w 3141752"/>
                  <a:gd name="connsiteY39" fmla="*/ 861060 h 3131365"/>
                  <a:gd name="connsiteX40" fmla="*/ 260881 w 3141752"/>
                  <a:gd name="connsiteY40" fmla="*/ 708660 h 3131365"/>
                  <a:gd name="connsiteX41" fmla="*/ 420901 w 3141752"/>
                  <a:gd name="connsiteY41" fmla="*/ 510540 h 3131365"/>
                  <a:gd name="connsiteX42" fmla="*/ 512341 w 3141752"/>
                  <a:gd name="connsiteY42" fmla="*/ 434340 h 3131365"/>
                  <a:gd name="connsiteX43" fmla="*/ 657121 w 3141752"/>
                  <a:gd name="connsiteY43" fmla="*/ 312420 h 3131365"/>
                  <a:gd name="connsiteX44" fmla="*/ 870481 w 3141752"/>
                  <a:gd name="connsiteY44" fmla="*/ 175260 h 3131365"/>
                  <a:gd name="connsiteX45" fmla="*/ 1106701 w 3141752"/>
                  <a:gd name="connsiteY45" fmla="*/ 76200 h 3131365"/>
                  <a:gd name="connsiteX46" fmla="*/ 1243861 w 3141752"/>
                  <a:gd name="connsiteY46" fmla="*/ 38100 h 3131365"/>
                  <a:gd name="connsiteX47" fmla="*/ 1388641 w 3141752"/>
                  <a:gd name="connsiteY47" fmla="*/ 15240 h 3131365"/>
                  <a:gd name="connsiteX48" fmla="*/ 1464841 w 3141752"/>
                  <a:gd name="connsiteY48" fmla="*/ 0 h 3131365"/>
                  <a:gd name="connsiteX49" fmla="*/ 1746781 w 3141752"/>
                  <a:gd name="connsiteY49" fmla="*/ 0 h 3131365"/>
                  <a:gd name="connsiteX50" fmla="*/ 2165881 w 3141752"/>
                  <a:gd name="connsiteY50" fmla="*/ 99060 h 3131365"/>
                  <a:gd name="connsiteX51" fmla="*/ 2341141 w 3141752"/>
                  <a:gd name="connsiteY51" fmla="*/ 182880 h 3131365"/>
                  <a:gd name="connsiteX52" fmla="*/ 2371621 w 3141752"/>
                  <a:gd name="connsiteY52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706901 w 3141752"/>
                  <a:gd name="connsiteY26" fmla="*/ 2667000 h 3131365"/>
                  <a:gd name="connsiteX27" fmla="*/ 2303041 w 3141752"/>
                  <a:gd name="connsiteY27" fmla="*/ 2971800 h 3131365"/>
                  <a:gd name="connsiteX28" fmla="*/ 2097301 w 3141752"/>
                  <a:gd name="connsiteY28" fmla="*/ 3055620 h 3131365"/>
                  <a:gd name="connsiteX29" fmla="*/ 1809646 w 3141752"/>
                  <a:gd name="connsiteY29" fmla="*/ 3123247 h 3131365"/>
                  <a:gd name="connsiteX30" fmla="*/ 1335301 w 3141752"/>
                  <a:gd name="connsiteY30" fmla="*/ 3108960 h 3131365"/>
                  <a:gd name="connsiteX31" fmla="*/ 794281 w 3141752"/>
                  <a:gd name="connsiteY31" fmla="*/ 2933700 h 3131365"/>
                  <a:gd name="connsiteX32" fmla="*/ 420901 w 3141752"/>
                  <a:gd name="connsiteY32" fmla="*/ 2644140 h 3131365"/>
                  <a:gd name="connsiteX33" fmla="*/ 298981 w 3141752"/>
                  <a:gd name="connsiteY33" fmla="*/ 2499360 h 3131365"/>
                  <a:gd name="connsiteX34" fmla="*/ 184681 w 3141752"/>
                  <a:gd name="connsiteY34" fmla="*/ 2308860 h 3131365"/>
                  <a:gd name="connsiteX35" fmla="*/ 39901 w 3141752"/>
                  <a:gd name="connsiteY35" fmla="*/ 1943100 h 3131365"/>
                  <a:gd name="connsiteX36" fmla="*/ 1801 w 3141752"/>
                  <a:gd name="connsiteY36" fmla="*/ 1562100 h 3131365"/>
                  <a:gd name="connsiteX37" fmla="*/ 55141 w 3141752"/>
                  <a:gd name="connsiteY37" fmla="*/ 1135380 h 3131365"/>
                  <a:gd name="connsiteX38" fmla="*/ 161821 w 3141752"/>
                  <a:gd name="connsiteY38" fmla="*/ 861060 h 3131365"/>
                  <a:gd name="connsiteX39" fmla="*/ 260881 w 3141752"/>
                  <a:gd name="connsiteY39" fmla="*/ 708660 h 3131365"/>
                  <a:gd name="connsiteX40" fmla="*/ 420901 w 3141752"/>
                  <a:gd name="connsiteY40" fmla="*/ 510540 h 3131365"/>
                  <a:gd name="connsiteX41" fmla="*/ 512341 w 3141752"/>
                  <a:gd name="connsiteY41" fmla="*/ 434340 h 3131365"/>
                  <a:gd name="connsiteX42" fmla="*/ 657121 w 3141752"/>
                  <a:gd name="connsiteY42" fmla="*/ 312420 h 3131365"/>
                  <a:gd name="connsiteX43" fmla="*/ 870481 w 3141752"/>
                  <a:gd name="connsiteY43" fmla="*/ 175260 h 3131365"/>
                  <a:gd name="connsiteX44" fmla="*/ 1106701 w 3141752"/>
                  <a:gd name="connsiteY44" fmla="*/ 76200 h 3131365"/>
                  <a:gd name="connsiteX45" fmla="*/ 1243861 w 3141752"/>
                  <a:gd name="connsiteY45" fmla="*/ 38100 h 3131365"/>
                  <a:gd name="connsiteX46" fmla="*/ 1388641 w 3141752"/>
                  <a:gd name="connsiteY46" fmla="*/ 15240 h 3131365"/>
                  <a:gd name="connsiteX47" fmla="*/ 1464841 w 3141752"/>
                  <a:gd name="connsiteY47" fmla="*/ 0 h 3131365"/>
                  <a:gd name="connsiteX48" fmla="*/ 1746781 w 3141752"/>
                  <a:gd name="connsiteY48" fmla="*/ 0 h 3131365"/>
                  <a:gd name="connsiteX49" fmla="*/ 2165881 w 3141752"/>
                  <a:gd name="connsiteY49" fmla="*/ 99060 h 3131365"/>
                  <a:gd name="connsiteX50" fmla="*/ 2341141 w 3141752"/>
                  <a:gd name="connsiteY50" fmla="*/ 182880 h 3131365"/>
                  <a:gd name="connsiteX51" fmla="*/ 2371621 w 3141752"/>
                  <a:gd name="connsiteY51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59301 w 3141752"/>
                  <a:gd name="connsiteY24" fmla="*/ 2499360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45014 w 3141752"/>
                  <a:gd name="connsiteY24" fmla="*/ 2504122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57421 w 3141752"/>
                  <a:gd name="connsiteY21" fmla="*/ 2019300 h 3131365"/>
                  <a:gd name="connsiteX22" fmla="*/ 2950741 w 3141752"/>
                  <a:gd name="connsiteY22" fmla="*/ 2331720 h 3131365"/>
                  <a:gd name="connsiteX23" fmla="*/ 2845014 w 3141752"/>
                  <a:gd name="connsiteY23" fmla="*/ 2504122 h 3131365"/>
                  <a:gd name="connsiteX24" fmla="*/ 2706901 w 3141752"/>
                  <a:gd name="connsiteY24" fmla="*/ 2667000 h 3131365"/>
                  <a:gd name="connsiteX25" fmla="*/ 2303041 w 3141752"/>
                  <a:gd name="connsiteY25" fmla="*/ 2971800 h 3131365"/>
                  <a:gd name="connsiteX26" fmla="*/ 2097301 w 3141752"/>
                  <a:gd name="connsiteY26" fmla="*/ 3055620 h 3131365"/>
                  <a:gd name="connsiteX27" fmla="*/ 1809646 w 3141752"/>
                  <a:gd name="connsiteY27" fmla="*/ 3123247 h 3131365"/>
                  <a:gd name="connsiteX28" fmla="*/ 1335301 w 3141752"/>
                  <a:gd name="connsiteY28" fmla="*/ 3108960 h 3131365"/>
                  <a:gd name="connsiteX29" fmla="*/ 794281 w 3141752"/>
                  <a:gd name="connsiteY29" fmla="*/ 2933700 h 3131365"/>
                  <a:gd name="connsiteX30" fmla="*/ 420901 w 3141752"/>
                  <a:gd name="connsiteY30" fmla="*/ 2644140 h 3131365"/>
                  <a:gd name="connsiteX31" fmla="*/ 298981 w 3141752"/>
                  <a:gd name="connsiteY31" fmla="*/ 2499360 h 3131365"/>
                  <a:gd name="connsiteX32" fmla="*/ 184681 w 3141752"/>
                  <a:gd name="connsiteY32" fmla="*/ 2308860 h 3131365"/>
                  <a:gd name="connsiteX33" fmla="*/ 39901 w 3141752"/>
                  <a:gd name="connsiteY33" fmla="*/ 1943100 h 3131365"/>
                  <a:gd name="connsiteX34" fmla="*/ 1801 w 3141752"/>
                  <a:gd name="connsiteY34" fmla="*/ 1562100 h 3131365"/>
                  <a:gd name="connsiteX35" fmla="*/ 55141 w 3141752"/>
                  <a:gd name="connsiteY35" fmla="*/ 1135380 h 3131365"/>
                  <a:gd name="connsiteX36" fmla="*/ 161821 w 3141752"/>
                  <a:gd name="connsiteY36" fmla="*/ 861060 h 3131365"/>
                  <a:gd name="connsiteX37" fmla="*/ 260881 w 3141752"/>
                  <a:gd name="connsiteY37" fmla="*/ 708660 h 3131365"/>
                  <a:gd name="connsiteX38" fmla="*/ 420901 w 3141752"/>
                  <a:gd name="connsiteY38" fmla="*/ 510540 h 3131365"/>
                  <a:gd name="connsiteX39" fmla="*/ 512341 w 3141752"/>
                  <a:gd name="connsiteY39" fmla="*/ 434340 h 3131365"/>
                  <a:gd name="connsiteX40" fmla="*/ 657121 w 3141752"/>
                  <a:gd name="connsiteY40" fmla="*/ 312420 h 3131365"/>
                  <a:gd name="connsiteX41" fmla="*/ 870481 w 3141752"/>
                  <a:gd name="connsiteY41" fmla="*/ 175260 h 3131365"/>
                  <a:gd name="connsiteX42" fmla="*/ 1106701 w 3141752"/>
                  <a:gd name="connsiteY42" fmla="*/ 76200 h 3131365"/>
                  <a:gd name="connsiteX43" fmla="*/ 1243861 w 3141752"/>
                  <a:gd name="connsiteY43" fmla="*/ 38100 h 3131365"/>
                  <a:gd name="connsiteX44" fmla="*/ 1388641 w 3141752"/>
                  <a:gd name="connsiteY44" fmla="*/ 15240 h 3131365"/>
                  <a:gd name="connsiteX45" fmla="*/ 1464841 w 3141752"/>
                  <a:gd name="connsiteY45" fmla="*/ 0 h 3131365"/>
                  <a:gd name="connsiteX46" fmla="*/ 1746781 w 3141752"/>
                  <a:gd name="connsiteY46" fmla="*/ 0 h 3131365"/>
                  <a:gd name="connsiteX47" fmla="*/ 2165881 w 3141752"/>
                  <a:gd name="connsiteY47" fmla="*/ 99060 h 3131365"/>
                  <a:gd name="connsiteX48" fmla="*/ 2341141 w 3141752"/>
                  <a:gd name="connsiteY48" fmla="*/ 182880 h 3131365"/>
                  <a:gd name="connsiteX49" fmla="*/ 2371621 w 3141752"/>
                  <a:gd name="connsiteY49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57421 w 3141752"/>
                  <a:gd name="connsiteY20" fmla="*/ 201930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62183 w 3141752"/>
                  <a:gd name="connsiteY20" fmla="*/ 203835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095521 w 3142643"/>
                  <a:gd name="connsiteY14" fmla="*/ 1226820 h 3131365"/>
                  <a:gd name="connsiteX15" fmla="*/ 3103141 w 3142643"/>
                  <a:gd name="connsiteY15" fmla="*/ 1280160 h 3131365"/>
                  <a:gd name="connsiteX16" fmla="*/ 3141241 w 3142643"/>
                  <a:gd name="connsiteY16" fmla="*/ 1485900 h 3131365"/>
                  <a:gd name="connsiteX17" fmla="*/ 3133621 w 3142643"/>
                  <a:gd name="connsiteY17" fmla="*/ 1691640 h 3131365"/>
                  <a:gd name="connsiteX18" fmla="*/ 3126001 w 3142643"/>
                  <a:gd name="connsiteY18" fmla="*/ 1767840 h 3131365"/>
                  <a:gd name="connsiteX19" fmla="*/ 3062183 w 3142643"/>
                  <a:gd name="connsiteY19" fmla="*/ 2038350 h 3131365"/>
                  <a:gd name="connsiteX20" fmla="*/ 2950741 w 3142643"/>
                  <a:gd name="connsiteY20" fmla="*/ 2331720 h 3131365"/>
                  <a:gd name="connsiteX21" fmla="*/ 2845014 w 3142643"/>
                  <a:gd name="connsiteY21" fmla="*/ 2504122 h 3131365"/>
                  <a:gd name="connsiteX22" fmla="*/ 2706901 w 3142643"/>
                  <a:gd name="connsiteY22" fmla="*/ 2667000 h 3131365"/>
                  <a:gd name="connsiteX23" fmla="*/ 2303041 w 3142643"/>
                  <a:gd name="connsiteY23" fmla="*/ 2971800 h 3131365"/>
                  <a:gd name="connsiteX24" fmla="*/ 2097301 w 3142643"/>
                  <a:gd name="connsiteY24" fmla="*/ 3055620 h 3131365"/>
                  <a:gd name="connsiteX25" fmla="*/ 1809646 w 3142643"/>
                  <a:gd name="connsiteY25" fmla="*/ 3123247 h 3131365"/>
                  <a:gd name="connsiteX26" fmla="*/ 1335301 w 3142643"/>
                  <a:gd name="connsiteY26" fmla="*/ 3108960 h 3131365"/>
                  <a:gd name="connsiteX27" fmla="*/ 794281 w 3142643"/>
                  <a:gd name="connsiteY27" fmla="*/ 2933700 h 3131365"/>
                  <a:gd name="connsiteX28" fmla="*/ 420901 w 3142643"/>
                  <a:gd name="connsiteY28" fmla="*/ 2644140 h 3131365"/>
                  <a:gd name="connsiteX29" fmla="*/ 298981 w 3142643"/>
                  <a:gd name="connsiteY29" fmla="*/ 2499360 h 3131365"/>
                  <a:gd name="connsiteX30" fmla="*/ 184681 w 3142643"/>
                  <a:gd name="connsiteY30" fmla="*/ 2308860 h 3131365"/>
                  <a:gd name="connsiteX31" fmla="*/ 39901 w 3142643"/>
                  <a:gd name="connsiteY31" fmla="*/ 1943100 h 3131365"/>
                  <a:gd name="connsiteX32" fmla="*/ 1801 w 3142643"/>
                  <a:gd name="connsiteY32" fmla="*/ 1562100 h 3131365"/>
                  <a:gd name="connsiteX33" fmla="*/ 55141 w 3142643"/>
                  <a:gd name="connsiteY33" fmla="*/ 1135380 h 3131365"/>
                  <a:gd name="connsiteX34" fmla="*/ 161821 w 3142643"/>
                  <a:gd name="connsiteY34" fmla="*/ 861060 h 3131365"/>
                  <a:gd name="connsiteX35" fmla="*/ 260881 w 3142643"/>
                  <a:gd name="connsiteY35" fmla="*/ 708660 h 3131365"/>
                  <a:gd name="connsiteX36" fmla="*/ 420901 w 3142643"/>
                  <a:gd name="connsiteY36" fmla="*/ 510540 h 3131365"/>
                  <a:gd name="connsiteX37" fmla="*/ 512341 w 3142643"/>
                  <a:gd name="connsiteY37" fmla="*/ 434340 h 3131365"/>
                  <a:gd name="connsiteX38" fmla="*/ 657121 w 3142643"/>
                  <a:gd name="connsiteY38" fmla="*/ 312420 h 3131365"/>
                  <a:gd name="connsiteX39" fmla="*/ 870481 w 3142643"/>
                  <a:gd name="connsiteY39" fmla="*/ 175260 h 3131365"/>
                  <a:gd name="connsiteX40" fmla="*/ 1106701 w 3142643"/>
                  <a:gd name="connsiteY40" fmla="*/ 76200 h 3131365"/>
                  <a:gd name="connsiteX41" fmla="*/ 1243861 w 3142643"/>
                  <a:gd name="connsiteY41" fmla="*/ 38100 h 3131365"/>
                  <a:gd name="connsiteX42" fmla="*/ 1388641 w 3142643"/>
                  <a:gd name="connsiteY42" fmla="*/ 15240 h 3131365"/>
                  <a:gd name="connsiteX43" fmla="*/ 1464841 w 3142643"/>
                  <a:gd name="connsiteY43" fmla="*/ 0 h 3131365"/>
                  <a:gd name="connsiteX44" fmla="*/ 1746781 w 3142643"/>
                  <a:gd name="connsiteY44" fmla="*/ 0 h 3131365"/>
                  <a:gd name="connsiteX45" fmla="*/ 2165881 w 3142643"/>
                  <a:gd name="connsiteY45" fmla="*/ 99060 h 3131365"/>
                  <a:gd name="connsiteX46" fmla="*/ 2341141 w 3142643"/>
                  <a:gd name="connsiteY46" fmla="*/ 182880 h 3131365"/>
                  <a:gd name="connsiteX47" fmla="*/ 2371621 w 3142643"/>
                  <a:gd name="connsiteY47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103141 w 3142643"/>
                  <a:gd name="connsiteY14" fmla="*/ 1280160 h 3131365"/>
                  <a:gd name="connsiteX15" fmla="*/ 3141241 w 3142643"/>
                  <a:gd name="connsiteY15" fmla="*/ 1485900 h 3131365"/>
                  <a:gd name="connsiteX16" fmla="*/ 3133621 w 3142643"/>
                  <a:gd name="connsiteY16" fmla="*/ 1691640 h 3131365"/>
                  <a:gd name="connsiteX17" fmla="*/ 3126001 w 3142643"/>
                  <a:gd name="connsiteY17" fmla="*/ 1767840 h 3131365"/>
                  <a:gd name="connsiteX18" fmla="*/ 3062183 w 3142643"/>
                  <a:gd name="connsiteY18" fmla="*/ 2038350 h 3131365"/>
                  <a:gd name="connsiteX19" fmla="*/ 2950741 w 3142643"/>
                  <a:gd name="connsiteY19" fmla="*/ 2331720 h 3131365"/>
                  <a:gd name="connsiteX20" fmla="*/ 2845014 w 3142643"/>
                  <a:gd name="connsiteY20" fmla="*/ 2504122 h 3131365"/>
                  <a:gd name="connsiteX21" fmla="*/ 2706901 w 3142643"/>
                  <a:gd name="connsiteY21" fmla="*/ 2667000 h 3131365"/>
                  <a:gd name="connsiteX22" fmla="*/ 2303041 w 3142643"/>
                  <a:gd name="connsiteY22" fmla="*/ 2971800 h 3131365"/>
                  <a:gd name="connsiteX23" fmla="*/ 2097301 w 3142643"/>
                  <a:gd name="connsiteY23" fmla="*/ 3055620 h 3131365"/>
                  <a:gd name="connsiteX24" fmla="*/ 1809646 w 3142643"/>
                  <a:gd name="connsiteY24" fmla="*/ 3123247 h 3131365"/>
                  <a:gd name="connsiteX25" fmla="*/ 1335301 w 3142643"/>
                  <a:gd name="connsiteY25" fmla="*/ 3108960 h 3131365"/>
                  <a:gd name="connsiteX26" fmla="*/ 794281 w 3142643"/>
                  <a:gd name="connsiteY26" fmla="*/ 2933700 h 3131365"/>
                  <a:gd name="connsiteX27" fmla="*/ 420901 w 3142643"/>
                  <a:gd name="connsiteY27" fmla="*/ 2644140 h 3131365"/>
                  <a:gd name="connsiteX28" fmla="*/ 298981 w 3142643"/>
                  <a:gd name="connsiteY28" fmla="*/ 2499360 h 3131365"/>
                  <a:gd name="connsiteX29" fmla="*/ 184681 w 3142643"/>
                  <a:gd name="connsiteY29" fmla="*/ 2308860 h 3131365"/>
                  <a:gd name="connsiteX30" fmla="*/ 39901 w 3142643"/>
                  <a:gd name="connsiteY30" fmla="*/ 1943100 h 3131365"/>
                  <a:gd name="connsiteX31" fmla="*/ 1801 w 3142643"/>
                  <a:gd name="connsiteY31" fmla="*/ 1562100 h 3131365"/>
                  <a:gd name="connsiteX32" fmla="*/ 55141 w 3142643"/>
                  <a:gd name="connsiteY32" fmla="*/ 1135380 h 3131365"/>
                  <a:gd name="connsiteX33" fmla="*/ 161821 w 3142643"/>
                  <a:gd name="connsiteY33" fmla="*/ 861060 h 3131365"/>
                  <a:gd name="connsiteX34" fmla="*/ 260881 w 3142643"/>
                  <a:gd name="connsiteY34" fmla="*/ 708660 h 3131365"/>
                  <a:gd name="connsiteX35" fmla="*/ 420901 w 3142643"/>
                  <a:gd name="connsiteY35" fmla="*/ 510540 h 3131365"/>
                  <a:gd name="connsiteX36" fmla="*/ 512341 w 3142643"/>
                  <a:gd name="connsiteY36" fmla="*/ 434340 h 3131365"/>
                  <a:gd name="connsiteX37" fmla="*/ 657121 w 3142643"/>
                  <a:gd name="connsiteY37" fmla="*/ 312420 h 3131365"/>
                  <a:gd name="connsiteX38" fmla="*/ 870481 w 3142643"/>
                  <a:gd name="connsiteY38" fmla="*/ 175260 h 3131365"/>
                  <a:gd name="connsiteX39" fmla="*/ 1106701 w 3142643"/>
                  <a:gd name="connsiteY39" fmla="*/ 76200 h 3131365"/>
                  <a:gd name="connsiteX40" fmla="*/ 1243861 w 3142643"/>
                  <a:gd name="connsiteY40" fmla="*/ 38100 h 3131365"/>
                  <a:gd name="connsiteX41" fmla="*/ 1388641 w 3142643"/>
                  <a:gd name="connsiteY41" fmla="*/ 15240 h 3131365"/>
                  <a:gd name="connsiteX42" fmla="*/ 1464841 w 3142643"/>
                  <a:gd name="connsiteY42" fmla="*/ 0 h 3131365"/>
                  <a:gd name="connsiteX43" fmla="*/ 1746781 w 3142643"/>
                  <a:gd name="connsiteY43" fmla="*/ 0 h 3131365"/>
                  <a:gd name="connsiteX44" fmla="*/ 2165881 w 3142643"/>
                  <a:gd name="connsiteY44" fmla="*/ 99060 h 3131365"/>
                  <a:gd name="connsiteX45" fmla="*/ 2341141 w 3142643"/>
                  <a:gd name="connsiteY45" fmla="*/ 182880 h 3131365"/>
                  <a:gd name="connsiteX46" fmla="*/ 2371621 w 3142643"/>
                  <a:gd name="connsiteY46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103141 w 3142643"/>
                  <a:gd name="connsiteY13" fmla="*/ 1280160 h 3131365"/>
                  <a:gd name="connsiteX14" fmla="*/ 3141241 w 3142643"/>
                  <a:gd name="connsiteY14" fmla="*/ 1485900 h 3131365"/>
                  <a:gd name="connsiteX15" fmla="*/ 3133621 w 3142643"/>
                  <a:gd name="connsiteY15" fmla="*/ 1691640 h 3131365"/>
                  <a:gd name="connsiteX16" fmla="*/ 3126001 w 3142643"/>
                  <a:gd name="connsiteY16" fmla="*/ 1767840 h 3131365"/>
                  <a:gd name="connsiteX17" fmla="*/ 3062183 w 3142643"/>
                  <a:gd name="connsiteY17" fmla="*/ 2038350 h 3131365"/>
                  <a:gd name="connsiteX18" fmla="*/ 2950741 w 3142643"/>
                  <a:gd name="connsiteY18" fmla="*/ 2331720 h 3131365"/>
                  <a:gd name="connsiteX19" fmla="*/ 2845014 w 3142643"/>
                  <a:gd name="connsiteY19" fmla="*/ 2504122 h 3131365"/>
                  <a:gd name="connsiteX20" fmla="*/ 2706901 w 3142643"/>
                  <a:gd name="connsiteY20" fmla="*/ 2667000 h 3131365"/>
                  <a:gd name="connsiteX21" fmla="*/ 2303041 w 3142643"/>
                  <a:gd name="connsiteY21" fmla="*/ 2971800 h 3131365"/>
                  <a:gd name="connsiteX22" fmla="*/ 2097301 w 3142643"/>
                  <a:gd name="connsiteY22" fmla="*/ 3055620 h 3131365"/>
                  <a:gd name="connsiteX23" fmla="*/ 1809646 w 3142643"/>
                  <a:gd name="connsiteY23" fmla="*/ 3123247 h 3131365"/>
                  <a:gd name="connsiteX24" fmla="*/ 1335301 w 3142643"/>
                  <a:gd name="connsiteY24" fmla="*/ 3108960 h 3131365"/>
                  <a:gd name="connsiteX25" fmla="*/ 794281 w 3142643"/>
                  <a:gd name="connsiteY25" fmla="*/ 2933700 h 3131365"/>
                  <a:gd name="connsiteX26" fmla="*/ 420901 w 3142643"/>
                  <a:gd name="connsiteY26" fmla="*/ 2644140 h 3131365"/>
                  <a:gd name="connsiteX27" fmla="*/ 298981 w 3142643"/>
                  <a:gd name="connsiteY27" fmla="*/ 2499360 h 3131365"/>
                  <a:gd name="connsiteX28" fmla="*/ 184681 w 3142643"/>
                  <a:gd name="connsiteY28" fmla="*/ 2308860 h 3131365"/>
                  <a:gd name="connsiteX29" fmla="*/ 39901 w 3142643"/>
                  <a:gd name="connsiteY29" fmla="*/ 1943100 h 3131365"/>
                  <a:gd name="connsiteX30" fmla="*/ 1801 w 3142643"/>
                  <a:gd name="connsiteY30" fmla="*/ 1562100 h 3131365"/>
                  <a:gd name="connsiteX31" fmla="*/ 55141 w 3142643"/>
                  <a:gd name="connsiteY31" fmla="*/ 1135380 h 3131365"/>
                  <a:gd name="connsiteX32" fmla="*/ 161821 w 3142643"/>
                  <a:gd name="connsiteY32" fmla="*/ 861060 h 3131365"/>
                  <a:gd name="connsiteX33" fmla="*/ 260881 w 3142643"/>
                  <a:gd name="connsiteY33" fmla="*/ 708660 h 3131365"/>
                  <a:gd name="connsiteX34" fmla="*/ 420901 w 3142643"/>
                  <a:gd name="connsiteY34" fmla="*/ 510540 h 3131365"/>
                  <a:gd name="connsiteX35" fmla="*/ 512341 w 3142643"/>
                  <a:gd name="connsiteY35" fmla="*/ 434340 h 3131365"/>
                  <a:gd name="connsiteX36" fmla="*/ 657121 w 3142643"/>
                  <a:gd name="connsiteY36" fmla="*/ 312420 h 3131365"/>
                  <a:gd name="connsiteX37" fmla="*/ 870481 w 3142643"/>
                  <a:gd name="connsiteY37" fmla="*/ 175260 h 3131365"/>
                  <a:gd name="connsiteX38" fmla="*/ 1106701 w 3142643"/>
                  <a:gd name="connsiteY38" fmla="*/ 76200 h 3131365"/>
                  <a:gd name="connsiteX39" fmla="*/ 1243861 w 3142643"/>
                  <a:gd name="connsiteY39" fmla="*/ 38100 h 3131365"/>
                  <a:gd name="connsiteX40" fmla="*/ 1388641 w 3142643"/>
                  <a:gd name="connsiteY40" fmla="*/ 15240 h 3131365"/>
                  <a:gd name="connsiteX41" fmla="*/ 1464841 w 3142643"/>
                  <a:gd name="connsiteY41" fmla="*/ 0 h 3131365"/>
                  <a:gd name="connsiteX42" fmla="*/ 1746781 w 3142643"/>
                  <a:gd name="connsiteY42" fmla="*/ 0 h 3131365"/>
                  <a:gd name="connsiteX43" fmla="*/ 2165881 w 3142643"/>
                  <a:gd name="connsiteY43" fmla="*/ 99060 h 3131365"/>
                  <a:gd name="connsiteX44" fmla="*/ 2341141 w 3142643"/>
                  <a:gd name="connsiteY44" fmla="*/ 182880 h 3131365"/>
                  <a:gd name="connsiteX45" fmla="*/ 2371621 w 3142643"/>
                  <a:gd name="connsiteY45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34561 w 3142643"/>
                  <a:gd name="connsiteY11" fmla="*/ 1066800 h 3131365"/>
                  <a:gd name="connsiteX12" fmla="*/ 3103141 w 3142643"/>
                  <a:gd name="connsiteY12" fmla="*/ 1280160 h 3131365"/>
                  <a:gd name="connsiteX13" fmla="*/ 3141241 w 3142643"/>
                  <a:gd name="connsiteY13" fmla="*/ 1485900 h 3131365"/>
                  <a:gd name="connsiteX14" fmla="*/ 3133621 w 3142643"/>
                  <a:gd name="connsiteY14" fmla="*/ 1691640 h 3131365"/>
                  <a:gd name="connsiteX15" fmla="*/ 3126001 w 3142643"/>
                  <a:gd name="connsiteY15" fmla="*/ 1767840 h 3131365"/>
                  <a:gd name="connsiteX16" fmla="*/ 3062183 w 3142643"/>
                  <a:gd name="connsiteY16" fmla="*/ 2038350 h 3131365"/>
                  <a:gd name="connsiteX17" fmla="*/ 2950741 w 3142643"/>
                  <a:gd name="connsiteY17" fmla="*/ 2331720 h 3131365"/>
                  <a:gd name="connsiteX18" fmla="*/ 2845014 w 3142643"/>
                  <a:gd name="connsiteY18" fmla="*/ 2504122 h 3131365"/>
                  <a:gd name="connsiteX19" fmla="*/ 2706901 w 3142643"/>
                  <a:gd name="connsiteY19" fmla="*/ 2667000 h 3131365"/>
                  <a:gd name="connsiteX20" fmla="*/ 2303041 w 3142643"/>
                  <a:gd name="connsiteY20" fmla="*/ 2971800 h 3131365"/>
                  <a:gd name="connsiteX21" fmla="*/ 2097301 w 3142643"/>
                  <a:gd name="connsiteY21" fmla="*/ 3055620 h 3131365"/>
                  <a:gd name="connsiteX22" fmla="*/ 1809646 w 3142643"/>
                  <a:gd name="connsiteY22" fmla="*/ 3123247 h 3131365"/>
                  <a:gd name="connsiteX23" fmla="*/ 1335301 w 3142643"/>
                  <a:gd name="connsiteY23" fmla="*/ 3108960 h 3131365"/>
                  <a:gd name="connsiteX24" fmla="*/ 794281 w 3142643"/>
                  <a:gd name="connsiteY24" fmla="*/ 2933700 h 3131365"/>
                  <a:gd name="connsiteX25" fmla="*/ 420901 w 3142643"/>
                  <a:gd name="connsiteY25" fmla="*/ 2644140 h 3131365"/>
                  <a:gd name="connsiteX26" fmla="*/ 298981 w 3142643"/>
                  <a:gd name="connsiteY26" fmla="*/ 2499360 h 3131365"/>
                  <a:gd name="connsiteX27" fmla="*/ 184681 w 3142643"/>
                  <a:gd name="connsiteY27" fmla="*/ 2308860 h 3131365"/>
                  <a:gd name="connsiteX28" fmla="*/ 39901 w 3142643"/>
                  <a:gd name="connsiteY28" fmla="*/ 1943100 h 3131365"/>
                  <a:gd name="connsiteX29" fmla="*/ 1801 w 3142643"/>
                  <a:gd name="connsiteY29" fmla="*/ 1562100 h 3131365"/>
                  <a:gd name="connsiteX30" fmla="*/ 55141 w 3142643"/>
                  <a:gd name="connsiteY30" fmla="*/ 1135380 h 3131365"/>
                  <a:gd name="connsiteX31" fmla="*/ 161821 w 3142643"/>
                  <a:gd name="connsiteY31" fmla="*/ 861060 h 3131365"/>
                  <a:gd name="connsiteX32" fmla="*/ 260881 w 3142643"/>
                  <a:gd name="connsiteY32" fmla="*/ 708660 h 3131365"/>
                  <a:gd name="connsiteX33" fmla="*/ 420901 w 3142643"/>
                  <a:gd name="connsiteY33" fmla="*/ 510540 h 3131365"/>
                  <a:gd name="connsiteX34" fmla="*/ 512341 w 3142643"/>
                  <a:gd name="connsiteY34" fmla="*/ 434340 h 3131365"/>
                  <a:gd name="connsiteX35" fmla="*/ 657121 w 3142643"/>
                  <a:gd name="connsiteY35" fmla="*/ 312420 h 3131365"/>
                  <a:gd name="connsiteX36" fmla="*/ 870481 w 3142643"/>
                  <a:gd name="connsiteY36" fmla="*/ 175260 h 3131365"/>
                  <a:gd name="connsiteX37" fmla="*/ 1106701 w 3142643"/>
                  <a:gd name="connsiteY37" fmla="*/ 76200 h 3131365"/>
                  <a:gd name="connsiteX38" fmla="*/ 1243861 w 3142643"/>
                  <a:gd name="connsiteY38" fmla="*/ 38100 h 3131365"/>
                  <a:gd name="connsiteX39" fmla="*/ 1388641 w 3142643"/>
                  <a:gd name="connsiteY39" fmla="*/ 15240 h 3131365"/>
                  <a:gd name="connsiteX40" fmla="*/ 1464841 w 3142643"/>
                  <a:gd name="connsiteY40" fmla="*/ 0 h 3131365"/>
                  <a:gd name="connsiteX41" fmla="*/ 1746781 w 3142643"/>
                  <a:gd name="connsiteY41" fmla="*/ 0 h 3131365"/>
                  <a:gd name="connsiteX42" fmla="*/ 2165881 w 3142643"/>
                  <a:gd name="connsiteY42" fmla="*/ 99060 h 3131365"/>
                  <a:gd name="connsiteX43" fmla="*/ 2341141 w 3142643"/>
                  <a:gd name="connsiteY43" fmla="*/ 182880 h 3131365"/>
                  <a:gd name="connsiteX44" fmla="*/ 2371621 w 3142643"/>
                  <a:gd name="connsiteY44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50741 w 3142643"/>
                  <a:gd name="connsiteY8" fmla="*/ 845820 h 3131365"/>
                  <a:gd name="connsiteX9" fmla="*/ 3011701 w 3142643"/>
                  <a:gd name="connsiteY9" fmla="*/ 998220 h 3131365"/>
                  <a:gd name="connsiteX10" fmla="*/ 3034561 w 3142643"/>
                  <a:gd name="connsiteY10" fmla="*/ 1066800 h 3131365"/>
                  <a:gd name="connsiteX11" fmla="*/ 3103141 w 3142643"/>
                  <a:gd name="connsiteY11" fmla="*/ 1280160 h 3131365"/>
                  <a:gd name="connsiteX12" fmla="*/ 3141241 w 3142643"/>
                  <a:gd name="connsiteY12" fmla="*/ 1485900 h 3131365"/>
                  <a:gd name="connsiteX13" fmla="*/ 3133621 w 3142643"/>
                  <a:gd name="connsiteY13" fmla="*/ 1691640 h 3131365"/>
                  <a:gd name="connsiteX14" fmla="*/ 3126001 w 3142643"/>
                  <a:gd name="connsiteY14" fmla="*/ 1767840 h 3131365"/>
                  <a:gd name="connsiteX15" fmla="*/ 3062183 w 3142643"/>
                  <a:gd name="connsiteY15" fmla="*/ 2038350 h 3131365"/>
                  <a:gd name="connsiteX16" fmla="*/ 2950741 w 3142643"/>
                  <a:gd name="connsiteY16" fmla="*/ 2331720 h 3131365"/>
                  <a:gd name="connsiteX17" fmla="*/ 2845014 w 3142643"/>
                  <a:gd name="connsiteY17" fmla="*/ 2504122 h 3131365"/>
                  <a:gd name="connsiteX18" fmla="*/ 2706901 w 3142643"/>
                  <a:gd name="connsiteY18" fmla="*/ 2667000 h 3131365"/>
                  <a:gd name="connsiteX19" fmla="*/ 2303041 w 3142643"/>
                  <a:gd name="connsiteY19" fmla="*/ 2971800 h 3131365"/>
                  <a:gd name="connsiteX20" fmla="*/ 2097301 w 3142643"/>
                  <a:gd name="connsiteY20" fmla="*/ 3055620 h 3131365"/>
                  <a:gd name="connsiteX21" fmla="*/ 1809646 w 3142643"/>
                  <a:gd name="connsiteY21" fmla="*/ 3123247 h 3131365"/>
                  <a:gd name="connsiteX22" fmla="*/ 1335301 w 3142643"/>
                  <a:gd name="connsiteY22" fmla="*/ 3108960 h 3131365"/>
                  <a:gd name="connsiteX23" fmla="*/ 794281 w 3142643"/>
                  <a:gd name="connsiteY23" fmla="*/ 2933700 h 3131365"/>
                  <a:gd name="connsiteX24" fmla="*/ 420901 w 3142643"/>
                  <a:gd name="connsiteY24" fmla="*/ 2644140 h 3131365"/>
                  <a:gd name="connsiteX25" fmla="*/ 298981 w 3142643"/>
                  <a:gd name="connsiteY25" fmla="*/ 2499360 h 3131365"/>
                  <a:gd name="connsiteX26" fmla="*/ 184681 w 3142643"/>
                  <a:gd name="connsiteY26" fmla="*/ 2308860 h 3131365"/>
                  <a:gd name="connsiteX27" fmla="*/ 39901 w 3142643"/>
                  <a:gd name="connsiteY27" fmla="*/ 1943100 h 3131365"/>
                  <a:gd name="connsiteX28" fmla="*/ 1801 w 3142643"/>
                  <a:gd name="connsiteY28" fmla="*/ 1562100 h 3131365"/>
                  <a:gd name="connsiteX29" fmla="*/ 55141 w 3142643"/>
                  <a:gd name="connsiteY29" fmla="*/ 1135380 h 3131365"/>
                  <a:gd name="connsiteX30" fmla="*/ 161821 w 3142643"/>
                  <a:gd name="connsiteY30" fmla="*/ 861060 h 3131365"/>
                  <a:gd name="connsiteX31" fmla="*/ 260881 w 3142643"/>
                  <a:gd name="connsiteY31" fmla="*/ 708660 h 3131365"/>
                  <a:gd name="connsiteX32" fmla="*/ 420901 w 3142643"/>
                  <a:gd name="connsiteY32" fmla="*/ 510540 h 3131365"/>
                  <a:gd name="connsiteX33" fmla="*/ 512341 w 3142643"/>
                  <a:gd name="connsiteY33" fmla="*/ 434340 h 3131365"/>
                  <a:gd name="connsiteX34" fmla="*/ 657121 w 3142643"/>
                  <a:gd name="connsiteY34" fmla="*/ 312420 h 3131365"/>
                  <a:gd name="connsiteX35" fmla="*/ 870481 w 3142643"/>
                  <a:gd name="connsiteY35" fmla="*/ 175260 h 3131365"/>
                  <a:gd name="connsiteX36" fmla="*/ 1106701 w 3142643"/>
                  <a:gd name="connsiteY36" fmla="*/ 76200 h 3131365"/>
                  <a:gd name="connsiteX37" fmla="*/ 1243861 w 3142643"/>
                  <a:gd name="connsiteY37" fmla="*/ 38100 h 3131365"/>
                  <a:gd name="connsiteX38" fmla="*/ 1388641 w 3142643"/>
                  <a:gd name="connsiteY38" fmla="*/ 15240 h 3131365"/>
                  <a:gd name="connsiteX39" fmla="*/ 1464841 w 3142643"/>
                  <a:gd name="connsiteY39" fmla="*/ 0 h 3131365"/>
                  <a:gd name="connsiteX40" fmla="*/ 1746781 w 3142643"/>
                  <a:gd name="connsiteY40" fmla="*/ 0 h 3131365"/>
                  <a:gd name="connsiteX41" fmla="*/ 2165881 w 3142643"/>
                  <a:gd name="connsiteY41" fmla="*/ 99060 h 3131365"/>
                  <a:gd name="connsiteX42" fmla="*/ 2341141 w 3142643"/>
                  <a:gd name="connsiteY42" fmla="*/ 182880 h 3131365"/>
                  <a:gd name="connsiteX43" fmla="*/ 2371621 w 3142643"/>
                  <a:gd name="connsiteY43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43" name="Freeform: Shape 41">
                <a:extLst>
                  <a:ext uri="{FF2B5EF4-FFF2-40B4-BE49-F238E27FC236}">
                    <a16:creationId xmlns:a16="http://schemas.microsoft.com/office/drawing/2014/main" id="{199BD34A-A28B-A8E0-553A-DB467B2481C9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03860 w 2080260"/>
                  <a:gd name="connsiteY10" fmla="*/ 419100 h 932460"/>
                  <a:gd name="connsiteX11" fmla="*/ 457200 w 2080260"/>
                  <a:gd name="connsiteY11" fmla="*/ 472440 h 932460"/>
                  <a:gd name="connsiteX12" fmla="*/ 472440 w 2080260"/>
                  <a:gd name="connsiteY12" fmla="*/ 510540 h 932460"/>
                  <a:gd name="connsiteX13" fmla="*/ 541020 w 2080260"/>
                  <a:gd name="connsiteY13" fmla="*/ 556260 h 932460"/>
                  <a:gd name="connsiteX14" fmla="*/ 670560 w 2080260"/>
                  <a:gd name="connsiteY14" fmla="*/ 601980 h 932460"/>
                  <a:gd name="connsiteX15" fmla="*/ 716280 w 2080260"/>
                  <a:gd name="connsiteY15" fmla="*/ 624840 h 932460"/>
                  <a:gd name="connsiteX16" fmla="*/ 739140 w 2080260"/>
                  <a:gd name="connsiteY16" fmla="*/ 632460 h 932460"/>
                  <a:gd name="connsiteX17" fmla="*/ 784860 w 2080260"/>
                  <a:gd name="connsiteY17" fmla="*/ 662940 h 932460"/>
                  <a:gd name="connsiteX18" fmla="*/ 815340 w 2080260"/>
                  <a:gd name="connsiteY18" fmla="*/ 678180 h 932460"/>
                  <a:gd name="connsiteX19" fmla="*/ 853440 w 2080260"/>
                  <a:gd name="connsiteY19" fmla="*/ 701040 h 932460"/>
                  <a:gd name="connsiteX20" fmla="*/ 883920 w 2080260"/>
                  <a:gd name="connsiteY20" fmla="*/ 708660 h 932460"/>
                  <a:gd name="connsiteX21" fmla="*/ 967740 w 2080260"/>
                  <a:gd name="connsiteY21" fmla="*/ 746760 h 932460"/>
                  <a:gd name="connsiteX22" fmla="*/ 990600 w 2080260"/>
                  <a:gd name="connsiteY22" fmla="*/ 754380 h 932460"/>
                  <a:gd name="connsiteX23" fmla="*/ 1089660 w 2080260"/>
                  <a:gd name="connsiteY23" fmla="*/ 800100 h 932460"/>
                  <a:gd name="connsiteX24" fmla="*/ 1173480 w 2080260"/>
                  <a:gd name="connsiteY24" fmla="*/ 822960 h 932460"/>
                  <a:gd name="connsiteX25" fmla="*/ 1211580 w 2080260"/>
                  <a:gd name="connsiteY25" fmla="*/ 830580 h 932460"/>
                  <a:gd name="connsiteX26" fmla="*/ 1272540 w 2080260"/>
                  <a:gd name="connsiteY26" fmla="*/ 853440 h 932460"/>
                  <a:gd name="connsiteX27" fmla="*/ 1325880 w 2080260"/>
                  <a:gd name="connsiteY27" fmla="*/ 861060 h 932460"/>
                  <a:gd name="connsiteX28" fmla="*/ 1516380 w 2080260"/>
                  <a:gd name="connsiteY28" fmla="*/ 899160 h 932460"/>
                  <a:gd name="connsiteX29" fmla="*/ 1584960 w 2080260"/>
                  <a:gd name="connsiteY29" fmla="*/ 906780 h 932460"/>
                  <a:gd name="connsiteX30" fmla="*/ 1965960 w 2080260"/>
                  <a:gd name="connsiteY30" fmla="*/ 914400 h 932460"/>
                  <a:gd name="connsiteX31" fmla="*/ 1996440 w 2080260"/>
                  <a:gd name="connsiteY31" fmla="*/ 899160 h 932460"/>
                  <a:gd name="connsiteX32" fmla="*/ 2042160 w 2080260"/>
                  <a:gd name="connsiteY32" fmla="*/ 883920 h 932460"/>
                  <a:gd name="connsiteX33" fmla="*/ 2080260 w 2080260"/>
                  <a:gd name="connsiteY33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57200 w 2080260"/>
                  <a:gd name="connsiteY10" fmla="*/ 472440 h 932460"/>
                  <a:gd name="connsiteX11" fmla="*/ 472440 w 2080260"/>
                  <a:gd name="connsiteY11" fmla="*/ 510540 h 932460"/>
                  <a:gd name="connsiteX12" fmla="*/ 541020 w 2080260"/>
                  <a:gd name="connsiteY12" fmla="*/ 556260 h 932460"/>
                  <a:gd name="connsiteX13" fmla="*/ 670560 w 2080260"/>
                  <a:gd name="connsiteY13" fmla="*/ 601980 h 932460"/>
                  <a:gd name="connsiteX14" fmla="*/ 716280 w 2080260"/>
                  <a:gd name="connsiteY14" fmla="*/ 624840 h 932460"/>
                  <a:gd name="connsiteX15" fmla="*/ 739140 w 2080260"/>
                  <a:gd name="connsiteY15" fmla="*/ 632460 h 932460"/>
                  <a:gd name="connsiteX16" fmla="*/ 784860 w 2080260"/>
                  <a:gd name="connsiteY16" fmla="*/ 662940 h 932460"/>
                  <a:gd name="connsiteX17" fmla="*/ 815340 w 2080260"/>
                  <a:gd name="connsiteY17" fmla="*/ 678180 h 932460"/>
                  <a:gd name="connsiteX18" fmla="*/ 853440 w 2080260"/>
                  <a:gd name="connsiteY18" fmla="*/ 701040 h 932460"/>
                  <a:gd name="connsiteX19" fmla="*/ 883920 w 2080260"/>
                  <a:gd name="connsiteY19" fmla="*/ 708660 h 932460"/>
                  <a:gd name="connsiteX20" fmla="*/ 967740 w 2080260"/>
                  <a:gd name="connsiteY20" fmla="*/ 746760 h 932460"/>
                  <a:gd name="connsiteX21" fmla="*/ 990600 w 2080260"/>
                  <a:gd name="connsiteY21" fmla="*/ 754380 h 932460"/>
                  <a:gd name="connsiteX22" fmla="*/ 1089660 w 2080260"/>
                  <a:gd name="connsiteY22" fmla="*/ 800100 h 932460"/>
                  <a:gd name="connsiteX23" fmla="*/ 1173480 w 2080260"/>
                  <a:gd name="connsiteY23" fmla="*/ 822960 h 932460"/>
                  <a:gd name="connsiteX24" fmla="*/ 1211580 w 2080260"/>
                  <a:gd name="connsiteY24" fmla="*/ 830580 h 932460"/>
                  <a:gd name="connsiteX25" fmla="*/ 1272540 w 2080260"/>
                  <a:gd name="connsiteY25" fmla="*/ 853440 h 932460"/>
                  <a:gd name="connsiteX26" fmla="*/ 1325880 w 2080260"/>
                  <a:gd name="connsiteY26" fmla="*/ 861060 h 932460"/>
                  <a:gd name="connsiteX27" fmla="*/ 1516380 w 2080260"/>
                  <a:gd name="connsiteY27" fmla="*/ 899160 h 932460"/>
                  <a:gd name="connsiteX28" fmla="*/ 1584960 w 2080260"/>
                  <a:gd name="connsiteY28" fmla="*/ 906780 h 932460"/>
                  <a:gd name="connsiteX29" fmla="*/ 1965960 w 2080260"/>
                  <a:gd name="connsiteY29" fmla="*/ 914400 h 932460"/>
                  <a:gd name="connsiteX30" fmla="*/ 1996440 w 2080260"/>
                  <a:gd name="connsiteY30" fmla="*/ 899160 h 932460"/>
                  <a:gd name="connsiteX31" fmla="*/ 2042160 w 2080260"/>
                  <a:gd name="connsiteY31" fmla="*/ 883920 h 932460"/>
                  <a:gd name="connsiteX32" fmla="*/ 2080260 w 2080260"/>
                  <a:gd name="connsiteY32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274320 w 2080260"/>
                  <a:gd name="connsiteY7" fmla="*/ 320040 h 932460"/>
                  <a:gd name="connsiteX8" fmla="*/ 373380 w 2080260"/>
                  <a:gd name="connsiteY8" fmla="*/ 411480 h 932460"/>
                  <a:gd name="connsiteX9" fmla="*/ 457200 w 2080260"/>
                  <a:gd name="connsiteY9" fmla="*/ 472440 h 932460"/>
                  <a:gd name="connsiteX10" fmla="*/ 472440 w 2080260"/>
                  <a:gd name="connsiteY10" fmla="*/ 510540 h 932460"/>
                  <a:gd name="connsiteX11" fmla="*/ 541020 w 2080260"/>
                  <a:gd name="connsiteY11" fmla="*/ 556260 h 932460"/>
                  <a:gd name="connsiteX12" fmla="*/ 670560 w 2080260"/>
                  <a:gd name="connsiteY12" fmla="*/ 601980 h 932460"/>
                  <a:gd name="connsiteX13" fmla="*/ 716280 w 2080260"/>
                  <a:gd name="connsiteY13" fmla="*/ 624840 h 932460"/>
                  <a:gd name="connsiteX14" fmla="*/ 739140 w 2080260"/>
                  <a:gd name="connsiteY14" fmla="*/ 632460 h 932460"/>
                  <a:gd name="connsiteX15" fmla="*/ 784860 w 2080260"/>
                  <a:gd name="connsiteY15" fmla="*/ 662940 h 932460"/>
                  <a:gd name="connsiteX16" fmla="*/ 815340 w 2080260"/>
                  <a:gd name="connsiteY16" fmla="*/ 678180 h 932460"/>
                  <a:gd name="connsiteX17" fmla="*/ 853440 w 2080260"/>
                  <a:gd name="connsiteY17" fmla="*/ 701040 h 932460"/>
                  <a:gd name="connsiteX18" fmla="*/ 883920 w 2080260"/>
                  <a:gd name="connsiteY18" fmla="*/ 708660 h 932460"/>
                  <a:gd name="connsiteX19" fmla="*/ 967740 w 2080260"/>
                  <a:gd name="connsiteY19" fmla="*/ 746760 h 932460"/>
                  <a:gd name="connsiteX20" fmla="*/ 990600 w 2080260"/>
                  <a:gd name="connsiteY20" fmla="*/ 754380 h 932460"/>
                  <a:gd name="connsiteX21" fmla="*/ 1089660 w 2080260"/>
                  <a:gd name="connsiteY21" fmla="*/ 800100 h 932460"/>
                  <a:gd name="connsiteX22" fmla="*/ 1173480 w 2080260"/>
                  <a:gd name="connsiteY22" fmla="*/ 822960 h 932460"/>
                  <a:gd name="connsiteX23" fmla="*/ 1211580 w 2080260"/>
                  <a:gd name="connsiteY23" fmla="*/ 830580 h 932460"/>
                  <a:gd name="connsiteX24" fmla="*/ 1272540 w 2080260"/>
                  <a:gd name="connsiteY24" fmla="*/ 853440 h 932460"/>
                  <a:gd name="connsiteX25" fmla="*/ 1325880 w 2080260"/>
                  <a:gd name="connsiteY25" fmla="*/ 861060 h 932460"/>
                  <a:gd name="connsiteX26" fmla="*/ 1516380 w 2080260"/>
                  <a:gd name="connsiteY26" fmla="*/ 899160 h 932460"/>
                  <a:gd name="connsiteX27" fmla="*/ 1584960 w 2080260"/>
                  <a:gd name="connsiteY27" fmla="*/ 906780 h 932460"/>
                  <a:gd name="connsiteX28" fmla="*/ 1965960 w 2080260"/>
                  <a:gd name="connsiteY28" fmla="*/ 914400 h 932460"/>
                  <a:gd name="connsiteX29" fmla="*/ 1996440 w 2080260"/>
                  <a:gd name="connsiteY29" fmla="*/ 899160 h 932460"/>
                  <a:gd name="connsiteX30" fmla="*/ 2042160 w 2080260"/>
                  <a:gd name="connsiteY30" fmla="*/ 883920 h 932460"/>
                  <a:gd name="connsiteX31" fmla="*/ 2080260 w 2080260"/>
                  <a:gd name="connsiteY31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089660 w 2080260"/>
                  <a:gd name="connsiteY20" fmla="*/ 800100 h 932460"/>
                  <a:gd name="connsiteX21" fmla="*/ 1173480 w 2080260"/>
                  <a:gd name="connsiteY21" fmla="*/ 822960 h 932460"/>
                  <a:gd name="connsiteX22" fmla="*/ 1211580 w 2080260"/>
                  <a:gd name="connsiteY22" fmla="*/ 830580 h 932460"/>
                  <a:gd name="connsiteX23" fmla="*/ 1272540 w 2080260"/>
                  <a:gd name="connsiteY23" fmla="*/ 853440 h 932460"/>
                  <a:gd name="connsiteX24" fmla="*/ 1325880 w 2080260"/>
                  <a:gd name="connsiteY24" fmla="*/ 861060 h 932460"/>
                  <a:gd name="connsiteX25" fmla="*/ 1516380 w 2080260"/>
                  <a:gd name="connsiteY25" fmla="*/ 899160 h 932460"/>
                  <a:gd name="connsiteX26" fmla="*/ 1584960 w 2080260"/>
                  <a:gd name="connsiteY26" fmla="*/ 906780 h 932460"/>
                  <a:gd name="connsiteX27" fmla="*/ 1965960 w 2080260"/>
                  <a:gd name="connsiteY27" fmla="*/ 914400 h 932460"/>
                  <a:gd name="connsiteX28" fmla="*/ 1996440 w 2080260"/>
                  <a:gd name="connsiteY28" fmla="*/ 899160 h 932460"/>
                  <a:gd name="connsiteX29" fmla="*/ 2042160 w 2080260"/>
                  <a:gd name="connsiteY29" fmla="*/ 883920 h 932460"/>
                  <a:gd name="connsiteX30" fmla="*/ 2080260 w 2080260"/>
                  <a:gd name="connsiteY30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173480 w 2080260"/>
                  <a:gd name="connsiteY20" fmla="*/ 822960 h 932460"/>
                  <a:gd name="connsiteX21" fmla="*/ 1211580 w 2080260"/>
                  <a:gd name="connsiteY21" fmla="*/ 830580 h 932460"/>
                  <a:gd name="connsiteX22" fmla="*/ 1272540 w 2080260"/>
                  <a:gd name="connsiteY22" fmla="*/ 853440 h 932460"/>
                  <a:gd name="connsiteX23" fmla="*/ 1325880 w 2080260"/>
                  <a:gd name="connsiteY23" fmla="*/ 861060 h 932460"/>
                  <a:gd name="connsiteX24" fmla="*/ 1516380 w 2080260"/>
                  <a:gd name="connsiteY24" fmla="*/ 899160 h 932460"/>
                  <a:gd name="connsiteX25" fmla="*/ 1584960 w 2080260"/>
                  <a:gd name="connsiteY25" fmla="*/ 906780 h 932460"/>
                  <a:gd name="connsiteX26" fmla="*/ 1965960 w 2080260"/>
                  <a:gd name="connsiteY26" fmla="*/ 914400 h 932460"/>
                  <a:gd name="connsiteX27" fmla="*/ 1996440 w 2080260"/>
                  <a:gd name="connsiteY27" fmla="*/ 899160 h 932460"/>
                  <a:gd name="connsiteX28" fmla="*/ 2042160 w 2080260"/>
                  <a:gd name="connsiteY28" fmla="*/ 883920 h 932460"/>
                  <a:gd name="connsiteX29" fmla="*/ 2080260 w 2080260"/>
                  <a:gd name="connsiteY29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173480 w 2080260"/>
                  <a:gd name="connsiteY19" fmla="*/ 822960 h 932460"/>
                  <a:gd name="connsiteX20" fmla="*/ 1211580 w 2080260"/>
                  <a:gd name="connsiteY20" fmla="*/ 830580 h 932460"/>
                  <a:gd name="connsiteX21" fmla="*/ 1272540 w 2080260"/>
                  <a:gd name="connsiteY21" fmla="*/ 853440 h 932460"/>
                  <a:gd name="connsiteX22" fmla="*/ 1325880 w 2080260"/>
                  <a:gd name="connsiteY22" fmla="*/ 861060 h 932460"/>
                  <a:gd name="connsiteX23" fmla="*/ 1516380 w 2080260"/>
                  <a:gd name="connsiteY23" fmla="*/ 899160 h 932460"/>
                  <a:gd name="connsiteX24" fmla="*/ 1584960 w 2080260"/>
                  <a:gd name="connsiteY24" fmla="*/ 906780 h 932460"/>
                  <a:gd name="connsiteX25" fmla="*/ 1965960 w 2080260"/>
                  <a:gd name="connsiteY25" fmla="*/ 914400 h 932460"/>
                  <a:gd name="connsiteX26" fmla="*/ 1996440 w 2080260"/>
                  <a:gd name="connsiteY26" fmla="*/ 899160 h 932460"/>
                  <a:gd name="connsiteX27" fmla="*/ 2042160 w 2080260"/>
                  <a:gd name="connsiteY27" fmla="*/ 883920 h 932460"/>
                  <a:gd name="connsiteX28" fmla="*/ 2080260 w 2080260"/>
                  <a:gd name="connsiteY28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211580 w 2080260"/>
                  <a:gd name="connsiteY19" fmla="*/ 830580 h 932460"/>
                  <a:gd name="connsiteX20" fmla="*/ 1272540 w 2080260"/>
                  <a:gd name="connsiteY20" fmla="*/ 853440 h 932460"/>
                  <a:gd name="connsiteX21" fmla="*/ 1325880 w 2080260"/>
                  <a:gd name="connsiteY21" fmla="*/ 861060 h 932460"/>
                  <a:gd name="connsiteX22" fmla="*/ 1516380 w 2080260"/>
                  <a:gd name="connsiteY22" fmla="*/ 899160 h 932460"/>
                  <a:gd name="connsiteX23" fmla="*/ 1584960 w 2080260"/>
                  <a:gd name="connsiteY23" fmla="*/ 906780 h 932460"/>
                  <a:gd name="connsiteX24" fmla="*/ 1965960 w 2080260"/>
                  <a:gd name="connsiteY24" fmla="*/ 914400 h 932460"/>
                  <a:gd name="connsiteX25" fmla="*/ 1996440 w 2080260"/>
                  <a:gd name="connsiteY25" fmla="*/ 899160 h 932460"/>
                  <a:gd name="connsiteX26" fmla="*/ 2042160 w 2080260"/>
                  <a:gd name="connsiteY26" fmla="*/ 883920 h 932460"/>
                  <a:gd name="connsiteX27" fmla="*/ 2080260 w 2080260"/>
                  <a:gd name="connsiteY27" fmla="*/ 845820 h 93246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96440 w 2080260"/>
                  <a:gd name="connsiteY24" fmla="*/ 89916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27873 w 2080260"/>
                  <a:gd name="connsiteY25" fmla="*/ 841058 h 906780"/>
                  <a:gd name="connsiteX26" fmla="*/ 2080260 w 2080260"/>
                  <a:gd name="connsiteY26" fmla="*/ 845820 h 906780"/>
                  <a:gd name="connsiteX0" fmla="*/ 0 w 2027873"/>
                  <a:gd name="connsiteY0" fmla="*/ 0 h 906780"/>
                  <a:gd name="connsiteX1" fmla="*/ 22860 w 2027873"/>
                  <a:gd name="connsiteY1" fmla="*/ 38100 h 906780"/>
                  <a:gd name="connsiteX2" fmla="*/ 45720 w 2027873"/>
                  <a:gd name="connsiteY2" fmla="*/ 68580 h 906780"/>
                  <a:gd name="connsiteX3" fmla="*/ 60960 w 2027873"/>
                  <a:gd name="connsiteY3" fmla="*/ 106680 h 906780"/>
                  <a:gd name="connsiteX4" fmla="*/ 83820 w 2027873"/>
                  <a:gd name="connsiteY4" fmla="*/ 137160 h 906780"/>
                  <a:gd name="connsiteX5" fmla="*/ 106680 w 2027873"/>
                  <a:gd name="connsiteY5" fmla="*/ 175260 h 906780"/>
                  <a:gd name="connsiteX6" fmla="*/ 144780 w 2027873"/>
                  <a:gd name="connsiteY6" fmla="*/ 236220 h 906780"/>
                  <a:gd name="connsiteX7" fmla="*/ 373380 w 2027873"/>
                  <a:gd name="connsiteY7" fmla="*/ 411480 h 906780"/>
                  <a:gd name="connsiteX8" fmla="*/ 457200 w 2027873"/>
                  <a:gd name="connsiteY8" fmla="*/ 472440 h 906780"/>
                  <a:gd name="connsiteX9" fmla="*/ 472440 w 2027873"/>
                  <a:gd name="connsiteY9" fmla="*/ 510540 h 906780"/>
                  <a:gd name="connsiteX10" fmla="*/ 541020 w 2027873"/>
                  <a:gd name="connsiteY10" fmla="*/ 556260 h 906780"/>
                  <a:gd name="connsiteX11" fmla="*/ 670560 w 2027873"/>
                  <a:gd name="connsiteY11" fmla="*/ 601980 h 906780"/>
                  <a:gd name="connsiteX12" fmla="*/ 716280 w 2027873"/>
                  <a:gd name="connsiteY12" fmla="*/ 624840 h 906780"/>
                  <a:gd name="connsiteX13" fmla="*/ 739140 w 2027873"/>
                  <a:gd name="connsiteY13" fmla="*/ 632460 h 906780"/>
                  <a:gd name="connsiteX14" fmla="*/ 784860 w 2027873"/>
                  <a:gd name="connsiteY14" fmla="*/ 662940 h 906780"/>
                  <a:gd name="connsiteX15" fmla="*/ 815340 w 2027873"/>
                  <a:gd name="connsiteY15" fmla="*/ 678180 h 906780"/>
                  <a:gd name="connsiteX16" fmla="*/ 853440 w 2027873"/>
                  <a:gd name="connsiteY16" fmla="*/ 701040 h 906780"/>
                  <a:gd name="connsiteX17" fmla="*/ 883920 w 2027873"/>
                  <a:gd name="connsiteY17" fmla="*/ 708660 h 906780"/>
                  <a:gd name="connsiteX18" fmla="*/ 967740 w 2027873"/>
                  <a:gd name="connsiteY18" fmla="*/ 746760 h 906780"/>
                  <a:gd name="connsiteX19" fmla="*/ 1211580 w 2027873"/>
                  <a:gd name="connsiteY19" fmla="*/ 830580 h 906780"/>
                  <a:gd name="connsiteX20" fmla="*/ 1272540 w 2027873"/>
                  <a:gd name="connsiteY20" fmla="*/ 853440 h 906780"/>
                  <a:gd name="connsiteX21" fmla="*/ 1325880 w 2027873"/>
                  <a:gd name="connsiteY21" fmla="*/ 861060 h 906780"/>
                  <a:gd name="connsiteX22" fmla="*/ 1516380 w 2027873"/>
                  <a:gd name="connsiteY22" fmla="*/ 899160 h 906780"/>
                  <a:gd name="connsiteX23" fmla="*/ 1584960 w 2027873"/>
                  <a:gd name="connsiteY23" fmla="*/ 906780 h 906780"/>
                  <a:gd name="connsiteX24" fmla="*/ 1953578 w 2027873"/>
                  <a:gd name="connsiteY24" fmla="*/ 880110 h 906780"/>
                  <a:gd name="connsiteX25" fmla="*/ 2027873 w 2027873"/>
                  <a:gd name="connsiteY25" fmla="*/ 84105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472440 w 2056448"/>
                  <a:gd name="connsiteY9" fmla="*/ 510540 h 906780"/>
                  <a:gd name="connsiteX10" fmla="*/ 541020 w 2056448"/>
                  <a:gd name="connsiteY10" fmla="*/ 556260 h 906780"/>
                  <a:gd name="connsiteX11" fmla="*/ 670560 w 2056448"/>
                  <a:gd name="connsiteY11" fmla="*/ 601980 h 906780"/>
                  <a:gd name="connsiteX12" fmla="*/ 716280 w 2056448"/>
                  <a:gd name="connsiteY12" fmla="*/ 624840 h 906780"/>
                  <a:gd name="connsiteX13" fmla="*/ 739140 w 2056448"/>
                  <a:gd name="connsiteY13" fmla="*/ 632460 h 906780"/>
                  <a:gd name="connsiteX14" fmla="*/ 784860 w 2056448"/>
                  <a:gd name="connsiteY14" fmla="*/ 662940 h 906780"/>
                  <a:gd name="connsiteX15" fmla="*/ 815340 w 2056448"/>
                  <a:gd name="connsiteY15" fmla="*/ 678180 h 906780"/>
                  <a:gd name="connsiteX16" fmla="*/ 853440 w 2056448"/>
                  <a:gd name="connsiteY16" fmla="*/ 701040 h 906780"/>
                  <a:gd name="connsiteX17" fmla="*/ 883920 w 2056448"/>
                  <a:gd name="connsiteY17" fmla="*/ 708660 h 906780"/>
                  <a:gd name="connsiteX18" fmla="*/ 967740 w 2056448"/>
                  <a:gd name="connsiteY18" fmla="*/ 746760 h 906780"/>
                  <a:gd name="connsiteX19" fmla="*/ 1211580 w 2056448"/>
                  <a:gd name="connsiteY19" fmla="*/ 830580 h 906780"/>
                  <a:gd name="connsiteX20" fmla="*/ 1272540 w 2056448"/>
                  <a:gd name="connsiteY20" fmla="*/ 853440 h 906780"/>
                  <a:gd name="connsiteX21" fmla="*/ 1325880 w 2056448"/>
                  <a:gd name="connsiteY21" fmla="*/ 861060 h 906780"/>
                  <a:gd name="connsiteX22" fmla="*/ 1516380 w 2056448"/>
                  <a:gd name="connsiteY22" fmla="*/ 899160 h 906780"/>
                  <a:gd name="connsiteX23" fmla="*/ 1584960 w 2056448"/>
                  <a:gd name="connsiteY23" fmla="*/ 906780 h 906780"/>
                  <a:gd name="connsiteX24" fmla="*/ 1953578 w 2056448"/>
                  <a:gd name="connsiteY24" fmla="*/ 880110 h 906780"/>
                  <a:gd name="connsiteX25" fmla="*/ 2056448 w 2056448"/>
                  <a:gd name="connsiteY25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784860 w 2056448"/>
                  <a:gd name="connsiteY12" fmla="*/ 662940 h 906780"/>
                  <a:gd name="connsiteX13" fmla="*/ 815340 w 2056448"/>
                  <a:gd name="connsiteY13" fmla="*/ 678180 h 906780"/>
                  <a:gd name="connsiteX14" fmla="*/ 853440 w 2056448"/>
                  <a:gd name="connsiteY14" fmla="*/ 701040 h 906780"/>
                  <a:gd name="connsiteX15" fmla="*/ 883920 w 2056448"/>
                  <a:gd name="connsiteY15" fmla="*/ 708660 h 906780"/>
                  <a:gd name="connsiteX16" fmla="*/ 967740 w 2056448"/>
                  <a:gd name="connsiteY16" fmla="*/ 746760 h 906780"/>
                  <a:gd name="connsiteX17" fmla="*/ 1211580 w 2056448"/>
                  <a:gd name="connsiteY17" fmla="*/ 830580 h 906780"/>
                  <a:gd name="connsiteX18" fmla="*/ 1272540 w 2056448"/>
                  <a:gd name="connsiteY18" fmla="*/ 853440 h 906780"/>
                  <a:gd name="connsiteX19" fmla="*/ 1325880 w 2056448"/>
                  <a:gd name="connsiteY19" fmla="*/ 861060 h 906780"/>
                  <a:gd name="connsiteX20" fmla="*/ 1516380 w 2056448"/>
                  <a:gd name="connsiteY20" fmla="*/ 899160 h 906780"/>
                  <a:gd name="connsiteX21" fmla="*/ 1584960 w 2056448"/>
                  <a:gd name="connsiteY21" fmla="*/ 906780 h 906780"/>
                  <a:gd name="connsiteX22" fmla="*/ 1953578 w 2056448"/>
                  <a:gd name="connsiteY22" fmla="*/ 880110 h 906780"/>
                  <a:gd name="connsiteX23" fmla="*/ 2056448 w 2056448"/>
                  <a:gd name="connsiteY23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883920 w 2056448"/>
                  <a:gd name="connsiteY14" fmla="*/ 708660 h 906780"/>
                  <a:gd name="connsiteX15" fmla="*/ 967740 w 2056448"/>
                  <a:gd name="connsiteY15" fmla="*/ 746760 h 906780"/>
                  <a:gd name="connsiteX16" fmla="*/ 1211580 w 2056448"/>
                  <a:gd name="connsiteY16" fmla="*/ 830580 h 906780"/>
                  <a:gd name="connsiteX17" fmla="*/ 1272540 w 2056448"/>
                  <a:gd name="connsiteY17" fmla="*/ 853440 h 906780"/>
                  <a:gd name="connsiteX18" fmla="*/ 1325880 w 2056448"/>
                  <a:gd name="connsiteY18" fmla="*/ 861060 h 906780"/>
                  <a:gd name="connsiteX19" fmla="*/ 1516380 w 2056448"/>
                  <a:gd name="connsiteY19" fmla="*/ 899160 h 906780"/>
                  <a:gd name="connsiteX20" fmla="*/ 1584960 w 2056448"/>
                  <a:gd name="connsiteY20" fmla="*/ 906780 h 906780"/>
                  <a:gd name="connsiteX21" fmla="*/ 1953578 w 2056448"/>
                  <a:gd name="connsiteY21" fmla="*/ 880110 h 906780"/>
                  <a:gd name="connsiteX22" fmla="*/ 2056448 w 2056448"/>
                  <a:gd name="connsiteY22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967740 w 2056448"/>
                  <a:gd name="connsiteY14" fmla="*/ 746760 h 906780"/>
                  <a:gd name="connsiteX15" fmla="*/ 1211580 w 2056448"/>
                  <a:gd name="connsiteY15" fmla="*/ 830580 h 906780"/>
                  <a:gd name="connsiteX16" fmla="*/ 1272540 w 2056448"/>
                  <a:gd name="connsiteY16" fmla="*/ 853440 h 906780"/>
                  <a:gd name="connsiteX17" fmla="*/ 1325880 w 2056448"/>
                  <a:gd name="connsiteY17" fmla="*/ 861060 h 906780"/>
                  <a:gd name="connsiteX18" fmla="*/ 1516380 w 2056448"/>
                  <a:gd name="connsiteY18" fmla="*/ 899160 h 906780"/>
                  <a:gd name="connsiteX19" fmla="*/ 1584960 w 2056448"/>
                  <a:gd name="connsiteY19" fmla="*/ 906780 h 906780"/>
                  <a:gd name="connsiteX20" fmla="*/ 1953578 w 2056448"/>
                  <a:gd name="connsiteY20" fmla="*/ 880110 h 906780"/>
                  <a:gd name="connsiteX21" fmla="*/ 2056448 w 2056448"/>
                  <a:gd name="connsiteY21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82015 w 2056448"/>
                  <a:gd name="connsiteY12" fmla="*/ 748665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810577 w 2056448"/>
                  <a:gd name="connsiteY10" fmla="*/ 69723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325880 w 2056448"/>
                  <a:gd name="connsiteY14" fmla="*/ 861060 h 906780"/>
                  <a:gd name="connsiteX15" fmla="*/ 1516380 w 2056448"/>
                  <a:gd name="connsiteY15" fmla="*/ 899160 h 906780"/>
                  <a:gd name="connsiteX16" fmla="*/ 1584960 w 2056448"/>
                  <a:gd name="connsiteY16" fmla="*/ 906780 h 906780"/>
                  <a:gd name="connsiteX17" fmla="*/ 1953578 w 2056448"/>
                  <a:gd name="connsiteY17" fmla="*/ 880110 h 906780"/>
                  <a:gd name="connsiteX18" fmla="*/ 2056448 w 2056448"/>
                  <a:gd name="connsiteY18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16305"/>
                  <a:gd name="connsiteX1" fmla="*/ 22860 w 2056448"/>
                  <a:gd name="connsiteY1" fmla="*/ 38100 h 916305"/>
                  <a:gd name="connsiteX2" fmla="*/ 45720 w 2056448"/>
                  <a:gd name="connsiteY2" fmla="*/ 68580 h 916305"/>
                  <a:gd name="connsiteX3" fmla="*/ 60960 w 2056448"/>
                  <a:gd name="connsiteY3" fmla="*/ 106680 h 916305"/>
                  <a:gd name="connsiteX4" fmla="*/ 83820 w 2056448"/>
                  <a:gd name="connsiteY4" fmla="*/ 137160 h 916305"/>
                  <a:gd name="connsiteX5" fmla="*/ 106680 w 2056448"/>
                  <a:gd name="connsiteY5" fmla="*/ 175260 h 916305"/>
                  <a:gd name="connsiteX6" fmla="*/ 144780 w 2056448"/>
                  <a:gd name="connsiteY6" fmla="*/ 236220 h 916305"/>
                  <a:gd name="connsiteX7" fmla="*/ 297180 w 2056448"/>
                  <a:gd name="connsiteY7" fmla="*/ 392430 h 916305"/>
                  <a:gd name="connsiteX8" fmla="*/ 442913 w 2056448"/>
                  <a:gd name="connsiteY8" fmla="*/ 496252 h 916305"/>
                  <a:gd name="connsiteX9" fmla="*/ 541020 w 2056448"/>
                  <a:gd name="connsiteY9" fmla="*/ 556260 h 916305"/>
                  <a:gd name="connsiteX10" fmla="*/ 724852 w 2056448"/>
                  <a:gd name="connsiteY10" fmla="*/ 678180 h 916305"/>
                  <a:gd name="connsiteX11" fmla="*/ 882015 w 2056448"/>
                  <a:gd name="connsiteY11" fmla="*/ 748665 h 916305"/>
                  <a:gd name="connsiteX12" fmla="*/ 1039178 w 2056448"/>
                  <a:gd name="connsiteY12" fmla="*/ 808672 h 916305"/>
                  <a:gd name="connsiteX13" fmla="*/ 1211580 w 2056448"/>
                  <a:gd name="connsiteY13" fmla="*/ 868680 h 916305"/>
                  <a:gd name="connsiteX14" fmla="*/ 1516380 w 2056448"/>
                  <a:gd name="connsiteY14" fmla="*/ 899160 h 916305"/>
                  <a:gd name="connsiteX15" fmla="*/ 1646872 w 2056448"/>
                  <a:gd name="connsiteY15" fmla="*/ 916305 h 916305"/>
                  <a:gd name="connsiteX16" fmla="*/ 1953578 w 2056448"/>
                  <a:gd name="connsiteY16" fmla="*/ 880110 h 916305"/>
                  <a:gd name="connsiteX17" fmla="*/ 2056448 w 2056448"/>
                  <a:gd name="connsiteY17" fmla="*/ 822008 h 916305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60960 w 2056448"/>
                  <a:gd name="connsiteY3" fmla="*/ 106680 h 917172"/>
                  <a:gd name="connsiteX4" fmla="*/ 83820 w 2056448"/>
                  <a:gd name="connsiteY4" fmla="*/ 137160 h 917172"/>
                  <a:gd name="connsiteX5" fmla="*/ 106680 w 2056448"/>
                  <a:gd name="connsiteY5" fmla="*/ 175260 h 917172"/>
                  <a:gd name="connsiteX6" fmla="*/ 144780 w 2056448"/>
                  <a:gd name="connsiteY6" fmla="*/ 236220 h 917172"/>
                  <a:gd name="connsiteX7" fmla="*/ 297180 w 2056448"/>
                  <a:gd name="connsiteY7" fmla="*/ 392430 h 917172"/>
                  <a:gd name="connsiteX8" fmla="*/ 442913 w 2056448"/>
                  <a:gd name="connsiteY8" fmla="*/ 496252 h 917172"/>
                  <a:gd name="connsiteX9" fmla="*/ 541020 w 2056448"/>
                  <a:gd name="connsiteY9" fmla="*/ 556260 h 917172"/>
                  <a:gd name="connsiteX10" fmla="*/ 724852 w 2056448"/>
                  <a:gd name="connsiteY10" fmla="*/ 678180 h 917172"/>
                  <a:gd name="connsiteX11" fmla="*/ 882015 w 2056448"/>
                  <a:gd name="connsiteY11" fmla="*/ 748665 h 917172"/>
                  <a:gd name="connsiteX12" fmla="*/ 1039178 w 2056448"/>
                  <a:gd name="connsiteY12" fmla="*/ 808672 h 917172"/>
                  <a:gd name="connsiteX13" fmla="*/ 1211580 w 2056448"/>
                  <a:gd name="connsiteY13" fmla="*/ 868680 h 917172"/>
                  <a:gd name="connsiteX14" fmla="*/ 1502093 w 2056448"/>
                  <a:gd name="connsiteY14" fmla="*/ 913448 h 917172"/>
                  <a:gd name="connsiteX15" fmla="*/ 1646872 w 2056448"/>
                  <a:gd name="connsiteY15" fmla="*/ 916305 h 917172"/>
                  <a:gd name="connsiteX16" fmla="*/ 1953578 w 2056448"/>
                  <a:gd name="connsiteY16" fmla="*/ 880110 h 917172"/>
                  <a:gd name="connsiteX17" fmla="*/ 2056448 w 2056448"/>
                  <a:gd name="connsiteY17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83820 w 2056448"/>
                  <a:gd name="connsiteY3" fmla="*/ 137160 h 917172"/>
                  <a:gd name="connsiteX4" fmla="*/ 106680 w 2056448"/>
                  <a:gd name="connsiteY4" fmla="*/ 175260 h 917172"/>
                  <a:gd name="connsiteX5" fmla="*/ 144780 w 2056448"/>
                  <a:gd name="connsiteY5" fmla="*/ 236220 h 917172"/>
                  <a:gd name="connsiteX6" fmla="*/ 297180 w 2056448"/>
                  <a:gd name="connsiteY6" fmla="*/ 392430 h 917172"/>
                  <a:gd name="connsiteX7" fmla="*/ 442913 w 2056448"/>
                  <a:gd name="connsiteY7" fmla="*/ 496252 h 917172"/>
                  <a:gd name="connsiteX8" fmla="*/ 541020 w 2056448"/>
                  <a:gd name="connsiteY8" fmla="*/ 556260 h 917172"/>
                  <a:gd name="connsiteX9" fmla="*/ 724852 w 2056448"/>
                  <a:gd name="connsiteY9" fmla="*/ 678180 h 917172"/>
                  <a:gd name="connsiteX10" fmla="*/ 882015 w 2056448"/>
                  <a:gd name="connsiteY10" fmla="*/ 748665 h 917172"/>
                  <a:gd name="connsiteX11" fmla="*/ 1039178 w 2056448"/>
                  <a:gd name="connsiteY11" fmla="*/ 808672 h 917172"/>
                  <a:gd name="connsiteX12" fmla="*/ 1211580 w 2056448"/>
                  <a:gd name="connsiteY12" fmla="*/ 868680 h 917172"/>
                  <a:gd name="connsiteX13" fmla="*/ 1502093 w 2056448"/>
                  <a:gd name="connsiteY13" fmla="*/ 913448 h 917172"/>
                  <a:gd name="connsiteX14" fmla="*/ 1646872 w 2056448"/>
                  <a:gd name="connsiteY14" fmla="*/ 916305 h 917172"/>
                  <a:gd name="connsiteX15" fmla="*/ 1953578 w 2056448"/>
                  <a:gd name="connsiteY15" fmla="*/ 880110 h 917172"/>
                  <a:gd name="connsiteX16" fmla="*/ 2056448 w 2056448"/>
                  <a:gd name="connsiteY16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83820 w 2056448"/>
                  <a:gd name="connsiteY2" fmla="*/ 137160 h 917172"/>
                  <a:gd name="connsiteX3" fmla="*/ 106680 w 2056448"/>
                  <a:gd name="connsiteY3" fmla="*/ 175260 h 917172"/>
                  <a:gd name="connsiteX4" fmla="*/ 144780 w 2056448"/>
                  <a:gd name="connsiteY4" fmla="*/ 236220 h 917172"/>
                  <a:gd name="connsiteX5" fmla="*/ 297180 w 2056448"/>
                  <a:gd name="connsiteY5" fmla="*/ 392430 h 917172"/>
                  <a:gd name="connsiteX6" fmla="*/ 442913 w 2056448"/>
                  <a:gd name="connsiteY6" fmla="*/ 496252 h 917172"/>
                  <a:gd name="connsiteX7" fmla="*/ 541020 w 2056448"/>
                  <a:gd name="connsiteY7" fmla="*/ 556260 h 917172"/>
                  <a:gd name="connsiteX8" fmla="*/ 724852 w 2056448"/>
                  <a:gd name="connsiteY8" fmla="*/ 678180 h 917172"/>
                  <a:gd name="connsiteX9" fmla="*/ 882015 w 2056448"/>
                  <a:gd name="connsiteY9" fmla="*/ 748665 h 917172"/>
                  <a:gd name="connsiteX10" fmla="*/ 1039178 w 2056448"/>
                  <a:gd name="connsiteY10" fmla="*/ 808672 h 917172"/>
                  <a:gd name="connsiteX11" fmla="*/ 1211580 w 2056448"/>
                  <a:gd name="connsiteY11" fmla="*/ 868680 h 917172"/>
                  <a:gd name="connsiteX12" fmla="*/ 1502093 w 2056448"/>
                  <a:gd name="connsiteY12" fmla="*/ 913448 h 917172"/>
                  <a:gd name="connsiteX13" fmla="*/ 1646872 w 2056448"/>
                  <a:gd name="connsiteY13" fmla="*/ 916305 h 917172"/>
                  <a:gd name="connsiteX14" fmla="*/ 1953578 w 2056448"/>
                  <a:gd name="connsiteY14" fmla="*/ 880110 h 917172"/>
                  <a:gd name="connsiteX15" fmla="*/ 2056448 w 2056448"/>
                  <a:gd name="connsiteY15" fmla="*/ 822008 h 917172"/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44" name="Freeform: Shape 48">
                <a:extLst>
                  <a:ext uri="{FF2B5EF4-FFF2-40B4-BE49-F238E27FC236}">
                    <a16:creationId xmlns:a16="http://schemas.microsoft.com/office/drawing/2014/main" id="{B21E464F-486D-97BE-B269-EA57C7B68C32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03860 w 2956560"/>
                  <a:gd name="connsiteY13" fmla="*/ 533400 h 1249680"/>
                  <a:gd name="connsiteX14" fmla="*/ 426720 w 2956560"/>
                  <a:gd name="connsiteY14" fmla="*/ 548640 h 1249680"/>
                  <a:gd name="connsiteX15" fmla="*/ 464820 w 2956560"/>
                  <a:gd name="connsiteY15" fmla="*/ 579120 h 1249680"/>
                  <a:gd name="connsiteX16" fmla="*/ 495300 w 2956560"/>
                  <a:gd name="connsiteY16" fmla="*/ 594360 h 1249680"/>
                  <a:gd name="connsiteX17" fmla="*/ 533400 w 2956560"/>
                  <a:gd name="connsiteY17" fmla="*/ 624840 h 1249680"/>
                  <a:gd name="connsiteX18" fmla="*/ 548640 w 2956560"/>
                  <a:gd name="connsiteY18" fmla="*/ 647700 h 1249680"/>
                  <a:gd name="connsiteX19" fmla="*/ 571500 w 2956560"/>
                  <a:gd name="connsiteY19" fmla="*/ 655320 h 1249680"/>
                  <a:gd name="connsiteX20" fmla="*/ 617220 w 2956560"/>
                  <a:gd name="connsiteY20" fmla="*/ 693420 h 1249680"/>
                  <a:gd name="connsiteX21" fmla="*/ 670560 w 2956560"/>
                  <a:gd name="connsiteY21" fmla="*/ 746760 h 1249680"/>
                  <a:gd name="connsiteX22" fmla="*/ 723900 w 2956560"/>
                  <a:gd name="connsiteY22" fmla="*/ 784860 h 1249680"/>
                  <a:gd name="connsiteX23" fmla="*/ 769620 w 2956560"/>
                  <a:gd name="connsiteY23" fmla="*/ 830580 h 1249680"/>
                  <a:gd name="connsiteX24" fmla="*/ 792480 w 2956560"/>
                  <a:gd name="connsiteY24" fmla="*/ 845820 h 1249680"/>
                  <a:gd name="connsiteX25" fmla="*/ 891540 w 2956560"/>
                  <a:gd name="connsiteY25" fmla="*/ 883920 h 1249680"/>
                  <a:gd name="connsiteX26" fmla="*/ 967740 w 2956560"/>
                  <a:gd name="connsiteY26" fmla="*/ 937260 h 1249680"/>
                  <a:gd name="connsiteX27" fmla="*/ 998220 w 2956560"/>
                  <a:gd name="connsiteY27" fmla="*/ 960120 h 1249680"/>
                  <a:gd name="connsiteX28" fmla="*/ 1021080 w 2956560"/>
                  <a:gd name="connsiteY28" fmla="*/ 967740 h 1249680"/>
                  <a:gd name="connsiteX29" fmla="*/ 1074420 w 2956560"/>
                  <a:gd name="connsiteY29" fmla="*/ 998220 h 1249680"/>
                  <a:gd name="connsiteX30" fmla="*/ 1097280 w 2956560"/>
                  <a:gd name="connsiteY30" fmla="*/ 1013460 h 1249680"/>
                  <a:gd name="connsiteX31" fmla="*/ 1158240 w 2956560"/>
                  <a:gd name="connsiteY31" fmla="*/ 1036320 h 1249680"/>
                  <a:gd name="connsiteX32" fmla="*/ 1219200 w 2956560"/>
                  <a:gd name="connsiteY32" fmla="*/ 1082040 h 1249680"/>
                  <a:gd name="connsiteX33" fmla="*/ 1264920 w 2956560"/>
                  <a:gd name="connsiteY33" fmla="*/ 1104900 h 1249680"/>
                  <a:gd name="connsiteX34" fmla="*/ 1287780 w 2956560"/>
                  <a:gd name="connsiteY34" fmla="*/ 1120140 h 1249680"/>
                  <a:gd name="connsiteX35" fmla="*/ 1371600 w 2956560"/>
                  <a:gd name="connsiteY35" fmla="*/ 1150620 h 1249680"/>
                  <a:gd name="connsiteX36" fmla="*/ 1409700 w 2956560"/>
                  <a:gd name="connsiteY36" fmla="*/ 1158240 h 1249680"/>
                  <a:gd name="connsiteX37" fmla="*/ 1478280 w 2956560"/>
                  <a:gd name="connsiteY37" fmla="*/ 1173480 h 1249680"/>
                  <a:gd name="connsiteX38" fmla="*/ 1600200 w 2956560"/>
                  <a:gd name="connsiteY38" fmla="*/ 1181100 h 1249680"/>
                  <a:gd name="connsiteX39" fmla="*/ 1760220 w 2956560"/>
                  <a:gd name="connsiteY39" fmla="*/ 1196340 h 1249680"/>
                  <a:gd name="connsiteX40" fmla="*/ 1798320 w 2956560"/>
                  <a:gd name="connsiteY40" fmla="*/ 1203960 h 1249680"/>
                  <a:gd name="connsiteX41" fmla="*/ 1927860 w 2956560"/>
                  <a:gd name="connsiteY41" fmla="*/ 1211580 h 1249680"/>
                  <a:gd name="connsiteX42" fmla="*/ 1988820 w 2956560"/>
                  <a:gd name="connsiteY42" fmla="*/ 1226820 h 1249680"/>
                  <a:gd name="connsiteX43" fmla="*/ 2065020 w 2956560"/>
                  <a:gd name="connsiteY43" fmla="*/ 1234440 h 1249680"/>
                  <a:gd name="connsiteX44" fmla="*/ 2186940 w 2956560"/>
                  <a:gd name="connsiteY44" fmla="*/ 1249680 h 1249680"/>
                  <a:gd name="connsiteX45" fmla="*/ 2331720 w 2956560"/>
                  <a:gd name="connsiteY45" fmla="*/ 1242060 h 1249680"/>
                  <a:gd name="connsiteX46" fmla="*/ 2354580 w 2956560"/>
                  <a:gd name="connsiteY46" fmla="*/ 1226820 h 1249680"/>
                  <a:gd name="connsiteX47" fmla="*/ 2423160 w 2956560"/>
                  <a:gd name="connsiteY47" fmla="*/ 1196340 h 1249680"/>
                  <a:gd name="connsiteX48" fmla="*/ 2461260 w 2956560"/>
                  <a:gd name="connsiteY48" fmla="*/ 1173480 h 1249680"/>
                  <a:gd name="connsiteX49" fmla="*/ 2506980 w 2956560"/>
                  <a:gd name="connsiteY49" fmla="*/ 1165860 h 1249680"/>
                  <a:gd name="connsiteX50" fmla="*/ 2537460 w 2956560"/>
                  <a:gd name="connsiteY50" fmla="*/ 1150620 h 1249680"/>
                  <a:gd name="connsiteX51" fmla="*/ 2621280 w 2956560"/>
                  <a:gd name="connsiteY51" fmla="*/ 1127760 h 1249680"/>
                  <a:gd name="connsiteX52" fmla="*/ 2644140 w 2956560"/>
                  <a:gd name="connsiteY52" fmla="*/ 1112520 h 1249680"/>
                  <a:gd name="connsiteX53" fmla="*/ 2750820 w 2956560"/>
                  <a:gd name="connsiteY53" fmla="*/ 1082040 h 1249680"/>
                  <a:gd name="connsiteX54" fmla="*/ 2781300 w 2956560"/>
                  <a:gd name="connsiteY54" fmla="*/ 1066800 h 1249680"/>
                  <a:gd name="connsiteX55" fmla="*/ 2849880 w 2956560"/>
                  <a:gd name="connsiteY55" fmla="*/ 1051560 h 1249680"/>
                  <a:gd name="connsiteX56" fmla="*/ 2910840 w 2956560"/>
                  <a:gd name="connsiteY56" fmla="*/ 1021080 h 1249680"/>
                  <a:gd name="connsiteX57" fmla="*/ 2956560 w 2956560"/>
                  <a:gd name="connsiteY5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26720 w 2956560"/>
                  <a:gd name="connsiteY13" fmla="*/ 548640 h 1249680"/>
                  <a:gd name="connsiteX14" fmla="*/ 464820 w 2956560"/>
                  <a:gd name="connsiteY14" fmla="*/ 579120 h 1249680"/>
                  <a:gd name="connsiteX15" fmla="*/ 495300 w 2956560"/>
                  <a:gd name="connsiteY15" fmla="*/ 594360 h 1249680"/>
                  <a:gd name="connsiteX16" fmla="*/ 533400 w 2956560"/>
                  <a:gd name="connsiteY16" fmla="*/ 624840 h 1249680"/>
                  <a:gd name="connsiteX17" fmla="*/ 548640 w 2956560"/>
                  <a:gd name="connsiteY17" fmla="*/ 647700 h 1249680"/>
                  <a:gd name="connsiteX18" fmla="*/ 571500 w 2956560"/>
                  <a:gd name="connsiteY18" fmla="*/ 655320 h 1249680"/>
                  <a:gd name="connsiteX19" fmla="*/ 617220 w 2956560"/>
                  <a:gd name="connsiteY19" fmla="*/ 693420 h 1249680"/>
                  <a:gd name="connsiteX20" fmla="*/ 670560 w 2956560"/>
                  <a:gd name="connsiteY20" fmla="*/ 746760 h 1249680"/>
                  <a:gd name="connsiteX21" fmla="*/ 723900 w 2956560"/>
                  <a:gd name="connsiteY21" fmla="*/ 784860 h 1249680"/>
                  <a:gd name="connsiteX22" fmla="*/ 769620 w 2956560"/>
                  <a:gd name="connsiteY22" fmla="*/ 830580 h 1249680"/>
                  <a:gd name="connsiteX23" fmla="*/ 792480 w 2956560"/>
                  <a:gd name="connsiteY23" fmla="*/ 845820 h 1249680"/>
                  <a:gd name="connsiteX24" fmla="*/ 891540 w 2956560"/>
                  <a:gd name="connsiteY24" fmla="*/ 883920 h 1249680"/>
                  <a:gd name="connsiteX25" fmla="*/ 967740 w 2956560"/>
                  <a:gd name="connsiteY25" fmla="*/ 937260 h 1249680"/>
                  <a:gd name="connsiteX26" fmla="*/ 998220 w 2956560"/>
                  <a:gd name="connsiteY26" fmla="*/ 960120 h 1249680"/>
                  <a:gd name="connsiteX27" fmla="*/ 1021080 w 2956560"/>
                  <a:gd name="connsiteY27" fmla="*/ 967740 h 1249680"/>
                  <a:gd name="connsiteX28" fmla="*/ 1074420 w 2956560"/>
                  <a:gd name="connsiteY28" fmla="*/ 998220 h 1249680"/>
                  <a:gd name="connsiteX29" fmla="*/ 1097280 w 2956560"/>
                  <a:gd name="connsiteY29" fmla="*/ 1013460 h 1249680"/>
                  <a:gd name="connsiteX30" fmla="*/ 1158240 w 2956560"/>
                  <a:gd name="connsiteY30" fmla="*/ 1036320 h 1249680"/>
                  <a:gd name="connsiteX31" fmla="*/ 1219200 w 2956560"/>
                  <a:gd name="connsiteY31" fmla="*/ 1082040 h 1249680"/>
                  <a:gd name="connsiteX32" fmla="*/ 1264920 w 2956560"/>
                  <a:gd name="connsiteY32" fmla="*/ 1104900 h 1249680"/>
                  <a:gd name="connsiteX33" fmla="*/ 1287780 w 2956560"/>
                  <a:gd name="connsiteY33" fmla="*/ 1120140 h 1249680"/>
                  <a:gd name="connsiteX34" fmla="*/ 1371600 w 2956560"/>
                  <a:gd name="connsiteY34" fmla="*/ 1150620 h 1249680"/>
                  <a:gd name="connsiteX35" fmla="*/ 1409700 w 2956560"/>
                  <a:gd name="connsiteY35" fmla="*/ 1158240 h 1249680"/>
                  <a:gd name="connsiteX36" fmla="*/ 1478280 w 2956560"/>
                  <a:gd name="connsiteY36" fmla="*/ 1173480 h 1249680"/>
                  <a:gd name="connsiteX37" fmla="*/ 1600200 w 2956560"/>
                  <a:gd name="connsiteY37" fmla="*/ 1181100 h 1249680"/>
                  <a:gd name="connsiteX38" fmla="*/ 1760220 w 2956560"/>
                  <a:gd name="connsiteY38" fmla="*/ 1196340 h 1249680"/>
                  <a:gd name="connsiteX39" fmla="*/ 1798320 w 2956560"/>
                  <a:gd name="connsiteY39" fmla="*/ 1203960 h 1249680"/>
                  <a:gd name="connsiteX40" fmla="*/ 1927860 w 2956560"/>
                  <a:gd name="connsiteY40" fmla="*/ 1211580 h 1249680"/>
                  <a:gd name="connsiteX41" fmla="*/ 1988820 w 2956560"/>
                  <a:gd name="connsiteY41" fmla="*/ 1226820 h 1249680"/>
                  <a:gd name="connsiteX42" fmla="*/ 2065020 w 2956560"/>
                  <a:gd name="connsiteY42" fmla="*/ 1234440 h 1249680"/>
                  <a:gd name="connsiteX43" fmla="*/ 2186940 w 2956560"/>
                  <a:gd name="connsiteY43" fmla="*/ 1249680 h 1249680"/>
                  <a:gd name="connsiteX44" fmla="*/ 2331720 w 2956560"/>
                  <a:gd name="connsiteY44" fmla="*/ 1242060 h 1249680"/>
                  <a:gd name="connsiteX45" fmla="*/ 2354580 w 2956560"/>
                  <a:gd name="connsiteY45" fmla="*/ 1226820 h 1249680"/>
                  <a:gd name="connsiteX46" fmla="*/ 2423160 w 2956560"/>
                  <a:gd name="connsiteY46" fmla="*/ 1196340 h 1249680"/>
                  <a:gd name="connsiteX47" fmla="*/ 2461260 w 2956560"/>
                  <a:gd name="connsiteY47" fmla="*/ 1173480 h 1249680"/>
                  <a:gd name="connsiteX48" fmla="*/ 2506980 w 2956560"/>
                  <a:gd name="connsiteY48" fmla="*/ 1165860 h 1249680"/>
                  <a:gd name="connsiteX49" fmla="*/ 2537460 w 2956560"/>
                  <a:gd name="connsiteY49" fmla="*/ 1150620 h 1249680"/>
                  <a:gd name="connsiteX50" fmla="*/ 2621280 w 2956560"/>
                  <a:gd name="connsiteY50" fmla="*/ 1127760 h 1249680"/>
                  <a:gd name="connsiteX51" fmla="*/ 2644140 w 2956560"/>
                  <a:gd name="connsiteY51" fmla="*/ 1112520 h 1249680"/>
                  <a:gd name="connsiteX52" fmla="*/ 2750820 w 2956560"/>
                  <a:gd name="connsiteY52" fmla="*/ 1082040 h 1249680"/>
                  <a:gd name="connsiteX53" fmla="*/ 2781300 w 2956560"/>
                  <a:gd name="connsiteY53" fmla="*/ 1066800 h 1249680"/>
                  <a:gd name="connsiteX54" fmla="*/ 2849880 w 2956560"/>
                  <a:gd name="connsiteY54" fmla="*/ 1051560 h 1249680"/>
                  <a:gd name="connsiteX55" fmla="*/ 2910840 w 2956560"/>
                  <a:gd name="connsiteY55" fmla="*/ 1021080 h 1249680"/>
                  <a:gd name="connsiteX56" fmla="*/ 2956560 w 2956560"/>
                  <a:gd name="connsiteY5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287780 w 2956560"/>
                  <a:gd name="connsiteY32" fmla="*/ 1120140 h 1249680"/>
                  <a:gd name="connsiteX33" fmla="*/ 1371600 w 2956560"/>
                  <a:gd name="connsiteY33" fmla="*/ 1150620 h 1249680"/>
                  <a:gd name="connsiteX34" fmla="*/ 1409700 w 2956560"/>
                  <a:gd name="connsiteY34" fmla="*/ 1158240 h 1249680"/>
                  <a:gd name="connsiteX35" fmla="*/ 1478280 w 2956560"/>
                  <a:gd name="connsiteY35" fmla="*/ 1173480 h 1249680"/>
                  <a:gd name="connsiteX36" fmla="*/ 1600200 w 2956560"/>
                  <a:gd name="connsiteY36" fmla="*/ 1181100 h 1249680"/>
                  <a:gd name="connsiteX37" fmla="*/ 1760220 w 2956560"/>
                  <a:gd name="connsiteY37" fmla="*/ 1196340 h 1249680"/>
                  <a:gd name="connsiteX38" fmla="*/ 1798320 w 2956560"/>
                  <a:gd name="connsiteY38" fmla="*/ 1203960 h 1249680"/>
                  <a:gd name="connsiteX39" fmla="*/ 1927860 w 2956560"/>
                  <a:gd name="connsiteY39" fmla="*/ 1211580 h 1249680"/>
                  <a:gd name="connsiteX40" fmla="*/ 1988820 w 2956560"/>
                  <a:gd name="connsiteY40" fmla="*/ 1226820 h 1249680"/>
                  <a:gd name="connsiteX41" fmla="*/ 2065020 w 2956560"/>
                  <a:gd name="connsiteY41" fmla="*/ 1234440 h 1249680"/>
                  <a:gd name="connsiteX42" fmla="*/ 2186940 w 2956560"/>
                  <a:gd name="connsiteY42" fmla="*/ 1249680 h 1249680"/>
                  <a:gd name="connsiteX43" fmla="*/ 2331720 w 2956560"/>
                  <a:gd name="connsiteY43" fmla="*/ 1242060 h 1249680"/>
                  <a:gd name="connsiteX44" fmla="*/ 2354580 w 2956560"/>
                  <a:gd name="connsiteY44" fmla="*/ 1226820 h 1249680"/>
                  <a:gd name="connsiteX45" fmla="*/ 2423160 w 2956560"/>
                  <a:gd name="connsiteY45" fmla="*/ 1196340 h 1249680"/>
                  <a:gd name="connsiteX46" fmla="*/ 2461260 w 2956560"/>
                  <a:gd name="connsiteY46" fmla="*/ 1173480 h 1249680"/>
                  <a:gd name="connsiteX47" fmla="*/ 2506980 w 2956560"/>
                  <a:gd name="connsiteY47" fmla="*/ 1165860 h 1249680"/>
                  <a:gd name="connsiteX48" fmla="*/ 2537460 w 2956560"/>
                  <a:gd name="connsiteY48" fmla="*/ 1150620 h 1249680"/>
                  <a:gd name="connsiteX49" fmla="*/ 2621280 w 2956560"/>
                  <a:gd name="connsiteY49" fmla="*/ 1127760 h 1249680"/>
                  <a:gd name="connsiteX50" fmla="*/ 2644140 w 2956560"/>
                  <a:gd name="connsiteY50" fmla="*/ 1112520 h 1249680"/>
                  <a:gd name="connsiteX51" fmla="*/ 2750820 w 2956560"/>
                  <a:gd name="connsiteY51" fmla="*/ 1082040 h 1249680"/>
                  <a:gd name="connsiteX52" fmla="*/ 2781300 w 2956560"/>
                  <a:gd name="connsiteY52" fmla="*/ 1066800 h 1249680"/>
                  <a:gd name="connsiteX53" fmla="*/ 2849880 w 2956560"/>
                  <a:gd name="connsiteY53" fmla="*/ 1051560 h 1249680"/>
                  <a:gd name="connsiteX54" fmla="*/ 2910840 w 2956560"/>
                  <a:gd name="connsiteY54" fmla="*/ 1021080 h 1249680"/>
                  <a:gd name="connsiteX55" fmla="*/ 2956560 w 2956560"/>
                  <a:gd name="connsiteY5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371600 w 2956560"/>
                  <a:gd name="connsiteY32" fmla="*/ 1150620 h 1249680"/>
                  <a:gd name="connsiteX33" fmla="*/ 1409700 w 2956560"/>
                  <a:gd name="connsiteY33" fmla="*/ 1158240 h 1249680"/>
                  <a:gd name="connsiteX34" fmla="*/ 1478280 w 2956560"/>
                  <a:gd name="connsiteY34" fmla="*/ 1173480 h 1249680"/>
                  <a:gd name="connsiteX35" fmla="*/ 1600200 w 2956560"/>
                  <a:gd name="connsiteY35" fmla="*/ 1181100 h 1249680"/>
                  <a:gd name="connsiteX36" fmla="*/ 1760220 w 2956560"/>
                  <a:gd name="connsiteY36" fmla="*/ 1196340 h 1249680"/>
                  <a:gd name="connsiteX37" fmla="*/ 1798320 w 2956560"/>
                  <a:gd name="connsiteY37" fmla="*/ 1203960 h 1249680"/>
                  <a:gd name="connsiteX38" fmla="*/ 1927860 w 2956560"/>
                  <a:gd name="connsiteY38" fmla="*/ 1211580 h 1249680"/>
                  <a:gd name="connsiteX39" fmla="*/ 1988820 w 2956560"/>
                  <a:gd name="connsiteY39" fmla="*/ 1226820 h 1249680"/>
                  <a:gd name="connsiteX40" fmla="*/ 2065020 w 2956560"/>
                  <a:gd name="connsiteY40" fmla="*/ 1234440 h 1249680"/>
                  <a:gd name="connsiteX41" fmla="*/ 2186940 w 2956560"/>
                  <a:gd name="connsiteY41" fmla="*/ 1249680 h 1249680"/>
                  <a:gd name="connsiteX42" fmla="*/ 2331720 w 2956560"/>
                  <a:gd name="connsiteY42" fmla="*/ 1242060 h 1249680"/>
                  <a:gd name="connsiteX43" fmla="*/ 2354580 w 2956560"/>
                  <a:gd name="connsiteY43" fmla="*/ 1226820 h 1249680"/>
                  <a:gd name="connsiteX44" fmla="*/ 2423160 w 2956560"/>
                  <a:gd name="connsiteY44" fmla="*/ 1196340 h 1249680"/>
                  <a:gd name="connsiteX45" fmla="*/ 2461260 w 2956560"/>
                  <a:gd name="connsiteY45" fmla="*/ 1173480 h 1249680"/>
                  <a:gd name="connsiteX46" fmla="*/ 2506980 w 2956560"/>
                  <a:gd name="connsiteY46" fmla="*/ 1165860 h 1249680"/>
                  <a:gd name="connsiteX47" fmla="*/ 2537460 w 2956560"/>
                  <a:gd name="connsiteY47" fmla="*/ 1150620 h 1249680"/>
                  <a:gd name="connsiteX48" fmla="*/ 2621280 w 2956560"/>
                  <a:gd name="connsiteY48" fmla="*/ 1127760 h 1249680"/>
                  <a:gd name="connsiteX49" fmla="*/ 2644140 w 2956560"/>
                  <a:gd name="connsiteY49" fmla="*/ 1112520 h 1249680"/>
                  <a:gd name="connsiteX50" fmla="*/ 2750820 w 2956560"/>
                  <a:gd name="connsiteY50" fmla="*/ 1082040 h 1249680"/>
                  <a:gd name="connsiteX51" fmla="*/ 2781300 w 2956560"/>
                  <a:gd name="connsiteY51" fmla="*/ 1066800 h 1249680"/>
                  <a:gd name="connsiteX52" fmla="*/ 2849880 w 2956560"/>
                  <a:gd name="connsiteY52" fmla="*/ 1051560 h 1249680"/>
                  <a:gd name="connsiteX53" fmla="*/ 2910840 w 2956560"/>
                  <a:gd name="connsiteY53" fmla="*/ 1021080 h 1249680"/>
                  <a:gd name="connsiteX54" fmla="*/ 2956560 w 2956560"/>
                  <a:gd name="connsiteY5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371600 w 2956560"/>
                  <a:gd name="connsiteY31" fmla="*/ 1150620 h 1249680"/>
                  <a:gd name="connsiteX32" fmla="*/ 1409700 w 2956560"/>
                  <a:gd name="connsiteY32" fmla="*/ 1158240 h 1249680"/>
                  <a:gd name="connsiteX33" fmla="*/ 1478280 w 2956560"/>
                  <a:gd name="connsiteY33" fmla="*/ 1173480 h 1249680"/>
                  <a:gd name="connsiteX34" fmla="*/ 1600200 w 2956560"/>
                  <a:gd name="connsiteY34" fmla="*/ 1181100 h 1249680"/>
                  <a:gd name="connsiteX35" fmla="*/ 1760220 w 2956560"/>
                  <a:gd name="connsiteY35" fmla="*/ 1196340 h 1249680"/>
                  <a:gd name="connsiteX36" fmla="*/ 1798320 w 2956560"/>
                  <a:gd name="connsiteY36" fmla="*/ 1203960 h 1249680"/>
                  <a:gd name="connsiteX37" fmla="*/ 1927860 w 2956560"/>
                  <a:gd name="connsiteY37" fmla="*/ 1211580 h 1249680"/>
                  <a:gd name="connsiteX38" fmla="*/ 1988820 w 2956560"/>
                  <a:gd name="connsiteY38" fmla="*/ 1226820 h 1249680"/>
                  <a:gd name="connsiteX39" fmla="*/ 2065020 w 2956560"/>
                  <a:gd name="connsiteY39" fmla="*/ 1234440 h 1249680"/>
                  <a:gd name="connsiteX40" fmla="*/ 2186940 w 2956560"/>
                  <a:gd name="connsiteY40" fmla="*/ 1249680 h 1249680"/>
                  <a:gd name="connsiteX41" fmla="*/ 2331720 w 2956560"/>
                  <a:gd name="connsiteY41" fmla="*/ 1242060 h 1249680"/>
                  <a:gd name="connsiteX42" fmla="*/ 2354580 w 2956560"/>
                  <a:gd name="connsiteY42" fmla="*/ 1226820 h 1249680"/>
                  <a:gd name="connsiteX43" fmla="*/ 2423160 w 2956560"/>
                  <a:gd name="connsiteY43" fmla="*/ 1196340 h 1249680"/>
                  <a:gd name="connsiteX44" fmla="*/ 2461260 w 2956560"/>
                  <a:gd name="connsiteY44" fmla="*/ 1173480 h 1249680"/>
                  <a:gd name="connsiteX45" fmla="*/ 2506980 w 2956560"/>
                  <a:gd name="connsiteY45" fmla="*/ 1165860 h 1249680"/>
                  <a:gd name="connsiteX46" fmla="*/ 2537460 w 2956560"/>
                  <a:gd name="connsiteY46" fmla="*/ 1150620 h 1249680"/>
                  <a:gd name="connsiteX47" fmla="*/ 2621280 w 2956560"/>
                  <a:gd name="connsiteY47" fmla="*/ 1127760 h 1249680"/>
                  <a:gd name="connsiteX48" fmla="*/ 2644140 w 2956560"/>
                  <a:gd name="connsiteY48" fmla="*/ 1112520 h 1249680"/>
                  <a:gd name="connsiteX49" fmla="*/ 2750820 w 2956560"/>
                  <a:gd name="connsiteY49" fmla="*/ 1082040 h 1249680"/>
                  <a:gd name="connsiteX50" fmla="*/ 2781300 w 2956560"/>
                  <a:gd name="connsiteY50" fmla="*/ 1066800 h 1249680"/>
                  <a:gd name="connsiteX51" fmla="*/ 2849880 w 2956560"/>
                  <a:gd name="connsiteY51" fmla="*/ 1051560 h 1249680"/>
                  <a:gd name="connsiteX52" fmla="*/ 2910840 w 2956560"/>
                  <a:gd name="connsiteY52" fmla="*/ 1021080 h 1249680"/>
                  <a:gd name="connsiteX53" fmla="*/ 2956560 w 2956560"/>
                  <a:gd name="connsiteY53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09700 w 2956560"/>
                  <a:gd name="connsiteY31" fmla="*/ 1158240 h 1249680"/>
                  <a:gd name="connsiteX32" fmla="*/ 1478280 w 2956560"/>
                  <a:gd name="connsiteY32" fmla="*/ 1173480 h 1249680"/>
                  <a:gd name="connsiteX33" fmla="*/ 1600200 w 2956560"/>
                  <a:gd name="connsiteY33" fmla="*/ 1181100 h 1249680"/>
                  <a:gd name="connsiteX34" fmla="*/ 1760220 w 2956560"/>
                  <a:gd name="connsiteY34" fmla="*/ 1196340 h 1249680"/>
                  <a:gd name="connsiteX35" fmla="*/ 1798320 w 2956560"/>
                  <a:gd name="connsiteY35" fmla="*/ 1203960 h 1249680"/>
                  <a:gd name="connsiteX36" fmla="*/ 1927860 w 2956560"/>
                  <a:gd name="connsiteY36" fmla="*/ 1211580 h 1249680"/>
                  <a:gd name="connsiteX37" fmla="*/ 1988820 w 2956560"/>
                  <a:gd name="connsiteY37" fmla="*/ 1226820 h 1249680"/>
                  <a:gd name="connsiteX38" fmla="*/ 2065020 w 2956560"/>
                  <a:gd name="connsiteY38" fmla="*/ 1234440 h 1249680"/>
                  <a:gd name="connsiteX39" fmla="*/ 2186940 w 2956560"/>
                  <a:gd name="connsiteY39" fmla="*/ 1249680 h 1249680"/>
                  <a:gd name="connsiteX40" fmla="*/ 2331720 w 2956560"/>
                  <a:gd name="connsiteY40" fmla="*/ 1242060 h 1249680"/>
                  <a:gd name="connsiteX41" fmla="*/ 2354580 w 2956560"/>
                  <a:gd name="connsiteY41" fmla="*/ 1226820 h 1249680"/>
                  <a:gd name="connsiteX42" fmla="*/ 2423160 w 2956560"/>
                  <a:gd name="connsiteY42" fmla="*/ 1196340 h 1249680"/>
                  <a:gd name="connsiteX43" fmla="*/ 2461260 w 2956560"/>
                  <a:gd name="connsiteY43" fmla="*/ 1173480 h 1249680"/>
                  <a:gd name="connsiteX44" fmla="*/ 2506980 w 2956560"/>
                  <a:gd name="connsiteY44" fmla="*/ 1165860 h 1249680"/>
                  <a:gd name="connsiteX45" fmla="*/ 2537460 w 2956560"/>
                  <a:gd name="connsiteY45" fmla="*/ 1150620 h 1249680"/>
                  <a:gd name="connsiteX46" fmla="*/ 2621280 w 2956560"/>
                  <a:gd name="connsiteY46" fmla="*/ 1127760 h 1249680"/>
                  <a:gd name="connsiteX47" fmla="*/ 2644140 w 2956560"/>
                  <a:gd name="connsiteY47" fmla="*/ 1112520 h 1249680"/>
                  <a:gd name="connsiteX48" fmla="*/ 2750820 w 2956560"/>
                  <a:gd name="connsiteY48" fmla="*/ 1082040 h 1249680"/>
                  <a:gd name="connsiteX49" fmla="*/ 2781300 w 2956560"/>
                  <a:gd name="connsiteY49" fmla="*/ 1066800 h 1249680"/>
                  <a:gd name="connsiteX50" fmla="*/ 2849880 w 2956560"/>
                  <a:gd name="connsiteY50" fmla="*/ 1051560 h 1249680"/>
                  <a:gd name="connsiteX51" fmla="*/ 2910840 w 2956560"/>
                  <a:gd name="connsiteY51" fmla="*/ 1021080 h 1249680"/>
                  <a:gd name="connsiteX52" fmla="*/ 2956560 w 2956560"/>
                  <a:gd name="connsiteY52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78280 w 2956560"/>
                  <a:gd name="connsiteY31" fmla="*/ 1173480 h 1249680"/>
                  <a:gd name="connsiteX32" fmla="*/ 1600200 w 2956560"/>
                  <a:gd name="connsiteY32" fmla="*/ 1181100 h 1249680"/>
                  <a:gd name="connsiteX33" fmla="*/ 1760220 w 2956560"/>
                  <a:gd name="connsiteY33" fmla="*/ 1196340 h 1249680"/>
                  <a:gd name="connsiteX34" fmla="*/ 1798320 w 2956560"/>
                  <a:gd name="connsiteY34" fmla="*/ 1203960 h 1249680"/>
                  <a:gd name="connsiteX35" fmla="*/ 1927860 w 2956560"/>
                  <a:gd name="connsiteY35" fmla="*/ 1211580 h 1249680"/>
                  <a:gd name="connsiteX36" fmla="*/ 1988820 w 2956560"/>
                  <a:gd name="connsiteY36" fmla="*/ 1226820 h 1249680"/>
                  <a:gd name="connsiteX37" fmla="*/ 2065020 w 2956560"/>
                  <a:gd name="connsiteY37" fmla="*/ 1234440 h 1249680"/>
                  <a:gd name="connsiteX38" fmla="*/ 2186940 w 2956560"/>
                  <a:gd name="connsiteY38" fmla="*/ 1249680 h 1249680"/>
                  <a:gd name="connsiteX39" fmla="*/ 2331720 w 2956560"/>
                  <a:gd name="connsiteY39" fmla="*/ 1242060 h 1249680"/>
                  <a:gd name="connsiteX40" fmla="*/ 2354580 w 2956560"/>
                  <a:gd name="connsiteY40" fmla="*/ 1226820 h 1249680"/>
                  <a:gd name="connsiteX41" fmla="*/ 2423160 w 2956560"/>
                  <a:gd name="connsiteY41" fmla="*/ 1196340 h 1249680"/>
                  <a:gd name="connsiteX42" fmla="*/ 2461260 w 2956560"/>
                  <a:gd name="connsiteY42" fmla="*/ 1173480 h 1249680"/>
                  <a:gd name="connsiteX43" fmla="*/ 2506980 w 2956560"/>
                  <a:gd name="connsiteY43" fmla="*/ 1165860 h 1249680"/>
                  <a:gd name="connsiteX44" fmla="*/ 2537460 w 2956560"/>
                  <a:gd name="connsiteY44" fmla="*/ 1150620 h 1249680"/>
                  <a:gd name="connsiteX45" fmla="*/ 2621280 w 2956560"/>
                  <a:gd name="connsiteY45" fmla="*/ 1127760 h 1249680"/>
                  <a:gd name="connsiteX46" fmla="*/ 2644140 w 2956560"/>
                  <a:gd name="connsiteY46" fmla="*/ 1112520 h 1249680"/>
                  <a:gd name="connsiteX47" fmla="*/ 2750820 w 2956560"/>
                  <a:gd name="connsiteY47" fmla="*/ 1082040 h 1249680"/>
                  <a:gd name="connsiteX48" fmla="*/ 2781300 w 2956560"/>
                  <a:gd name="connsiteY48" fmla="*/ 1066800 h 1249680"/>
                  <a:gd name="connsiteX49" fmla="*/ 2849880 w 2956560"/>
                  <a:gd name="connsiteY49" fmla="*/ 1051560 h 1249680"/>
                  <a:gd name="connsiteX50" fmla="*/ 2910840 w 2956560"/>
                  <a:gd name="connsiteY50" fmla="*/ 1021080 h 1249680"/>
                  <a:gd name="connsiteX51" fmla="*/ 2956560 w 2956560"/>
                  <a:gd name="connsiteY51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600200 w 2956560"/>
                  <a:gd name="connsiteY31" fmla="*/ 1181100 h 1249680"/>
                  <a:gd name="connsiteX32" fmla="*/ 1760220 w 2956560"/>
                  <a:gd name="connsiteY32" fmla="*/ 1196340 h 1249680"/>
                  <a:gd name="connsiteX33" fmla="*/ 1798320 w 2956560"/>
                  <a:gd name="connsiteY33" fmla="*/ 1203960 h 1249680"/>
                  <a:gd name="connsiteX34" fmla="*/ 1927860 w 2956560"/>
                  <a:gd name="connsiteY34" fmla="*/ 1211580 h 1249680"/>
                  <a:gd name="connsiteX35" fmla="*/ 1988820 w 2956560"/>
                  <a:gd name="connsiteY35" fmla="*/ 1226820 h 1249680"/>
                  <a:gd name="connsiteX36" fmla="*/ 2065020 w 2956560"/>
                  <a:gd name="connsiteY36" fmla="*/ 1234440 h 1249680"/>
                  <a:gd name="connsiteX37" fmla="*/ 2186940 w 2956560"/>
                  <a:gd name="connsiteY37" fmla="*/ 1249680 h 1249680"/>
                  <a:gd name="connsiteX38" fmla="*/ 2331720 w 2956560"/>
                  <a:gd name="connsiteY38" fmla="*/ 1242060 h 1249680"/>
                  <a:gd name="connsiteX39" fmla="*/ 2354580 w 2956560"/>
                  <a:gd name="connsiteY39" fmla="*/ 1226820 h 1249680"/>
                  <a:gd name="connsiteX40" fmla="*/ 2423160 w 2956560"/>
                  <a:gd name="connsiteY40" fmla="*/ 1196340 h 1249680"/>
                  <a:gd name="connsiteX41" fmla="*/ 2461260 w 2956560"/>
                  <a:gd name="connsiteY41" fmla="*/ 1173480 h 1249680"/>
                  <a:gd name="connsiteX42" fmla="*/ 2506980 w 2956560"/>
                  <a:gd name="connsiteY42" fmla="*/ 1165860 h 1249680"/>
                  <a:gd name="connsiteX43" fmla="*/ 2537460 w 2956560"/>
                  <a:gd name="connsiteY43" fmla="*/ 1150620 h 1249680"/>
                  <a:gd name="connsiteX44" fmla="*/ 2621280 w 2956560"/>
                  <a:gd name="connsiteY44" fmla="*/ 1127760 h 1249680"/>
                  <a:gd name="connsiteX45" fmla="*/ 2644140 w 2956560"/>
                  <a:gd name="connsiteY45" fmla="*/ 1112520 h 1249680"/>
                  <a:gd name="connsiteX46" fmla="*/ 2750820 w 2956560"/>
                  <a:gd name="connsiteY46" fmla="*/ 1082040 h 1249680"/>
                  <a:gd name="connsiteX47" fmla="*/ 2781300 w 2956560"/>
                  <a:gd name="connsiteY47" fmla="*/ 1066800 h 1249680"/>
                  <a:gd name="connsiteX48" fmla="*/ 2849880 w 2956560"/>
                  <a:gd name="connsiteY48" fmla="*/ 1051560 h 1249680"/>
                  <a:gd name="connsiteX49" fmla="*/ 2910840 w 2956560"/>
                  <a:gd name="connsiteY49" fmla="*/ 1021080 h 1249680"/>
                  <a:gd name="connsiteX50" fmla="*/ 2956560 w 2956560"/>
                  <a:gd name="connsiteY50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158240 w 2956560"/>
                  <a:gd name="connsiteY28" fmla="*/ 1036320 h 1249680"/>
                  <a:gd name="connsiteX29" fmla="*/ 1219200 w 2956560"/>
                  <a:gd name="connsiteY29" fmla="*/ 1082040 h 1249680"/>
                  <a:gd name="connsiteX30" fmla="*/ 1600200 w 2956560"/>
                  <a:gd name="connsiteY30" fmla="*/ 1181100 h 1249680"/>
                  <a:gd name="connsiteX31" fmla="*/ 1760220 w 2956560"/>
                  <a:gd name="connsiteY31" fmla="*/ 1196340 h 1249680"/>
                  <a:gd name="connsiteX32" fmla="*/ 1798320 w 2956560"/>
                  <a:gd name="connsiteY32" fmla="*/ 1203960 h 1249680"/>
                  <a:gd name="connsiteX33" fmla="*/ 1927860 w 2956560"/>
                  <a:gd name="connsiteY33" fmla="*/ 1211580 h 1249680"/>
                  <a:gd name="connsiteX34" fmla="*/ 1988820 w 2956560"/>
                  <a:gd name="connsiteY34" fmla="*/ 1226820 h 1249680"/>
                  <a:gd name="connsiteX35" fmla="*/ 2065020 w 2956560"/>
                  <a:gd name="connsiteY35" fmla="*/ 1234440 h 1249680"/>
                  <a:gd name="connsiteX36" fmla="*/ 2186940 w 2956560"/>
                  <a:gd name="connsiteY36" fmla="*/ 1249680 h 1249680"/>
                  <a:gd name="connsiteX37" fmla="*/ 2331720 w 2956560"/>
                  <a:gd name="connsiteY37" fmla="*/ 1242060 h 1249680"/>
                  <a:gd name="connsiteX38" fmla="*/ 2354580 w 2956560"/>
                  <a:gd name="connsiteY38" fmla="*/ 1226820 h 1249680"/>
                  <a:gd name="connsiteX39" fmla="*/ 2423160 w 2956560"/>
                  <a:gd name="connsiteY39" fmla="*/ 1196340 h 1249680"/>
                  <a:gd name="connsiteX40" fmla="*/ 2461260 w 2956560"/>
                  <a:gd name="connsiteY40" fmla="*/ 1173480 h 1249680"/>
                  <a:gd name="connsiteX41" fmla="*/ 2506980 w 2956560"/>
                  <a:gd name="connsiteY41" fmla="*/ 1165860 h 1249680"/>
                  <a:gd name="connsiteX42" fmla="*/ 2537460 w 2956560"/>
                  <a:gd name="connsiteY42" fmla="*/ 1150620 h 1249680"/>
                  <a:gd name="connsiteX43" fmla="*/ 2621280 w 2956560"/>
                  <a:gd name="connsiteY43" fmla="*/ 1127760 h 1249680"/>
                  <a:gd name="connsiteX44" fmla="*/ 2644140 w 2956560"/>
                  <a:gd name="connsiteY44" fmla="*/ 1112520 h 1249680"/>
                  <a:gd name="connsiteX45" fmla="*/ 2750820 w 2956560"/>
                  <a:gd name="connsiteY45" fmla="*/ 1082040 h 1249680"/>
                  <a:gd name="connsiteX46" fmla="*/ 2781300 w 2956560"/>
                  <a:gd name="connsiteY46" fmla="*/ 1066800 h 1249680"/>
                  <a:gd name="connsiteX47" fmla="*/ 2849880 w 2956560"/>
                  <a:gd name="connsiteY47" fmla="*/ 1051560 h 1249680"/>
                  <a:gd name="connsiteX48" fmla="*/ 2910840 w 2956560"/>
                  <a:gd name="connsiteY48" fmla="*/ 1021080 h 1249680"/>
                  <a:gd name="connsiteX49" fmla="*/ 2956560 w 2956560"/>
                  <a:gd name="connsiteY49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1021080 w 2956560"/>
                  <a:gd name="connsiteY25" fmla="*/ 967740 h 1249680"/>
                  <a:gd name="connsiteX26" fmla="*/ 1074420 w 2956560"/>
                  <a:gd name="connsiteY26" fmla="*/ 998220 h 1249680"/>
                  <a:gd name="connsiteX27" fmla="*/ 1158240 w 2956560"/>
                  <a:gd name="connsiteY27" fmla="*/ 1036320 h 1249680"/>
                  <a:gd name="connsiteX28" fmla="*/ 1219200 w 2956560"/>
                  <a:gd name="connsiteY28" fmla="*/ 1082040 h 1249680"/>
                  <a:gd name="connsiteX29" fmla="*/ 1600200 w 2956560"/>
                  <a:gd name="connsiteY29" fmla="*/ 1181100 h 1249680"/>
                  <a:gd name="connsiteX30" fmla="*/ 1760220 w 2956560"/>
                  <a:gd name="connsiteY30" fmla="*/ 1196340 h 1249680"/>
                  <a:gd name="connsiteX31" fmla="*/ 1798320 w 2956560"/>
                  <a:gd name="connsiteY31" fmla="*/ 1203960 h 1249680"/>
                  <a:gd name="connsiteX32" fmla="*/ 1927860 w 2956560"/>
                  <a:gd name="connsiteY32" fmla="*/ 1211580 h 1249680"/>
                  <a:gd name="connsiteX33" fmla="*/ 1988820 w 2956560"/>
                  <a:gd name="connsiteY33" fmla="*/ 1226820 h 1249680"/>
                  <a:gd name="connsiteX34" fmla="*/ 2065020 w 2956560"/>
                  <a:gd name="connsiteY34" fmla="*/ 1234440 h 1249680"/>
                  <a:gd name="connsiteX35" fmla="*/ 2186940 w 2956560"/>
                  <a:gd name="connsiteY35" fmla="*/ 1249680 h 1249680"/>
                  <a:gd name="connsiteX36" fmla="*/ 2331720 w 2956560"/>
                  <a:gd name="connsiteY36" fmla="*/ 1242060 h 1249680"/>
                  <a:gd name="connsiteX37" fmla="*/ 2354580 w 2956560"/>
                  <a:gd name="connsiteY37" fmla="*/ 1226820 h 1249680"/>
                  <a:gd name="connsiteX38" fmla="*/ 2423160 w 2956560"/>
                  <a:gd name="connsiteY38" fmla="*/ 1196340 h 1249680"/>
                  <a:gd name="connsiteX39" fmla="*/ 2461260 w 2956560"/>
                  <a:gd name="connsiteY39" fmla="*/ 1173480 h 1249680"/>
                  <a:gd name="connsiteX40" fmla="*/ 2506980 w 2956560"/>
                  <a:gd name="connsiteY40" fmla="*/ 1165860 h 1249680"/>
                  <a:gd name="connsiteX41" fmla="*/ 2537460 w 2956560"/>
                  <a:gd name="connsiteY41" fmla="*/ 1150620 h 1249680"/>
                  <a:gd name="connsiteX42" fmla="*/ 2621280 w 2956560"/>
                  <a:gd name="connsiteY42" fmla="*/ 1127760 h 1249680"/>
                  <a:gd name="connsiteX43" fmla="*/ 2644140 w 2956560"/>
                  <a:gd name="connsiteY43" fmla="*/ 1112520 h 1249680"/>
                  <a:gd name="connsiteX44" fmla="*/ 2750820 w 2956560"/>
                  <a:gd name="connsiteY44" fmla="*/ 1082040 h 1249680"/>
                  <a:gd name="connsiteX45" fmla="*/ 2781300 w 2956560"/>
                  <a:gd name="connsiteY45" fmla="*/ 1066800 h 1249680"/>
                  <a:gd name="connsiteX46" fmla="*/ 2849880 w 2956560"/>
                  <a:gd name="connsiteY46" fmla="*/ 1051560 h 1249680"/>
                  <a:gd name="connsiteX47" fmla="*/ 2910840 w 2956560"/>
                  <a:gd name="connsiteY47" fmla="*/ 1021080 h 1249680"/>
                  <a:gd name="connsiteX48" fmla="*/ 2956560 w 2956560"/>
                  <a:gd name="connsiteY48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792480 w 2956560"/>
                  <a:gd name="connsiteY21" fmla="*/ 845820 h 1249680"/>
                  <a:gd name="connsiteX22" fmla="*/ 891540 w 2956560"/>
                  <a:gd name="connsiteY22" fmla="*/ 883920 h 1249680"/>
                  <a:gd name="connsiteX23" fmla="*/ 967740 w 2956560"/>
                  <a:gd name="connsiteY23" fmla="*/ 937260 h 1249680"/>
                  <a:gd name="connsiteX24" fmla="*/ 1021080 w 2956560"/>
                  <a:gd name="connsiteY24" fmla="*/ 967740 h 1249680"/>
                  <a:gd name="connsiteX25" fmla="*/ 1074420 w 2956560"/>
                  <a:gd name="connsiteY25" fmla="*/ 998220 h 1249680"/>
                  <a:gd name="connsiteX26" fmla="*/ 1158240 w 2956560"/>
                  <a:gd name="connsiteY26" fmla="*/ 1036320 h 1249680"/>
                  <a:gd name="connsiteX27" fmla="*/ 1219200 w 2956560"/>
                  <a:gd name="connsiteY27" fmla="*/ 1082040 h 1249680"/>
                  <a:gd name="connsiteX28" fmla="*/ 1600200 w 2956560"/>
                  <a:gd name="connsiteY28" fmla="*/ 1181100 h 1249680"/>
                  <a:gd name="connsiteX29" fmla="*/ 1760220 w 2956560"/>
                  <a:gd name="connsiteY29" fmla="*/ 1196340 h 1249680"/>
                  <a:gd name="connsiteX30" fmla="*/ 1798320 w 2956560"/>
                  <a:gd name="connsiteY30" fmla="*/ 1203960 h 1249680"/>
                  <a:gd name="connsiteX31" fmla="*/ 1927860 w 2956560"/>
                  <a:gd name="connsiteY31" fmla="*/ 1211580 h 1249680"/>
                  <a:gd name="connsiteX32" fmla="*/ 1988820 w 2956560"/>
                  <a:gd name="connsiteY32" fmla="*/ 1226820 h 1249680"/>
                  <a:gd name="connsiteX33" fmla="*/ 2065020 w 2956560"/>
                  <a:gd name="connsiteY33" fmla="*/ 1234440 h 1249680"/>
                  <a:gd name="connsiteX34" fmla="*/ 2186940 w 2956560"/>
                  <a:gd name="connsiteY34" fmla="*/ 1249680 h 1249680"/>
                  <a:gd name="connsiteX35" fmla="*/ 2331720 w 2956560"/>
                  <a:gd name="connsiteY35" fmla="*/ 1242060 h 1249680"/>
                  <a:gd name="connsiteX36" fmla="*/ 2354580 w 2956560"/>
                  <a:gd name="connsiteY36" fmla="*/ 1226820 h 1249680"/>
                  <a:gd name="connsiteX37" fmla="*/ 2423160 w 2956560"/>
                  <a:gd name="connsiteY37" fmla="*/ 1196340 h 1249680"/>
                  <a:gd name="connsiteX38" fmla="*/ 2461260 w 2956560"/>
                  <a:gd name="connsiteY38" fmla="*/ 1173480 h 1249680"/>
                  <a:gd name="connsiteX39" fmla="*/ 2506980 w 2956560"/>
                  <a:gd name="connsiteY39" fmla="*/ 1165860 h 1249680"/>
                  <a:gd name="connsiteX40" fmla="*/ 2537460 w 2956560"/>
                  <a:gd name="connsiteY40" fmla="*/ 1150620 h 1249680"/>
                  <a:gd name="connsiteX41" fmla="*/ 2621280 w 2956560"/>
                  <a:gd name="connsiteY41" fmla="*/ 1127760 h 1249680"/>
                  <a:gd name="connsiteX42" fmla="*/ 2644140 w 2956560"/>
                  <a:gd name="connsiteY42" fmla="*/ 1112520 h 1249680"/>
                  <a:gd name="connsiteX43" fmla="*/ 2750820 w 2956560"/>
                  <a:gd name="connsiteY43" fmla="*/ 1082040 h 1249680"/>
                  <a:gd name="connsiteX44" fmla="*/ 2781300 w 2956560"/>
                  <a:gd name="connsiteY44" fmla="*/ 1066800 h 1249680"/>
                  <a:gd name="connsiteX45" fmla="*/ 2849880 w 2956560"/>
                  <a:gd name="connsiteY45" fmla="*/ 1051560 h 1249680"/>
                  <a:gd name="connsiteX46" fmla="*/ 2910840 w 2956560"/>
                  <a:gd name="connsiteY46" fmla="*/ 1021080 h 1249680"/>
                  <a:gd name="connsiteX47" fmla="*/ 2956560 w 2956560"/>
                  <a:gd name="connsiteY4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891540 w 2956560"/>
                  <a:gd name="connsiteY21" fmla="*/ 883920 h 1249680"/>
                  <a:gd name="connsiteX22" fmla="*/ 967740 w 2956560"/>
                  <a:gd name="connsiteY22" fmla="*/ 937260 h 1249680"/>
                  <a:gd name="connsiteX23" fmla="*/ 1021080 w 2956560"/>
                  <a:gd name="connsiteY23" fmla="*/ 967740 h 1249680"/>
                  <a:gd name="connsiteX24" fmla="*/ 1074420 w 2956560"/>
                  <a:gd name="connsiteY24" fmla="*/ 998220 h 1249680"/>
                  <a:gd name="connsiteX25" fmla="*/ 1158240 w 2956560"/>
                  <a:gd name="connsiteY25" fmla="*/ 1036320 h 1249680"/>
                  <a:gd name="connsiteX26" fmla="*/ 1219200 w 2956560"/>
                  <a:gd name="connsiteY26" fmla="*/ 1082040 h 1249680"/>
                  <a:gd name="connsiteX27" fmla="*/ 1600200 w 2956560"/>
                  <a:gd name="connsiteY27" fmla="*/ 1181100 h 1249680"/>
                  <a:gd name="connsiteX28" fmla="*/ 1760220 w 2956560"/>
                  <a:gd name="connsiteY28" fmla="*/ 1196340 h 1249680"/>
                  <a:gd name="connsiteX29" fmla="*/ 1798320 w 2956560"/>
                  <a:gd name="connsiteY29" fmla="*/ 1203960 h 1249680"/>
                  <a:gd name="connsiteX30" fmla="*/ 1927860 w 2956560"/>
                  <a:gd name="connsiteY30" fmla="*/ 1211580 h 1249680"/>
                  <a:gd name="connsiteX31" fmla="*/ 1988820 w 2956560"/>
                  <a:gd name="connsiteY31" fmla="*/ 1226820 h 1249680"/>
                  <a:gd name="connsiteX32" fmla="*/ 2065020 w 2956560"/>
                  <a:gd name="connsiteY32" fmla="*/ 1234440 h 1249680"/>
                  <a:gd name="connsiteX33" fmla="*/ 2186940 w 2956560"/>
                  <a:gd name="connsiteY33" fmla="*/ 1249680 h 1249680"/>
                  <a:gd name="connsiteX34" fmla="*/ 2331720 w 2956560"/>
                  <a:gd name="connsiteY34" fmla="*/ 1242060 h 1249680"/>
                  <a:gd name="connsiteX35" fmla="*/ 2354580 w 2956560"/>
                  <a:gd name="connsiteY35" fmla="*/ 1226820 h 1249680"/>
                  <a:gd name="connsiteX36" fmla="*/ 2423160 w 2956560"/>
                  <a:gd name="connsiteY36" fmla="*/ 1196340 h 1249680"/>
                  <a:gd name="connsiteX37" fmla="*/ 2461260 w 2956560"/>
                  <a:gd name="connsiteY37" fmla="*/ 1173480 h 1249680"/>
                  <a:gd name="connsiteX38" fmla="*/ 2506980 w 2956560"/>
                  <a:gd name="connsiteY38" fmla="*/ 1165860 h 1249680"/>
                  <a:gd name="connsiteX39" fmla="*/ 2537460 w 2956560"/>
                  <a:gd name="connsiteY39" fmla="*/ 1150620 h 1249680"/>
                  <a:gd name="connsiteX40" fmla="*/ 2621280 w 2956560"/>
                  <a:gd name="connsiteY40" fmla="*/ 1127760 h 1249680"/>
                  <a:gd name="connsiteX41" fmla="*/ 2644140 w 2956560"/>
                  <a:gd name="connsiteY41" fmla="*/ 1112520 h 1249680"/>
                  <a:gd name="connsiteX42" fmla="*/ 2750820 w 2956560"/>
                  <a:gd name="connsiteY42" fmla="*/ 1082040 h 1249680"/>
                  <a:gd name="connsiteX43" fmla="*/ 2781300 w 2956560"/>
                  <a:gd name="connsiteY43" fmla="*/ 1066800 h 1249680"/>
                  <a:gd name="connsiteX44" fmla="*/ 2849880 w 2956560"/>
                  <a:gd name="connsiteY44" fmla="*/ 1051560 h 1249680"/>
                  <a:gd name="connsiteX45" fmla="*/ 2910840 w 2956560"/>
                  <a:gd name="connsiteY45" fmla="*/ 1021080 h 1249680"/>
                  <a:gd name="connsiteX46" fmla="*/ 2956560 w 2956560"/>
                  <a:gd name="connsiteY4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31720 w 2956560"/>
                  <a:gd name="connsiteY33" fmla="*/ 1242060 h 1249680"/>
                  <a:gd name="connsiteX34" fmla="*/ 2354580 w 2956560"/>
                  <a:gd name="connsiteY34" fmla="*/ 1226820 h 1249680"/>
                  <a:gd name="connsiteX35" fmla="*/ 2423160 w 2956560"/>
                  <a:gd name="connsiteY35" fmla="*/ 1196340 h 1249680"/>
                  <a:gd name="connsiteX36" fmla="*/ 2461260 w 2956560"/>
                  <a:gd name="connsiteY36" fmla="*/ 1173480 h 1249680"/>
                  <a:gd name="connsiteX37" fmla="*/ 2506980 w 2956560"/>
                  <a:gd name="connsiteY37" fmla="*/ 1165860 h 1249680"/>
                  <a:gd name="connsiteX38" fmla="*/ 2537460 w 2956560"/>
                  <a:gd name="connsiteY38" fmla="*/ 1150620 h 1249680"/>
                  <a:gd name="connsiteX39" fmla="*/ 2621280 w 2956560"/>
                  <a:gd name="connsiteY39" fmla="*/ 1127760 h 1249680"/>
                  <a:gd name="connsiteX40" fmla="*/ 2644140 w 2956560"/>
                  <a:gd name="connsiteY40" fmla="*/ 1112520 h 1249680"/>
                  <a:gd name="connsiteX41" fmla="*/ 2750820 w 2956560"/>
                  <a:gd name="connsiteY41" fmla="*/ 1082040 h 1249680"/>
                  <a:gd name="connsiteX42" fmla="*/ 2781300 w 2956560"/>
                  <a:gd name="connsiteY42" fmla="*/ 1066800 h 1249680"/>
                  <a:gd name="connsiteX43" fmla="*/ 2849880 w 2956560"/>
                  <a:gd name="connsiteY43" fmla="*/ 1051560 h 1249680"/>
                  <a:gd name="connsiteX44" fmla="*/ 2910840 w 2956560"/>
                  <a:gd name="connsiteY44" fmla="*/ 1021080 h 1249680"/>
                  <a:gd name="connsiteX45" fmla="*/ 2956560 w 2956560"/>
                  <a:gd name="connsiteY4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54580 w 2956560"/>
                  <a:gd name="connsiteY33" fmla="*/ 1226820 h 1249680"/>
                  <a:gd name="connsiteX34" fmla="*/ 2423160 w 2956560"/>
                  <a:gd name="connsiteY34" fmla="*/ 1196340 h 1249680"/>
                  <a:gd name="connsiteX35" fmla="*/ 2461260 w 2956560"/>
                  <a:gd name="connsiteY35" fmla="*/ 1173480 h 1249680"/>
                  <a:gd name="connsiteX36" fmla="*/ 2506980 w 2956560"/>
                  <a:gd name="connsiteY36" fmla="*/ 1165860 h 1249680"/>
                  <a:gd name="connsiteX37" fmla="*/ 2537460 w 2956560"/>
                  <a:gd name="connsiteY37" fmla="*/ 1150620 h 1249680"/>
                  <a:gd name="connsiteX38" fmla="*/ 2621280 w 2956560"/>
                  <a:gd name="connsiteY38" fmla="*/ 1127760 h 1249680"/>
                  <a:gd name="connsiteX39" fmla="*/ 2644140 w 2956560"/>
                  <a:gd name="connsiteY39" fmla="*/ 1112520 h 1249680"/>
                  <a:gd name="connsiteX40" fmla="*/ 2750820 w 2956560"/>
                  <a:gd name="connsiteY40" fmla="*/ 1082040 h 1249680"/>
                  <a:gd name="connsiteX41" fmla="*/ 2781300 w 2956560"/>
                  <a:gd name="connsiteY41" fmla="*/ 1066800 h 1249680"/>
                  <a:gd name="connsiteX42" fmla="*/ 2849880 w 2956560"/>
                  <a:gd name="connsiteY42" fmla="*/ 1051560 h 1249680"/>
                  <a:gd name="connsiteX43" fmla="*/ 2910840 w 2956560"/>
                  <a:gd name="connsiteY43" fmla="*/ 1021080 h 1249680"/>
                  <a:gd name="connsiteX44" fmla="*/ 2956560 w 2956560"/>
                  <a:gd name="connsiteY4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423160 w 2956560"/>
                  <a:gd name="connsiteY33" fmla="*/ 1196340 h 1249680"/>
                  <a:gd name="connsiteX34" fmla="*/ 2461260 w 2956560"/>
                  <a:gd name="connsiteY34" fmla="*/ 1173480 h 1249680"/>
                  <a:gd name="connsiteX35" fmla="*/ 2506980 w 2956560"/>
                  <a:gd name="connsiteY35" fmla="*/ 1165860 h 1249680"/>
                  <a:gd name="connsiteX36" fmla="*/ 2537460 w 2956560"/>
                  <a:gd name="connsiteY36" fmla="*/ 1150620 h 1249680"/>
                  <a:gd name="connsiteX37" fmla="*/ 2621280 w 2956560"/>
                  <a:gd name="connsiteY37" fmla="*/ 1127760 h 1249680"/>
                  <a:gd name="connsiteX38" fmla="*/ 2644140 w 2956560"/>
                  <a:gd name="connsiteY38" fmla="*/ 1112520 h 1249680"/>
                  <a:gd name="connsiteX39" fmla="*/ 2750820 w 2956560"/>
                  <a:gd name="connsiteY39" fmla="*/ 1082040 h 1249680"/>
                  <a:gd name="connsiteX40" fmla="*/ 2781300 w 2956560"/>
                  <a:gd name="connsiteY40" fmla="*/ 1066800 h 1249680"/>
                  <a:gd name="connsiteX41" fmla="*/ 2849880 w 2956560"/>
                  <a:gd name="connsiteY41" fmla="*/ 1051560 h 1249680"/>
                  <a:gd name="connsiteX42" fmla="*/ 2910840 w 2956560"/>
                  <a:gd name="connsiteY42" fmla="*/ 1021080 h 1249680"/>
                  <a:gd name="connsiteX43" fmla="*/ 2956560 w 2956560"/>
                  <a:gd name="connsiteY43" fmla="*/ 998220 h 124968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27860 w 2956560"/>
                  <a:gd name="connsiteY29" fmla="*/ 1211580 h 1234440"/>
                  <a:gd name="connsiteX30" fmla="*/ 1988820 w 2956560"/>
                  <a:gd name="connsiteY30" fmla="*/ 1226820 h 1234440"/>
                  <a:gd name="connsiteX31" fmla="*/ 2065020 w 2956560"/>
                  <a:gd name="connsiteY31" fmla="*/ 1234440 h 1234440"/>
                  <a:gd name="connsiteX32" fmla="*/ 2423160 w 2956560"/>
                  <a:gd name="connsiteY32" fmla="*/ 1196340 h 1234440"/>
                  <a:gd name="connsiteX33" fmla="*/ 2461260 w 2956560"/>
                  <a:gd name="connsiteY33" fmla="*/ 1173480 h 1234440"/>
                  <a:gd name="connsiteX34" fmla="*/ 2506980 w 2956560"/>
                  <a:gd name="connsiteY34" fmla="*/ 1165860 h 1234440"/>
                  <a:gd name="connsiteX35" fmla="*/ 2537460 w 2956560"/>
                  <a:gd name="connsiteY35" fmla="*/ 1150620 h 1234440"/>
                  <a:gd name="connsiteX36" fmla="*/ 2621280 w 2956560"/>
                  <a:gd name="connsiteY36" fmla="*/ 1127760 h 1234440"/>
                  <a:gd name="connsiteX37" fmla="*/ 2644140 w 2956560"/>
                  <a:gd name="connsiteY37" fmla="*/ 1112520 h 1234440"/>
                  <a:gd name="connsiteX38" fmla="*/ 2750820 w 2956560"/>
                  <a:gd name="connsiteY38" fmla="*/ 1082040 h 1234440"/>
                  <a:gd name="connsiteX39" fmla="*/ 2781300 w 2956560"/>
                  <a:gd name="connsiteY39" fmla="*/ 1066800 h 1234440"/>
                  <a:gd name="connsiteX40" fmla="*/ 2849880 w 2956560"/>
                  <a:gd name="connsiteY40" fmla="*/ 1051560 h 1234440"/>
                  <a:gd name="connsiteX41" fmla="*/ 2910840 w 2956560"/>
                  <a:gd name="connsiteY41" fmla="*/ 1021080 h 1234440"/>
                  <a:gd name="connsiteX42" fmla="*/ 2956560 w 2956560"/>
                  <a:gd name="connsiteY4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88820 w 2956560"/>
                  <a:gd name="connsiteY29" fmla="*/ 1226820 h 1234440"/>
                  <a:gd name="connsiteX30" fmla="*/ 2065020 w 2956560"/>
                  <a:gd name="connsiteY30" fmla="*/ 1234440 h 1234440"/>
                  <a:gd name="connsiteX31" fmla="*/ 2423160 w 2956560"/>
                  <a:gd name="connsiteY31" fmla="*/ 1196340 h 1234440"/>
                  <a:gd name="connsiteX32" fmla="*/ 2461260 w 2956560"/>
                  <a:gd name="connsiteY32" fmla="*/ 1173480 h 1234440"/>
                  <a:gd name="connsiteX33" fmla="*/ 2506980 w 2956560"/>
                  <a:gd name="connsiteY33" fmla="*/ 1165860 h 1234440"/>
                  <a:gd name="connsiteX34" fmla="*/ 2537460 w 2956560"/>
                  <a:gd name="connsiteY34" fmla="*/ 1150620 h 1234440"/>
                  <a:gd name="connsiteX35" fmla="*/ 2621280 w 2956560"/>
                  <a:gd name="connsiteY35" fmla="*/ 1127760 h 1234440"/>
                  <a:gd name="connsiteX36" fmla="*/ 2644140 w 2956560"/>
                  <a:gd name="connsiteY36" fmla="*/ 1112520 h 1234440"/>
                  <a:gd name="connsiteX37" fmla="*/ 2750820 w 2956560"/>
                  <a:gd name="connsiteY37" fmla="*/ 1082040 h 1234440"/>
                  <a:gd name="connsiteX38" fmla="*/ 2781300 w 2956560"/>
                  <a:gd name="connsiteY38" fmla="*/ 1066800 h 1234440"/>
                  <a:gd name="connsiteX39" fmla="*/ 2849880 w 2956560"/>
                  <a:gd name="connsiteY39" fmla="*/ 1051560 h 1234440"/>
                  <a:gd name="connsiteX40" fmla="*/ 2910840 w 2956560"/>
                  <a:gd name="connsiteY40" fmla="*/ 1021080 h 1234440"/>
                  <a:gd name="connsiteX41" fmla="*/ 2956560 w 2956560"/>
                  <a:gd name="connsiteY4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9745 w 2956560"/>
                  <a:gd name="connsiteY27" fmla="*/ 1220153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83820 w 2956560"/>
                  <a:gd name="connsiteY2" fmla="*/ 152400 h 1234440"/>
                  <a:gd name="connsiteX3" fmla="*/ 121920 w 2956560"/>
                  <a:gd name="connsiteY3" fmla="*/ 198120 h 1234440"/>
                  <a:gd name="connsiteX4" fmla="*/ 152400 w 2956560"/>
                  <a:gd name="connsiteY4" fmla="*/ 243840 h 1234440"/>
                  <a:gd name="connsiteX5" fmla="*/ 198120 w 2956560"/>
                  <a:gd name="connsiteY5" fmla="*/ 289560 h 1234440"/>
                  <a:gd name="connsiteX6" fmla="*/ 251460 w 2956560"/>
                  <a:gd name="connsiteY6" fmla="*/ 358140 h 1234440"/>
                  <a:gd name="connsiteX7" fmla="*/ 281940 w 2956560"/>
                  <a:gd name="connsiteY7" fmla="*/ 381000 h 1234440"/>
                  <a:gd name="connsiteX8" fmla="*/ 312420 w 2956560"/>
                  <a:gd name="connsiteY8" fmla="*/ 419100 h 1234440"/>
                  <a:gd name="connsiteX9" fmla="*/ 335280 w 2956560"/>
                  <a:gd name="connsiteY9" fmla="*/ 441960 h 1234440"/>
                  <a:gd name="connsiteX10" fmla="*/ 350520 w 2956560"/>
                  <a:gd name="connsiteY10" fmla="*/ 464820 h 1234440"/>
                  <a:gd name="connsiteX11" fmla="*/ 396240 w 2956560"/>
                  <a:gd name="connsiteY11" fmla="*/ 510540 h 1234440"/>
                  <a:gd name="connsiteX12" fmla="*/ 464820 w 2956560"/>
                  <a:gd name="connsiteY12" fmla="*/ 579120 h 1234440"/>
                  <a:gd name="connsiteX13" fmla="*/ 495300 w 2956560"/>
                  <a:gd name="connsiteY13" fmla="*/ 594360 h 1234440"/>
                  <a:gd name="connsiteX14" fmla="*/ 533400 w 2956560"/>
                  <a:gd name="connsiteY14" fmla="*/ 624840 h 1234440"/>
                  <a:gd name="connsiteX15" fmla="*/ 548640 w 2956560"/>
                  <a:gd name="connsiteY15" fmla="*/ 647700 h 1234440"/>
                  <a:gd name="connsiteX16" fmla="*/ 571500 w 2956560"/>
                  <a:gd name="connsiteY16" fmla="*/ 655320 h 1234440"/>
                  <a:gd name="connsiteX17" fmla="*/ 617220 w 2956560"/>
                  <a:gd name="connsiteY17" fmla="*/ 693420 h 1234440"/>
                  <a:gd name="connsiteX18" fmla="*/ 670560 w 2956560"/>
                  <a:gd name="connsiteY18" fmla="*/ 746760 h 1234440"/>
                  <a:gd name="connsiteX19" fmla="*/ 769620 w 2956560"/>
                  <a:gd name="connsiteY19" fmla="*/ 830580 h 1234440"/>
                  <a:gd name="connsiteX20" fmla="*/ 967740 w 2956560"/>
                  <a:gd name="connsiteY20" fmla="*/ 937260 h 1234440"/>
                  <a:gd name="connsiteX21" fmla="*/ 1021080 w 2956560"/>
                  <a:gd name="connsiteY21" fmla="*/ 967740 h 1234440"/>
                  <a:gd name="connsiteX22" fmla="*/ 1074420 w 2956560"/>
                  <a:gd name="connsiteY22" fmla="*/ 998220 h 1234440"/>
                  <a:gd name="connsiteX23" fmla="*/ 1158240 w 2956560"/>
                  <a:gd name="connsiteY23" fmla="*/ 1036320 h 1234440"/>
                  <a:gd name="connsiteX24" fmla="*/ 1219200 w 2956560"/>
                  <a:gd name="connsiteY24" fmla="*/ 1082040 h 1234440"/>
                  <a:gd name="connsiteX25" fmla="*/ 1600200 w 2956560"/>
                  <a:gd name="connsiteY25" fmla="*/ 1181100 h 1234440"/>
                  <a:gd name="connsiteX26" fmla="*/ 1769745 w 2956560"/>
                  <a:gd name="connsiteY26" fmla="*/ 1220153 h 1234440"/>
                  <a:gd name="connsiteX27" fmla="*/ 1988820 w 2956560"/>
                  <a:gd name="connsiteY27" fmla="*/ 1226820 h 1234440"/>
                  <a:gd name="connsiteX28" fmla="*/ 2065020 w 2956560"/>
                  <a:gd name="connsiteY28" fmla="*/ 1234440 h 1234440"/>
                  <a:gd name="connsiteX29" fmla="*/ 2423160 w 2956560"/>
                  <a:gd name="connsiteY29" fmla="*/ 1196340 h 1234440"/>
                  <a:gd name="connsiteX30" fmla="*/ 2461260 w 2956560"/>
                  <a:gd name="connsiteY30" fmla="*/ 1173480 h 1234440"/>
                  <a:gd name="connsiteX31" fmla="*/ 2506980 w 2956560"/>
                  <a:gd name="connsiteY31" fmla="*/ 1165860 h 1234440"/>
                  <a:gd name="connsiteX32" fmla="*/ 2537460 w 2956560"/>
                  <a:gd name="connsiteY32" fmla="*/ 1150620 h 1234440"/>
                  <a:gd name="connsiteX33" fmla="*/ 2621280 w 2956560"/>
                  <a:gd name="connsiteY33" fmla="*/ 1127760 h 1234440"/>
                  <a:gd name="connsiteX34" fmla="*/ 2644140 w 2956560"/>
                  <a:gd name="connsiteY34" fmla="*/ 1112520 h 1234440"/>
                  <a:gd name="connsiteX35" fmla="*/ 2750820 w 2956560"/>
                  <a:gd name="connsiteY35" fmla="*/ 1082040 h 1234440"/>
                  <a:gd name="connsiteX36" fmla="*/ 2781300 w 2956560"/>
                  <a:gd name="connsiteY36" fmla="*/ 1066800 h 1234440"/>
                  <a:gd name="connsiteX37" fmla="*/ 2849880 w 2956560"/>
                  <a:gd name="connsiteY37" fmla="*/ 1051560 h 1234440"/>
                  <a:gd name="connsiteX38" fmla="*/ 2910840 w 2956560"/>
                  <a:gd name="connsiteY38" fmla="*/ 1021080 h 1234440"/>
                  <a:gd name="connsiteX39" fmla="*/ 2956560 w 2956560"/>
                  <a:gd name="connsiteY3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52400 w 2956560"/>
                  <a:gd name="connsiteY3" fmla="*/ 243840 h 1234440"/>
                  <a:gd name="connsiteX4" fmla="*/ 198120 w 2956560"/>
                  <a:gd name="connsiteY4" fmla="*/ 289560 h 1234440"/>
                  <a:gd name="connsiteX5" fmla="*/ 251460 w 2956560"/>
                  <a:gd name="connsiteY5" fmla="*/ 358140 h 1234440"/>
                  <a:gd name="connsiteX6" fmla="*/ 281940 w 2956560"/>
                  <a:gd name="connsiteY6" fmla="*/ 381000 h 1234440"/>
                  <a:gd name="connsiteX7" fmla="*/ 312420 w 2956560"/>
                  <a:gd name="connsiteY7" fmla="*/ 419100 h 1234440"/>
                  <a:gd name="connsiteX8" fmla="*/ 335280 w 2956560"/>
                  <a:gd name="connsiteY8" fmla="*/ 441960 h 1234440"/>
                  <a:gd name="connsiteX9" fmla="*/ 350520 w 2956560"/>
                  <a:gd name="connsiteY9" fmla="*/ 464820 h 1234440"/>
                  <a:gd name="connsiteX10" fmla="*/ 396240 w 2956560"/>
                  <a:gd name="connsiteY10" fmla="*/ 510540 h 1234440"/>
                  <a:gd name="connsiteX11" fmla="*/ 464820 w 2956560"/>
                  <a:gd name="connsiteY11" fmla="*/ 579120 h 1234440"/>
                  <a:gd name="connsiteX12" fmla="*/ 495300 w 2956560"/>
                  <a:gd name="connsiteY12" fmla="*/ 594360 h 1234440"/>
                  <a:gd name="connsiteX13" fmla="*/ 533400 w 2956560"/>
                  <a:gd name="connsiteY13" fmla="*/ 624840 h 1234440"/>
                  <a:gd name="connsiteX14" fmla="*/ 548640 w 2956560"/>
                  <a:gd name="connsiteY14" fmla="*/ 647700 h 1234440"/>
                  <a:gd name="connsiteX15" fmla="*/ 571500 w 2956560"/>
                  <a:gd name="connsiteY15" fmla="*/ 655320 h 1234440"/>
                  <a:gd name="connsiteX16" fmla="*/ 617220 w 2956560"/>
                  <a:gd name="connsiteY16" fmla="*/ 693420 h 1234440"/>
                  <a:gd name="connsiteX17" fmla="*/ 670560 w 2956560"/>
                  <a:gd name="connsiteY17" fmla="*/ 746760 h 1234440"/>
                  <a:gd name="connsiteX18" fmla="*/ 769620 w 2956560"/>
                  <a:gd name="connsiteY18" fmla="*/ 830580 h 1234440"/>
                  <a:gd name="connsiteX19" fmla="*/ 967740 w 2956560"/>
                  <a:gd name="connsiteY19" fmla="*/ 937260 h 1234440"/>
                  <a:gd name="connsiteX20" fmla="*/ 1021080 w 2956560"/>
                  <a:gd name="connsiteY20" fmla="*/ 967740 h 1234440"/>
                  <a:gd name="connsiteX21" fmla="*/ 1074420 w 2956560"/>
                  <a:gd name="connsiteY21" fmla="*/ 998220 h 1234440"/>
                  <a:gd name="connsiteX22" fmla="*/ 1158240 w 2956560"/>
                  <a:gd name="connsiteY22" fmla="*/ 1036320 h 1234440"/>
                  <a:gd name="connsiteX23" fmla="*/ 1219200 w 2956560"/>
                  <a:gd name="connsiteY23" fmla="*/ 1082040 h 1234440"/>
                  <a:gd name="connsiteX24" fmla="*/ 1600200 w 2956560"/>
                  <a:gd name="connsiteY24" fmla="*/ 1181100 h 1234440"/>
                  <a:gd name="connsiteX25" fmla="*/ 1769745 w 2956560"/>
                  <a:gd name="connsiteY25" fmla="*/ 1220153 h 1234440"/>
                  <a:gd name="connsiteX26" fmla="*/ 1988820 w 2956560"/>
                  <a:gd name="connsiteY26" fmla="*/ 1226820 h 1234440"/>
                  <a:gd name="connsiteX27" fmla="*/ 2065020 w 2956560"/>
                  <a:gd name="connsiteY27" fmla="*/ 1234440 h 1234440"/>
                  <a:gd name="connsiteX28" fmla="*/ 2423160 w 2956560"/>
                  <a:gd name="connsiteY28" fmla="*/ 1196340 h 1234440"/>
                  <a:gd name="connsiteX29" fmla="*/ 2461260 w 2956560"/>
                  <a:gd name="connsiteY29" fmla="*/ 1173480 h 1234440"/>
                  <a:gd name="connsiteX30" fmla="*/ 2506980 w 2956560"/>
                  <a:gd name="connsiteY30" fmla="*/ 1165860 h 1234440"/>
                  <a:gd name="connsiteX31" fmla="*/ 2537460 w 2956560"/>
                  <a:gd name="connsiteY31" fmla="*/ 1150620 h 1234440"/>
                  <a:gd name="connsiteX32" fmla="*/ 2621280 w 2956560"/>
                  <a:gd name="connsiteY32" fmla="*/ 1127760 h 1234440"/>
                  <a:gd name="connsiteX33" fmla="*/ 2644140 w 2956560"/>
                  <a:gd name="connsiteY33" fmla="*/ 1112520 h 1234440"/>
                  <a:gd name="connsiteX34" fmla="*/ 2750820 w 2956560"/>
                  <a:gd name="connsiteY34" fmla="*/ 1082040 h 1234440"/>
                  <a:gd name="connsiteX35" fmla="*/ 2781300 w 2956560"/>
                  <a:gd name="connsiteY35" fmla="*/ 1066800 h 1234440"/>
                  <a:gd name="connsiteX36" fmla="*/ 2849880 w 2956560"/>
                  <a:gd name="connsiteY36" fmla="*/ 1051560 h 1234440"/>
                  <a:gd name="connsiteX37" fmla="*/ 2910840 w 2956560"/>
                  <a:gd name="connsiteY37" fmla="*/ 1021080 h 1234440"/>
                  <a:gd name="connsiteX38" fmla="*/ 2956560 w 2956560"/>
                  <a:gd name="connsiteY3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50520 w 2956560"/>
                  <a:gd name="connsiteY8" fmla="*/ 464820 h 1234440"/>
                  <a:gd name="connsiteX9" fmla="*/ 396240 w 2956560"/>
                  <a:gd name="connsiteY9" fmla="*/ 510540 h 1234440"/>
                  <a:gd name="connsiteX10" fmla="*/ 464820 w 2956560"/>
                  <a:gd name="connsiteY10" fmla="*/ 579120 h 1234440"/>
                  <a:gd name="connsiteX11" fmla="*/ 495300 w 2956560"/>
                  <a:gd name="connsiteY11" fmla="*/ 594360 h 1234440"/>
                  <a:gd name="connsiteX12" fmla="*/ 533400 w 2956560"/>
                  <a:gd name="connsiteY12" fmla="*/ 624840 h 1234440"/>
                  <a:gd name="connsiteX13" fmla="*/ 548640 w 2956560"/>
                  <a:gd name="connsiteY13" fmla="*/ 647700 h 1234440"/>
                  <a:gd name="connsiteX14" fmla="*/ 571500 w 2956560"/>
                  <a:gd name="connsiteY14" fmla="*/ 655320 h 1234440"/>
                  <a:gd name="connsiteX15" fmla="*/ 617220 w 2956560"/>
                  <a:gd name="connsiteY15" fmla="*/ 693420 h 1234440"/>
                  <a:gd name="connsiteX16" fmla="*/ 670560 w 2956560"/>
                  <a:gd name="connsiteY16" fmla="*/ 746760 h 1234440"/>
                  <a:gd name="connsiteX17" fmla="*/ 769620 w 2956560"/>
                  <a:gd name="connsiteY17" fmla="*/ 830580 h 1234440"/>
                  <a:gd name="connsiteX18" fmla="*/ 967740 w 2956560"/>
                  <a:gd name="connsiteY18" fmla="*/ 937260 h 1234440"/>
                  <a:gd name="connsiteX19" fmla="*/ 1021080 w 2956560"/>
                  <a:gd name="connsiteY19" fmla="*/ 967740 h 1234440"/>
                  <a:gd name="connsiteX20" fmla="*/ 1074420 w 2956560"/>
                  <a:gd name="connsiteY20" fmla="*/ 998220 h 1234440"/>
                  <a:gd name="connsiteX21" fmla="*/ 1158240 w 2956560"/>
                  <a:gd name="connsiteY21" fmla="*/ 1036320 h 1234440"/>
                  <a:gd name="connsiteX22" fmla="*/ 1219200 w 2956560"/>
                  <a:gd name="connsiteY22" fmla="*/ 1082040 h 1234440"/>
                  <a:gd name="connsiteX23" fmla="*/ 1600200 w 2956560"/>
                  <a:gd name="connsiteY23" fmla="*/ 1181100 h 1234440"/>
                  <a:gd name="connsiteX24" fmla="*/ 1769745 w 2956560"/>
                  <a:gd name="connsiteY24" fmla="*/ 1220153 h 1234440"/>
                  <a:gd name="connsiteX25" fmla="*/ 1988820 w 2956560"/>
                  <a:gd name="connsiteY25" fmla="*/ 1226820 h 1234440"/>
                  <a:gd name="connsiteX26" fmla="*/ 2065020 w 2956560"/>
                  <a:gd name="connsiteY26" fmla="*/ 1234440 h 1234440"/>
                  <a:gd name="connsiteX27" fmla="*/ 2423160 w 2956560"/>
                  <a:gd name="connsiteY27" fmla="*/ 1196340 h 1234440"/>
                  <a:gd name="connsiteX28" fmla="*/ 2461260 w 2956560"/>
                  <a:gd name="connsiteY28" fmla="*/ 1173480 h 1234440"/>
                  <a:gd name="connsiteX29" fmla="*/ 2506980 w 2956560"/>
                  <a:gd name="connsiteY29" fmla="*/ 1165860 h 1234440"/>
                  <a:gd name="connsiteX30" fmla="*/ 2537460 w 2956560"/>
                  <a:gd name="connsiteY30" fmla="*/ 1150620 h 1234440"/>
                  <a:gd name="connsiteX31" fmla="*/ 2621280 w 2956560"/>
                  <a:gd name="connsiteY31" fmla="*/ 1127760 h 1234440"/>
                  <a:gd name="connsiteX32" fmla="*/ 2644140 w 2956560"/>
                  <a:gd name="connsiteY32" fmla="*/ 1112520 h 1234440"/>
                  <a:gd name="connsiteX33" fmla="*/ 2750820 w 2956560"/>
                  <a:gd name="connsiteY33" fmla="*/ 1082040 h 1234440"/>
                  <a:gd name="connsiteX34" fmla="*/ 2781300 w 2956560"/>
                  <a:gd name="connsiteY34" fmla="*/ 1066800 h 1234440"/>
                  <a:gd name="connsiteX35" fmla="*/ 2849880 w 2956560"/>
                  <a:gd name="connsiteY35" fmla="*/ 1051560 h 1234440"/>
                  <a:gd name="connsiteX36" fmla="*/ 2910840 w 2956560"/>
                  <a:gd name="connsiteY36" fmla="*/ 1021080 h 1234440"/>
                  <a:gd name="connsiteX37" fmla="*/ 2956560 w 2956560"/>
                  <a:gd name="connsiteY3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96240 w 2956560"/>
                  <a:gd name="connsiteY8" fmla="*/ 510540 h 1234440"/>
                  <a:gd name="connsiteX9" fmla="*/ 464820 w 2956560"/>
                  <a:gd name="connsiteY9" fmla="*/ 579120 h 1234440"/>
                  <a:gd name="connsiteX10" fmla="*/ 495300 w 2956560"/>
                  <a:gd name="connsiteY10" fmla="*/ 594360 h 1234440"/>
                  <a:gd name="connsiteX11" fmla="*/ 533400 w 2956560"/>
                  <a:gd name="connsiteY11" fmla="*/ 624840 h 1234440"/>
                  <a:gd name="connsiteX12" fmla="*/ 548640 w 2956560"/>
                  <a:gd name="connsiteY12" fmla="*/ 647700 h 1234440"/>
                  <a:gd name="connsiteX13" fmla="*/ 571500 w 2956560"/>
                  <a:gd name="connsiteY13" fmla="*/ 655320 h 1234440"/>
                  <a:gd name="connsiteX14" fmla="*/ 617220 w 2956560"/>
                  <a:gd name="connsiteY14" fmla="*/ 693420 h 1234440"/>
                  <a:gd name="connsiteX15" fmla="*/ 670560 w 2956560"/>
                  <a:gd name="connsiteY15" fmla="*/ 746760 h 1234440"/>
                  <a:gd name="connsiteX16" fmla="*/ 769620 w 2956560"/>
                  <a:gd name="connsiteY16" fmla="*/ 830580 h 1234440"/>
                  <a:gd name="connsiteX17" fmla="*/ 967740 w 2956560"/>
                  <a:gd name="connsiteY17" fmla="*/ 937260 h 1234440"/>
                  <a:gd name="connsiteX18" fmla="*/ 1021080 w 2956560"/>
                  <a:gd name="connsiteY18" fmla="*/ 967740 h 1234440"/>
                  <a:gd name="connsiteX19" fmla="*/ 1074420 w 2956560"/>
                  <a:gd name="connsiteY19" fmla="*/ 998220 h 1234440"/>
                  <a:gd name="connsiteX20" fmla="*/ 1158240 w 2956560"/>
                  <a:gd name="connsiteY20" fmla="*/ 1036320 h 1234440"/>
                  <a:gd name="connsiteX21" fmla="*/ 1219200 w 2956560"/>
                  <a:gd name="connsiteY21" fmla="*/ 1082040 h 1234440"/>
                  <a:gd name="connsiteX22" fmla="*/ 1600200 w 2956560"/>
                  <a:gd name="connsiteY22" fmla="*/ 1181100 h 1234440"/>
                  <a:gd name="connsiteX23" fmla="*/ 1769745 w 2956560"/>
                  <a:gd name="connsiteY23" fmla="*/ 1220153 h 1234440"/>
                  <a:gd name="connsiteX24" fmla="*/ 1988820 w 2956560"/>
                  <a:gd name="connsiteY24" fmla="*/ 1226820 h 1234440"/>
                  <a:gd name="connsiteX25" fmla="*/ 2065020 w 2956560"/>
                  <a:gd name="connsiteY25" fmla="*/ 1234440 h 1234440"/>
                  <a:gd name="connsiteX26" fmla="*/ 2423160 w 2956560"/>
                  <a:gd name="connsiteY26" fmla="*/ 1196340 h 1234440"/>
                  <a:gd name="connsiteX27" fmla="*/ 2461260 w 2956560"/>
                  <a:gd name="connsiteY27" fmla="*/ 1173480 h 1234440"/>
                  <a:gd name="connsiteX28" fmla="*/ 2506980 w 2956560"/>
                  <a:gd name="connsiteY28" fmla="*/ 1165860 h 1234440"/>
                  <a:gd name="connsiteX29" fmla="*/ 2537460 w 2956560"/>
                  <a:gd name="connsiteY29" fmla="*/ 1150620 h 1234440"/>
                  <a:gd name="connsiteX30" fmla="*/ 2621280 w 2956560"/>
                  <a:gd name="connsiteY30" fmla="*/ 1127760 h 1234440"/>
                  <a:gd name="connsiteX31" fmla="*/ 2644140 w 2956560"/>
                  <a:gd name="connsiteY31" fmla="*/ 1112520 h 1234440"/>
                  <a:gd name="connsiteX32" fmla="*/ 2750820 w 2956560"/>
                  <a:gd name="connsiteY32" fmla="*/ 1082040 h 1234440"/>
                  <a:gd name="connsiteX33" fmla="*/ 2781300 w 2956560"/>
                  <a:gd name="connsiteY33" fmla="*/ 1066800 h 1234440"/>
                  <a:gd name="connsiteX34" fmla="*/ 2849880 w 2956560"/>
                  <a:gd name="connsiteY34" fmla="*/ 1051560 h 1234440"/>
                  <a:gd name="connsiteX35" fmla="*/ 2910840 w 2956560"/>
                  <a:gd name="connsiteY35" fmla="*/ 1021080 h 1234440"/>
                  <a:gd name="connsiteX36" fmla="*/ 2956560 w 2956560"/>
                  <a:gd name="connsiteY3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96240 w 2956560"/>
                  <a:gd name="connsiteY7" fmla="*/ 510540 h 1234440"/>
                  <a:gd name="connsiteX8" fmla="*/ 464820 w 2956560"/>
                  <a:gd name="connsiteY8" fmla="*/ 579120 h 1234440"/>
                  <a:gd name="connsiteX9" fmla="*/ 495300 w 2956560"/>
                  <a:gd name="connsiteY9" fmla="*/ 594360 h 1234440"/>
                  <a:gd name="connsiteX10" fmla="*/ 533400 w 2956560"/>
                  <a:gd name="connsiteY10" fmla="*/ 624840 h 1234440"/>
                  <a:gd name="connsiteX11" fmla="*/ 548640 w 2956560"/>
                  <a:gd name="connsiteY11" fmla="*/ 647700 h 1234440"/>
                  <a:gd name="connsiteX12" fmla="*/ 571500 w 2956560"/>
                  <a:gd name="connsiteY12" fmla="*/ 655320 h 1234440"/>
                  <a:gd name="connsiteX13" fmla="*/ 617220 w 2956560"/>
                  <a:gd name="connsiteY13" fmla="*/ 693420 h 1234440"/>
                  <a:gd name="connsiteX14" fmla="*/ 670560 w 2956560"/>
                  <a:gd name="connsiteY14" fmla="*/ 746760 h 1234440"/>
                  <a:gd name="connsiteX15" fmla="*/ 769620 w 2956560"/>
                  <a:gd name="connsiteY15" fmla="*/ 830580 h 1234440"/>
                  <a:gd name="connsiteX16" fmla="*/ 967740 w 2956560"/>
                  <a:gd name="connsiteY16" fmla="*/ 937260 h 1234440"/>
                  <a:gd name="connsiteX17" fmla="*/ 1021080 w 2956560"/>
                  <a:gd name="connsiteY17" fmla="*/ 967740 h 1234440"/>
                  <a:gd name="connsiteX18" fmla="*/ 1074420 w 2956560"/>
                  <a:gd name="connsiteY18" fmla="*/ 998220 h 1234440"/>
                  <a:gd name="connsiteX19" fmla="*/ 1158240 w 2956560"/>
                  <a:gd name="connsiteY19" fmla="*/ 1036320 h 1234440"/>
                  <a:gd name="connsiteX20" fmla="*/ 1219200 w 2956560"/>
                  <a:gd name="connsiteY20" fmla="*/ 1082040 h 1234440"/>
                  <a:gd name="connsiteX21" fmla="*/ 1600200 w 2956560"/>
                  <a:gd name="connsiteY21" fmla="*/ 1181100 h 1234440"/>
                  <a:gd name="connsiteX22" fmla="*/ 1769745 w 2956560"/>
                  <a:gd name="connsiteY22" fmla="*/ 1220153 h 1234440"/>
                  <a:gd name="connsiteX23" fmla="*/ 1988820 w 2956560"/>
                  <a:gd name="connsiteY23" fmla="*/ 1226820 h 1234440"/>
                  <a:gd name="connsiteX24" fmla="*/ 2065020 w 2956560"/>
                  <a:gd name="connsiteY24" fmla="*/ 1234440 h 1234440"/>
                  <a:gd name="connsiteX25" fmla="*/ 2423160 w 2956560"/>
                  <a:gd name="connsiteY25" fmla="*/ 1196340 h 1234440"/>
                  <a:gd name="connsiteX26" fmla="*/ 2461260 w 2956560"/>
                  <a:gd name="connsiteY26" fmla="*/ 1173480 h 1234440"/>
                  <a:gd name="connsiteX27" fmla="*/ 2506980 w 2956560"/>
                  <a:gd name="connsiteY27" fmla="*/ 1165860 h 1234440"/>
                  <a:gd name="connsiteX28" fmla="*/ 2537460 w 2956560"/>
                  <a:gd name="connsiteY28" fmla="*/ 1150620 h 1234440"/>
                  <a:gd name="connsiteX29" fmla="*/ 2621280 w 2956560"/>
                  <a:gd name="connsiteY29" fmla="*/ 1127760 h 1234440"/>
                  <a:gd name="connsiteX30" fmla="*/ 2644140 w 2956560"/>
                  <a:gd name="connsiteY30" fmla="*/ 1112520 h 1234440"/>
                  <a:gd name="connsiteX31" fmla="*/ 2750820 w 2956560"/>
                  <a:gd name="connsiteY31" fmla="*/ 1082040 h 1234440"/>
                  <a:gd name="connsiteX32" fmla="*/ 2781300 w 2956560"/>
                  <a:gd name="connsiteY32" fmla="*/ 1066800 h 1234440"/>
                  <a:gd name="connsiteX33" fmla="*/ 2849880 w 2956560"/>
                  <a:gd name="connsiteY33" fmla="*/ 1051560 h 1234440"/>
                  <a:gd name="connsiteX34" fmla="*/ 2910840 w 2956560"/>
                  <a:gd name="connsiteY34" fmla="*/ 1021080 h 1234440"/>
                  <a:gd name="connsiteX35" fmla="*/ 2956560 w 2956560"/>
                  <a:gd name="connsiteY3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495300 w 2956560"/>
                  <a:gd name="connsiteY8" fmla="*/ 594360 h 1234440"/>
                  <a:gd name="connsiteX9" fmla="*/ 533400 w 2956560"/>
                  <a:gd name="connsiteY9" fmla="*/ 624840 h 1234440"/>
                  <a:gd name="connsiteX10" fmla="*/ 548640 w 2956560"/>
                  <a:gd name="connsiteY10" fmla="*/ 647700 h 1234440"/>
                  <a:gd name="connsiteX11" fmla="*/ 571500 w 2956560"/>
                  <a:gd name="connsiteY11" fmla="*/ 655320 h 1234440"/>
                  <a:gd name="connsiteX12" fmla="*/ 617220 w 2956560"/>
                  <a:gd name="connsiteY12" fmla="*/ 693420 h 1234440"/>
                  <a:gd name="connsiteX13" fmla="*/ 670560 w 2956560"/>
                  <a:gd name="connsiteY13" fmla="*/ 746760 h 1234440"/>
                  <a:gd name="connsiteX14" fmla="*/ 769620 w 2956560"/>
                  <a:gd name="connsiteY14" fmla="*/ 830580 h 1234440"/>
                  <a:gd name="connsiteX15" fmla="*/ 967740 w 2956560"/>
                  <a:gd name="connsiteY15" fmla="*/ 937260 h 1234440"/>
                  <a:gd name="connsiteX16" fmla="*/ 1021080 w 2956560"/>
                  <a:gd name="connsiteY16" fmla="*/ 967740 h 1234440"/>
                  <a:gd name="connsiteX17" fmla="*/ 1074420 w 2956560"/>
                  <a:gd name="connsiteY17" fmla="*/ 998220 h 1234440"/>
                  <a:gd name="connsiteX18" fmla="*/ 1158240 w 2956560"/>
                  <a:gd name="connsiteY18" fmla="*/ 1036320 h 1234440"/>
                  <a:gd name="connsiteX19" fmla="*/ 1219200 w 2956560"/>
                  <a:gd name="connsiteY19" fmla="*/ 1082040 h 1234440"/>
                  <a:gd name="connsiteX20" fmla="*/ 1600200 w 2956560"/>
                  <a:gd name="connsiteY20" fmla="*/ 1181100 h 1234440"/>
                  <a:gd name="connsiteX21" fmla="*/ 1769745 w 2956560"/>
                  <a:gd name="connsiteY21" fmla="*/ 1220153 h 1234440"/>
                  <a:gd name="connsiteX22" fmla="*/ 1988820 w 2956560"/>
                  <a:gd name="connsiteY22" fmla="*/ 1226820 h 1234440"/>
                  <a:gd name="connsiteX23" fmla="*/ 2065020 w 2956560"/>
                  <a:gd name="connsiteY23" fmla="*/ 1234440 h 1234440"/>
                  <a:gd name="connsiteX24" fmla="*/ 2423160 w 2956560"/>
                  <a:gd name="connsiteY24" fmla="*/ 1196340 h 1234440"/>
                  <a:gd name="connsiteX25" fmla="*/ 2461260 w 2956560"/>
                  <a:gd name="connsiteY25" fmla="*/ 1173480 h 1234440"/>
                  <a:gd name="connsiteX26" fmla="*/ 2506980 w 2956560"/>
                  <a:gd name="connsiteY26" fmla="*/ 1165860 h 1234440"/>
                  <a:gd name="connsiteX27" fmla="*/ 2537460 w 2956560"/>
                  <a:gd name="connsiteY27" fmla="*/ 1150620 h 1234440"/>
                  <a:gd name="connsiteX28" fmla="*/ 2621280 w 2956560"/>
                  <a:gd name="connsiteY28" fmla="*/ 1127760 h 1234440"/>
                  <a:gd name="connsiteX29" fmla="*/ 2644140 w 2956560"/>
                  <a:gd name="connsiteY29" fmla="*/ 1112520 h 1234440"/>
                  <a:gd name="connsiteX30" fmla="*/ 2750820 w 2956560"/>
                  <a:gd name="connsiteY30" fmla="*/ 1082040 h 1234440"/>
                  <a:gd name="connsiteX31" fmla="*/ 2781300 w 2956560"/>
                  <a:gd name="connsiteY31" fmla="*/ 1066800 h 1234440"/>
                  <a:gd name="connsiteX32" fmla="*/ 2849880 w 2956560"/>
                  <a:gd name="connsiteY32" fmla="*/ 1051560 h 1234440"/>
                  <a:gd name="connsiteX33" fmla="*/ 2910840 w 2956560"/>
                  <a:gd name="connsiteY33" fmla="*/ 1021080 h 1234440"/>
                  <a:gd name="connsiteX34" fmla="*/ 2956560 w 2956560"/>
                  <a:gd name="connsiteY34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571500 w 2956560"/>
                  <a:gd name="connsiteY10" fmla="*/ 655320 h 1234440"/>
                  <a:gd name="connsiteX11" fmla="*/ 617220 w 2956560"/>
                  <a:gd name="connsiteY11" fmla="*/ 693420 h 1234440"/>
                  <a:gd name="connsiteX12" fmla="*/ 670560 w 2956560"/>
                  <a:gd name="connsiteY12" fmla="*/ 746760 h 1234440"/>
                  <a:gd name="connsiteX13" fmla="*/ 769620 w 2956560"/>
                  <a:gd name="connsiteY13" fmla="*/ 830580 h 1234440"/>
                  <a:gd name="connsiteX14" fmla="*/ 967740 w 2956560"/>
                  <a:gd name="connsiteY14" fmla="*/ 937260 h 1234440"/>
                  <a:gd name="connsiteX15" fmla="*/ 1021080 w 2956560"/>
                  <a:gd name="connsiteY15" fmla="*/ 967740 h 1234440"/>
                  <a:gd name="connsiteX16" fmla="*/ 1074420 w 2956560"/>
                  <a:gd name="connsiteY16" fmla="*/ 998220 h 1234440"/>
                  <a:gd name="connsiteX17" fmla="*/ 1158240 w 2956560"/>
                  <a:gd name="connsiteY17" fmla="*/ 1036320 h 1234440"/>
                  <a:gd name="connsiteX18" fmla="*/ 1219200 w 2956560"/>
                  <a:gd name="connsiteY18" fmla="*/ 1082040 h 1234440"/>
                  <a:gd name="connsiteX19" fmla="*/ 1600200 w 2956560"/>
                  <a:gd name="connsiteY19" fmla="*/ 1181100 h 1234440"/>
                  <a:gd name="connsiteX20" fmla="*/ 1769745 w 2956560"/>
                  <a:gd name="connsiteY20" fmla="*/ 1220153 h 1234440"/>
                  <a:gd name="connsiteX21" fmla="*/ 1988820 w 2956560"/>
                  <a:gd name="connsiteY21" fmla="*/ 1226820 h 1234440"/>
                  <a:gd name="connsiteX22" fmla="*/ 2065020 w 2956560"/>
                  <a:gd name="connsiteY22" fmla="*/ 1234440 h 1234440"/>
                  <a:gd name="connsiteX23" fmla="*/ 2423160 w 2956560"/>
                  <a:gd name="connsiteY23" fmla="*/ 1196340 h 1234440"/>
                  <a:gd name="connsiteX24" fmla="*/ 2461260 w 2956560"/>
                  <a:gd name="connsiteY24" fmla="*/ 1173480 h 1234440"/>
                  <a:gd name="connsiteX25" fmla="*/ 2506980 w 2956560"/>
                  <a:gd name="connsiteY25" fmla="*/ 1165860 h 1234440"/>
                  <a:gd name="connsiteX26" fmla="*/ 2537460 w 2956560"/>
                  <a:gd name="connsiteY26" fmla="*/ 1150620 h 1234440"/>
                  <a:gd name="connsiteX27" fmla="*/ 2621280 w 2956560"/>
                  <a:gd name="connsiteY27" fmla="*/ 1127760 h 1234440"/>
                  <a:gd name="connsiteX28" fmla="*/ 2644140 w 2956560"/>
                  <a:gd name="connsiteY28" fmla="*/ 1112520 h 1234440"/>
                  <a:gd name="connsiteX29" fmla="*/ 2750820 w 2956560"/>
                  <a:gd name="connsiteY29" fmla="*/ 1082040 h 1234440"/>
                  <a:gd name="connsiteX30" fmla="*/ 2781300 w 2956560"/>
                  <a:gd name="connsiteY30" fmla="*/ 1066800 h 1234440"/>
                  <a:gd name="connsiteX31" fmla="*/ 2849880 w 2956560"/>
                  <a:gd name="connsiteY31" fmla="*/ 1051560 h 1234440"/>
                  <a:gd name="connsiteX32" fmla="*/ 2910840 w 2956560"/>
                  <a:gd name="connsiteY32" fmla="*/ 1021080 h 1234440"/>
                  <a:gd name="connsiteX33" fmla="*/ 2956560 w 2956560"/>
                  <a:gd name="connsiteY33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617220 w 2956560"/>
                  <a:gd name="connsiteY10" fmla="*/ 693420 h 1234440"/>
                  <a:gd name="connsiteX11" fmla="*/ 670560 w 2956560"/>
                  <a:gd name="connsiteY11" fmla="*/ 746760 h 1234440"/>
                  <a:gd name="connsiteX12" fmla="*/ 769620 w 2956560"/>
                  <a:gd name="connsiteY12" fmla="*/ 830580 h 1234440"/>
                  <a:gd name="connsiteX13" fmla="*/ 967740 w 2956560"/>
                  <a:gd name="connsiteY13" fmla="*/ 937260 h 1234440"/>
                  <a:gd name="connsiteX14" fmla="*/ 1021080 w 2956560"/>
                  <a:gd name="connsiteY14" fmla="*/ 967740 h 1234440"/>
                  <a:gd name="connsiteX15" fmla="*/ 1074420 w 2956560"/>
                  <a:gd name="connsiteY15" fmla="*/ 998220 h 1234440"/>
                  <a:gd name="connsiteX16" fmla="*/ 1158240 w 2956560"/>
                  <a:gd name="connsiteY16" fmla="*/ 1036320 h 1234440"/>
                  <a:gd name="connsiteX17" fmla="*/ 1219200 w 2956560"/>
                  <a:gd name="connsiteY17" fmla="*/ 1082040 h 1234440"/>
                  <a:gd name="connsiteX18" fmla="*/ 1600200 w 2956560"/>
                  <a:gd name="connsiteY18" fmla="*/ 1181100 h 1234440"/>
                  <a:gd name="connsiteX19" fmla="*/ 1769745 w 2956560"/>
                  <a:gd name="connsiteY19" fmla="*/ 1220153 h 1234440"/>
                  <a:gd name="connsiteX20" fmla="*/ 1988820 w 2956560"/>
                  <a:gd name="connsiteY20" fmla="*/ 1226820 h 1234440"/>
                  <a:gd name="connsiteX21" fmla="*/ 2065020 w 2956560"/>
                  <a:gd name="connsiteY21" fmla="*/ 1234440 h 1234440"/>
                  <a:gd name="connsiteX22" fmla="*/ 2423160 w 2956560"/>
                  <a:gd name="connsiteY22" fmla="*/ 1196340 h 1234440"/>
                  <a:gd name="connsiteX23" fmla="*/ 2461260 w 2956560"/>
                  <a:gd name="connsiteY23" fmla="*/ 1173480 h 1234440"/>
                  <a:gd name="connsiteX24" fmla="*/ 2506980 w 2956560"/>
                  <a:gd name="connsiteY24" fmla="*/ 1165860 h 1234440"/>
                  <a:gd name="connsiteX25" fmla="*/ 2537460 w 2956560"/>
                  <a:gd name="connsiteY25" fmla="*/ 1150620 h 1234440"/>
                  <a:gd name="connsiteX26" fmla="*/ 2621280 w 2956560"/>
                  <a:gd name="connsiteY26" fmla="*/ 1127760 h 1234440"/>
                  <a:gd name="connsiteX27" fmla="*/ 2644140 w 2956560"/>
                  <a:gd name="connsiteY27" fmla="*/ 1112520 h 1234440"/>
                  <a:gd name="connsiteX28" fmla="*/ 2750820 w 2956560"/>
                  <a:gd name="connsiteY28" fmla="*/ 1082040 h 1234440"/>
                  <a:gd name="connsiteX29" fmla="*/ 2781300 w 2956560"/>
                  <a:gd name="connsiteY29" fmla="*/ 1066800 h 1234440"/>
                  <a:gd name="connsiteX30" fmla="*/ 2849880 w 2956560"/>
                  <a:gd name="connsiteY30" fmla="*/ 1051560 h 1234440"/>
                  <a:gd name="connsiteX31" fmla="*/ 2910840 w 2956560"/>
                  <a:gd name="connsiteY31" fmla="*/ 1021080 h 1234440"/>
                  <a:gd name="connsiteX32" fmla="*/ 2956560 w 2956560"/>
                  <a:gd name="connsiteY3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50820 w 2956560"/>
                  <a:gd name="connsiteY27" fmla="*/ 1082040 h 1234440"/>
                  <a:gd name="connsiteX28" fmla="*/ 2781300 w 2956560"/>
                  <a:gd name="connsiteY28" fmla="*/ 1066800 h 1234440"/>
                  <a:gd name="connsiteX29" fmla="*/ 2849880 w 2956560"/>
                  <a:gd name="connsiteY29" fmla="*/ 1051560 h 1234440"/>
                  <a:gd name="connsiteX30" fmla="*/ 2910840 w 2956560"/>
                  <a:gd name="connsiteY30" fmla="*/ 1021080 h 1234440"/>
                  <a:gd name="connsiteX31" fmla="*/ 2956560 w 2956560"/>
                  <a:gd name="connsiteY3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81300 w 2956560"/>
                  <a:gd name="connsiteY27" fmla="*/ 1066800 h 1234440"/>
                  <a:gd name="connsiteX28" fmla="*/ 2849880 w 2956560"/>
                  <a:gd name="connsiteY28" fmla="*/ 1051560 h 1234440"/>
                  <a:gd name="connsiteX29" fmla="*/ 2910840 w 2956560"/>
                  <a:gd name="connsiteY29" fmla="*/ 1021080 h 1234440"/>
                  <a:gd name="connsiteX30" fmla="*/ 2956560 w 2956560"/>
                  <a:gd name="connsiteY3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621280 w 2956560"/>
                  <a:gd name="connsiteY24" fmla="*/ 1127760 h 1234440"/>
                  <a:gd name="connsiteX25" fmla="*/ 2644140 w 2956560"/>
                  <a:gd name="connsiteY25" fmla="*/ 1112520 h 1234440"/>
                  <a:gd name="connsiteX26" fmla="*/ 2781300 w 2956560"/>
                  <a:gd name="connsiteY26" fmla="*/ 1066800 h 1234440"/>
                  <a:gd name="connsiteX27" fmla="*/ 2849880 w 2956560"/>
                  <a:gd name="connsiteY27" fmla="*/ 1051560 h 1234440"/>
                  <a:gd name="connsiteX28" fmla="*/ 2910840 w 2956560"/>
                  <a:gd name="connsiteY28" fmla="*/ 1021080 h 1234440"/>
                  <a:gd name="connsiteX29" fmla="*/ 2956560 w 2956560"/>
                  <a:gd name="connsiteY2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644140 w 2956560"/>
                  <a:gd name="connsiteY24" fmla="*/ 1112520 h 1234440"/>
                  <a:gd name="connsiteX25" fmla="*/ 2781300 w 2956560"/>
                  <a:gd name="connsiteY25" fmla="*/ 1066800 h 1234440"/>
                  <a:gd name="connsiteX26" fmla="*/ 2849880 w 2956560"/>
                  <a:gd name="connsiteY26" fmla="*/ 1051560 h 1234440"/>
                  <a:gd name="connsiteX27" fmla="*/ 2910840 w 2956560"/>
                  <a:gd name="connsiteY27" fmla="*/ 1021080 h 1234440"/>
                  <a:gd name="connsiteX28" fmla="*/ 2956560 w 2956560"/>
                  <a:gd name="connsiteY2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781300 w 2956560"/>
                  <a:gd name="connsiteY24" fmla="*/ 1066800 h 1234440"/>
                  <a:gd name="connsiteX25" fmla="*/ 2849880 w 2956560"/>
                  <a:gd name="connsiteY25" fmla="*/ 1051560 h 1234440"/>
                  <a:gd name="connsiteX26" fmla="*/ 2910840 w 2956560"/>
                  <a:gd name="connsiteY26" fmla="*/ 1021080 h 1234440"/>
                  <a:gd name="connsiteX27" fmla="*/ 2956560 w 2956560"/>
                  <a:gd name="connsiteY2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219200 w 2956560"/>
                  <a:gd name="connsiteY15" fmla="*/ 1082040 h 1234440"/>
                  <a:gd name="connsiteX16" fmla="*/ 1600200 w 2956560"/>
                  <a:gd name="connsiteY16" fmla="*/ 1181100 h 1234440"/>
                  <a:gd name="connsiteX17" fmla="*/ 1769745 w 2956560"/>
                  <a:gd name="connsiteY17" fmla="*/ 1220153 h 1234440"/>
                  <a:gd name="connsiteX18" fmla="*/ 1988820 w 2956560"/>
                  <a:gd name="connsiteY18" fmla="*/ 1226820 h 1234440"/>
                  <a:gd name="connsiteX19" fmla="*/ 2065020 w 2956560"/>
                  <a:gd name="connsiteY19" fmla="*/ 1234440 h 1234440"/>
                  <a:gd name="connsiteX20" fmla="*/ 2423160 w 2956560"/>
                  <a:gd name="connsiteY20" fmla="*/ 1196340 h 1234440"/>
                  <a:gd name="connsiteX21" fmla="*/ 2506980 w 2956560"/>
                  <a:gd name="connsiteY21" fmla="*/ 1165860 h 1234440"/>
                  <a:gd name="connsiteX22" fmla="*/ 2621280 w 2956560"/>
                  <a:gd name="connsiteY22" fmla="*/ 1127760 h 1234440"/>
                  <a:gd name="connsiteX23" fmla="*/ 2781300 w 2956560"/>
                  <a:gd name="connsiteY23" fmla="*/ 1066800 h 1234440"/>
                  <a:gd name="connsiteX24" fmla="*/ 2849880 w 2956560"/>
                  <a:gd name="connsiteY24" fmla="*/ 1051560 h 1234440"/>
                  <a:gd name="connsiteX25" fmla="*/ 2910840 w 2956560"/>
                  <a:gd name="connsiteY25" fmla="*/ 1021080 h 1234440"/>
                  <a:gd name="connsiteX26" fmla="*/ 2956560 w 2956560"/>
                  <a:gd name="connsiteY2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600200 w 2956560"/>
                  <a:gd name="connsiteY15" fmla="*/ 1181100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98358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10840"/>
                  <a:gd name="connsiteY0" fmla="*/ 0 h 1234440"/>
                  <a:gd name="connsiteX1" fmla="*/ 45720 w 2910840"/>
                  <a:gd name="connsiteY1" fmla="*/ 76200 h 1234440"/>
                  <a:gd name="connsiteX2" fmla="*/ 121920 w 2910840"/>
                  <a:gd name="connsiteY2" fmla="*/ 198120 h 1234440"/>
                  <a:gd name="connsiteX3" fmla="*/ 198120 w 2910840"/>
                  <a:gd name="connsiteY3" fmla="*/ 289560 h 1234440"/>
                  <a:gd name="connsiteX4" fmla="*/ 251460 w 2910840"/>
                  <a:gd name="connsiteY4" fmla="*/ 358140 h 1234440"/>
                  <a:gd name="connsiteX5" fmla="*/ 312420 w 2910840"/>
                  <a:gd name="connsiteY5" fmla="*/ 419100 h 1234440"/>
                  <a:gd name="connsiteX6" fmla="*/ 396240 w 2910840"/>
                  <a:gd name="connsiteY6" fmla="*/ 510540 h 1234440"/>
                  <a:gd name="connsiteX7" fmla="*/ 464820 w 2910840"/>
                  <a:gd name="connsiteY7" fmla="*/ 579120 h 1234440"/>
                  <a:gd name="connsiteX8" fmla="*/ 533400 w 2910840"/>
                  <a:gd name="connsiteY8" fmla="*/ 624840 h 1234440"/>
                  <a:gd name="connsiteX9" fmla="*/ 617220 w 2910840"/>
                  <a:gd name="connsiteY9" fmla="*/ 693420 h 1234440"/>
                  <a:gd name="connsiteX10" fmla="*/ 670560 w 2910840"/>
                  <a:gd name="connsiteY10" fmla="*/ 746760 h 1234440"/>
                  <a:gd name="connsiteX11" fmla="*/ 769620 w 2910840"/>
                  <a:gd name="connsiteY11" fmla="*/ 830580 h 1234440"/>
                  <a:gd name="connsiteX12" fmla="*/ 967740 w 2910840"/>
                  <a:gd name="connsiteY12" fmla="*/ 937260 h 1234440"/>
                  <a:gd name="connsiteX13" fmla="*/ 1074420 w 2910840"/>
                  <a:gd name="connsiteY13" fmla="*/ 998220 h 1234440"/>
                  <a:gd name="connsiteX14" fmla="*/ 1158240 w 2910840"/>
                  <a:gd name="connsiteY14" fmla="*/ 1036320 h 1234440"/>
                  <a:gd name="connsiteX15" fmla="*/ 1447800 w 2910840"/>
                  <a:gd name="connsiteY15" fmla="*/ 1152525 h 1234440"/>
                  <a:gd name="connsiteX16" fmla="*/ 1760220 w 2910840"/>
                  <a:gd name="connsiteY16" fmla="*/ 1201103 h 1234440"/>
                  <a:gd name="connsiteX17" fmla="*/ 1988820 w 2910840"/>
                  <a:gd name="connsiteY17" fmla="*/ 1226820 h 1234440"/>
                  <a:gd name="connsiteX18" fmla="*/ 2098358 w 2910840"/>
                  <a:gd name="connsiteY18" fmla="*/ 1234440 h 1234440"/>
                  <a:gd name="connsiteX19" fmla="*/ 2423160 w 2910840"/>
                  <a:gd name="connsiteY19" fmla="*/ 1196340 h 1234440"/>
                  <a:gd name="connsiteX20" fmla="*/ 2506980 w 2910840"/>
                  <a:gd name="connsiteY20" fmla="*/ 1165860 h 1234440"/>
                  <a:gd name="connsiteX21" fmla="*/ 2621280 w 2910840"/>
                  <a:gd name="connsiteY21" fmla="*/ 1127760 h 1234440"/>
                  <a:gd name="connsiteX22" fmla="*/ 2781300 w 2910840"/>
                  <a:gd name="connsiteY22" fmla="*/ 1066800 h 1234440"/>
                  <a:gd name="connsiteX23" fmla="*/ 2849880 w 2910840"/>
                  <a:gd name="connsiteY23" fmla="*/ 1051560 h 1234440"/>
                  <a:gd name="connsiteX24" fmla="*/ 2910840 w 2910840"/>
                  <a:gd name="connsiteY24" fmla="*/ 1021080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849880 w 2944177"/>
                  <a:gd name="connsiteY23" fmla="*/ 1051560 h 1234440"/>
                  <a:gd name="connsiteX24" fmla="*/ 2944177 w 2944177"/>
                  <a:gd name="connsiteY24" fmla="*/ 992505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45" name="Freeform: Shape 49">
                <a:extLst>
                  <a:ext uri="{FF2B5EF4-FFF2-40B4-BE49-F238E27FC236}">
                    <a16:creationId xmlns:a16="http://schemas.microsoft.com/office/drawing/2014/main" id="{44604ECD-8D6C-6C1E-605F-C95122DFB00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89560 w 358317"/>
                  <a:gd name="connsiteY20" fmla="*/ 48269 h 452129"/>
                  <a:gd name="connsiteX21" fmla="*/ 266700 w 358317"/>
                  <a:gd name="connsiteY21" fmla="*/ 25409 h 452129"/>
                  <a:gd name="connsiteX22" fmla="*/ 220980 w 358317"/>
                  <a:gd name="connsiteY22" fmla="*/ 17789 h 452129"/>
                  <a:gd name="connsiteX23" fmla="*/ 167640 w 358317"/>
                  <a:gd name="connsiteY23" fmla="*/ 2549 h 452129"/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66700 w 358317"/>
                  <a:gd name="connsiteY20" fmla="*/ 25409 h 452129"/>
                  <a:gd name="connsiteX21" fmla="*/ 220980 w 358317"/>
                  <a:gd name="connsiteY21" fmla="*/ 17789 h 452129"/>
                  <a:gd name="connsiteX22" fmla="*/ 167640 w 358317"/>
                  <a:gd name="connsiteY22" fmla="*/ 2549 h 452129"/>
                  <a:gd name="connsiteX0" fmla="*/ 167640 w 358712"/>
                  <a:gd name="connsiteY0" fmla="*/ 3883 h 453463"/>
                  <a:gd name="connsiteX1" fmla="*/ 121920 w 358712"/>
                  <a:gd name="connsiteY1" fmla="*/ 80083 h 453463"/>
                  <a:gd name="connsiteX2" fmla="*/ 68580 w 358712"/>
                  <a:gd name="connsiteY2" fmla="*/ 125803 h 453463"/>
                  <a:gd name="connsiteX3" fmla="*/ 30480 w 358712"/>
                  <a:gd name="connsiteY3" fmla="*/ 186763 h 453463"/>
                  <a:gd name="connsiteX4" fmla="*/ 15240 w 358712"/>
                  <a:gd name="connsiteY4" fmla="*/ 209623 h 453463"/>
                  <a:gd name="connsiteX5" fmla="*/ 0 w 358712"/>
                  <a:gd name="connsiteY5" fmla="*/ 270583 h 453463"/>
                  <a:gd name="connsiteX6" fmla="*/ 15240 w 358712"/>
                  <a:gd name="connsiteY6" fmla="*/ 369643 h 453463"/>
                  <a:gd name="connsiteX7" fmla="*/ 45720 w 358712"/>
                  <a:gd name="connsiteY7" fmla="*/ 392503 h 453463"/>
                  <a:gd name="connsiteX8" fmla="*/ 144780 w 358712"/>
                  <a:gd name="connsiteY8" fmla="*/ 445843 h 453463"/>
                  <a:gd name="connsiteX9" fmla="*/ 175260 w 358712"/>
                  <a:gd name="connsiteY9" fmla="*/ 453463 h 453463"/>
                  <a:gd name="connsiteX10" fmla="*/ 198120 w 358712"/>
                  <a:gd name="connsiteY10" fmla="*/ 445843 h 453463"/>
                  <a:gd name="connsiteX11" fmla="*/ 213360 w 358712"/>
                  <a:gd name="connsiteY11" fmla="*/ 422983 h 453463"/>
                  <a:gd name="connsiteX12" fmla="*/ 220980 w 358712"/>
                  <a:gd name="connsiteY12" fmla="*/ 400123 h 453463"/>
                  <a:gd name="connsiteX13" fmla="*/ 236220 w 358712"/>
                  <a:gd name="connsiteY13" fmla="*/ 346783 h 453463"/>
                  <a:gd name="connsiteX14" fmla="*/ 274320 w 358712"/>
                  <a:gd name="connsiteY14" fmla="*/ 270583 h 453463"/>
                  <a:gd name="connsiteX15" fmla="*/ 304800 w 358712"/>
                  <a:gd name="connsiteY15" fmla="*/ 209623 h 453463"/>
                  <a:gd name="connsiteX16" fmla="*/ 312420 w 358712"/>
                  <a:gd name="connsiteY16" fmla="*/ 186763 h 453463"/>
                  <a:gd name="connsiteX17" fmla="*/ 350520 w 358712"/>
                  <a:gd name="connsiteY17" fmla="*/ 133423 h 453463"/>
                  <a:gd name="connsiteX18" fmla="*/ 358140 w 358712"/>
                  <a:gd name="connsiteY18" fmla="*/ 110563 h 453463"/>
                  <a:gd name="connsiteX19" fmla="*/ 342900 w 358712"/>
                  <a:gd name="connsiteY19" fmla="*/ 87703 h 453463"/>
                  <a:gd name="connsiteX20" fmla="*/ 220980 w 358712"/>
                  <a:gd name="connsiteY20" fmla="*/ 19123 h 453463"/>
                  <a:gd name="connsiteX21" fmla="*/ 167640 w 358712"/>
                  <a:gd name="connsiteY21" fmla="*/ 3883 h 453463"/>
                  <a:gd name="connsiteX0" fmla="*/ 167640 w 366515"/>
                  <a:gd name="connsiteY0" fmla="*/ 4550 h 454130"/>
                  <a:gd name="connsiteX1" fmla="*/ 121920 w 366515"/>
                  <a:gd name="connsiteY1" fmla="*/ 80750 h 454130"/>
                  <a:gd name="connsiteX2" fmla="*/ 68580 w 366515"/>
                  <a:gd name="connsiteY2" fmla="*/ 126470 h 454130"/>
                  <a:gd name="connsiteX3" fmla="*/ 30480 w 366515"/>
                  <a:gd name="connsiteY3" fmla="*/ 187430 h 454130"/>
                  <a:gd name="connsiteX4" fmla="*/ 15240 w 366515"/>
                  <a:gd name="connsiteY4" fmla="*/ 210290 h 454130"/>
                  <a:gd name="connsiteX5" fmla="*/ 0 w 366515"/>
                  <a:gd name="connsiteY5" fmla="*/ 271250 h 454130"/>
                  <a:gd name="connsiteX6" fmla="*/ 15240 w 366515"/>
                  <a:gd name="connsiteY6" fmla="*/ 370310 h 454130"/>
                  <a:gd name="connsiteX7" fmla="*/ 45720 w 366515"/>
                  <a:gd name="connsiteY7" fmla="*/ 393170 h 454130"/>
                  <a:gd name="connsiteX8" fmla="*/ 144780 w 366515"/>
                  <a:gd name="connsiteY8" fmla="*/ 446510 h 454130"/>
                  <a:gd name="connsiteX9" fmla="*/ 175260 w 366515"/>
                  <a:gd name="connsiteY9" fmla="*/ 454130 h 454130"/>
                  <a:gd name="connsiteX10" fmla="*/ 198120 w 366515"/>
                  <a:gd name="connsiteY10" fmla="*/ 446510 h 454130"/>
                  <a:gd name="connsiteX11" fmla="*/ 213360 w 366515"/>
                  <a:gd name="connsiteY11" fmla="*/ 423650 h 454130"/>
                  <a:gd name="connsiteX12" fmla="*/ 220980 w 366515"/>
                  <a:gd name="connsiteY12" fmla="*/ 400790 h 454130"/>
                  <a:gd name="connsiteX13" fmla="*/ 236220 w 366515"/>
                  <a:gd name="connsiteY13" fmla="*/ 347450 h 454130"/>
                  <a:gd name="connsiteX14" fmla="*/ 274320 w 366515"/>
                  <a:gd name="connsiteY14" fmla="*/ 271250 h 454130"/>
                  <a:gd name="connsiteX15" fmla="*/ 304800 w 366515"/>
                  <a:gd name="connsiteY15" fmla="*/ 210290 h 454130"/>
                  <a:gd name="connsiteX16" fmla="*/ 312420 w 366515"/>
                  <a:gd name="connsiteY16" fmla="*/ 187430 h 454130"/>
                  <a:gd name="connsiteX17" fmla="*/ 350520 w 366515"/>
                  <a:gd name="connsiteY17" fmla="*/ 134090 h 454130"/>
                  <a:gd name="connsiteX18" fmla="*/ 358140 w 366515"/>
                  <a:gd name="connsiteY18" fmla="*/ 111230 h 454130"/>
                  <a:gd name="connsiteX19" fmla="*/ 220980 w 366515"/>
                  <a:gd name="connsiteY19" fmla="*/ 19790 h 454130"/>
                  <a:gd name="connsiteX20" fmla="*/ 167640 w 366515"/>
                  <a:gd name="connsiteY20" fmla="*/ 4550 h 454130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68580 w 365131"/>
                  <a:gd name="connsiteY2" fmla="*/ 122535 h 450195"/>
                  <a:gd name="connsiteX3" fmla="*/ 30480 w 365131"/>
                  <a:gd name="connsiteY3" fmla="*/ 183495 h 450195"/>
                  <a:gd name="connsiteX4" fmla="*/ 15240 w 365131"/>
                  <a:gd name="connsiteY4" fmla="*/ 206355 h 450195"/>
                  <a:gd name="connsiteX5" fmla="*/ 0 w 365131"/>
                  <a:gd name="connsiteY5" fmla="*/ 267315 h 450195"/>
                  <a:gd name="connsiteX6" fmla="*/ 15240 w 365131"/>
                  <a:gd name="connsiteY6" fmla="*/ 366375 h 450195"/>
                  <a:gd name="connsiteX7" fmla="*/ 45720 w 365131"/>
                  <a:gd name="connsiteY7" fmla="*/ 389235 h 450195"/>
                  <a:gd name="connsiteX8" fmla="*/ 144780 w 365131"/>
                  <a:gd name="connsiteY8" fmla="*/ 442575 h 450195"/>
                  <a:gd name="connsiteX9" fmla="*/ 175260 w 365131"/>
                  <a:gd name="connsiteY9" fmla="*/ 450195 h 450195"/>
                  <a:gd name="connsiteX10" fmla="*/ 198120 w 365131"/>
                  <a:gd name="connsiteY10" fmla="*/ 442575 h 450195"/>
                  <a:gd name="connsiteX11" fmla="*/ 213360 w 365131"/>
                  <a:gd name="connsiteY11" fmla="*/ 419715 h 450195"/>
                  <a:gd name="connsiteX12" fmla="*/ 220980 w 365131"/>
                  <a:gd name="connsiteY12" fmla="*/ 396855 h 450195"/>
                  <a:gd name="connsiteX13" fmla="*/ 236220 w 365131"/>
                  <a:gd name="connsiteY13" fmla="*/ 343515 h 450195"/>
                  <a:gd name="connsiteX14" fmla="*/ 274320 w 365131"/>
                  <a:gd name="connsiteY14" fmla="*/ 267315 h 450195"/>
                  <a:gd name="connsiteX15" fmla="*/ 304800 w 365131"/>
                  <a:gd name="connsiteY15" fmla="*/ 206355 h 450195"/>
                  <a:gd name="connsiteX16" fmla="*/ 312420 w 365131"/>
                  <a:gd name="connsiteY16" fmla="*/ 183495 h 450195"/>
                  <a:gd name="connsiteX17" fmla="*/ 350520 w 365131"/>
                  <a:gd name="connsiteY17" fmla="*/ 130155 h 450195"/>
                  <a:gd name="connsiteX18" fmla="*/ 358140 w 365131"/>
                  <a:gd name="connsiteY18" fmla="*/ 107295 h 450195"/>
                  <a:gd name="connsiteX19" fmla="*/ 240030 w 365131"/>
                  <a:gd name="connsiteY19" fmla="*/ 44430 h 450195"/>
                  <a:gd name="connsiteX20" fmla="*/ 167640 w 365131"/>
                  <a:gd name="connsiteY20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45720 w 365131"/>
                  <a:gd name="connsiteY6" fmla="*/ 389235 h 450195"/>
                  <a:gd name="connsiteX7" fmla="*/ 144780 w 365131"/>
                  <a:gd name="connsiteY7" fmla="*/ 442575 h 450195"/>
                  <a:gd name="connsiteX8" fmla="*/ 175260 w 365131"/>
                  <a:gd name="connsiteY8" fmla="*/ 450195 h 450195"/>
                  <a:gd name="connsiteX9" fmla="*/ 198120 w 365131"/>
                  <a:gd name="connsiteY9" fmla="*/ 442575 h 450195"/>
                  <a:gd name="connsiteX10" fmla="*/ 213360 w 365131"/>
                  <a:gd name="connsiteY10" fmla="*/ 419715 h 450195"/>
                  <a:gd name="connsiteX11" fmla="*/ 220980 w 365131"/>
                  <a:gd name="connsiteY11" fmla="*/ 396855 h 450195"/>
                  <a:gd name="connsiteX12" fmla="*/ 236220 w 365131"/>
                  <a:gd name="connsiteY12" fmla="*/ 343515 h 450195"/>
                  <a:gd name="connsiteX13" fmla="*/ 274320 w 365131"/>
                  <a:gd name="connsiteY13" fmla="*/ 267315 h 450195"/>
                  <a:gd name="connsiteX14" fmla="*/ 304800 w 365131"/>
                  <a:gd name="connsiteY14" fmla="*/ 206355 h 450195"/>
                  <a:gd name="connsiteX15" fmla="*/ 312420 w 365131"/>
                  <a:gd name="connsiteY15" fmla="*/ 183495 h 450195"/>
                  <a:gd name="connsiteX16" fmla="*/ 350520 w 365131"/>
                  <a:gd name="connsiteY16" fmla="*/ 130155 h 450195"/>
                  <a:gd name="connsiteX17" fmla="*/ 358140 w 365131"/>
                  <a:gd name="connsiteY17" fmla="*/ 107295 h 450195"/>
                  <a:gd name="connsiteX18" fmla="*/ 240030 w 365131"/>
                  <a:gd name="connsiteY18" fmla="*/ 44430 h 450195"/>
                  <a:gd name="connsiteX19" fmla="*/ 167640 w 365131"/>
                  <a:gd name="connsiteY19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144780 w 365131"/>
                  <a:gd name="connsiteY6" fmla="*/ 442575 h 450195"/>
                  <a:gd name="connsiteX7" fmla="*/ 175260 w 365131"/>
                  <a:gd name="connsiteY7" fmla="*/ 450195 h 450195"/>
                  <a:gd name="connsiteX8" fmla="*/ 198120 w 365131"/>
                  <a:gd name="connsiteY8" fmla="*/ 442575 h 450195"/>
                  <a:gd name="connsiteX9" fmla="*/ 213360 w 365131"/>
                  <a:gd name="connsiteY9" fmla="*/ 419715 h 450195"/>
                  <a:gd name="connsiteX10" fmla="*/ 220980 w 365131"/>
                  <a:gd name="connsiteY10" fmla="*/ 396855 h 450195"/>
                  <a:gd name="connsiteX11" fmla="*/ 236220 w 365131"/>
                  <a:gd name="connsiteY11" fmla="*/ 343515 h 450195"/>
                  <a:gd name="connsiteX12" fmla="*/ 274320 w 365131"/>
                  <a:gd name="connsiteY12" fmla="*/ 267315 h 450195"/>
                  <a:gd name="connsiteX13" fmla="*/ 304800 w 365131"/>
                  <a:gd name="connsiteY13" fmla="*/ 206355 h 450195"/>
                  <a:gd name="connsiteX14" fmla="*/ 312420 w 365131"/>
                  <a:gd name="connsiteY14" fmla="*/ 183495 h 450195"/>
                  <a:gd name="connsiteX15" fmla="*/ 350520 w 365131"/>
                  <a:gd name="connsiteY15" fmla="*/ 130155 h 450195"/>
                  <a:gd name="connsiteX16" fmla="*/ 358140 w 365131"/>
                  <a:gd name="connsiteY16" fmla="*/ 107295 h 450195"/>
                  <a:gd name="connsiteX17" fmla="*/ 240030 w 365131"/>
                  <a:gd name="connsiteY17" fmla="*/ 44430 h 450195"/>
                  <a:gd name="connsiteX18" fmla="*/ 167640 w 365131"/>
                  <a:gd name="connsiteY18" fmla="*/ 615 h 450195"/>
                  <a:gd name="connsiteX0" fmla="*/ 188438 w 385929"/>
                  <a:gd name="connsiteY0" fmla="*/ 615 h 450195"/>
                  <a:gd name="connsiteX1" fmla="*/ 142718 w 385929"/>
                  <a:gd name="connsiteY1" fmla="*/ 76815 h 450195"/>
                  <a:gd name="connsiteX2" fmla="*/ 51278 w 385929"/>
                  <a:gd name="connsiteY2" fmla="*/ 183495 h 450195"/>
                  <a:gd name="connsiteX3" fmla="*/ 36038 w 385929"/>
                  <a:gd name="connsiteY3" fmla="*/ 206355 h 450195"/>
                  <a:gd name="connsiteX4" fmla="*/ 20798 w 385929"/>
                  <a:gd name="connsiteY4" fmla="*/ 267315 h 450195"/>
                  <a:gd name="connsiteX5" fmla="*/ 7463 w 385929"/>
                  <a:gd name="connsiteY5" fmla="*/ 328275 h 450195"/>
                  <a:gd name="connsiteX6" fmla="*/ 165578 w 385929"/>
                  <a:gd name="connsiteY6" fmla="*/ 442575 h 450195"/>
                  <a:gd name="connsiteX7" fmla="*/ 196058 w 385929"/>
                  <a:gd name="connsiteY7" fmla="*/ 450195 h 450195"/>
                  <a:gd name="connsiteX8" fmla="*/ 218918 w 385929"/>
                  <a:gd name="connsiteY8" fmla="*/ 442575 h 450195"/>
                  <a:gd name="connsiteX9" fmla="*/ 234158 w 385929"/>
                  <a:gd name="connsiteY9" fmla="*/ 419715 h 450195"/>
                  <a:gd name="connsiteX10" fmla="*/ 241778 w 385929"/>
                  <a:gd name="connsiteY10" fmla="*/ 396855 h 450195"/>
                  <a:gd name="connsiteX11" fmla="*/ 257018 w 385929"/>
                  <a:gd name="connsiteY11" fmla="*/ 343515 h 450195"/>
                  <a:gd name="connsiteX12" fmla="*/ 295118 w 385929"/>
                  <a:gd name="connsiteY12" fmla="*/ 267315 h 450195"/>
                  <a:gd name="connsiteX13" fmla="*/ 325598 w 385929"/>
                  <a:gd name="connsiteY13" fmla="*/ 206355 h 450195"/>
                  <a:gd name="connsiteX14" fmla="*/ 333218 w 385929"/>
                  <a:gd name="connsiteY14" fmla="*/ 183495 h 450195"/>
                  <a:gd name="connsiteX15" fmla="*/ 371318 w 385929"/>
                  <a:gd name="connsiteY15" fmla="*/ 130155 h 450195"/>
                  <a:gd name="connsiteX16" fmla="*/ 378938 w 385929"/>
                  <a:gd name="connsiteY16" fmla="*/ 107295 h 450195"/>
                  <a:gd name="connsiteX17" fmla="*/ 260828 w 385929"/>
                  <a:gd name="connsiteY17" fmla="*/ 44430 h 450195"/>
                  <a:gd name="connsiteX18" fmla="*/ 188438 w 385929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29543 w 381314"/>
                  <a:gd name="connsiteY9" fmla="*/ 419715 h 450195"/>
                  <a:gd name="connsiteX10" fmla="*/ 237163 w 381314"/>
                  <a:gd name="connsiteY10" fmla="*/ 396855 h 450195"/>
                  <a:gd name="connsiteX11" fmla="*/ 252403 w 381314"/>
                  <a:gd name="connsiteY11" fmla="*/ 343515 h 450195"/>
                  <a:gd name="connsiteX12" fmla="*/ 290503 w 381314"/>
                  <a:gd name="connsiteY12" fmla="*/ 267315 h 450195"/>
                  <a:gd name="connsiteX13" fmla="*/ 320983 w 381314"/>
                  <a:gd name="connsiteY13" fmla="*/ 206355 h 450195"/>
                  <a:gd name="connsiteX14" fmla="*/ 328603 w 381314"/>
                  <a:gd name="connsiteY14" fmla="*/ 183495 h 450195"/>
                  <a:gd name="connsiteX15" fmla="*/ 366703 w 381314"/>
                  <a:gd name="connsiteY15" fmla="*/ 130155 h 450195"/>
                  <a:gd name="connsiteX16" fmla="*/ 374323 w 381314"/>
                  <a:gd name="connsiteY16" fmla="*/ 107295 h 450195"/>
                  <a:gd name="connsiteX17" fmla="*/ 256213 w 381314"/>
                  <a:gd name="connsiteY17" fmla="*/ 44430 h 450195"/>
                  <a:gd name="connsiteX18" fmla="*/ 183823 w 381314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37163 w 381314"/>
                  <a:gd name="connsiteY9" fmla="*/ 396855 h 450195"/>
                  <a:gd name="connsiteX10" fmla="*/ 252403 w 381314"/>
                  <a:gd name="connsiteY10" fmla="*/ 343515 h 450195"/>
                  <a:gd name="connsiteX11" fmla="*/ 290503 w 381314"/>
                  <a:gd name="connsiteY11" fmla="*/ 267315 h 450195"/>
                  <a:gd name="connsiteX12" fmla="*/ 320983 w 381314"/>
                  <a:gd name="connsiteY12" fmla="*/ 206355 h 450195"/>
                  <a:gd name="connsiteX13" fmla="*/ 328603 w 381314"/>
                  <a:gd name="connsiteY13" fmla="*/ 183495 h 450195"/>
                  <a:gd name="connsiteX14" fmla="*/ 366703 w 381314"/>
                  <a:gd name="connsiteY14" fmla="*/ 130155 h 450195"/>
                  <a:gd name="connsiteX15" fmla="*/ 374323 w 381314"/>
                  <a:gd name="connsiteY15" fmla="*/ 107295 h 450195"/>
                  <a:gd name="connsiteX16" fmla="*/ 256213 w 381314"/>
                  <a:gd name="connsiteY16" fmla="*/ 44430 h 450195"/>
                  <a:gd name="connsiteX17" fmla="*/ 183823 w 381314"/>
                  <a:gd name="connsiteY17" fmla="*/ 615 h 450195"/>
                  <a:gd name="connsiteX0" fmla="*/ 183823 w 381314"/>
                  <a:gd name="connsiteY0" fmla="*/ 615 h 452239"/>
                  <a:gd name="connsiteX1" fmla="*/ 138103 w 381314"/>
                  <a:gd name="connsiteY1" fmla="*/ 76815 h 452239"/>
                  <a:gd name="connsiteX2" fmla="*/ 46663 w 381314"/>
                  <a:gd name="connsiteY2" fmla="*/ 183495 h 452239"/>
                  <a:gd name="connsiteX3" fmla="*/ 31423 w 381314"/>
                  <a:gd name="connsiteY3" fmla="*/ 206355 h 452239"/>
                  <a:gd name="connsiteX4" fmla="*/ 16183 w 381314"/>
                  <a:gd name="connsiteY4" fmla="*/ 267315 h 452239"/>
                  <a:gd name="connsiteX5" fmla="*/ 2848 w 381314"/>
                  <a:gd name="connsiteY5" fmla="*/ 328275 h 452239"/>
                  <a:gd name="connsiteX6" fmla="*/ 160963 w 381314"/>
                  <a:gd name="connsiteY6" fmla="*/ 442575 h 452239"/>
                  <a:gd name="connsiteX7" fmla="*/ 191443 w 381314"/>
                  <a:gd name="connsiteY7" fmla="*/ 450195 h 452239"/>
                  <a:gd name="connsiteX8" fmla="*/ 214303 w 381314"/>
                  <a:gd name="connsiteY8" fmla="*/ 442575 h 452239"/>
                  <a:gd name="connsiteX9" fmla="*/ 252403 w 381314"/>
                  <a:gd name="connsiteY9" fmla="*/ 343515 h 452239"/>
                  <a:gd name="connsiteX10" fmla="*/ 290503 w 381314"/>
                  <a:gd name="connsiteY10" fmla="*/ 267315 h 452239"/>
                  <a:gd name="connsiteX11" fmla="*/ 320983 w 381314"/>
                  <a:gd name="connsiteY11" fmla="*/ 206355 h 452239"/>
                  <a:gd name="connsiteX12" fmla="*/ 328603 w 381314"/>
                  <a:gd name="connsiteY12" fmla="*/ 183495 h 452239"/>
                  <a:gd name="connsiteX13" fmla="*/ 366703 w 381314"/>
                  <a:gd name="connsiteY13" fmla="*/ 130155 h 452239"/>
                  <a:gd name="connsiteX14" fmla="*/ 374323 w 381314"/>
                  <a:gd name="connsiteY14" fmla="*/ 107295 h 452239"/>
                  <a:gd name="connsiteX15" fmla="*/ 256213 w 381314"/>
                  <a:gd name="connsiteY15" fmla="*/ 44430 h 452239"/>
                  <a:gd name="connsiteX16" fmla="*/ 183823 w 381314"/>
                  <a:gd name="connsiteY16" fmla="*/ 615 h 452239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14303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38116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91920 w 389411"/>
                  <a:gd name="connsiteY0" fmla="*/ 615 h 457714"/>
                  <a:gd name="connsiteX1" fmla="*/ 146200 w 389411"/>
                  <a:gd name="connsiteY1" fmla="*/ 76815 h 457714"/>
                  <a:gd name="connsiteX2" fmla="*/ 54760 w 389411"/>
                  <a:gd name="connsiteY2" fmla="*/ 183495 h 457714"/>
                  <a:gd name="connsiteX3" fmla="*/ 39520 w 389411"/>
                  <a:gd name="connsiteY3" fmla="*/ 206355 h 457714"/>
                  <a:gd name="connsiteX4" fmla="*/ 9992 w 389411"/>
                  <a:gd name="connsiteY4" fmla="*/ 267315 h 457714"/>
                  <a:gd name="connsiteX5" fmla="*/ 10945 w 389411"/>
                  <a:gd name="connsiteY5" fmla="*/ 328275 h 457714"/>
                  <a:gd name="connsiteX6" fmla="*/ 169060 w 389411"/>
                  <a:gd name="connsiteY6" fmla="*/ 442575 h 457714"/>
                  <a:gd name="connsiteX7" fmla="*/ 199540 w 389411"/>
                  <a:gd name="connsiteY7" fmla="*/ 450195 h 457714"/>
                  <a:gd name="connsiteX8" fmla="*/ 246213 w 389411"/>
                  <a:gd name="connsiteY8" fmla="*/ 442575 h 457714"/>
                  <a:gd name="connsiteX9" fmla="*/ 298600 w 389411"/>
                  <a:gd name="connsiteY9" fmla="*/ 267315 h 457714"/>
                  <a:gd name="connsiteX10" fmla="*/ 329080 w 389411"/>
                  <a:gd name="connsiteY10" fmla="*/ 206355 h 457714"/>
                  <a:gd name="connsiteX11" fmla="*/ 336700 w 389411"/>
                  <a:gd name="connsiteY11" fmla="*/ 183495 h 457714"/>
                  <a:gd name="connsiteX12" fmla="*/ 374800 w 389411"/>
                  <a:gd name="connsiteY12" fmla="*/ 130155 h 457714"/>
                  <a:gd name="connsiteX13" fmla="*/ 382420 w 389411"/>
                  <a:gd name="connsiteY13" fmla="*/ 107295 h 457714"/>
                  <a:gd name="connsiteX14" fmla="*/ 264310 w 389411"/>
                  <a:gd name="connsiteY14" fmla="*/ 44430 h 457714"/>
                  <a:gd name="connsiteX15" fmla="*/ 191920 w 389411"/>
                  <a:gd name="connsiteY15" fmla="*/ 615 h 457714"/>
                  <a:gd name="connsiteX0" fmla="*/ 199540 w 389411"/>
                  <a:gd name="connsiteY0" fmla="*/ 450195 h 541635"/>
                  <a:gd name="connsiteX1" fmla="*/ 246213 w 389411"/>
                  <a:gd name="connsiteY1" fmla="*/ 442575 h 541635"/>
                  <a:gd name="connsiteX2" fmla="*/ 298600 w 389411"/>
                  <a:gd name="connsiteY2" fmla="*/ 267315 h 541635"/>
                  <a:gd name="connsiteX3" fmla="*/ 329080 w 389411"/>
                  <a:gd name="connsiteY3" fmla="*/ 206355 h 541635"/>
                  <a:gd name="connsiteX4" fmla="*/ 336700 w 389411"/>
                  <a:gd name="connsiteY4" fmla="*/ 183495 h 541635"/>
                  <a:gd name="connsiteX5" fmla="*/ 374800 w 389411"/>
                  <a:gd name="connsiteY5" fmla="*/ 130155 h 541635"/>
                  <a:gd name="connsiteX6" fmla="*/ 382420 w 389411"/>
                  <a:gd name="connsiteY6" fmla="*/ 107295 h 541635"/>
                  <a:gd name="connsiteX7" fmla="*/ 264310 w 389411"/>
                  <a:gd name="connsiteY7" fmla="*/ 44430 h 541635"/>
                  <a:gd name="connsiteX8" fmla="*/ 191920 w 389411"/>
                  <a:gd name="connsiteY8" fmla="*/ 615 h 541635"/>
                  <a:gd name="connsiteX9" fmla="*/ 146200 w 389411"/>
                  <a:gd name="connsiteY9" fmla="*/ 76815 h 541635"/>
                  <a:gd name="connsiteX10" fmla="*/ 54760 w 389411"/>
                  <a:gd name="connsiteY10" fmla="*/ 183495 h 541635"/>
                  <a:gd name="connsiteX11" fmla="*/ 39520 w 389411"/>
                  <a:gd name="connsiteY11" fmla="*/ 206355 h 541635"/>
                  <a:gd name="connsiteX12" fmla="*/ 9992 w 389411"/>
                  <a:gd name="connsiteY12" fmla="*/ 267315 h 541635"/>
                  <a:gd name="connsiteX13" fmla="*/ 10945 w 389411"/>
                  <a:gd name="connsiteY13" fmla="*/ 328275 h 541635"/>
                  <a:gd name="connsiteX14" fmla="*/ 169060 w 389411"/>
                  <a:gd name="connsiteY14" fmla="*/ 442575 h 541635"/>
                  <a:gd name="connsiteX15" fmla="*/ 290980 w 389411"/>
                  <a:gd name="connsiteY15" fmla="*/ 541635 h 541635"/>
                  <a:gd name="connsiteX0" fmla="*/ 199540 w 389411"/>
                  <a:gd name="connsiteY0" fmla="*/ 450195 h 457714"/>
                  <a:gd name="connsiteX1" fmla="*/ 246213 w 389411"/>
                  <a:gd name="connsiteY1" fmla="*/ 442575 h 457714"/>
                  <a:gd name="connsiteX2" fmla="*/ 298600 w 389411"/>
                  <a:gd name="connsiteY2" fmla="*/ 267315 h 457714"/>
                  <a:gd name="connsiteX3" fmla="*/ 329080 w 389411"/>
                  <a:gd name="connsiteY3" fmla="*/ 206355 h 457714"/>
                  <a:gd name="connsiteX4" fmla="*/ 336700 w 389411"/>
                  <a:gd name="connsiteY4" fmla="*/ 183495 h 457714"/>
                  <a:gd name="connsiteX5" fmla="*/ 374800 w 389411"/>
                  <a:gd name="connsiteY5" fmla="*/ 130155 h 457714"/>
                  <a:gd name="connsiteX6" fmla="*/ 382420 w 389411"/>
                  <a:gd name="connsiteY6" fmla="*/ 107295 h 457714"/>
                  <a:gd name="connsiteX7" fmla="*/ 264310 w 389411"/>
                  <a:gd name="connsiteY7" fmla="*/ 44430 h 457714"/>
                  <a:gd name="connsiteX8" fmla="*/ 191920 w 389411"/>
                  <a:gd name="connsiteY8" fmla="*/ 615 h 457714"/>
                  <a:gd name="connsiteX9" fmla="*/ 146200 w 389411"/>
                  <a:gd name="connsiteY9" fmla="*/ 76815 h 457714"/>
                  <a:gd name="connsiteX10" fmla="*/ 54760 w 389411"/>
                  <a:gd name="connsiteY10" fmla="*/ 183495 h 457714"/>
                  <a:gd name="connsiteX11" fmla="*/ 39520 w 389411"/>
                  <a:gd name="connsiteY11" fmla="*/ 206355 h 457714"/>
                  <a:gd name="connsiteX12" fmla="*/ 9992 w 389411"/>
                  <a:gd name="connsiteY12" fmla="*/ 267315 h 457714"/>
                  <a:gd name="connsiteX13" fmla="*/ 10945 w 389411"/>
                  <a:gd name="connsiteY13" fmla="*/ 328275 h 457714"/>
                  <a:gd name="connsiteX14" fmla="*/ 169060 w 389411"/>
                  <a:gd name="connsiteY14" fmla="*/ 442575 h 457714"/>
                  <a:gd name="connsiteX0" fmla="*/ 199540 w 389411"/>
                  <a:gd name="connsiteY0" fmla="*/ 450195 h 450195"/>
                  <a:gd name="connsiteX1" fmla="*/ 298600 w 389411"/>
                  <a:gd name="connsiteY1" fmla="*/ 267315 h 450195"/>
                  <a:gd name="connsiteX2" fmla="*/ 329080 w 389411"/>
                  <a:gd name="connsiteY2" fmla="*/ 206355 h 450195"/>
                  <a:gd name="connsiteX3" fmla="*/ 336700 w 389411"/>
                  <a:gd name="connsiteY3" fmla="*/ 183495 h 450195"/>
                  <a:gd name="connsiteX4" fmla="*/ 374800 w 389411"/>
                  <a:gd name="connsiteY4" fmla="*/ 130155 h 450195"/>
                  <a:gd name="connsiteX5" fmla="*/ 382420 w 389411"/>
                  <a:gd name="connsiteY5" fmla="*/ 107295 h 450195"/>
                  <a:gd name="connsiteX6" fmla="*/ 264310 w 389411"/>
                  <a:gd name="connsiteY6" fmla="*/ 44430 h 450195"/>
                  <a:gd name="connsiteX7" fmla="*/ 191920 w 389411"/>
                  <a:gd name="connsiteY7" fmla="*/ 615 h 450195"/>
                  <a:gd name="connsiteX8" fmla="*/ 146200 w 389411"/>
                  <a:gd name="connsiteY8" fmla="*/ 76815 h 450195"/>
                  <a:gd name="connsiteX9" fmla="*/ 54760 w 389411"/>
                  <a:gd name="connsiteY9" fmla="*/ 183495 h 450195"/>
                  <a:gd name="connsiteX10" fmla="*/ 39520 w 389411"/>
                  <a:gd name="connsiteY10" fmla="*/ 206355 h 450195"/>
                  <a:gd name="connsiteX11" fmla="*/ 9992 w 389411"/>
                  <a:gd name="connsiteY11" fmla="*/ 267315 h 450195"/>
                  <a:gd name="connsiteX12" fmla="*/ 10945 w 389411"/>
                  <a:gd name="connsiteY12" fmla="*/ 328275 h 450195"/>
                  <a:gd name="connsiteX13" fmla="*/ 169060 w 389411"/>
                  <a:gd name="connsiteY13" fmla="*/ 442575 h 450195"/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46" name="Freeform: Shape 50">
                <a:extLst>
                  <a:ext uri="{FF2B5EF4-FFF2-40B4-BE49-F238E27FC236}">
                    <a16:creationId xmlns:a16="http://schemas.microsoft.com/office/drawing/2014/main" id="{7471C858-C3B7-D75B-3442-E5A56DA2A493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52400 w 320040"/>
                  <a:gd name="connsiteY22" fmla="*/ 53502 h 365922"/>
                  <a:gd name="connsiteX23" fmla="*/ 114300 w 320040"/>
                  <a:gd name="connsiteY23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14300 w 320040"/>
                  <a:gd name="connsiteY22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22860 w 320040"/>
                  <a:gd name="connsiteY5" fmla="*/ 183042 h 365922"/>
                  <a:gd name="connsiteX6" fmla="*/ 15240 w 320040"/>
                  <a:gd name="connsiteY6" fmla="*/ 221142 h 365922"/>
                  <a:gd name="connsiteX7" fmla="*/ 0 w 320040"/>
                  <a:gd name="connsiteY7" fmla="*/ 251622 h 365922"/>
                  <a:gd name="connsiteX8" fmla="*/ 7620 w 320040"/>
                  <a:gd name="connsiteY8" fmla="*/ 304962 h 365922"/>
                  <a:gd name="connsiteX9" fmla="*/ 15240 w 320040"/>
                  <a:gd name="connsiteY9" fmla="*/ 327822 h 365922"/>
                  <a:gd name="connsiteX10" fmla="*/ 45720 w 320040"/>
                  <a:gd name="connsiteY10" fmla="*/ 343062 h 365922"/>
                  <a:gd name="connsiteX11" fmla="*/ 144780 w 320040"/>
                  <a:gd name="connsiteY11" fmla="*/ 365922 h 365922"/>
                  <a:gd name="connsiteX12" fmla="*/ 205740 w 320040"/>
                  <a:gd name="connsiteY12" fmla="*/ 350682 h 365922"/>
                  <a:gd name="connsiteX13" fmla="*/ 220980 w 320040"/>
                  <a:gd name="connsiteY13" fmla="*/ 327822 h 365922"/>
                  <a:gd name="connsiteX14" fmla="*/ 243840 w 320040"/>
                  <a:gd name="connsiteY14" fmla="*/ 289722 h 365922"/>
                  <a:gd name="connsiteX15" fmla="*/ 266700 w 320040"/>
                  <a:gd name="connsiteY15" fmla="*/ 221142 h 365922"/>
                  <a:gd name="connsiteX16" fmla="*/ 289560 w 320040"/>
                  <a:gd name="connsiteY16" fmla="*/ 167802 h 365922"/>
                  <a:gd name="connsiteX17" fmla="*/ 304800 w 320040"/>
                  <a:gd name="connsiteY17" fmla="*/ 137322 h 365922"/>
                  <a:gd name="connsiteX18" fmla="*/ 312420 w 320040"/>
                  <a:gd name="connsiteY18" fmla="*/ 106842 h 365922"/>
                  <a:gd name="connsiteX19" fmla="*/ 320040 w 320040"/>
                  <a:gd name="connsiteY19" fmla="*/ 83982 h 365922"/>
                  <a:gd name="connsiteX20" fmla="*/ 266700 w 320040"/>
                  <a:gd name="connsiteY20" fmla="*/ 68742 h 365922"/>
                  <a:gd name="connsiteX21" fmla="*/ 114300 w 320040"/>
                  <a:gd name="connsiteY21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15240 w 320040"/>
                  <a:gd name="connsiteY5" fmla="*/ 221142 h 365922"/>
                  <a:gd name="connsiteX6" fmla="*/ 0 w 320040"/>
                  <a:gd name="connsiteY6" fmla="*/ 251622 h 365922"/>
                  <a:gd name="connsiteX7" fmla="*/ 7620 w 320040"/>
                  <a:gd name="connsiteY7" fmla="*/ 304962 h 365922"/>
                  <a:gd name="connsiteX8" fmla="*/ 15240 w 320040"/>
                  <a:gd name="connsiteY8" fmla="*/ 327822 h 365922"/>
                  <a:gd name="connsiteX9" fmla="*/ 45720 w 320040"/>
                  <a:gd name="connsiteY9" fmla="*/ 343062 h 365922"/>
                  <a:gd name="connsiteX10" fmla="*/ 144780 w 320040"/>
                  <a:gd name="connsiteY10" fmla="*/ 365922 h 365922"/>
                  <a:gd name="connsiteX11" fmla="*/ 205740 w 320040"/>
                  <a:gd name="connsiteY11" fmla="*/ 350682 h 365922"/>
                  <a:gd name="connsiteX12" fmla="*/ 220980 w 320040"/>
                  <a:gd name="connsiteY12" fmla="*/ 327822 h 365922"/>
                  <a:gd name="connsiteX13" fmla="*/ 243840 w 320040"/>
                  <a:gd name="connsiteY13" fmla="*/ 289722 h 365922"/>
                  <a:gd name="connsiteX14" fmla="*/ 266700 w 320040"/>
                  <a:gd name="connsiteY14" fmla="*/ 221142 h 365922"/>
                  <a:gd name="connsiteX15" fmla="*/ 289560 w 320040"/>
                  <a:gd name="connsiteY15" fmla="*/ 167802 h 365922"/>
                  <a:gd name="connsiteX16" fmla="*/ 304800 w 320040"/>
                  <a:gd name="connsiteY16" fmla="*/ 137322 h 365922"/>
                  <a:gd name="connsiteX17" fmla="*/ 312420 w 320040"/>
                  <a:gd name="connsiteY17" fmla="*/ 106842 h 365922"/>
                  <a:gd name="connsiteX18" fmla="*/ 320040 w 320040"/>
                  <a:gd name="connsiteY18" fmla="*/ 83982 h 365922"/>
                  <a:gd name="connsiteX19" fmla="*/ 266700 w 320040"/>
                  <a:gd name="connsiteY19" fmla="*/ 68742 h 365922"/>
                  <a:gd name="connsiteX20" fmla="*/ 114300 w 320040"/>
                  <a:gd name="connsiteY20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29528 w 320040"/>
                  <a:gd name="connsiteY4" fmla="*/ 211617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06698 w 312438"/>
                  <a:gd name="connsiteY0" fmla="*/ 162 h 365922"/>
                  <a:gd name="connsiteX1" fmla="*/ 91458 w 312438"/>
                  <a:gd name="connsiteY1" fmla="*/ 38262 h 365922"/>
                  <a:gd name="connsiteX2" fmla="*/ 83838 w 312438"/>
                  <a:gd name="connsiteY2" fmla="*/ 61122 h 365922"/>
                  <a:gd name="connsiteX3" fmla="*/ 68121 w 312438"/>
                  <a:gd name="connsiteY3" fmla="*/ 107794 h 365922"/>
                  <a:gd name="connsiteX4" fmla="*/ 21926 w 312438"/>
                  <a:gd name="connsiteY4" fmla="*/ 211617 h 365922"/>
                  <a:gd name="connsiteX5" fmla="*/ 9067 w 312438"/>
                  <a:gd name="connsiteY5" fmla="*/ 242097 h 365922"/>
                  <a:gd name="connsiteX6" fmla="*/ 18 w 312438"/>
                  <a:gd name="connsiteY6" fmla="*/ 304962 h 365922"/>
                  <a:gd name="connsiteX7" fmla="*/ 7638 w 312438"/>
                  <a:gd name="connsiteY7" fmla="*/ 327822 h 365922"/>
                  <a:gd name="connsiteX8" fmla="*/ 38118 w 312438"/>
                  <a:gd name="connsiteY8" fmla="*/ 343062 h 365922"/>
                  <a:gd name="connsiteX9" fmla="*/ 137178 w 312438"/>
                  <a:gd name="connsiteY9" fmla="*/ 365922 h 365922"/>
                  <a:gd name="connsiteX10" fmla="*/ 198138 w 312438"/>
                  <a:gd name="connsiteY10" fmla="*/ 350682 h 365922"/>
                  <a:gd name="connsiteX11" fmla="*/ 213378 w 312438"/>
                  <a:gd name="connsiteY11" fmla="*/ 327822 h 365922"/>
                  <a:gd name="connsiteX12" fmla="*/ 236238 w 312438"/>
                  <a:gd name="connsiteY12" fmla="*/ 289722 h 365922"/>
                  <a:gd name="connsiteX13" fmla="*/ 259098 w 312438"/>
                  <a:gd name="connsiteY13" fmla="*/ 221142 h 365922"/>
                  <a:gd name="connsiteX14" fmla="*/ 281958 w 312438"/>
                  <a:gd name="connsiteY14" fmla="*/ 167802 h 365922"/>
                  <a:gd name="connsiteX15" fmla="*/ 297198 w 312438"/>
                  <a:gd name="connsiteY15" fmla="*/ 137322 h 365922"/>
                  <a:gd name="connsiteX16" fmla="*/ 304818 w 312438"/>
                  <a:gd name="connsiteY16" fmla="*/ 106842 h 365922"/>
                  <a:gd name="connsiteX17" fmla="*/ 312438 w 312438"/>
                  <a:gd name="connsiteY17" fmla="*/ 83982 h 365922"/>
                  <a:gd name="connsiteX18" fmla="*/ 259098 w 312438"/>
                  <a:gd name="connsiteY18" fmla="*/ 68742 h 365922"/>
                  <a:gd name="connsiteX19" fmla="*/ 106698 w 312438"/>
                  <a:gd name="connsiteY19" fmla="*/ 162 h 365922"/>
                  <a:gd name="connsiteX0" fmla="*/ 107578 w 313318"/>
                  <a:gd name="connsiteY0" fmla="*/ 162 h 365922"/>
                  <a:gd name="connsiteX1" fmla="*/ 92338 w 313318"/>
                  <a:gd name="connsiteY1" fmla="*/ 38262 h 365922"/>
                  <a:gd name="connsiteX2" fmla="*/ 84718 w 313318"/>
                  <a:gd name="connsiteY2" fmla="*/ 61122 h 365922"/>
                  <a:gd name="connsiteX3" fmla="*/ 69001 w 313318"/>
                  <a:gd name="connsiteY3" fmla="*/ 107794 h 365922"/>
                  <a:gd name="connsiteX4" fmla="*/ 22806 w 313318"/>
                  <a:gd name="connsiteY4" fmla="*/ 211617 h 365922"/>
                  <a:gd name="connsiteX5" fmla="*/ 9947 w 313318"/>
                  <a:gd name="connsiteY5" fmla="*/ 242097 h 365922"/>
                  <a:gd name="connsiteX6" fmla="*/ 898 w 313318"/>
                  <a:gd name="connsiteY6" fmla="*/ 304962 h 365922"/>
                  <a:gd name="connsiteX7" fmla="*/ 38998 w 313318"/>
                  <a:gd name="connsiteY7" fmla="*/ 343062 h 365922"/>
                  <a:gd name="connsiteX8" fmla="*/ 138058 w 313318"/>
                  <a:gd name="connsiteY8" fmla="*/ 365922 h 365922"/>
                  <a:gd name="connsiteX9" fmla="*/ 199018 w 313318"/>
                  <a:gd name="connsiteY9" fmla="*/ 350682 h 365922"/>
                  <a:gd name="connsiteX10" fmla="*/ 214258 w 313318"/>
                  <a:gd name="connsiteY10" fmla="*/ 327822 h 365922"/>
                  <a:gd name="connsiteX11" fmla="*/ 237118 w 313318"/>
                  <a:gd name="connsiteY11" fmla="*/ 289722 h 365922"/>
                  <a:gd name="connsiteX12" fmla="*/ 259978 w 313318"/>
                  <a:gd name="connsiteY12" fmla="*/ 221142 h 365922"/>
                  <a:gd name="connsiteX13" fmla="*/ 282838 w 313318"/>
                  <a:gd name="connsiteY13" fmla="*/ 167802 h 365922"/>
                  <a:gd name="connsiteX14" fmla="*/ 298078 w 313318"/>
                  <a:gd name="connsiteY14" fmla="*/ 137322 h 365922"/>
                  <a:gd name="connsiteX15" fmla="*/ 305698 w 313318"/>
                  <a:gd name="connsiteY15" fmla="*/ 106842 h 365922"/>
                  <a:gd name="connsiteX16" fmla="*/ 313318 w 313318"/>
                  <a:gd name="connsiteY16" fmla="*/ 83982 h 365922"/>
                  <a:gd name="connsiteX17" fmla="*/ 259978 w 313318"/>
                  <a:gd name="connsiteY17" fmla="*/ 68742 h 365922"/>
                  <a:gd name="connsiteX18" fmla="*/ 107578 w 313318"/>
                  <a:gd name="connsiteY18" fmla="*/ 162 h 365922"/>
                  <a:gd name="connsiteX0" fmla="*/ 116808 w 322548"/>
                  <a:gd name="connsiteY0" fmla="*/ 162 h 365922"/>
                  <a:gd name="connsiteX1" fmla="*/ 101568 w 322548"/>
                  <a:gd name="connsiteY1" fmla="*/ 38262 h 365922"/>
                  <a:gd name="connsiteX2" fmla="*/ 93948 w 322548"/>
                  <a:gd name="connsiteY2" fmla="*/ 61122 h 365922"/>
                  <a:gd name="connsiteX3" fmla="*/ 78231 w 322548"/>
                  <a:gd name="connsiteY3" fmla="*/ 107794 h 365922"/>
                  <a:gd name="connsiteX4" fmla="*/ 32036 w 322548"/>
                  <a:gd name="connsiteY4" fmla="*/ 211617 h 365922"/>
                  <a:gd name="connsiteX5" fmla="*/ 19177 w 322548"/>
                  <a:gd name="connsiteY5" fmla="*/ 242097 h 365922"/>
                  <a:gd name="connsiteX6" fmla="*/ 603 w 322548"/>
                  <a:gd name="connsiteY6" fmla="*/ 290674 h 365922"/>
                  <a:gd name="connsiteX7" fmla="*/ 48228 w 322548"/>
                  <a:gd name="connsiteY7" fmla="*/ 343062 h 365922"/>
                  <a:gd name="connsiteX8" fmla="*/ 147288 w 322548"/>
                  <a:gd name="connsiteY8" fmla="*/ 365922 h 365922"/>
                  <a:gd name="connsiteX9" fmla="*/ 208248 w 322548"/>
                  <a:gd name="connsiteY9" fmla="*/ 350682 h 365922"/>
                  <a:gd name="connsiteX10" fmla="*/ 223488 w 322548"/>
                  <a:gd name="connsiteY10" fmla="*/ 327822 h 365922"/>
                  <a:gd name="connsiteX11" fmla="*/ 246348 w 322548"/>
                  <a:gd name="connsiteY11" fmla="*/ 289722 h 365922"/>
                  <a:gd name="connsiteX12" fmla="*/ 269208 w 322548"/>
                  <a:gd name="connsiteY12" fmla="*/ 221142 h 365922"/>
                  <a:gd name="connsiteX13" fmla="*/ 292068 w 322548"/>
                  <a:gd name="connsiteY13" fmla="*/ 167802 h 365922"/>
                  <a:gd name="connsiteX14" fmla="*/ 307308 w 322548"/>
                  <a:gd name="connsiteY14" fmla="*/ 137322 h 365922"/>
                  <a:gd name="connsiteX15" fmla="*/ 314928 w 322548"/>
                  <a:gd name="connsiteY15" fmla="*/ 106842 h 365922"/>
                  <a:gd name="connsiteX16" fmla="*/ 322548 w 322548"/>
                  <a:gd name="connsiteY16" fmla="*/ 83982 h 365922"/>
                  <a:gd name="connsiteX17" fmla="*/ 269208 w 322548"/>
                  <a:gd name="connsiteY17" fmla="*/ 68742 h 365922"/>
                  <a:gd name="connsiteX18" fmla="*/ 116808 w 322548"/>
                  <a:gd name="connsiteY18" fmla="*/ 162 h 365922"/>
                  <a:gd name="connsiteX0" fmla="*/ 122229 w 327969"/>
                  <a:gd name="connsiteY0" fmla="*/ 162 h 365922"/>
                  <a:gd name="connsiteX1" fmla="*/ 106989 w 327969"/>
                  <a:gd name="connsiteY1" fmla="*/ 38262 h 365922"/>
                  <a:gd name="connsiteX2" fmla="*/ 99369 w 327969"/>
                  <a:gd name="connsiteY2" fmla="*/ 61122 h 365922"/>
                  <a:gd name="connsiteX3" fmla="*/ 83652 w 327969"/>
                  <a:gd name="connsiteY3" fmla="*/ 107794 h 365922"/>
                  <a:gd name="connsiteX4" fmla="*/ 37457 w 327969"/>
                  <a:gd name="connsiteY4" fmla="*/ 211617 h 365922"/>
                  <a:gd name="connsiteX5" fmla="*/ 24598 w 327969"/>
                  <a:gd name="connsiteY5" fmla="*/ 242097 h 365922"/>
                  <a:gd name="connsiteX6" fmla="*/ 6024 w 327969"/>
                  <a:gd name="connsiteY6" fmla="*/ 290674 h 365922"/>
                  <a:gd name="connsiteX7" fmla="*/ 152709 w 327969"/>
                  <a:gd name="connsiteY7" fmla="*/ 365922 h 365922"/>
                  <a:gd name="connsiteX8" fmla="*/ 213669 w 327969"/>
                  <a:gd name="connsiteY8" fmla="*/ 350682 h 365922"/>
                  <a:gd name="connsiteX9" fmla="*/ 228909 w 327969"/>
                  <a:gd name="connsiteY9" fmla="*/ 327822 h 365922"/>
                  <a:gd name="connsiteX10" fmla="*/ 251769 w 327969"/>
                  <a:gd name="connsiteY10" fmla="*/ 289722 h 365922"/>
                  <a:gd name="connsiteX11" fmla="*/ 274629 w 327969"/>
                  <a:gd name="connsiteY11" fmla="*/ 221142 h 365922"/>
                  <a:gd name="connsiteX12" fmla="*/ 297489 w 327969"/>
                  <a:gd name="connsiteY12" fmla="*/ 167802 h 365922"/>
                  <a:gd name="connsiteX13" fmla="*/ 312729 w 327969"/>
                  <a:gd name="connsiteY13" fmla="*/ 137322 h 365922"/>
                  <a:gd name="connsiteX14" fmla="*/ 320349 w 327969"/>
                  <a:gd name="connsiteY14" fmla="*/ 106842 h 365922"/>
                  <a:gd name="connsiteX15" fmla="*/ 327969 w 327969"/>
                  <a:gd name="connsiteY15" fmla="*/ 83982 h 365922"/>
                  <a:gd name="connsiteX16" fmla="*/ 274629 w 327969"/>
                  <a:gd name="connsiteY16" fmla="*/ 68742 h 365922"/>
                  <a:gd name="connsiteX17" fmla="*/ 122229 w 327969"/>
                  <a:gd name="connsiteY17" fmla="*/ 162 h 365922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30941 w 330001"/>
                  <a:gd name="connsiteY9" fmla="*/ 327822 h 368304"/>
                  <a:gd name="connsiteX10" fmla="*/ 253801 w 330001"/>
                  <a:gd name="connsiteY10" fmla="*/ 289722 h 368304"/>
                  <a:gd name="connsiteX11" fmla="*/ 276661 w 330001"/>
                  <a:gd name="connsiteY11" fmla="*/ 221142 h 368304"/>
                  <a:gd name="connsiteX12" fmla="*/ 299521 w 330001"/>
                  <a:gd name="connsiteY12" fmla="*/ 167802 h 368304"/>
                  <a:gd name="connsiteX13" fmla="*/ 314761 w 330001"/>
                  <a:gd name="connsiteY13" fmla="*/ 137322 h 368304"/>
                  <a:gd name="connsiteX14" fmla="*/ 322381 w 330001"/>
                  <a:gd name="connsiteY14" fmla="*/ 106842 h 368304"/>
                  <a:gd name="connsiteX15" fmla="*/ 330001 w 330001"/>
                  <a:gd name="connsiteY15" fmla="*/ 83982 h 368304"/>
                  <a:gd name="connsiteX16" fmla="*/ 276661 w 330001"/>
                  <a:gd name="connsiteY16" fmla="*/ 68742 h 368304"/>
                  <a:gd name="connsiteX17" fmla="*/ 124261 w 330001"/>
                  <a:gd name="connsiteY17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76661 w 330001"/>
                  <a:gd name="connsiteY10" fmla="*/ 221142 h 368304"/>
                  <a:gd name="connsiteX11" fmla="*/ 299521 w 330001"/>
                  <a:gd name="connsiteY11" fmla="*/ 167802 h 368304"/>
                  <a:gd name="connsiteX12" fmla="*/ 314761 w 330001"/>
                  <a:gd name="connsiteY12" fmla="*/ 137322 h 368304"/>
                  <a:gd name="connsiteX13" fmla="*/ 322381 w 330001"/>
                  <a:gd name="connsiteY13" fmla="*/ 106842 h 368304"/>
                  <a:gd name="connsiteX14" fmla="*/ 330001 w 330001"/>
                  <a:gd name="connsiteY14" fmla="*/ 83982 h 368304"/>
                  <a:gd name="connsiteX15" fmla="*/ 276661 w 330001"/>
                  <a:gd name="connsiteY15" fmla="*/ 68742 h 368304"/>
                  <a:gd name="connsiteX16" fmla="*/ 124261 w 330001"/>
                  <a:gd name="connsiteY16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99521 w 330001"/>
                  <a:gd name="connsiteY10" fmla="*/ 167802 h 368304"/>
                  <a:gd name="connsiteX11" fmla="*/ 314761 w 330001"/>
                  <a:gd name="connsiteY11" fmla="*/ 137322 h 368304"/>
                  <a:gd name="connsiteX12" fmla="*/ 322381 w 330001"/>
                  <a:gd name="connsiteY12" fmla="*/ 106842 h 368304"/>
                  <a:gd name="connsiteX13" fmla="*/ 330001 w 330001"/>
                  <a:gd name="connsiteY13" fmla="*/ 83982 h 368304"/>
                  <a:gd name="connsiteX14" fmla="*/ 276661 w 330001"/>
                  <a:gd name="connsiteY14" fmla="*/ 68742 h 368304"/>
                  <a:gd name="connsiteX15" fmla="*/ 124261 w 330001"/>
                  <a:gd name="connsiteY15" fmla="*/ 162 h 368304"/>
                  <a:gd name="connsiteX0" fmla="*/ 124261 w 368101"/>
                  <a:gd name="connsiteY0" fmla="*/ 162 h 368304"/>
                  <a:gd name="connsiteX1" fmla="*/ 109021 w 368101"/>
                  <a:gd name="connsiteY1" fmla="*/ 38262 h 368304"/>
                  <a:gd name="connsiteX2" fmla="*/ 101401 w 368101"/>
                  <a:gd name="connsiteY2" fmla="*/ 61122 h 368304"/>
                  <a:gd name="connsiteX3" fmla="*/ 85684 w 368101"/>
                  <a:gd name="connsiteY3" fmla="*/ 107794 h 368304"/>
                  <a:gd name="connsiteX4" fmla="*/ 39489 w 368101"/>
                  <a:gd name="connsiteY4" fmla="*/ 211617 h 368304"/>
                  <a:gd name="connsiteX5" fmla="*/ 26630 w 368101"/>
                  <a:gd name="connsiteY5" fmla="*/ 242097 h 368304"/>
                  <a:gd name="connsiteX6" fmla="*/ 8056 w 368101"/>
                  <a:gd name="connsiteY6" fmla="*/ 290674 h 368304"/>
                  <a:gd name="connsiteX7" fmla="*/ 185697 w 368101"/>
                  <a:gd name="connsiteY7" fmla="*/ 368304 h 368304"/>
                  <a:gd name="connsiteX8" fmla="*/ 215701 w 368101"/>
                  <a:gd name="connsiteY8" fmla="*/ 350682 h 368304"/>
                  <a:gd name="connsiteX9" fmla="*/ 253801 w 368101"/>
                  <a:gd name="connsiteY9" fmla="*/ 289722 h 368304"/>
                  <a:gd name="connsiteX10" fmla="*/ 299521 w 368101"/>
                  <a:gd name="connsiteY10" fmla="*/ 167802 h 368304"/>
                  <a:gd name="connsiteX11" fmla="*/ 314761 w 368101"/>
                  <a:gd name="connsiteY11" fmla="*/ 137322 h 368304"/>
                  <a:gd name="connsiteX12" fmla="*/ 322381 w 368101"/>
                  <a:gd name="connsiteY12" fmla="*/ 106842 h 368304"/>
                  <a:gd name="connsiteX13" fmla="*/ 368101 w 368101"/>
                  <a:gd name="connsiteY13" fmla="*/ 105414 h 368304"/>
                  <a:gd name="connsiteX14" fmla="*/ 276661 w 368101"/>
                  <a:gd name="connsiteY14" fmla="*/ 68742 h 368304"/>
                  <a:gd name="connsiteX15" fmla="*/ 124261 w 368101"/>
                  <a:gd name="connsiteY15" fmla="*/ 162 h 368304"/>
                  <a:gd name="connsiteX0" fmla="*/ 124261 w 368674"/>
                  <a:gd name="connsiteY0" fmla="*/ 162 h 368304"/>
                  <a:gd name="connsiteX1" fmla="*/ 109021 w 368674"/>
                  <a:gd name="connsiteY1" fmla="*/ 38262 h 368304"/>
                  <a:gd name="connsiteX2" fmla="*/ 101401 w 368674"/>
                  <a:gd name="connsiteY2" fmla="*/ 61122 h 368304"/>
                  <a:gd name="connsiteX3" fmla="*/ 85684 w 368674"/>
                  <a:gd name="connsiteY3" fmla="*/ 107794 h 368304"/>
                  <a:gd name="connsiteX4" fmla="*/ 39489 w 368674"/>
                  <a:gd name="connsiteY4" fmla="*/ 211617 h 368304"/>
                  <a:gd name="connsiteX5" fmla="*/ 26630 w 368674"/>
                  <a:gd name="connsiteY5" fmla="*/ 242097 h 368304"/>
                  <a:gd name="connsiteX6" fmla="*/ 8056 w 368674"/>
                  <a:gd name="connsiteY6" fmla="*/ 290674 h 368304"/>
                  <a:gd name="connsiteX7" fmla="*/ 185697 w 368674"/>
                  <a:gd name="connsiteY7" fmla="*/ 368304 h 368304"/>
                  <a:gd name="connsiteX8" fmla="*/ 215701 w 368674"/>
                  <a:gd name="connsiteY8" fmla="*/ 350682 h 368304"/>
                  <a:gd name="connsiteX9" fmla="*/ 253801 w 368674"/>
                  <a:gd name="connsiteY9" fmla="*/ 289722 h 368304"/>
                  <a:gd name="connsiteX10" fmla="*/ 299521 w 368674"/>
                  <a:gd name="connsiteY10" fmla="*/ 167802 h 368304"/>
                  <a:gd name="connsiteX11" fmla="*/ 314761 w 368674"/>
                  <a:gd name="connsiteY11" fmla="*/ 137322 h 368304"/>
                  <a:gd name="connsiteX12" fmla="*/ 368101 w 368674"/>
                  <a:gd name="connsiteY12" fmla="*/ 105414 h 368304"/>
                  <a:gd name="connsiteX13" fmla="*/ 276661 w 368674"/>
                  <a:gd name="connsiteY13" fmla="*/ 68742 h 368304"/>
                  <a:gd name="connsiteX14" fmla="*/ 124261 w 368674"/>
                  <a:gd name="connsiteY14" fmla="*/ 162 h 368304"/>
                  <a:gd name="connsiteX0" fmla="*/ 124261 w 368295"/>
                  <a:gd name="connsiteY0" fmla="*/ 162 h 368304"/>
                  <a:gd name="connsiteX1" fmla="*/ 109021 w 368295"/>
                  <a:gd name="connsiteY1" fmla="*/ 38262 h 368304"/>
                  <a:gd name="connsiteX2" fmla="*/ 101401 w 368295"/>
                  <a:gd name="connsiteY2" fmla="*/ 61122 h 368304"/>
                  <a:gd name="connsiteX3" fmla="*/ 85684 w 368295"/>
                  <a:gd name="connsiteY3" fmla="*/ 107794 h 368304"/>
                  <a:gd name="connsiteX4" fmla="*/ 39489 w 368295"/>
                  <a:gd name="connsiteY4" fmla="*/ 211617 h 368304"/>
                  <a:gd name="connsiteX5" fmla="*/ 26630 w 368295"/>
                  <a:gd name="connsiteY5" fmla="*/ 242097 h 368304"/>
                  <a:gd name="connsiteX6" fmla="*/ 8056 w 368295"/>
                  <a:gd name="connsiteY6" fmla="*/ 290674 h 368304"/>
                  <a:gd name="connsiteX7" fmla="*/ 185697 w 368295"/>
                  <a:gd name="connsiteY7" fmla="*/ 368304 h 368304"/>
                  <a:gd name="connsiteX8" fmla="*/ 215701 w 368295"/>
                  <a:gd name="connsiteY8" fmla="*/ 350682 h 368304"/>
                  <a:gd name="connsiteX9" fmla="*/ 253801 w 368295"/>
                  <a:gd name="connsiteY9" fmla="*/ 289722 h 368304"/>
                  <a:gd name="connsiteX10" fmla="*/ 299521 w 368295"/>
                  <a:gd name="connsiteY10" fmla="*/ 167802 h 368304"/>
                  <a:gd name="connsiteX11" fmla="*/ 368101 w 368295"/>
                  <a:gd name="connsiteY11" fmla="*/ 105414 h 368304"/>
                  <a:gd name="connsiteX12" fmla="*/ 276661 w 368295"/>
                  <a:gd name="connsiteY12" fmla="*/ 68742 h 368304"/>
                  <a:gd name="connsiteX13" fmla="*/ 124261 w 368295"/>
                  <a:gd name="connsiteY13" fmla="*/ 162 h 368304"/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57" name="Freeform: Shape 51">
                <a:extLst>
                  <a:ext uri="{FF2B5EF4-FFF2-40B4-BE49-F238E27FC236}">
                    <a16:creationId xmlns:a16="http://schemas.microsoft.com/office/drawing/2014/main" id="{21A8FE67-8AFA-BA78-A642-121CFA86FDD4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58" name="Freeform: Shape 53">
                <a:extLst>
                  <a:ext uri="{FF2B5EF4-FFF2-40B4-BE49-F238E27FC236}">
                    <a16:creationId xmlns:a16="http://schemas.microsoft.com/office/drawing/2014/main" id="{0E4ACE50-81FB-7DDA-4A32-AC25B9B712DB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28711 w 2392706"/>
                  <a:gd name="connsiteY0" fmla="*/ 30480 h 655320"/>
                  <a:gd name="connsiteX1" fmla="*/ 1074431 w 2392706"/>
                  <a:gd name="connsiteY1" fmla="*/ 15240 h 655320"/>
                  <a:gd name="connsiteX2" fmla="*/ 1219211 w 2392706"/>
                  <a:gd name="connsiteY2" fmla="*/ 0 h 655320"/>
                  <a:gd name="connsiteX3" fmla="*/ 1539251 w 2392706"/>
                  <a:gd name="connsiteY3" fmla="*/ 7620 h 655320"/>
                  <a:gd name="connsiteX4" fmla="*/ 1592591 w 2392706"/>
                  <a:gd name="connsiteY4" fmla="*/ 22860 h 655320"/>
                  <a:gd name="connsiteX5" fmla="*/ 1668791 w 2392706"/>
                  <a:gd name="connsiteY5" fmla="*/ 30480 h 655320"/>
                  <a:gd name="connsiteX6" fmla="*/ 1752611 w 2392706"/>
                  <a:gd name="connsiteY6" fmla="*/ 53340 h 655320"/>
                  <a:gd name="connsiteX7" fmla="*/ 1783091 w 2392706"/>
                  <a:gd name="connsiteY7" fmla="*/ 68580 h 655320"/>
                  <a:gd name="connsiteX8" fmla="*/ 1866911 w 2392706"/>
                  <a:gd name="connsiteY8" fmla="*/ 76200 h 655320"/>
                  <a:gd name="connsiteX9" fmla="*/ 2049791 w 2392706"/>
                  <a:gd name="connsiteY9" fmla="*/ 99060 h 655320"/>
                  <a:gd name="connsiteX10" fmla="*/ 2125991 w 2392706"/>
                  <a:gd name="connsiteY10" fmla="*/ 129540 h 655320"/>
                  <a:gd name="connsiteX11" fmla="*/ 2186951 w 2392706"/>
                  <a:gd name="connsiteY11" fmla="*/ 152400 h 655320"/>
                  <a:gd name="connsiteX12" fmla="*/ 2225051 w 2392706"/>
                  <a:gd name="connsiteY12" fmla="*/ 175260 h 655320"/>
                  <a:gd name="connsiteX13" fmla="*/ 2263151 w 2392706"/>
                  <a:gd name="connsiteY13" fmla="*/ 190500 h 655320"/>
                  <a:gd name="connsiteX14" fmla="*/ 2293631 w 2392706"/>
                  <a:gd name="connsiteY14" fmla="*/ 205740 h 655320"/>
                  <a:gd name="connsiteX15" fmla="*/ 2369831 w 2392706"/>
                  <a:gd name="connsiteY15" fmla="*/ 243840 h 655320"/>
                  <a:gd name="connsiteX16" fmla="*/ 2392691 w 2392706"/>
                  <a:gd name="connsiteY16" fmla="*/ 289560 h 655320"/>
                  <a:gd name="connsiteX17" fmla="*/ 2369831 w 2392706"/>
                  <a:gd name="connsiteY17" fmla="*/ 403860 h 655320"/>
                  <a:gd name="connsiteX18" fmla="*/ 2286011 w 2392706"/>
                  <a:gd name="connsiteY18" fmla="*/ 457200 h 655320"/>
                  <a:gd name="connsiteX19" fmla="*/ 2247911 w 2392706"/>
                  <a:gd name="connsiteY19" fmla="*/ 480060 h 655320"/>
                  <a:gd name="connsiteX20" fmla="*/ 2217431 w 2392706"/>
                  <a:gd name="connsiteY20" fmla="*/ 487680 h 655320"/>
                  <a:gd name="connsiteX21" fmla="*/ 2171711 w 2392706"/>
                  <a:gd name="connsiteY21" fmla="*/ 510540 h 655320"/>
                  <a:gd name="connsiteX22" fmla="*/ 2141231 w 2392706"/>
                  <a:gd name="connsiteY22" fmla="*/ 518160 h 655320"/>
                  <a:gd name="connsiteX23" fmla="*/ 2110751 w 2392706"/>
                  <a:gd name="connsiteY23" fmla="*/ 533400 h 655320"/>
                  <a:gd name="connsiteX24" fmla="*/ 2087891 w 2392706"/>
                  <a:gd name="connsiteY24" fmla="*/ 548640 h 655320"/>
                  <a:gd name="connsiteX25" fmla="*/ 2034551 w 2392706"/>
                  <a:gd name="connsiteY25" fmla="*/ 563880 h 655320"/>
                  <a:gd name="connsiteX26" fmla="*/ 2011691 w 2392706"/>
                  <a:gd name="connsiteY26" fmla="*/ 579120 h 655320"/>
                  <a:gd name="connsiteX27" fmla="*/ 1882151 w 2392706"/>
                  <a:gd name="connsiteY27" fmla="*/ 609600 h 655320"/>
                  <a:gd name="connsiteX28" fmla="*/ 1805951 w 2392706"/>
                  <a:gd name="connsiteY28" fmla="*/ 624840 h 655320"/>
                  <a:gd name="connsiteX29" fmla="*/ 1386851 w 2392706"/>
                  <a:gd name="connsiteY29" fmla="*/ 647700 h 655320"/>
                  <a:gd name="connsiteX30" fmla="*/ 1272551 w 2392706"/>
                  <a:gd name="connsiteY30" fmla="*/ 655320 h 655320"/>
                  <a:gd name="connsiteX31" fmla="*/ 937271 w 2392706"/>
                  <a:gd name="connsiteY31" fmla="*/ 640080 h 655320"/>
                  <a:gd name="connsiteX32" fmla="*/ 868691 w 2392706"/>
                  <a:gd name="connsiteY32" fmla="*/ 624840 h 655320"/>
                  <a:gd name="connsiteX33" fmla="*/ 845831 w 2392706"/>
                  <a:gd name="connsiteY33" fmla="*/ 617220 h 655320"/>
                  <a:gd name="connsiteX34" fmla="*/ 510551 w 2392706"/>
                  <a:gd name="connsiteY34" fmla="*/ 594360 h 655320"/>
                  <a:gd name="connsiteX35" fmla="*/ 373391 w 2392706"/>
                  <a:gd name="connsiteY35" fmla="*/ 571500 h 655320"/>
                  <a:gd name="connsiteX36" fmla="*/ 274331 w 2392706"/>
                  <a:gd name="connsiteY36" fmla="*/ 548640 h 655320"/>
                  <a:gd name="connsiteX37" fmla="*/ 213371 w 2392706"/>
                  <a:gd name="connsiteY37" fmla="*/ 525780 h 655320"/>
                  <a:gd name="connsiteX38" fmla="*/ 190511 w 2392706"/>
                  <a:gd name="connsiteY38" fmla="*/ 518160 h 655320"/>
                  <a:gd name="connsiteX39" fmla="*/ 167651 w 2392706"/>
                  <a:gd name="connsiteY39" fmla="*/ 502920 h 655320"/>
                  <a:gd name="connsiteX40" fmla="*/ 129551 w 2392706"/>
                  <a:gd name="connsiteY40" fmla="*/ 487680 h 655320"/>
                  <a:gd name="connsiteX41" fmla="*/ 106691 w 2392706"/>
                  <a:gd name="connsiteY41" fmla="*/ 480060 h 655320"/>
                  <a:gd name="connsiteX42" fmla="*/ 68591 w 2392706"/>
                  <a:gd name="connsiteY42" fmla="*/ 457200 h 655320"/>
                  <a:gd name="connsiteX43" fmla="*/ 15251 w 2392706"/>
                  <a:gd name="connsiteY43" fmla="*/ 403860 h 655320"/>
                  <a:gd name="connsiteX44" fmla="*/ 11 w 2392706"/>
                  <a:gd name="connsiteY44" fmla="*/ 327660 h 655320"/>
                  <a:gd name="connsiteX45" fmla="*/ 7631 w 2392706"/>
                  <a:gd name="connsiteY45" fmla="*/ 259080 h 655320"/>
                  <a:gd name="connsiteX46" fmla="*/ 60971 w 2392706"/>
                  <a:gd name="connsiteY46" fmla="*/ 213360 h 655320"/>
                  <a:gd name="connsiteX47" fmla="*/ 129551 w 2392706"/>
                  <a:gd name="connsiteY47" fmla="*/ 167640 h 655320"/>
                  <a:gd name="connsiteX48" fmla="*/ 152411 w 2392706"/>
                  <a:gd name="connsiteY48" fmla="*/ 160020 h 655320"/>
                  <a:gd name="connsiteX49" fmla="*/ 182891 w 2392706"/>
                  <a:gd name="connsiteY49" fmla="*/ 144780 h 655320"/>
                  <a:gd name="connsiteX50" fmla="*/ 220991 w 2392706"/>
                  <a:gd name="connsiteY50" fmla="*/ 129540 h 655320"/>
                  <a:gd name="connsiteX51" fmla="*/ 281951 w 2392706"/>
                  <a:gd name="connsiteY51" fmla="*/ 99060 h 655320"/>
                  <a:gd name="connsiteX52" fmla="*/ 358151 w 2392706"/>
                  <a:gd name="connsiteY52" fmla="*/ 68580 h 655320"/>
                  <a:gd name="connsiteX53" fmla="*/ 441971 w 2392706"/>
                  <a:gd name="connsiteY53" fmla="*/ 60960 h 655320"/>
                  <a:gd name="connsiteX54" fmla="*/ 487691 w 2392706"/>
                  <a:gd name="connsiteY54" fmla="*/ 53340 h 655320"/>
                  <a:gd name="connsiteX55" fmla="*/ 624851 w 2392706"/>
                  <a:gd name="connsiteY55" fmla="*/ 45720 h 655320"/>
                  <a:gd name="connsiteX56" fmla="*/ 708671 w 2392706"/>
                  <a:gd name="connsiteY56" fmla="*/ 30480 h 655320"/>
                  <a:gd name="connsiteX57" fmla="*/ 746771 w 2392706"/>
                  <a:gd name="connsiteY57" fmla="*/ 22860 h 655320"/>
                  <a:gd name="connsiteX58" fmla="*/ 1028711 w 2392706"/>
                  <a:gd name="connsiteY58" fmla="*/ 30480 h 655320"/>
                  <a:gd name="connsiteX0" fmla="*/ 1033145 w 2397140"/>
                  <a:gd name="connsiteY0" fmla="*/ 30480 h 655320"/>
                  <a:gd name="connsiteX1" fmla="*/ 1078865 w 2397140"/>
                  <a:gd name="connsiteY1" fmla="*/ 15240 h 655320"/>
                  <a:gd name="connsiteX2" fmla="*/ 1223645 w 2397140"/>
                  <a:gd name="connsiteY2" fmla="*/ 0 h 655320"/>
                  <a:gd name="connsiteX3" fmla="*/ 1543685 w 2397140"/>
                  <a:gd name="connsiteY3" fmla="*/ 7620 h 655320"/>
                  <a:gd name="connsiteX4" fmla="*/ 1597025 w 2397140"/>
                  <a:gd name="connsiteY4" fmla="*/ 22860 h 655320"/>
                  <a:gd name="connsiteX5" fmla="*/ 1673225 w 2397140"/>
                  <a:gd name="connsiteY5" fmla="*/ 30480 h 655320"/>
                  <a:gd name="connsiteX6" fmla="*/ 1757045 w 2397140"/>
                  <a:gd name="connsiteY6" fmla="*/ 53340 h 655320"/>
                  <a:gd name="connsiteX7" fmla="*/ 1787525 w 2397140"/>
                  <a:gd name="connsiteY7" fmla="*/ 68580 h 655320"/>
                  <a:gd name="connsiteX8" fmla="*/ 1871345 w 2397140"/>
                  <a:gd name="connsiteY8" fmla="*/ 76200 h 655320"/>
                  <a:gd name="connsiteX9" fmla="*/ 2054225 w 2397140"/>
                  <a:gd name="connsiteY9" fmla="*/ 99060 h 655320"/>
                  <a:gd name="connsiteX10" fmla="*/ 2130425 w 2397140"/>
                  <a:gd name="connsiteY10" fmla="*/ 129540 h 655320"/>
                  <a:gd name="connsiteX11" fmla="*/ 2191385 w 2397140"/>
                  <a:gd name="connsiteY11" fmla="*/ 152400 h 655320"/>
                  <a:gd name="connsiteX12" fmla="*/ 2229485 w 2397140"/>
                  <a:gd name="connsiteY12" fmla="*/ 175260 h 655320"/>
                  <a:gd name="connsiteX13" fmla="*/ 2267585 w 2397140"/>
                  <a:gd name="connsiteY13" fmla="*/ 190500 h 655320"/>
                  <a:gd name="connsiteX14" fmla="*/ 2298065 w 2397140"/>
                  <a:gd name="connsiteY14" fmla="*/ 205740 h 655320"/>
                  <a:gd name="connsiteX15" fmla="*/ 2374265 w 2397140"/>
                  <a:gd name="connsiteY15" fmla="*/ 243840 h 655320"/>
                  <a:gd name="connsiteX16" fmla="*/ 2397125 w 2397140"/>
                  <a:gd name="connsiteY16" fmla="*/ 289560 h 655320"/>
                  <a:gd name="connsiteX17" fmla="*/ 2374265 w 2397140"/>
                  <a:gd name="connsiteY17" fmla="*/ 403860 h 655320"/>
                  <a:gd name="connsiteX18" fmla="*/ 2290445 w 2397140"/>
                  <a:gd name="connsiteY18" fmla="*/ 457200 h 655320"/>
                  <a:gd name="connsiteX19" fmla="*/ 2252345 w 2397140"/>
                  <a:gd name="connsiteY19" fmla="*/ 480060 h 655320"/>
                  <a:gd name="connsiteX20" fmla="*/ 2221865 w 2397140"/>
                  <a:gd name="connsiteY20" fmla="*/ 487680 h 655320"/>
                  <a:gd name="connsiteX21" fmla="*/ 2176145 w 2397140"/>
                  <a:gd name="connsiteY21" fmla="*/ 510540 h 655320"/>
                  <a:gd name="connsiteX22" fmla="*/ 2145665 w 2397140"/>
                  <a:gd name="connsiteY22" fmla="*/ 518160 h 655320"/>
                  <a:gd name="connsiteX23" fmla="*/ 2115185 w 2397140"/>
                  <a:gd name="connsiteY23" fmla="*/ 533400 h 655320"/>
                  <a:gd name="connsiteX24" fmla="*/ 2092325 w 2397140"/>
                  <a:gd name="connsiteY24" fmla="*/ 548640 h 655320"/>
                  <a:gd name="connsiteX25" fmla="*/ 2038985 w 2397140"/>
                  <a:gd name="connsiteY25" fmla="*/ 563880 h 655320"/>
                  <a:gd name="connsiteX26" fmla="*/ 2016125 w 2397140"/>
                  <a:gd name="connsiteY26" fmla="*/ 579120 h 655320"/>
                  <a:gd name="connsiteX27" fmla="*/ 1886585 w 2397140"/>
                  <a:gd name="connsiteY27" fmla="*/ 609600 h 655320"/>
                  <a:gd name="connsiteX28" fmla="*/ 1810385 w 2397140"/>
                  <a:gd name="connsiteY28" fmla="*/ 624840 h 655320"/>
                  <a:gd name="connsiteX29" fmla="*/ 1391285 w 2397140"/>
                  <a:gd name="connsiteY29" fmla="*/ 647700 h 655320"/>
                  <a:gd name="connsiteX30" fmla="*/ 1276985 w 2397140"/>
                  <a:gd name="connsiteY30" fmla="*/ 655320 h 655320"/>
                  <a:gd name="connsiteX31" fmla="*/ 941705 w 2397140"/>
                  <a:gd name="connsiteY31" fmla="*/ 640080 h 655320"/>
                  <a:gd name="connsiteX32" fmla="*/ 873125 w 2397140"/>
                  <a:gd name="connsiteY32" fmla="*/ 624840 h 655320"/>
                  <a:gd name="connsiteX33" fmla="*/ 850265 w 2397140"/>
                  <a:gd name="connsiteY33" fmla="*/ 617220 h 655320"/>
                  <a:gd name="connsiteX34" fmla="*/ 514985 w 2397140"/>
                  <a:gd name="connsiteY34" fmla="*/ 594360 h 655320"/>
                  <a:gd name="connsiteX35" fmla="*/ 377825 w 2397140"/>
                  <a:gd name="connsiteY35" fmla="*/ 571500 h 655320"/>
                  <a:gd name="connsiteX36" fmla="*/ 278765 w 2397140"/>
                  <a:gd name="connsiteY36" fmla="*/ 548640 h 655320"/>
                  <a:gd name="connsiteX37" fmla="*/ 217805 w 2397140"/>
                  <a:gd name="connsiteY37" fmla="*/ 525780 h 655320"/>
                  <a:gd name="connsiteX38" fmla="*/ 194945 w 2397140"/>
                  <a:gd name="connsiteY38" fmla="*/ 518160 h 655320"/>
                  <a:gd name="connsiteX39" fmla="*/ 172085 w 2397140"/>
                  <a:gd name="connsiteY39" fmla="*/ 502920 h 655320"/>
                  <a:gd name="connsiteX40" fmla="*/ 133985 w 2397140"/>
                  <a:gd name="connsiteY40" fmla="*/ 487680 h 655320"/>
                  <a:gd name="connsiteX41" fmla="*/ 111125 w 2397140"/>
                  <a:gd name="connsiteY41" fmla="*/ 480060 h 655320"/>
                  <a:gd name="connsiteX42" fmla="*/ 73025 w 2397140"/>
                  <a:gd name="connsiteY42" fmla="*/ 457200 h 655320"/>
                  <a:gd name="connsiteX43" fmla="*/ 19685 w 2397140"/>
                  <a:gd name="connsiteY43" fmla="*/ 403860 h 655320"/>
                  <a:gd name="connsiteX44" fmla="*/ 4445 w 2397140"/>
                  <a:gd name="connsiteY44" fmla="*/ 327660 h 655320"/>
                  <a:gd name="connsiteX45" fmla="*/ 12065 w 2397140"/>
                  <a:gd name="connsiteY45" fmla="*/ 259080 h 655320"/>
                  <a:gd name="connsiteX46" fmla="*/ 133985 w 2397140"/>
                  <a:gd name="connsiteY46" fmla="*/ 167640 h 655320"/>
                  <a:gd name="connsiteX47" fmla="*/ 156845 w 2397140"/>
                  <a:gd name="connsiteY47" fmla="*/ 160020 h 655320"/>
                  <a:gd name="connsiteX48" fmla="*/ 187325 w 2397140"/>
                  <a:gd name="connsiteY48" fmla="*/ 144780 h 655320"/>
                  <a:gd name="connsiteX49" fmla="*/ 225425 w 2397140"/>
                  <a:gd name="connsiteY49" fmla="*/ 129540 h 655320"/>
                  <a:gd name="connsiteX50" fmla="*/ 286385 w 2397140"/>
                  <a:gd name="connsiteY50" fmla="*/ 99060 h 655320"/>
                  <a:gd name="connsiteX51" fmla="*/ 362585 w 2397140"/>
                  <a:gd name="connsiteY51" fmla="*/ 68580 h 655320"/>
                  <a:gd name="connsiteX52" fmla="*/ 446405 w 2397140"/>
                  <a:gd name="connsiteY52" fmla="*/ 60960 h 655320"/>
                  <a:gd name="connsiteX53" fmla="*/ 492125 w 2397140"/>
                  <a:gd name="connsiteY53" fmla="*/ 53340 h 655320"/>
                  <a:gd name="connsiteX54" fmla="*/ 629285 w 2397140"/>
                  <a:gd name="connsiteY54" fmla="*/ 45720 h 655320"/>
                  <a:gd name="connsiteX55" fmla="*/ 713105 w 2397140"/>
                  <a:gd name="connsiteY55" fmla="*/ 30480 h 655320"/>
                  <a:gd name="connsiteX56" fmla="*/ 751205 w 2397140"/>
                  <a:gd name="connsiteY56" fmla="*/ 22860 h 655320"/>
                  <a:gd name="connsiteX57" fmla="*/ 1033145 w 2397140"/>
                  <a:gd name="connsiteY57" fmla="*/ 30480 h 655320"/>
                  <a:gd name="connsiteX0" fmla="*/ 1029264 w 2393259"/>
                  <a:gd name="connsiteY0" fmla="*/ 30480 h 655320"/>
                  <a:gd name="connsiteX1" fmla="*/ 1074984 w 2393259"/>
                  <a:gd name="connsiteY1" fmla="*/ 15240 h 655320"/>
                  <a:gd name="connsiteX2" fmla="*/ 1219764 w 2393259"/>
                  <a:gd name="connsiteY2" fmla="*/ 0 h 655320"/>
                  <a:gd name="connsiteX3" fmla="*/ 1539804 w 2393259"/>
                  <a:gd name="connsiteY3" fmla="*/ 7620 h 655320"/>
                  <a:gd name="connsiteX4" fmla="*/ 1593144 w 2393259"/>
                  <a:gd name="connsiteY4" fmla="*/ 22860 h 655320"/>
                  <a:gd name="connsiteX5" fmla="*/ 1669344 w 2393259"/>
                  <a:gd name="connsiteY5" fmla="*/ 30480 h 655320"/>
                  <a:gd name="connsiteX6" fmla="*/ 1753164 w 2393259"/>
                  <a:gd name="connsiteY6" fmla="*/ 53340 h 655320"/>
                  <a:gd name="connsiteX7" fmla="*/ 1783644 w 2393259"/>
                  <a:gd name="connsiteY7" fmla="*/ 68580 h 655320"/>
                  <a:gd name="connsiteX8" fmla="*/ 1867464 w 2393259"/>
                  <a:gd name="connsiteY8" fmla="*/ 76200 h 655320"/>
                  <a:gd name="connsiteX9" fmla="*/ 2050344 w 2393259"/>
                  <a:gd name="connsiteY9" fmla="*/ 99060 h 655320"/>
                  <a:gd name="connsiteX10" fmla="*/ 2126544 w 2393259"/>
                  <a:gd name="connsiteY10" fmla="*/ 129540 h 655320"/>
                  <a:gd name="connsiteX11" fmla="*/ 2187504 w 2393259"/>
                  <a:gd name="connsiteY11" fmla="*/ 152400 h 655320"/>
                  <a:gd name="connsiteX12" fmla="*/ 2225604 w 2393259"/>
                  <a:gd name="connsiteY12" fmla="*/ 175260 h 655320"/>
                  <a:gd name="connsiteX13" fmla="*/ 2263704 w 2393259"/>
                  <a:gd name="connsiteY13" fmla="*/ 190500 h 655320"/>
                  <a:gd name="connsiteX14" fmla="*/ 2294184 w 2393259"/>
                  <a:gd name="connsiteY14" fmla="*/ 205740 h 655320"/>
                  <a:gd name="connsiteX15" fmla="*/ 2370384 w 2393259"/>
                  <a:gd name="connsiteY15" fmla="*/ 243840 h 655320"/>
                  <a:gd name="connsiteX16" fmla="*/ 2393244 w 2393259"/>
                  <a:gd name="connsiteY16" fmla="*/ 289560 h 655320"/>
                  <a:gd name="connsiteX17" fmla="*/ 2370384 w 2393259"/>
                  <a:gd name="connsiteY17" fmla="*/ 403860 h 655320"/>
                  <a:gd name="connsiteX18" fmla="*/ 2286564 w 2393259"/>
                  <a:gd name="connsiteY18" fmla="*/ 457200 h 655320"/>
                  <a:gd name="connsiteX19" fmla="*/ 2248464 w 2393259"/>
                  <a:gd name="connsiteY19" fmla="*/ 480060 h 655320"/>
                  <a:gd name="connsiteX20" fmla="*/ 2217984 w 2393259"/>
                  <a:gd name="connsiteY20" fmla="*/ 487680 h 655320"/>
                  <a:gd name="connsiteX21" fmla="*/ 2172264 w 2393259"/>
                  <a:gd name="connsiteY21" fmla="*/ 510540 h 655320"/>
                  <a:gd name="connsiteX22" fmla="*/ 2141784 w 2393259"/>
                  <a:gd name="connsiteY22" fmla="*/ 518160 h 655320"/>
                  <a:gd name="connsiteX23" fmla="*/ 2111304 w 2393259"/>
                  <a:gd name="connsiteY23" fmla="*/ 533400 h 655320"/>
                  <a:gd name="connsiteX24" fmla="*/ 2088444 w 2393259"/>
                  <a:gd name="connsiteY24" fmla="*/ 548640 h 655320"/>
                  <a:gd name="connsiteX25" fmla="*/ 2035104 w 2393259"/>
                  <a:gd name="connsiteY25" fmla="*/ 563880 h 655320"/>
                  <a:gd name="connsiteX26" fmla="*/ 2012244 w 2393259"/>
                  <a:gd name="connsiteY26" fmla="*/ 579120 h 655320"/>
                  <a:gd name="connsiteX27" fmla="*/ 1882704 w 2393259"/>
                  <a:gd name="connsiteY27" fmla="*/ 609600 h 655320"/>
                  <a:gd name="connsiteX28" fmla="*/ 1806504 w 2393259"/>
                  <a:gd name="connsiteY28" fmla="*/ 624840 h 655320"/>
                  <a:gd name="connsiteX29" fmla="*/ 1387404 w 2393259"/>
                  <a:gd name="connsiteY29" fmla="*/ 647700 h 655320"/>
                  <a:gd name="connsiteX30" fmla="*/ 1273104 w 2393259"/>
                  <a:gd name="connsiteY30" fmla="*/ 655320 h 655320"/>
                  <a:gd name="connsiteX31" fmla="*/ 937824 w 2393259"/>
                  <a:gd name="connsiteY31" fmla="*/ 640080 h 655320"/>
                  <a:gd name="connsiteX32" fmla="*/ 869244 w 2393259"/>
                  <a:gd name="connsiteY32" fmla="*/ 624840 h 655320"/>
                  <a:gd name="connsiteX33" fmla="*/ 846384 w 2393259"/>
                  <a:gd name="connsiteY33" fmla="*/ 617220 h 655320"/>
                  <a:gd name="connsiteX34" fmla="*/ 511104 w 2393259"/>
                  <a:gd name="connsiteY34" fmla="*/ 594360 h 655320"/>
                  <a:gd name="connsiteX35" fmla="*/ 373944 w 2393259"/>
                  <a:gd name="connsiteY35" fmla="*/ 571500 h 655320"/>
                  <a:gd name="connsiteX36" fmla="*/ 274884 w 2393259"/>
                  <a:gd name="connsiteY36" fmla="*/ 548640 h 655320"/>
                  <a:gd name="connsiteX37" fmla="*/ 213924 w 2393259"/>
                  <a:gd name="connsiteY37" fmla="*/ 525780 h 655320"/>
                  <a:gd name="connsiteX38" fmla="*/ 191064 w 2393259"/>
                  <a:gd name="connsiteY38" fmla="*/ 518160 h 655320"/>
                  <a:gd name="connsiteX39" fmla="*/ 168204 w 2393259"/>
                  <a:gd name="connsiteY39" fmla="*/ 502920 h 655320"/>
                  <a:gd name="connsiteX40" fmla="*/ 130104 w 2393259"/>
                  <a:gd name="connsiteY40" fmla="*/ 487680 h 655320"/>
                  <a:gd name="connsiteX41" fmla="*/ 107244 w 2393259"/>
                  <a:gd name="connsiteY41" fmla="*/ 480060 h 655320"/>
                  <a:gd name="connsiteX42" fmla="*/ 69144 w 2393259"/>
                  <a:gd name="connsiteY42" fmla="*/ 457200 h 655320"/>
                  <a:gd name="connsiteX43" fmla="*/ 15804 w 2393259"/>
                  <a:gd name="connsiteY43" fmla="*/ 403860 h 655320"/>
                  <a:gd name="connsiteX44" fmla="*/ 564 w 2393259"/>
                  <a:gd name="connsiteY44" fmla="*/ 327660 h 655320"/>
                  <a:gd name="connsiteX45" fmla="*/ 36759 w 2393259"/>
                  <a:gd name="connsiteY45" fmla="*/ 259080 h 655320"/>
                  <a:gd name="connsiteX46" fmla="*/ 130104 w 2393259"/>
                  <a:gd name="connsiteY46" fmla="*/ 167640 h 655320"/>
                  <a:gd name="connsiteX47" fmla="*/ 152964 w 2393259"/>
                  <a:gd name="connsiteY47" fmla="*/ 160020 h 655320"/>
                  <a:gd name="connsiteX48" fmla="*/ 183444 w 2393259"/>
                  <a:gd name="connsiteY48" fmla="*/ 144780 h 655320"/>
                  <a:gd name="connsiteX49" fmla="*/ 221544 w 2393259"/>
                  <a:gd name="connsiteY49" fmla="*/ 129540 h 655320"/>
                  <a:gd name="connsiteX50" fmla="*/ 282504 w 2393259"/>
                  <a:gd name="connsiteY50" fmla="*/ 99060 h 655320"/>
                  <a:gd name="connsiteX51" fmla="*/ 358704 w 2393259"/>
                  <a:gd name="connsiteY51" fmla="*/ 68580 h 655320"/>
                  <a:gd name="connsiteX52" fmla="*/ 442524 w 2393259"/>
                  <a:gd name="connsiteY52" fmla="*/ 60960 h 655320"/>
                  <a:gd name="connsiteX53" fmla="*/ 488244 w 2393259"/>
                  <a:gd name="connsiteY53" fmla="*/ 53340 h 655320"/>
                  <a:gd name="connsiteX54" fmla="*/ 625404 w 2393259"/>
                  <a:gd name="connsiteY54" fmla="*/ 45720 h 655320"/>
                  <a:gd name="connsiteX55" fmla="*/ 709224 w 2393259"/>
                  <a:gd name="connsiteY55" fmla="*/ 30480 h 655320"/>
                  <a:gd name="connsiteX56" fmla="*/ 747324 w 2393259"/>
                  <a:gd name="connsiteY56" fmla="*/ 22860 h 655320"/>
                  <a:gd name="connsiteX57" fmla="*/ 1029264 w 2393259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120377 w 2383532"/>
                  <a:gd name="connsiteY40" fmla="*/ 487680 h 655320"/>
                  <a:gd name="connsiteX41" fmla="*/ 97517 w 2383532"/>
                  <a:gd name="connsiteY41" fmla="*/ 480060 h 655320"/>
                  <a:gd name="connsiteX42" fmla="*/ 59417 w 2383532"/>
                  <a:gd name="connsiteY42" fmla="*/ 457200 h 655320"/>
                  <a:gd name="connsiteX43" fmla="*/ 6077 w 2383532"/>
                  <a:gd name="connsiteY43" fmla="*/ 403860 h 655320"/>
                  <a:gd name="connsiteX44" fmla="*/ 3537 w 2383532"/>
                  <a:gd name="connsiteY44" fmla="*/ 353060 h 655320"/>
                  <a:gd name="connsiteX45" fmla="*/ 27032 w 2383532"/>
                  <a:gd name="connsiteY45" fmla="*/ 259080 h 655320"/>
                  <a:gd name="connsiteX46" fmla="*/ 120377 w 2383532"/>
                  <a:gd name="connsiteY46" fmla="*/ 167640 h 655320"/>
                  <a:gd name="connsiteX47" fmla="*/ 143237 w 2383532"/>
                  <a:gd name="connsiteY47" fmla="*/ 160020 h 655320"/>
                  <a:gd name="connsiteX48" fmla="*/ 173717 w 2383532"/>
                  <a:gd name="connsiteY48" fmla="*/ 144780 h 655320"/>
                  <a:gd name="connsiteX49" fmla="*/ 211817 w 2383532"/>
                  <a:gd name="connsiteY49" fmla="*/ 129540 h 655320"/>
                  <a:gd name="connsiteX50" fmla="*/ 272777 w 2383532"/>
                  <a:gd name="connsiteY50" fmla="*/ 99060 h 655320"/>
                  <a:gd name="connsiteX51" fmla="*/ 348977 w 2383532"/>
                  <a:gd name="connsiteY51" fmla="*/ 68580 h 655320"/>
                  <a:gd name="connsiteX52" fmla="*/ 432797 w 2383532"/>
                  <a:gd name="connsiteY52" fmla="*/ 60960 h 655320"/>
                  <a:gd name="connsiteX53" fmla="*/ 478517 w 2383532"/>
                  <a:gd name="connsiteY53" fmla="*/ 53340 h 655320"/>
                  <a:gd name="connsiteX54" fmla="*/ 615677 w 2383532"/>
                  <a:gd name="connsiteY54" fmla="*/ 45720 h 655320"/>
                  <a:gd name="connsiteX55" fmla="*/ 699497 w 2383532"/>
                  <a:gd name="connsiteY55" fmla="*/ 30480 h 655320"/>
                  <a:gd name="connsiteX56" fmla="*/ 737597 w 2383532"/>
                  <a:gd name="connsiteY56" fmla="*/ 22860 h 655320"/>
                  <a:gd name="connsiteX57" fmla="*/ 1019537 w 2383532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97517 w 2383532"/>
                  <a:gd name="connsiteY40" fmla="*/ 480060 h 655320"/>
                  <a:gd name="connsiteX41" fmla="*/ 59417 w 2383532"/>
                  <a:gd name="connsiteY41" fmla="*/ 457200 h 655320"/>
                  <a:gd name="connsiteX42" fmla="*/ 6077 w 2383532"/>
                  <a:gd name="connsiteY42" fmla="*/ 403860 h 655320"/>
                  <a:gd name="connsiteX43" fmla="*/ 3537 w 2383532"/>
                  <a:gd name="connsiteY43" fmla="*/ 353060 h 655320"/>
                  <a:gd name="connsiteX44" fmla="*/ 27032 w 2383532"/>
                  <a:gd name="connsiteY44" fmla="*/ 259080 h 655320"/>
                  <a:gd name="connsiteX45" fmla="*/ 120377 w 2383532"/>
                  <a:gd name="connsiteY45" fmla="*/ 167640 h 655320"/>
                  <a:gd name="connsiteX46" fmla="*/ 143237 w 2383532"/>
                  <a:gd name="connsiteY46" fmla="*/ 160020 h 655320"/>
                  <a:gd name="connsiteX47" fmla="*/ 173717 w 2383532"/>
                  <a:gd name="connsiteY47" fmla="*/ 144780 h 655320"/>
                  <a:gd name="connsiteX48" fmla="*/ 211817 w 2383532"/>
                  <a:gd name="connsiteY48" fmla="*/ 129540 h 655320"/>
                  <a:gd name="connsiteX49" fmla="*/ 272777 w 2383532"/>
                  <a:gd name="connsiteY49" fmla="*/ 99060 h 655320"/>
                  <a:gd name="connsiteX50" fmla="*/ 348977 w 2383532"/>
                  <a:gd name="connsiteY50" fmla="*/ 68580 h 655320"/>
                  <a:gd name="connsiteX51" fmla="*/ 432797 w 2383532"/>
                  <a:gd name="connsiteY51" fmla="*/ 60960 h 655320"/>
                  <a:gd name="connsiteX52" fmla="*/ 478517 w 2383532"/>
                  <a:gd name="connsiteY52" fmla="*/ 53340 h 655320"/>
                  <a:gd name="connsiteX53" fmla="*/ 615677 w 2383532"/>
                  <a:gd name="connsiteY53" fmla="*/ 45720 h 655320"/>
                  <a:gd name="connsiteX54" fmla="*/ 699497 w 2383532"/>
                  <a:gd name="connsiteY54" fmla="*/ 30480 h 655320"/>
                  <a:gd name="connsiteX55" fmla="*/ 737597 w 2383532"/>
                  <a:gd name="connsiteY55" fmla="*/ 22860 h 655320"/>
                  <a:gd name="connsiteX56" fmla="*/ 1019537 w 2383532"/>
                  <a:gd name="connsiteY5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97517 w 2383532"/>
                  <a:gd name="connsiteY39" fmla="*/ 480060 h 655320"/>
                  <a:gd name="connsiteX40" fmla="*/ 59417 w 2383532"/>
                  <a:gd name="connsiteY40" fmla="*/ 457200 h 655320"/>
                  <a:gd name="connsiteX41" fmla="*/ 6077 w 2383532"/>
                  <a:gd name="connsiteY41" fmla="*/ 403860 h 655320"/>
                  <a:gd name="connsiteX42" fmla="*/ 3537 w 2383532"/>
                  <a:gd name="connsiteY42" fmla="*/ 353060 h 655320"/>
                  <a:gd name="connsiteX43" fmla="*/ 27032 w 2383532"/>
                  <a:gd name="connsiteY43" fmla="*/ 259080 h 655320"/>
                  <a:gd name="connsiteX44" fmla="*/ 120377 w 2383532"/>
                  <a:gd name="connsiteY44" fmla="*/ 167640 h 655320"/>
                  <a:gd name="connsiteX45" fmla="*/ 143237 w 2383532"/>
                  <a:gd name="connsiteY45" fmla="*/ 160020 h 655320"/>
                  <a:gd name="connsiteX46" fmla="*/ 173717 w 2383532"/>
                  <a:gd name="connsiteY46" fmla="*/ 144780 h 655320"/>
                  <a:gd name="connsiteX47" fmla="*/ 211817 w 2383532"/>
                  <a:gd name="connsiteY47" fmla="*/ 129540 h 655320"/>
                  <a:gd name="connsiteX48" fmla="*/ 272777 w 2383532"/>
                  <a:gd name="connsiteY48" fmla="*/ 99060 h 655320"/>
                  <a:gd name="connsiteX49" fmla="*/ 348977 w 2383532"/>
                  <a:gd name="connsiteY49" fmla="*/ 68580 h 655320"/>
                  <a:gd name="connsiteX50" fmla="*/ 432797 w 2383532"/>
                  <a:gd name="connsiteY50" fmla="*/ 60960 h 655320"/>
                  <a:gd name="connsiteX51" fmla="*/ 478517 w 2383532"/>
                  <a:gd name="connsiteY51" fmla="*/ 53340 h 655320"/>
                  <a:gd name="connsiteX52" fmla="*/ 615677 w 2383532"/>
                  <a:gd name="connsiteY52" fmla="*/ 45720 h 655320"/>
                  <a:gd name="connsiteX53" fmla="*/ 699497 w 2383532"/>
                  <a:gd name="connsiteY53" fmla="*/ 30480 h 655320"/>
                  <a:gd name="connsiteX54" fmla="*/ 737597 w 2383532"/>
                  <a:gd name="connsiteY54" fmla="*/ 22860 h 655320"/>
                  <a:gd name="connsiteX55" fmla="*/ 1019537 w 2383532"/>
                  <a:gd name="connsiteY5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97517 w 2383532"/>
                  <a:gd name="connsiteY38" fmla="*/ 480060 h 655320"/>
                  <a:gd name="connsiteX39" fmla="*/ 59417 w 2383532"/>
                  <a:gd name="connsiteY39" fmla="*/ 457200 h 655320"/>
                  <a:gd name="connsiteX40" fmla="*/ 6077 w 2383532"/>
                  <a:gd name="connsiteY40" fmla="*/ 403860 h 655320"/>
                  <a:gd name="connsiteX41" fmla="*/ 3537 w 2383532"/>
                  <a:gd name="connsiteY41" fmla="*/ 353060 h 655320"/>
                  <a:gd name="connsiteX42" fmla="*/ 27032 w 2383532"/>
                  <a:gd name="connsiteY42" fmla="*/ 259080 h 655320"/>
                  <a:gd name="connsiteX43" fmla="*/ 120377 w 2383532"/>
                  <a:gd name="connsiteY43" fmla="*/ 167640 h 655320"/>
                  <a:gd name="connsiteX44" fmla="*/ 143237 w 2383532"/>
                  <a:gd name="connsiteY44" fmla="*/ 160020 h 655320"/>
                  <a:gd name="connsiteX45" fmla="*/ 173717 w 2383532"/>
                  <a:gd name="connsiteY45" fmla="*/ 144780 h 655320"/>
                  <a:gd name="connsiteX46" fmla="*/ 211817 w 2383532"/>
                  <a:gd name="connsiteY46" fmla="*/ 129540 h 655320"/>
                  <a:gd name="connsiteX47" fmla="*/ 272777 w 2383532"/>
                  <a:gd name="connsiteY47" fmla="*/ 99060 h 655320"/>
                  <a:gd name="connsiteX48" fmla="*/ 348977 w 2383532"/>
                  <a:gd name="connsiteY48" fmla="*/ 68580 h 655320"/>
                  <a:gd name="connsiteX49" fmla="*/ 432797 w 2383532"/>
                  <a:gd name="connsiteY49" fmla="*/ 60960 h 655320"/>
                  <a:gd name="connsiteX50" fmla="*/ 478517 w 2383532"/>
                  <a:gd name="connsiteY50" fmla="*/ 53340 h 655320"/>
                  <a:gd name="connsiteX51" fmla="*/ 615677 w 2383532"/>
                  <a:gd name="connsiteY51" fmla="*/ 45720 h 655320"/>
                  <a:gd name="connsiteX52" fmla="*/ 699497 w 2383532"/>
                  <a:gd name="connsiteY52" fmla="*/ 30480 h 655320"/>
                  <a:gd name="connsiteX53" fmla="*/ 737597 w 2383532"/>
                  <a:gd name="connsiteY53" fmla="*/ 22860 h 655320"/>
                  <a:gd name="connsiteX54" fmla="*/ 1019537 w 2383532"/>
                  <a:gd name="connsiteY5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364217 w 2383532"/>
                  <a:gd name="connsiteY34" fmla="*/ 571500 h 655320"/>
                  <a:gd name="connsiteX35" fmla="*/ 265157 w 2383532"/>
                  <a:gd name="connsiteY35" fmla="*/ 548640 h 655320"/>
                  <a:gd name="connsiteX36" fmla="*/ 204197 w 2383532"/>
                  <a:gd name="connsiteY36" fmla="*/ 525780 h 655320"/>
                  <a:gd name="connsiteX37" fmla="*/ 97517 w 2383532"/>
                  <a:gd name="connsiteY37" fmla="*/ 480060 h 655320"/>
                  <a:gd name="connsiteX38" fmla="*/ 59417 w 2383532"/>
                  <a:gd name="connsiteY38" fmla="*/ 457200 h 655320"/>
                  <a:gd name="connsiteX39" fmla="*/ 6077 w 2383532"/>
                  <a:gd name="connsiteY39" fmla="*/ 403860 h 655320"/>
                  <a:gd name="connsiteX40" fmla="*/ 3537 w 2383532"/>
                  <a:gd name="connsiteY40" fmla="*/ 353060 h 655320"/>
                  <a:gd name="connsiteX41" fmla="*/ 27032 w 2383532"/>
                  <a:gd name="connsiteY41" fmla="*/ 259080 h 655320"/>
                  <a:gd name="connsiteX42" fmla="*/ 120377 w 2383532"/>
                  <a:gd name="connsiteY42" fmla="*/ 167640 h 655320"/>
                  <a:gd name="connsiteX43" fmla="*/ 143237 w 2383532"/>
                  <a:gd name="connsiteY43" fmla="*/ 160020 h 655320"/>
                  <a:gd name="connsiteX44" fmla="*/ 173717 w 2383532"/>
                  <a:gd name="connsiteY44" fmla="*/ 144780 h 655320"/>
                  <a:gd name="connsiteX45" fmla="*/ 211817 w 2383532"/>
                  <a:gd name="connsiteY45" fmla="*/ 129540 h 655320"/>
                  <a:gd name="connsiteX46" fmla="*/ 272777 w 2383532"/>
                  <a:gd name="connsiteY46" fmla="*/ 99060 h 655320"/>
                  <a:gd name="connsiteX47" fmla="*/ 348977 w 2383532"/>
                  <a:gd name="connsiteY47" fmla="*/ 68580 h 655320"/>
                  <a:gd name="connsiteX48" fmla="*/ 432797 w 2383532"/>
                  <a:gd name="connsiteY48" fmla="*/ 60960 h 655320"/>
                  <a:gd name="connsiteX49" fmla="*/ 478517 w 2383532"/>
                  <a:gd name="connsiteY49" fmla="*/ 53340 h 655320"/>
                  <a:gd name="connsiteX50" fmla="*/ 615677 w 2383532"/>
                  <a:gd name="connsiteY50" fmla="*/ 45720 h 655320"/>
                  <a:gd name="connsiteX51" fmla="*/ 699497 w 2383532"/>
                  <a:gd name="connsiteY51" fmla="*/ 30480 h 655320"/>
                  <a:gd name="connsiteX52" fmla="*/ 737597 w 2383532"/>
                  <a:gd name="connsiteY52" fmla="*/ 22860 h 655320"/>
                  <a:gd name="connsiteX53" fmla="*/ 1019537 w 2383532"/>
                  <a:gd name="connsiteY5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265157 w 2383532"/>
                  <a:gd name="connsiteY34" fmla="*/ 548640 h 655320"/>
                  <a:gd name="connsiteX35" fmla="*/ 204197 w 2383532"/>
                  <a:gd name="connsiteY35" fmla="*/ 525780 h 655320"/>
                  <a:gd name="connsiteX36" fmla="*/ 97517 w 2383532"/>
                  <a:gd name="connsiteY36" fmla="*/ 480060 h 655320"/>
                  <a:gd name="connsiteX37" fmla="*/ 59417 w 2383532"/>
                  <a:gd name="connsiteY37" fmla="*/ 457200 h 655320"/>
                  <a:gd name="connsiteX38" fmla="*/ 6077 w 2383532"/>
                  <a:gd name="connsiteY38" fmla="*/ 403860 h 655320"/>
                  <a:gd name="connsiteX39" fmla="*/ 3537 w 2383532"/>
                  <a:gd name="connsiteY39" fmla="*/ 353060 h 655320"/>
                  <a:gd name="connsiteX40" fmla="*/ 27032 w 2383532"/>
                  <a:gd name="connsiteY40" fmla="*/ 259080 h 655320"/>
                  <a:gd name="connsiteX41" fmla="*/ 120377 w 2383532"/>
                  <a:gd name="connsiteY41" fmla="*/ 167640 h 655320"/>
                  <a:gd name="connsiteX42" fmla="*/ 143237 w 2383532"/>
                  <a:gd name="connsiteY42" fmla="*/ 160020 h 655320"/>
                  <a:gd name="connsiteX43" fmla="*/ 173717 w 2383532"/>
                  <a:gd name="connsiteY43" fmla="*/ 144780 h 655320"/>
                  <a:gd name="connsiteX44" fmla="*/ 211817 w 2383532"/>
                  <a:gd name="connsiteY44" fmla="*/ 129540 h 655320"/>
                  <a:gd name="connsiteX45" fmla="*/ 272777 w 2383532"/>
                  <a:gd name="connsiteY45" fmla="*/ 99060 h 655320"/>
                  <a:gd name="connsiteX46" fmla="*/ 348977 w 2383532"/>
                  <a:gd name="connsiteY46" fmla="*/ 68580 h 655320"/>
                  <a:gd name="connsiteX47" fmla="*/ 432797 w 2383532"/>
                  <a:gd name="connsiteY47" fmla="*/ 60960 h 655320"/>
                  <a:gd name="connsiteX48" fmla="*/ 478517 w 2383532"/>
                  <a:gd name="connsiteY48" fmla="*/ 53340 h 655320"/>
                  <a:gd name="connsiteX49" fmla="*/ 615677 w 2383532"/>
                  <a:gd name="connsiteY49" fmla="*/ 45720 h 655320"/>
                  <a:gd name="connsiteX50" fmla="*/ 699497 w 2383532"/>
                  <a:gd name="connsiteY50" fmla="*/ 30480 h 655320"/>
                  <a:gd name="connsiteX51" fmla="*/ 737597 w 2383532"/>
                  <a:gd name="connsiteY51" fmla="*/ 22860 h 655320"/>
                  <a:gd name="connsiteX52" fmla="*/ 1019537 w 2383532"/>
                  <a:gd name="connsiteY5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02517 w 2383532"/>
                  <a:gd name="connsiteY25" fmla="*/ 579120 h 655320"/>
                  <a:gd name="connsiteX26" fmla="*/ 1872977 w 2383532"/>
                  <a:gd name="connsiteY26" fmla="*/ 609600 h 655320"/>
                  <a:gd name="connsiteX27" fmla="*/ 1796777 w 2383532"/>
                  <a:gd name="connsiteY27" fmla="*/ 624840 h 655320"/>
                  <a:gd name="connsiteX28" fmla="*/ 1377677 w 2383532"/>
                  <a:gd name="connsiteY28" fmla="*/ 647700 h 655320"/>
                  <a:gd name="connsiteX29" fmla="*/ 1263377 w 2383532"/>
                  <a:gd name="connsiteY29" fmla="*/ 655320 h 655320"/>
                  <a:gd name="connsiteX30" fmla="*/ 928097 w 2383532"/>
                  <a:gd name="connsiteY30" fmla="*/ 640080 h 655320"/>
                  <a:gd name="connsiteX31" fmla="*/ 859517 w 2383532"/>
                  <a:gd name="connsiteY31" fmla="*/ 624840 h 655320"/>
                  <a:gd name="connsiteX32" fmla="*/ 501377 w 2383532"/>
                  <a:gd name="connsiteY32" fmla="*/ 594360 h 655320"/>
                  <a:gd name="connsiteX33" fmla="*/ 265157 w 2383532"/>
                  <a:gd name="connsiteY33" fmla="*/ 548640 h 655320"/>
                  <a:gd name="connsiteX34" fmla="*/ 204197 w 2383532"/>
                  <a:gd name="connsiteY34" fmla="*/ 525780 h 655320"/>
                  <a:gd name="connsiteX35" fmla="*/ 97517 w 2383532"/>
                  <a:gd name="connsiteY35" fmla="*/ 480060 h 655320"/>
                  <a:gd name="connsiteX36" fmla="*/ 59417 w 2383532"/>
                  <a:gd name="connsiteY36" fmla="*/ 457200 h 655320"/>
                  <a:gd name="connsiteX37" fmla="*/ 6077 w 2383532"/>
                  <a:gd name="connsiteY37" fmla="*/ 403860 h 655320"/>
                  <a:gd name="connsiteX38" fmla="*/ 3537 w 2383532"/>
                  <a:gd name="connsiteY38" fmla="*/ 353060 h 655320"/>
                  <a:gd name="connsiteX39" fmla="*/ 27032 w 2383532"/>
                  <a:gd name="connsiteY39" fmla="*/ 259080 h 655320"/>
                  <a:gd name="connsiteX40" fmla="*/ 120377 w 2383532"/>
                  <a:gd name="connsiteY40" fmla="*/ 167640 h 655320"/>
                  <a:gd name="connsiteX41" fmla="*/ 143237 w 2383532"/>
                  <a:gd name="connsiteY41" fmla="*/ 160020 h 655320"/>
                  <a:gd name="connsiteX42" fmla="*/ 173717 w 2383532"/>
                  <a:gd name="connsiteY42" fmla="*/ 144780 h 655320"/>
                  <a:gd name="connsiteX43" fmla="*/ 211817 w 2383532"/>
                  <a:gd name="connsiteY43" fmla="*/ 129540 h 655320"/>
                  <a:gd name="connsiteX44" fmla="*/ 272777 w 2383532"/>
                  <a:gd name="connsiteY44" fmla="*/ 99060 h 655320"/>
                  <a:gd name="connsiteX45" fmla="*/ 348977 w 2383532"/>
                  <a:gd name="connsiteY45" fmla="*/ 68580 h 655320"/>
                  <a:gd name="connsiteX46" fmla="*/ 432797 w 2383532"/>
                  <a:gd name="connsiteY46" fmla="*/ 60960 h 655320"/>
                  <a:gd name="connsiteX47" fmla="*/ 478517 w 2383532"/>
                  <a:gd name="connsiteY47" fmla="*/ 53340 h 655320"/>
                  <a:gd name="connsiteX48" fmla="*/ 615677 w 2383532"/>
                  <a:gd name="connsiteY48" fmla="*/ 45720 h 655320"/>
                  <a:gd name="connsiteX49" fmla="*/ 699497 w 2383532"/>
                  <a:gd name="connsiteY49" fmla="*/ 30480 h 655320"/>
                  <a:gd name="connsiteX50" fmla="*/ 737597 w 2383532"/>
                  <a:gd name="connsiteY50" fmla="*/ 22860 h 655320"/>
                  <a:gd name="connsiteX51" fmla="*/ 1019537 w 2383532"/>
                  <a:gd name="connsiteY5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078717 w 2383532"/>
                  <a:gd name="connsiteY23" fmla="*/ 548640 h 655320"/>
                  <a:gd name="connsiteX24" fmla="*/ 2002517 w 2383532"/>
                  <a:gd name="connsiteY24" fmla="*/ 579120 h 655320"/>
                  <a:gd name="connsiteX25" fmla="*/ 1872977 w 2383532"/>
                  <a:gd name="connsiteY25" fmla="*/ 609600 h 655320"/>
                  <a:gd name="connsiteX26" fmla="*/ 1796777 w 2383532"/>
                  <a:gd name="connsiteY26" fmla="*/ 624840 h 655320"/>
                  <a:gd name="connsiteX27" fmla="*/ 1377677 w 2383532"/>
                  <a:gd name="connsiteY27" fmla="*/ 647700 h 655320"/>
                  <a:gd name="connsiteX28" fmla="*/ 1263377 w 2383532"/>
                  <a:gd name="connsiteY28" fmla="*/ 655320 h 655320"/>
                  <a:gd name="connsiteX29" fmla="*/ 928097 w 2383532"/>
                  <a:gd name="connsiteY29" fmla="*/ 640080 h 655320"/>
                  <a:gd name="connsiteX30" fmla="*/ 859517 w 2383532"/>
                  <a:gd name="connsiteY30" fmla="*/ 624840 h 655320"/>
                  <a:gd name="connsiteX31" fmla="*/ 501377 w 2383532"/>
                  <a:gd name="connsiteY31" fmla="*/ 594360 h 655320"/>
                  <a:gd name="connsiteX32" fmla="*/ 265157 w 2383532"/>
                  <a:gd name="connsiteY32" fmla="*/ 548640 h 655320"/>
                  <a:gd name="connsiteX33" fmla="*/ 204197 w 2383532"/>
                  <a:gd name="connsiteY33" fmla="*/ 525780 h 655320"/>
                  <a:gd name="connsiteX34" fmla="*/ 97517 w 2383532"/>
                  <a:gd name="connsiteY34" fmla="*/ 480060 h 655320"/>
                  <a:gd name="connsiteX35" fmla="*/ 59417 w 2383532"/>
                  <a:gd name="connsiteY35" fmla="*/ 457200 h 655320"/>
                  <a:gd name="connsiteX36" fmla="*/ 6077 w 2383532"/>
                  <a:gd name="connsiteY36" fmla="*/ 403860 h 655320"/>
                  <a:gd name="connsiteX37" fmla="*/ 3537 w 2383532"/>
                  <a:gd name="connsiteY37" fmla="*/ 353060 h 655320"/>
                  <a:gd name="connsiteX38" fmla="*/ 27032 w 2383532"/>
                  <a:gd name="connsiteY38" fmla="*/ 259080 h 655320"/>
                  <a:gd name="connsiteX39" fmla="*/ 120377 w 2383532"/>
                  <a:gd name="connsiteY39" fmla="*/ 167640 h 655320"/>
                  <a:gd name="connsiteX40" fmla="*/ 143237 w 2383532"/>
                  <a:gd name="connsiteY40" fmla="*/ 160020 h 655320"/>
                  <a:gd name="connsiteX41" fmla="*/ 173717 w 2383532"/>
                  <a:gd name="connsiteY41" fmla="*/ 144780 h 655320"/>
                  <a:gd name="connsiteX42" fmla="*/ 211817 w 2383532"/>
                  <a:gd name="connsiteY42" fmla="*/ 129540 h 655320"/>
                  <a:gd name="connsiteX43" fmla="*/ 272777 w 2383532"/>
                  <a:gd name="connsiteY43" fmla="*/ 99060 h 655320"/>
                  <a:gd name="connsiteX44" fmla="*/ 348977 w 2383532"/>
                  <a:gd name="connsiteY44" fmla="*/ 68580 h 655320"/>
                  <a:gd name="connsiteX45" fmla="*/ 432797 w 2383532"/>
                  <a:gd name="connsiteY45" fmla="*/ 60960 h 655320"/>
                  <a:gd name="connsiteX46" fmla="*/ 478517 w 2383532"/>
                  <a:gd name="connsiteY46" fmla="*/ 53340 h 655320"/>
                  <a:gd name="connsiteX47" fmla="*/ 615677 w 2383532"/>
                  <a:gd name="connsiteY47" fmla="*/ 45720 h 655320"/>
                  <a:gd name="connsiteX48" fmla="*/ 699497 w 2383532"/>
                  <a:gd name="connsiteY48" fmla="*/ 30480 h 655320"/>
                  <a:gd name="connsiteX49" fmla="*/ 737597 w 2383532"/>
                  <a:gd name="connsiteY49" fmla="*/ 22860 h 655320"/>
                  <a:gd name="connsiteX50" fmla="*/ 1019537 w 2383532"/>
                  <a:gd name="connsiteY5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078717 w 2383532"/>
                  <a:gd name="connsiteY22" fmla="*/ 548640 h 655320"/>
                  <a:gd name="connsiteX23" fmla="*/ 2002517 w 2383532"/>
                  <a:gd name="connsiteY23" fmla="*/ 579120 h 655320"/>
                  <a:gd name="connsiteX24" fmla="*/ 1872977 w 2383532"/>
                  <a:gd name="connsiteY24" fmla="*/ 609600 h 655320"/>
                  <a:gd name="connsiteX25" fmla="*/ 1796777 w 2383532"/>
                  <a:gd name="connsiteY25" fmla="*/ 624840 h 655320"/>
                  <a:gd name="connsiteX26" fmla="*/ 1377677 w 2383532"/>
                  <a:gd name="connsiteY26" fmla="*/ 647700 h 655320"/>
                  <a:gd name="connsiteX27" fmla="*/ 1263377 w 2383532"/>
                  <a:gd name="connsiteY27" fmla="*/ 655320 h 655320"/>
                  <a:gd name="connsiteX28" fmla="*/ 928097 w 2383532"/>
                  <a:gd name="connsiteY28" fmla="*/ 640080 h 655320"/>
                  <a:gd name="connsiteX29" fmla="*/ 859517 w 2383532"/>
                  <a:gd name="connsiteY29" fmla="*/ 624840 h 655320"/>
                  <a:gd name="connsiteX30" fmla="*/ 501377 w 2383532"/>
                  <a:gd name="connsiteY30" fmla="*/ 594360 h 655320"/>
                  <a:gd name="connsiteX31" fmla="*/ 265157 w 2383532"/>
                  <a:gd name="connsiteY31" fmla="*/ 548640 h 655320"/>
                  <a:gd name="connsiteX32" fmla="*/ 204197 w 2383532"/>
                  <a:gd name="connsiteY32" fmla="*/ 525780 h 655320"/>
                  <a:gd name="connsiteX33" fmla="*/ 97517 w 2383532"/>
                  <a:gd name="connsiteY33" fmla="*/ 480060 h 655320"/>
                  <a:gd name="connsiteX34" fmla="*/ 59417 w 2383532"/>
                  <a:gd name="connsiteY34" fmla="*/ 457200 h 655320"/>
                  <a:gd name="connsiteX35" fmla="*/ 6077 w 2383532"/>
                  <a:gd name="connsiteY35" fmla="*/ 403860 h 655320"/>
                  <a:gd name="connsiteX36" fmla="*/ 3537 w 2383532"/>
                  <a:gd name="connsiteY36" fmla="*/ 353060 h 655320"/>
                  <a:gd name="connsiteX37" fmla="*/ 27032 w 2383532"/>
                  <a:gd name="connsiteY37" fmla="*/ 259080 h 655320"/>
                  <a:gd name="connsiteX38" fmla="*/ 120377 w 2383532"/>
                  <a:gd name="connsiteY38" fmla="*/ 167640 h 655320"/>
                  <a:gd name="connsiteX39" fmla="*/ 143237 w 2383532"/>
                  <a:gd name="connsiteY39" fmla="*/ 160020 h 655320"/>
                  <a:gd name="connsiteX40" fmla="*/ 173717 w 2383532"/>
                  <a:gd name="connsiteY40" fmla="*/ 144780 h 655320"/>
                  <a:gd name="connsiteX41" fmla="*/ 211817 w 2383532"/>
                  <a:gd name="connsiteY41" fmla="*/ 129540 h 655320"/>
                  <a:gd name="connsiteX42" fmla="*/ 272777 w 2383532"/>
                  <a:gd name="connsiteY42" fmla="*/ 99060 h 655320"/>
                  <a:gd name="connsiteX43" fmla="*/ 348977 w 2383532"/>
                  <a:gd name="connsiteY43" fmla="*/ 68580 h 655320"/>
                  <a:gd name="connsiteX44" fmla="*/ 432797 w 2383532"/>
                  <a:gd name="connsiteY44" fmla="*/ 60960 h 655320"/>
                  <a:gd name="connsiteX45" fmla="*/ 478517 w 2383532"/>
                  <a:gd name="connsiteY45" fmla="*/ 53340 h 655320"/>
                  <a:gd name="connsiteX46" fmla="*/ 615677 w 2383532"/>
                  <a:gd name="connsiteY46" fmla="*/ 45720 h 655320"/>
                  <a:gd name="connsiteX47" fmla="*/ 699497 w 2383532"/>
                  <a:gd name="connsiteY47" fmla="*/ 30480 h 655320"/>
                  <a:gd name="connsiteX48" fmla="*/ 737597 w 2383532"/>
                  <a:gd name="connsiteY48" fmla="*/ 22860 h 655320"/>
                  <a:gd name="connsiteX49" fmla="*/ 1019537 w 2383532"/>
                  <a:gd name="connsiteY4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162537 w 2383532"/>
                  <a:gd name="connsiteY20" fmla="*/ 510540 h 655320"/>
                  <a:gd name="connsiteX21" fmla="*/ 2078717 w 2383532"/>
                  <a:gd name="connsiteY21" fmla="*/ 548640 h 655320"/>
                  <a:gd name="connsiteX22" fmla="*/ 2002517 w 2383532"/>
                  <a:gd name="connsiteY22" fmla="*/ 579120 h 655320"/>
                  <a:gd name="connsiteX23" fmla="*/ 1872977 w 2383532"/>
                  <a:gd name="connsiteY23" fmla="*/ 609600 h 655320"/>
                  <a:gd name="connsiteX24" fmla="*/ 1796777 w 2383532"/>
                  <a:gd name="connsiteY24" fmla="*/ 624840 h 655320"/>
                  <a:gd name="connsiteX25" fmla="*/ 1377677 w 2383532"/>
                  <a:gd name="connsiteY25" fmla="*/ 647700 h 655320"/>
                  <a:gd name="connsiteX26" fmla="*/ 1263377 w 2383532"/>
                  <a:gd name="connsiteY26" fmla="*/ 655320 h 655320"/>
                  <a:gd name="connsiteX27" fmla="*/ 928097 w 2383532"/>
                  <a:gd name="connsiteY27" fmla="*/ 640080 h 655320"/>
                  <a:gd name="connsiteX28" fmla="*/ 859517 w 2383532"/>
                  <a:gd name="connsiteY28" fmla="*/ 624840 h 655320"/>
                  <a:gd name="connsiteX29" fmla="*/ 501377 w 2383532"/>
                  <a:gd name="connsiteY29" fmla="*/ 594360 h 655320"/>
                  <a:gd name="connsiteX30" fmla="*/ 265157 w 2383532"/>
                  <a:gd name="connsiteY30" fmla="*/ 548640 h 655320"/>
                  <a:gd name="connsiteX31" fmla="*/ 204197 w 2383532"/>
                  <a:gd name="connsiteY31" fmla="*/ 525780 h 655320"/>
                  <a:gd name="connsiteX32" fmla="*/ 97517 w 2383532"/>
                  <a:gd name="connsiteY32" fmla="*/ 480060 h 655320"/>
                  <a:gd name="connsiteX33" fmla="*/ 59417 w 2383532"/>
                  <a:gd name="connsiteY33" fmla="*/ 457200 h 655320"/>
                  <a:gd name="connsiteX34" fmla="*/ 6077 w 2383532"/>
                  <a:gd name="connsiteY34" fmla="*/ 403860 h 655320"/>
                  <a:gd name="connsiteX35" fmla="*/ 3537 w 2383532"/>
                  <a:gd name="connsiteY35" fmla="*/ 353060 h 655320"/>
                  <a:gd name="connsiteX36" fmla="*/ 27032 w 2383532"/>
                  <a:gd name="connsiteY36" fmla="*/ 259080 h 655320"/>
                  <a:gd name="connsiteX37" fmla="*/ 120377 w 2383532"/>
                  <a:gd name="connsiteY37" fmla="*/ 167640 h 655320"/>
                  <a:gd name="connsiteX38" fmla="*/ 143237 w 2383532"/>
                  <a:gd name="connsiteY38" fmla="*/ 160020 h 655320"/>
                  <a:gd name="connsiteX39" fmla="*/ 173717 w 2383532"/>
                  <a:gd name="connsiteY39" fmla="*/ 144780 h 655320"/>
                  <a:gd name="connsiteX40" fmla="*/ 211817 w 2383532"/>
                  <a:gd name="connsiteY40" fmla="*/ 129540 h 655320"/>
                  <a:gd name="connsiteX41" fmla="*/ 272777 w 2383532"/>
                  <a:gd name="connsiteY41" fmla="*/ 99060 h 655320"/>
                  <a:gd name="connsiteX42" fmla="*/ 348977 w 2383532"/>
                  <a:gd name="connsiteY42" fmla="*/ 68580 h 655320"/>
                  <a:gd name="connsiteX43" fmla="*/ 432797 w 2383532"/>
                  <a:gd name="connsiteY43" fmla="*/ 60960 h 655320"/>
                  <a:gd name="connsiteX44" fmla="*/ 478517 w 2383532"/>
                  <a:gd name="connsiteY44" fmla="*/ 53340 h 655320"/>
                  <a:gd name="connsiteX45" fmla="*/ 615677 w 2383532"/>
                  <a:gd name="connsiteY45" fmla="*/ 45720 h 655320"/>
                  <a:gd name="connsiteX46" fmla="*/ 699497 w 2383532"/>
                  <a:gd name="connsiteY46" fmla="*/ 30480 h 655320"/>
                  <a:gd name="connsiteX47" fmla="*/ 737597 w 2383532"/>
                  <a:gd name="connsiteY47" fmla="*/ 22860 h 655320"/>
                  <a:gd name="connsiteX48" fmla="*/ 1019537 w 2383532"/>
                  <a:gd name="connsiteY4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360657 w 2383532"/>
                  <a:gd name="connsiteY14" fmla="*/ 243840 h 655320"/>
                  <a:gd name="connsiteX15" fmla="*/ 2383517 w 2383532"/>
                  <a:gd name="connsiteY15" fmla="*/ 289560 h 655320"/>
                  <a:gd name="connsiteX16" fmla="*/ 2360657 w 2383532"/>
                  <a:gd name="connsiteY16" fmla="*/ 403860 h 655320"/>
                  <a:gd name="connsiteX17" fmla="*/ 2276837 w 2383532"/>
                  <a:gd name="connsiteY17" fmla="*/ 457200 h 655320"/>
                  <a:gd name="connsiteX18" fmla="*/ 2238737 w 2383532"/>
                  <a:gd name="connsiteY18" fmla="*/ 480060 h 655320"/>
                  <a:gd name="connsiteX19" fmla="*/ 2162537 w 2383532"/>
                  <a:gd name="connsiteY19" fmla="*/ 510540 h 655320"/>
                  <a:gd name="connsiteX20" fmla="*/ 2078717 w 2383532"/>
                  <a:gd name="connsiteY20" fmla="*/ 548640 h 655320"/>
                  <a:gd name="connsiteX21" fmla="*/ 2002517 w 2383532"/>
                  <a:gd name="connsiteY21" fmla="*/ 579120 h 655320"/>
                  <a:gd name="connsiteX22" fmla="*/ 1872977 w 2383532"/>
                  <a:gd name="connsiteY22" fmla="*/ 609600 h 655320"/>
                  <a:gd name="connsiteX23" fmla="*/ 1796777 w 2383532"/>
                  <a:gd name="connsiteY23" fmla="*/ 624840 h 655320"/>
                  <a:gd name="connsiteX24" fmla="*/ 1377677 w 2383532"/>
                  <a:gd name="connsiteY24" fmla="*/ 647700 h 655320"/>
                  <a:gd name="connsiteX25" fmla="*/ 1263377 w 2383532"/>
                  <a:gd name="connsiteY25" fmla="*/ 655320 h 655320"/>
                  <a:gd name="connsiteX26" fmla="*/ 928097 w 2383532"/>
                  <a:gd name="connsiteY26" fmla="*/ 640080 h 655320"/>
                  <a:gd name="connsiteX27" fmla="*/ 859517 w 2383532"/>
                  <a:gd name="connsiteY27" fmla="*/ 624840 h 655320"/>
                  <a:gd name="connsiteX28" fmla="*/ 501377 w 2383532"/>
                  <a:gd name="connsiteY28" fmla="*/ 594360 h 655320"/>
                  <a:gd name="connsiteX29" fmla="*/ 265157 w 2383532"/>
                  <a:gd name="connsiteY29" fmla="*/ 548640 h 655320"/>
                  <a:gd name="connsiteX30" fmla="*/ 204197 w 2383532"/>
                  <a:gd name="connsiteY30" fmla="*/ 525780 h 655320"/>
                  <a:gd name="connsiteX31" fmla="*/ 97517 w 2383532"/>
                  <a:gd name="connsiteY31" fmla="*/ 480060 h 655320"/>
                  <a:gd name="connsiteX32" fmla="*/ 59417 w 2383532"/>
                  <a:gd name="connsiteY32" fmla="*/ 457200 h 655320"/>
                  <a:gd name="connsiteX33" fmla="*/ 6077 w 2383532"/>
                  <a:gd name="connsiteY33" fmla="*/ 403860 h 655320"/>
                  <a:gd name="connsiteX34" fmla="*/ 3537 w 2383532"/>
                  <a:gd name="connsiteY34" fmla="*/ 353060 h 655320"/>
                  <a:gd name="connsiteX35" fmla="*/ 27032 w 2383532"/>
                  <a:gd name="connsiteY35" fmla="*/ 259080 h 655320"/>
                  <a:gd name="connsiteX36" fmla="*/ 120377 w 2383532"/>
                  <a:gd name="connsiteY36" fmla="*/ 167640 h 655320"/>
                  <a:gd name="connsiteX37" fmla="*/ 143237 w 2383532"/>
                  <a:gd name="connsiteY37" fmla="*/ 160020 h 655320"/>
                  <a:gd name="connsiteX38" fmla="*/ 173717 w 2383532"/>
                  <a:gd name="connsiteY38" fmla="*/ 144780 h 655320"/>
                  <a:gd name="connsiteX39" fmla="*/ 211817 w 2383532"/>
                  <a:gd name="connsiteY39" fmla="*/ 129540 h 655320"/>
                  <a:gd name="connsiteX40" fmla="*/ 272777 w 2383532"/>
                  <a:gd name="connsiteY40" fmla="*/ 99060 h 655320"/>
                  <a:gd name="connsiteX41" fmla="*/ 348977 w 2383532"/>
                  <a:gd name="connsiteY41" fmla="*/ 68580 h 655320"/>
                  <a:gd name="connsiteX42" fmla="*/ 432797 w 2383532"/>
                  <a:gd name="connsiteY42" fmla="*/ 60960 h 655320"/>
                  <a:gd name="connsiteX43" fmla="*/ 478517 w 2383532"/>
                  <a:gd name="connsiteY43" fmla="*/ 53340 h 655320"/>
                  <a:gd name="connsiteX44" fmla="*/ 615677 w 2383532"/>
                  <a:gd name="connsiteY44" fmla="*/ 45720 h 655320"/>
                  <a:gd name="connsiteX45" fmla="*/ 699497 w 2383532"/>
                  <a:gd name="connsiteY45" fmla="*/ 30480 h 655320"/>
                  <a:gd name="connsiteX46" fmla="*/ 737597 w 2383532"/>
                  <a:gd name="connsiteY46" fmla="*/ 22860 h 655320"/>
                  <a:gd name="connsiteX47" fmla="*/ 1019537 w 2383532"/>
                  <a:gd name="connsiteY4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53977 w 2383532"/>
                  <a:gd name="connsiteY12" fmla="*/ 190500 h 655320"/>
                  <a:gd name="connsiteX13" fmla="*/ 2360657 w 2383532"/>
                  <a:gd name="connsiteY13" fmla="*/ 243840 h 655320"/>
                  <a:gd name="connsiteX14" fmla="*/ 2383517 w 2383532"/>
                  <a:gd name="connsiteY14" fmla="*/ 289560 h 655320"/>
                  <a:gd name="connsiteX15" fmla="*/ 2360657 w 2383532"/>
                  <a:gd name="connsiteY15" fmla="*/ 403860 h 655320"/>
                  <a:gd name="connsiteX16" fmla="*/ 2276837 w 2383532"/>
                  <a:gd name="connsiteY16" fmla="*/ 457200 h 655320"/>
                  <a:gd name="connsiteX17" fmla="*/ 2238737 w 2383532"/>
                  <a:gd name="connsiteY17" fmla="*/ 480060 h 655320"/>
                  <a:gd name="connsiteX18" fmla="*/ 2162537 w 2383532"/>
                  <a:gd name="connsiteY18" fmla="*/ 510540 h 655320"/>
                  <a:gd name="connsiteX19" fmla="*/ 2078717 w 2383532"/>
                  <a:gd name="connsiteY19" fmla="*/ 548640 h 655320"/>
                  <a:gd name="connsiteX20" fmla="*/ 2002517 w 2383532"/>
                  <a:gd name="connsiteY20" fmla="*/ 579120 h 655320"/>
                  <a:gd name="connsiteX21" fmla="*/ 1872977 w 2383532"/>
                  <a:gd name="connsiteY21" fmla="*/ 609600 h 655320"/>
                  <a:gd name="connsiteX22" fmla="*/ 1796777 w 2383532"/>
                  <a:gd name="connsiteY22" fmla="*/ 624840 h 655320"/>
                  <a:gd name="connsiteX23" fmla="*/ 1377677 w 2383532"/>
                  <a:gd name="connsiteY23" fmla="*/ 647700 h 655320"/>
                  <a:gd name="connsiteX24" fmla="*/ 1263377 w 2383532"/>
                  <a:gd name="connsiteY24" fmla="*/ 655320 h 655320"/>
                  <a:gd name="connsiteX25" fmla="*/ 928097 w 2383532"/>
                  <a:gd name="connsiteY25" fmla="*/ 640080 h 655320"/>
                  <a:gd name="connsiteX26" fmla="*/ 859517 w 2383532"/>
                  <a:gd name="connsiteY26" fmla="*/ 624840 h 655320"/>
                  <a:gd name="connsiteX27" fmla="*/ 501377 w 2383532"/>
                  <a:gd name="connsiteY27" fmla="*/ 594360 h 655320"/>
                  <a:gd name="connsiteX28" fmla="*/ 265157 w 2383532"/>
                  <a:gd name="connsiteY28" fmla="*/ 548640 h 655320"/>
                  <a:gd name="connsiteX29" fmla="*/ 204197 w 2383532"/>
                  <a:gd name="connsiteY29" fmla="*/ 525780 h 655320"/>
                  <a:gd name="connsiteX30" fmla="*/ 97517 w 2383532"/>
                  <a:gd name="connsiteY30" fmla="*/ 480060 h 655320"/>
                  <a:gd name="connsiteX31" fmla="*/ 59417 w 2383532"/>
                  <a:gd name="connsiteY31" fmla="*/ 457200 h 655320"/>
                  <a:gd name="connsiteX32" fmla="*/ 6077 w 2383532"/>
                  <a:gd name="connsiteY32" fmla="*/ 403860 h 655320"/>
                  <a:gd name="connsiteX33" fmla="*/ 3537 w 2383532"/>
                  <a:gd name="connsiteY33" fmla="*/ 353060 h 655320"/>
                  <a:gd name="connsiteX34" fmla="*/ 27032 w 2383532"/>
                  <a:gd name="connsiteY34" fmla="*/ 259080 h 655320"/>
                  <a:gd name="connsiteX35" fmla="*/ 120377 w 2383532"/>
                  <a:gd name="connsiteY35" fmla="*/ 167640 h 655320"/>
                  <a:gd name="connsiteX36" fmla="*/ 143237 w 2383532"/>
                  <a:gd name="connsiteY36" fmla="*/ 160020 h 655320"/>
                  <a:gd name="connsiteX37" fmla="*/ 173717 w 2383532"/>
                  <a:gd name="connsiteY37" fmla="*/ 144780 h 655320"/>
                  <a:gd name="connsiteX38" fmla="*/ 211817 w 2383532"/>
                  <a:gd name="connsiteY38" fmla="*/ 129540 h 655320"/>
                  <a:gd name="connsiteX39" fmla="*/ 272777 w 2383532"/>
                  <a:gd name="connsiteY39" fmla="*/ 99060 h 655320"/>
                  <a:gd name="connsiteX40" fmla="*/ 348977 w 2383532"/>
                  <a:gd name="connsiteY40" fmla="*/ 68580 h 655320"/>
                  <a:gd name="connsiteX41" fmla="*/ 432797 w 2383532"/>
                  <a:gd name="connsiteY41" fmla="*/ 60960 h 655320"/>
                  <a:gd name="connsiteX42" fmla="*/ 478517 w 2383532"/>
                  <a:gd name="connsiteY42" fmla="*/ 53340 h 655320"/>
                  <a:gd name="connsiteX43" fmla="*/ 615677 w 2383532"/>
                  <a:gd name="connsiteY43" fmla="*/ 45720 h 655320"/>
                  <a:gd name="connsiteX44" fmla="*/ 699497 w 2383532"/>
                  <a:gd name="connsiteY44" fmla="*/ 30480 h 655320"/>
                  <a:gd name="connsiteX45" fmla="*/ 737597 w 2383532"/>
                  <a:gd name="connsiteY45" fmla="*/ 22860 h 655320"/>
                  <a:gd name="connsiteX46" fmla="*/ 1019537 w 2383532"/>
                  <a:gd name="connsiteY4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857737 w 2383532"/>
                  <a:gd name="connsiteY7" fmla="*/ 76200 h 655320"/>
                  <a:gd name="connsiteX8" fmla="*/ 2040617 w 2383532"/>
                  <a:gd name="connsiteY8" fmla="*/ 99060 h 655320"/>
                  <a:gd name="connsiteX9" fmla="*/ 2116817 w 2383532"/>
                  <a:gd name="connsiteY9" fmla="*/ 129540 h 655320"/>
                  <a:gd name="connsiteX10" fmla="*/ 2177777 w 2383532"/>
                  <a:gd name="connsiteY10" fmla="*/ 152400 h 655320"/>
                  <a:gd name="connsiteX11" fmla="*/ 2253977 w 2383532"/>
                  <a:gd name="connsiteY11" fmla="*/ 190500 h 655320"/>
                  <a:gd name="connsiteX12" fmla="*/ 2360657 w 2383532"/>
                  <a:gd name="connsiteY12" fmla="*/ 243840 h 655320"/>
                  <a:gd name="connsiteX13" fmla="*/ 2383517 w 2383532"/>
                  <a:gd name="connsiteY13" fmla="*/ 289560 h 655320"/>
                  <a:gd name="connsiteX14" fmla="*/ 2360657 w 2383532"/>
                  <a:gd name="connsiteY14" fmla="*/ 403860 h 655320"/>
                  <a:gd name="connsiteX15" fmla="*/ 2276837 w 2383532"/>
                  <a:gd name="connsiteY15" fmla="*/ 457200 h 655320"/>
                  <a:gd name="connsiteX16" fmla="*/ 2238737 w 2383532"/>
                  <a:gd name="connsiteY16" fmla="*/ 480060 h 655320"/>
                  <a:gd name="connsiteX17" fmla="*/ 2162537 w 2383532"/>
                  <a:gd name="connsiteY17" fmla="*/ 510540 h 655320"/>
                  <a:gd name="connsiteX18" fmla="*/ 2078717 w 2383532"/>
                  <a:gd name="connsiteY18" fmla="*/ 548640 h 655320"/>
                  <a:gd name="connsiteX19" fmla="*/ 2002517 w 2383532"/>
                  <a:gd name="connsiteY19" fmla="*/ 579120 h 655320"/>
                  <a:gd name="connsiteX20" fmla="*/ 1872977 w 2383532"/>
                  <a:gd name="connsiteY20" fmla="*/ 609600 h 655320"/>
                  <a:gd name="connsiteX21" fmla="*/ 1796777 w 2383532"/>
                  <a:gd name="connsiteY21" fmla="*/ 624840 h 655320"/>
                  <a:gd name="connsiteX22" fmla="*/ 1377677 w 2383532"/>
                  <a:gd name="connsiteY22" fmla="*/ 647700 h 655320"/>
                  <a:gd name="connsiteX23" fmla="*/ 1263377 w 2383532"/>
                  <a:gd name="connsiteY23" fmla="*/ 655320 h 655320"/>
                  <a:gd name="connsiteX24" fmla="*/ 928097 w 2383532"/>
                  <a:gd name="connsiteY24" fmla="*/ 640080 h 655320"/>
                  <a:gd name="connsiteX25" fmla="*/ 859517 w 2383532"/>
                  <a:gd name="connsiteY25" fmla="*/ 624840 h 655320"/>
                  <a:gd name="connsiteX26" fmla="*/ 501377 w 2383532"/>
                  <a:gd name="connsiteY26" fmla="*/ 594360 h 655320"/>
                  <a:gd name="connsiteX27" fmla="*/ 265157 w 2383532"/>
                  <a:gd name="connsiteY27" fmla="*/ 548640 h 655320"/>
                  <a:gd name="connsiteX28" fmla="*/ 204197 w 2383532"/>
                  <a:gd name="connsiteY28" fmla="*/ 525780 h 655320"/>
                  <a:gd name="connsiteX29" fmla="*/ 97517 w 2383532"/>
                  <a:gd name="connsiteY29" fmla="*/ 480060 h 655320"/>
                  <a:gd name="connsiteX30" fmla="*/ 59417 w 2383532"/>
                  <a:gd name="connsiteY30" fmla="*/ 457200 h 655320"/>
                  <a:gd name="connsiteX31" fmla="*/ 6077 w 2383532"/>
                  <a:gd name="connsiteY31" fmla="*/ 403860 h 655320"/>
                  <a:gd name="connsiteX32" fmla="*/ 3537 w 2383532"/>
                  <a:gd name="connsiteY32" fmla="*/ 353060 h 655320"/>
                  <a:gd name="connsiteX33" fmla="*/ 27032 w 2383532"/>
                  <a:gd name="connsiteY33" fmla="*/ 259080 h 655320"/>
                  <a:gd name="connsiteX34" fmla="*/ 120377 w 2383532"/>
                  <a:gd name="connsiteY34" fmla="*/ 167640 h 655320"/>
                  <a:gd name="connsiteX35" fmla="*/ 143237 w 2383532"/>
                  <a:gd name="connsiteY35" fmla="*/ 160020 h 655320"/>
                  <a:gd name="connsiteX36" fmla="*/ 173717 w 2383532"/>
                  <a:gd name="connsiteY36" fmla="*/ 144780 h 655320"/>
                  <a:gd name="connsiteX37" fmla="*/ 211817 w 2383532"/>
                  <a:gd name="connsiteY37" fmla="*/ 129540 h 655320"/>
                  <a:gd name="connsiteX38" fmla="*/ 272777 w 2383532"/>
                  <a:gd name="connsiteY38" fmla="*/ 99060 h 655320"/>
                  <a:gd name="connsiteX39" fmla="*/ 348977 w 2383532"/>
                  <a:gd name="connsiteY39" fmla="*/ 68580 h 655320"/>
                  <a:gd name="connsiteX40" fmla="*/ 432797 w 2383532"/>
                  <a:gd name="connsiteY40" fmla="*/ 60960 h 655320"/>
                  <a:gd name="connsiteX41" fmla="*/ 478517 w 2383532"/>
                  <a:gd name="connsiteY41" fmla="*/ 53340 h 655320"/>
                  <a:gd name="connsiteX42" fmla="*/ 615677 w 2383532"/>
                  <a:gd name="connsiteY42" fmla="*/ 45720 h 655320"/>
                  <a:gd name="connsiteX43" fmla="*/ 699497 w 2383532"/>
                  <a:gd name="connsiteY43" fmla="*/ 30480 h 655320"/>
                  <a:gd name="connsiteX44" fmla="*/ 737597 w 2383532"/>
                  <a:gd name="connsiteY44" fmla="*/ 22860 h 655320"/>
                  <a:gd name="connsiteX45" fmla="*/ 1019537 w 2383532"/>
                  <a:gd name="connsiteY4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699497 w 2383532"/>
                  <a:gd name="connsiteY42" fmla="*/ 30480 h 655320"/>
                  <a:gd name="connsiteX43" fmla="*/ 737597 w 2383532"/>
                  <a:gd name="connsiteY43" fmla="*/ 22860 h 655320"/>
                  <a:gd name="connsiteX44" fmla="*/ 1019537 w 2383532"/>
                  <a:gd name="connsiteY4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737597 w 2383532"/>
                  <a:gd name="connsiteY42" fmla="*/ 22860 h 655320"/>
                  <a:gd name="connsiteX43" fmla="*/ 1019537 w 2383532"/>
                  <a:gd name="connsiteY4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432797 w 2383532"/>
                  <a:gd name="connsiteY38" fmla="*/ 60960 h 655320"/>
                  <a:gd name="connsiteX39" fmla="*/ 478517 w 2383532"/>
                  <a:gd name="connsiteY39" fmla="*/ 53340 h 655320"/>
                  <a:gd name="connsiteX40" fmla="*/ 615677 w 2383532"/>
                  <a:gd name="connsiteY40" fmla="*/ 45720 h 655320"/>
                  <a:gd name="connsiteX41" fmla="*/ 737597 w 2383532"/>
                  <a:gd name="connsiteY41" fmla="*/ 22860 h 655320"/>
                  <a:gd name="connsiteX42" fmla="*/ 1019537 w 2383532"/>
                  <a:gd name="connsiteY4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432797 w 2383532"/>
                  <a:gd name="connsiteY37" fmla="*/ 60960 h 655320"/>
                  <a:gd name="connsiteX38" fmla="*/ 478517 w 2383532"/>
                  <a:gd name="connsiteY38" fmla="*/ 53340 h 655320"/>
                  <a:gd name="connsiteX39" fmla="*/ 615677 w 2383532"/>
                  <a:gd name="connsiteY39" fmla="*/ 45720 h 655320"/>
                  <a:gd name="connsiteX40" fmla="*/ 737597 w 2383532"/>
                  <a:gd name="connsiteY40" fmla="*/ 22860 h 655320"/>
                  <a:gd name="connsiteX41" fmla="*/ 1019537 w 2383532"/>
                  <a:gd name="connsiteY4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92662 w 2383532"/>
                  <a:gd name="connsiteY6" fmla="*/ 5715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73027 w 2383532"/>
                  <a:gd name="connsiteY9" fmla="*/ 180975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14605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615677 w 2383532"/>
                  <a:gd name="connsiteY35" fmla="*/ 45720 h 655320"/>
                  <a:gd name="connsiteX36" fmla="*/ 737597 w 2383532"/>
                  <a:gd name="connsiteY36" fmla="*/ 22860 h 655320"/>
                  <a:gd name="connsiteX37" fmla="*/ 1019537 w 2383532"/>
                  <a:gd name="connsiteY37" fmla="*/ 14605 h 655320"/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59" name="Freeform: Shape 54">
                <a:extLst>
                  <a:ext uri="{FF2B5EF4-FFF2-40B4-BE49-F238E27FC236}">
                    <a16:creationId xmlns:a16="http://schemas.microsoft.com/office/drawing/2014/main" id="{2CC5BDAE-C1B3-249F-8AB2-1E1C278F5C7C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29540 w 2461364"/>
                  <a:gd name="connsiteY4" fmla="*/ 266700 h 419100"/>
                  <a:gd name="connsiteX5" fmla="*/ 152400 w 2461364"/>
                  <a:gd name="connsiteY5" fmla="*/ 274320 h 419100"/>
                  <a:gd name="connsiteX6" fmla="*/ 259080 w 2461364"/>
                  <a:gd name="connsiteY6" fmla="*/ 312420 h 419100"/>
                  <a:gd name="connsiteX7" fmla="*/ 365760 w 2461364"/>
                  <a:gd name="connsiteY7" fmla="*/ 327660 h 419100"/>
                  <a:gd name="connsiteX8" fmla="*/ 464820 w 2461364"/>
                  <a:gd name="connsiteY8" fmla="*/ 350520 h 419100"/>
                  <a:gd name="connsiteX9" fmla="*/ 495300 w 2461364"/>
                  <a:gd name="connsiteY9" fmla="*/ 358140 h 419100"/>
                  <a:gd name="connsiteX10" fmla="*/ 579120 w 2461364"/>
                  <a:gd name="connsiteY10" fmla="*/ 365760 h 419100"/>
                  <a:gd name="connsiteX11" fmla="*/ 601980 w 2461364"/>
                  <a:gd name="connsiteY11" fmla="*/ 373380 h 419100"/>
                  <a:gd name="connsiteX12" fmla="*/ 640080 w 2461364"/>
                  <a:gd name="connsiteY12" fmla="*/ 388620 h 419100"/>
                  <a:gd name="connsiteX13" fmla="*/ 723900 w 2461364"/>
                  <a:gd name="connsiteY13" fmla="*/ 403860 h 419100"/>
                  <a:gd name="connsiteX14" fmla="*/ 822960 w 2461364"/>
                  <a:gd name="connsiteY14" fmla="*/ 419100 h 419100"/>
                  <a:gd name="connsiteX15" fmla="*/ 1661160 w 2461364"/>
                  <a:gd name="connsiteY15" fmla="*/ 411480 h 419100"/>
                  <a:gd name="connsiteX16" fmla="*/ 1699260 w 2461364"/>
                  <a:gd name="connsiteY16" fmla="*/ 396240 h 419100"/>
                  <a:gd name="connsiteX17" fmla="*/ 1744980 w 2461364"/>
                  <a:gd name="connsiteY17" fmla="*/ 388620 h 419100"/>
                  <a:gd name="connsiteX18" fmla="*/ 1844040 w 2461364"/>
                  <a:gd name="connsiteY18" fmla="*/ 365760 h 419100"/>
                  <a:gd name="connsiteX19" fmla="*/ 1905000 w 2461364"/>
                  <a:gd name="connsiteY19" fmla="*/ 350520 h 419100"/>
                  <a:gd name="connsiteX20" fmla="*/ 2049780 w 2461364"/>
                  <a:gd name="connsiteY20" fmla="*/ 342900 h 419100"/>
                  <a:gd name="connsiteX21" fmla="*/ 2072640 w 2461364"/>
                  <a:gd name="connsiteY21" fmla="*/ 335280 h 419100"/>
                  <a:gd name="connsiteX22" fmla="*/ 2164080 w 2461364"/>
                  <a:gd name="connsiteY22" fmla="*/ 320040 h 419100"/>
                  <a:gd name="connsiteX23" fmla="*/ 2308860 w 2461364"/>
                  <a:gd name="connsiteY23" fmla="*/ 266700 h 419100"/>
                  <a:gd name="connsiteX24" fmla="*/ 2369820 w 2461364"/>
                  <a:gd name="connsiteY24" fmla="*/ 228600 h 419100"/>
                  <a:gd name="connsiteX25" fmla="*/ 2423160 w 2461364"/>
                  <a:gd name="connsiteY25" fmla="*/ 190500 h 419100"/>
                  <a:gd name="connsiteX26" fmla="*/ 2446020 w 2461364"/>
                  <a:gd name="connsiteY26" fmla="*/ 160020 h 419100"/>
                  <a:gd name="connsiteX27" fmla="*/ 2461260 w 2461364"/>
                  <a:gd name="connsiteY27" fmla="*/ 99060 h 419100"/>
                  <a:gd name="connsiteX28" fmla="*/ 2446020 w 2461364"/>
                  <a:gd name="connsiteY28" fmla="*/ 53340 h 419100"/>
                  <a:gd name="connsiteX29" fmla="*/ 2423160 w 2461364"/>
                  <a:gd name="connsiteY29" fmla="*/ 22860 h 419100"/>
                  <a:gd name="connsiteX30" fmla="*/ 2400300 w 2461364"/>
                  <a:gd name="connsiteY30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259080 w 2461364"/>
                  <a:gd name="connsiteY5" fmla="*/ 312420 h 419100"/>
                  <a:gd name="connsiteX6" fmla="*/ 365760 w 2461364"/>
                  <a:gd name="connsiteY6" fmla="*/ 327660 h 419100"/>
                  <a:gd name="connsiteX7" fmla="*/ 464820 w 2461364"/>
                  <a:gd name="connsiteY7" fmla="*/ 350520 h 419100"/>
                  <a:gd name="connsiteX8" fmla="*/ 495300 w 2461364"/>
                  <a:gd name="connsiteY8" fmla="*/ 358140 h 419100"/>
                  <a:gd name="connsiteX9" fmla="*/ 579120 w 2461364"/>
                  <a:gd name="connsiteY9" fmla="*/ 365760 h 419100"/>
                  <a:gd name="connsiteX10" fmla="*/ 601980 w 2461364"/>
                  <a:gd name="connsiteY10" fmla="*/ 373380 h 419100"/>
                  <a:gd name="connsiteX11" fmla="*/ 640080 w 2461364"/>
                  <a:gd name="connsiteY11" fmla="*/ 388620 h 419100"/>
                  <a:gd name="connsiteX12" fmla="*/ 723900 w 2461364"/>
                  <a:gd name="connsiteY12" fmla="*/ 403860 h 419100"/>
                  <a:gd name="connsiteX13" fmla="*/ 822960 w 2461364"/>
                  <a:gd name="connsiteY13" fmla="*/ 419100 h 419100"/>
                  <a:gd name="connsiteX14" fmla="*/ 1661160 w 2461364"/>
                  <a:gd name="connsiteY14" fmla="*/ 411480 h 419100"/>
                  <a:gd name="connsiteX15" fmla="*/ 1699260 w 2461364"/>
                  <a:gd name="connsiteY15" fmla="*/ 396240 h 419100"/>
                  <a:gd name="connsiteX16" fmla="*/ 1744980 w 2461364"/>
                  <a:gd name="connsiteY16" fmla="*/ 388620 h 419100"/>
                  <a:gd name="connsiteX17" fmla="*/ 1844040 w 2461364"/>
                  <a:gd name="connsiteY17" fmla="*/ 365760 h 419100"/>
                  <a:gd name="connsiteX18" fmla="*/ 1905000 w 2461364"/>
                  <a:gd name="connsiteY18" fmla="*/ 350520 h 419100"/>
                  <a:gd name="connsiteX19" fmla="*/ 2049780 w 2461364"/>
                  <a:gd name="connsiteY19" fmla="*/ 342900 h 419100"/>
                  <a:gd name="connsiteX20" fmla="*/ 2072640 w 2461364"/>
                  <a:gd name="connsiteY20" fmla="*/ 335280 h 419100"/>
                  <a:gd name="connsiteX21" fmla="*/ 2164080 w 2461364"/>
                  <a:gd name="connsiteY21" fmla="*/ 320040 h 419100"/>
                  <a:gd name="connsiteX22" fmla="*/ 2308860 w 2461364"/>
                  <a:gd name="connsiteY22" fmla="*/ 266700 h 419100"/>
                  <a:gd name="connsiteX23" fmla="*/ 2369820 w 2461364"/>
                  <a:gd name="connsiteY23" fmla="*/ 228600 h 419100"/>
                  <a:gd name="connsiteX24" fmla="*/ 2423160 w 2461364"/>
                  <a:gd name="connsiteY24" fmla="*/ 190500 h 419100"/>
                  <a:gd name="connsiteX25" fmla="*/ 2446020 w 2461364"/>
                  <a:gd name="connsiteY25" fmla="*/ 160020 h 419100"/>
                  <a:gd name="connsiteX26" fmla="*/ 2461260 w 2461364"/>
                  <a:gd name="connsiteY26" fmla="*/ 99060 h 419100"/>
                  <a:gd name="connsiteX27" fmla="*/ 2446020 w 2461364"/>
                  <a:gd name="connsiteY27" fmla="*/ 53340 h 419100"/>
                  <a:gd name="connsiteX28" fmla="*/ 2423160 w 2461364"/>
                  <a:gd name="connsiteY28" fmla="*/ 22860 h 419100"/>
                  <a:gd name="connsiteX29" fmla="*/ 2400300 w 2461364"/>
                  <a:gd name="connsiteY29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495300 w 2461364"/>
                  <a:gd name="connsiteY7" fmla="*/ 358140 h 419100"/>
                  <a:gd name="connsiteX8" fmla="*/ 579120 w 2461364"/>
                  <a:gd name="connsiteY8" fmla="*/ 365760 h 419100"/>
                  <a:gd name="connsiteX9" fmla="*/ 601980 w 2461364"/>
                  <a:gd name="connsiteY9" fmla="*/ 373380 h 419100"/>
                  <a:gd name="connsiteX10" fmla="*/ 640080 w 2461364"/>
                  <a:gd name="connsiteY10" fmla="*/ 388620 h 419100"/>
                  <a:gd name="connsiteX11" fmla="*/ 723900 w 2461364"/>
                  <a:gd name="connsiteY11" fmla="*/ 403860 h 419100"/>
                  <a:gd name="connsiteX12" fmla="*/ 822960 w 2461364"/>
                  <a:gd name="connsiteY12" fmla="*/ 419100 h 419100"/>
                  <a:gd name="connsiteX13" fmla="*/ 1661160 w 2461364"/>
                  <a:gd name="connsiteY13" fmla="*/ 411480 h 419100"/>
                  <a:gd name="connsiteX14" fmla="*/ 1699260 w 2461364"/>
                  <a:gd name="connsiteY14" fmla="*/ 396240 h 419100"/>
                  <a:gd name="connsiteX15" fmla="*/ 1744980 w 2461364"/>
                  <a:gd name="connsiteY15" fmla="*/ 388620 h 419100"/>
                  <a:gd name="connsiteX16" fmla="*/ 1844040 w 2461364"/>
                  <a:gd name="connsiteY16" fmla="*/ 365760 h 419100"/>
                  <a:gd name="connsiteX17" fmla="*/ 1905000 w 2461364"/>
                  <a:gd name="connsiteY17" fmla="*/ 350520 h 419100"/>
                  <a:gd name="connsiteX18" fmla="*/ 2049780 w 2461364"/>
                  <a:gd name="connsiteY18" fmla="*/ 342900 h 419100"/>
                  <a:gd name="connsiteX19" fmla="*/ 2072640 w 2461364"/>
                  <a:gd name="connsiteY19" fmla="*/ 335280 h 419100"/>
                  <a:gd name="connsiteX20" fmla="*/ 2164080 w 2461364"/>
                  <a:gd name="connsiteY20" fmla="*/ 320040 h 419100"/>
                  <a:gd name="connsiteX21" fmla="*/ 2308860 w 2461364"/>
                  <a:gd name="connsiteY21" fmla="*/ 266700 h 419100"/>
                  <a:gd name="connsiteX22" fmla="*/ 2369820 w 2461364"/>
                  <a:gd name="connsiteY22" fmla="*/ 228600 h 419100"/>
                  <a:gd name="connsiteX23" fmla="*/ 2423160 w 2461364"/>
                  <a:gd name="connsiteY23" fmla="*/ 190500 h 419100"/>
                  <a:gd name="connsiteX24" fmla="*/ 2446020 w 2461364"/>
                  <a:gd name="connsiteY24" fmla="*/ 160020 h 419100"/>
                  <a:gd name="connsiteX25" fmla="*/ 2461260 w 2461364"/>
                  <a:gd name="connsiteY25" fmla="*/ 99060 h 419100"/>
                  <a:gd name="connsiteX26" fmla="*/ 2446020 w 2461364"/>
                  <a:gd name="connsiteY26" fmla="*/ 53340 h 419100"/>
                  <a:gd name="connsiteX27" fmla="*/ 2423160 w 2461364"/>
                  <a:gd name="connsiteY27" fmla="*/ 22860 h 419100"/>
                  <a:gd name="connsiteX28" fmla="*/ 2400300 w 2461364"/>
                  <a:gd name="connsiteY28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640080 w 2461364"/>
                  <a:gd name="connsiteY9" fmla="*/ 388620 h 419100"/>
                  <a:gd name="connsiteX10" fmla="*/ 723900 w 2461364"/>
                  <a:gd name="connsiteY10" fmla="*/ 403860 h 419100"/>
                  <a:gd name="connsiteX11" fmla="*/ 822960 w 2461364"/>
                  <a:gd name="connsiteY11" fmla="*/ 419100 h 419100"/>
                  <a:gd name="connsiteX12" fmla="*/ 1661160 w 2461364"/>
                  <a:gd name="connsiteY12" fmla="*/ 411480 h 419100"/>
                  <a:gd name="connsiteX13" fmla="*/ 1699260 w 2461364"/>
                  <a:gd name="connsiteY13" fmla="*/ 396240 h 419100"/>
                  <a:gd name="connsiteX14" fmla="*/ 1744980 w 2461364"/>
                  <a:gd name="connsiteY14" fmla="*/ 388620 h 419100"/>
                  <a:gd name="connsiteX15" fmla="*/ 1844040 w 2461364"/>
                  <a:gd name="connsiteY15" fmla="*/ 365760 h 419100"/>
                  <a:gd name="connsiteX16" fmla="*/ 1905000 w 2461364"/>
                  <a:gd name="connsiteY16" fmla="*/ 350520 h 419100"/>
                  <a:gd name="connsiteX17" fmla="*/ 2049780 w 2461364"/>
                  <a:gd name="connsiteY17" fmla="*/ 342900 h 419100"/>
                  <a:gd name="connsiteX18" fmla="*/ 2072640 w 2461364"/>
                  <a:gd name="connsiteY18" fmla="*/ 335280 h 419100"/>
                  <a:gd name="connsiteX19" fmla="*/ 2164080 w 2461364"/>
                  <a:gd name="connsiteY19" fmla="*/ 320040 h 419100"/>
                  <a:gd name="connsiteX20" fmla="*/ 2308860 w 2461364"/>
                  <a:gd name="connsiteY20" fmla="*/ 266700 h 419100"/>
                  <a:gd name="connsiteX21" fmla="*/ 2369820 w 2461364"/>
                  <a:gd name="connsiteY21" fmla="*/ 228600 h 419100"/>
                  <a:gd name="connsiteX22" fmla="*/ 2423160 w 2461364"/>
                  <a:gd name="connsiteY22" fmla="*/ 190500 h 419100"/>
                  <a:gd name="connsiteX23" fmla="*/ 2446020 w 2461364"/>
                  <a:gd name="connsiteY23" fmla="*/ 160020 h 419100"/>
                  <a:gd name="connsiteX24" fmla="*/ 2461260 w 2461364"/>
                  <a:gd name="connsiteY24" fmla="*/ 99060 h 419100"/>
                  <a:gd name="connsiteX25" fmla="*/ 2446020 w 2461364"/>
                  <a:gd name="connsiteY25" fmla="*/ 53340 h 419100"/>
                  <a:gd name="connsiteX26" fmla="*/ 2423160 w 2461364"/>
                  <a:gd name="connsiteY26" fmla="*/ 22860 h 419100"/>
                  <a:gd name="connsiteX27" fmla="*/ 2400300 w 2461364"/>
                  <a:gd name="connsiteY27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723900 w 2461364"/>
                  <a:gd name="connsiteY9" fmla="*/ 403860 h 419100"/>
                  <a:gd name="connsiteX10" fmla="*/ 822960 w 2461364"/>
                  <a:gd name="connsiteY10" fmla="*/ 419100 h 419100"/>
                  <a:gd name="connsiteX11" fmla="*/ 1661160 w 2461364"/>
                  <a:gd name="connsiteY11" fmla="*/ 411480 h 419100"/>
                  <a:gd name="connsiteX12" fmla="*/ 1699260 w 2461364"/>
                  <a:gd name="connsiteY12" fmla="*/ 396240 h 419100"/>
                  <a:gd name="connsiteX13" fmla="*/ 1744980 w 2461364"/>
                  <a:gd name="connsiteY13" fmla="*/ 388620 h 419100"/>
                  <a:gd name="connsiteX14" fmla="*/ 1844040 w 2461364"/>
                  <a:gd name="connsiteY14" fmla="*/ 365760 h 419100"/>
                  <a:gd name="connsiteX15" fmla="*/ 1905000 w 2461364"/>
                  <a:gd name="connsiteY15" fmla="*/ 350520 h 419100"/>
                  <a:gd name="connsiteX16" fmla="*/ 2049780 w 2461364"/>
                  <a:gd name="connsiteY16" fmla="*/ 342900 h 419100"/>
                  <a:gd name="connsiteX17" fmla="*/ 2072640 w 2461364"/>
                  <a:gd name="connsiteY17" fmla="*/ 335280 h 419100"/>
                  <a:gd name="connsiteX18" fmla="*/ 2164080 w 2461364"/>
                  <a:gd name="connsiteY18" fmla="*/ 320040 h 419100"/>
                  <a:gd name="connsiteX19" fmla="*/ 2308860 w 2461364"/>
                  <a:gd name="connsiteY19" fmla="*/ 266700 h 419100"/>
                  <a:gd name="connsiteX20" fmla="*/ 2369820 w 2461364"/>
                  <a:gd name="connsiteY20" fmla="*/ 228600 h 419100"/>
                  <a:gd name="connsiteX21" fmla="*/ 2423160 w 2461364"/>
                  <a:gd name="connsiteY21" fmla="*/ 190500 h 419100"/>
                  <a:gd name="connsiteX22" fmla="*/ 2446020 w 2461364"/>
                  <a:gd name="connsiteY22" fmla="*/ 160020 h 419100"/>
                  <a:gd name="connsiteX23" fmla="*/ 2461260 w 2461364"/>
                  <a:gd name="connsiteY23" fmla="*/ 99060 h 419100"/>
                  <a:gd name="connsiteX24" fmla="*/ 2446020 w 2461364"/>
                  <a:gd name="connsiteY24" fmla="*/ 53340 h 419100"/>
                  <a:gd name="connsiteX25" fmla="*/ 2423160 w 2461364"/>
                  <a:gd name="connsiteY25" fmla="*/ 22860 h 419100"/>
                  <a:gd name="connsiteX26" fmla="*/ 2400300 w 2461364"/>
                  <a:gd name="connsiteY26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723900 w 2461364"/>
                  <a:gd name="connsiteY8" fmla="*/ 403860 h 419100"/>
                  <a:gd name="connsiteX9" fmla="*/ 822960 w 2461364"/>
                  <a:gd name="connsiteY9" fmla="*/ 419100 h 419100"/>
                  <a:gd name="connsiteX10" fmla="*/ 1661160 w 2461364"/>
                  <a:gd name="connsiteY10" fmla="*/ 411480 h 419100"/>
                  <a:gd name="connsiteX11" fmla="*/ 1699260 w 2461364"/>
                  <a:gd name="connsiteY11" fmla="*/ 396240 h 419100"/>
                  <a:gd name="connsiteX12" fmla="*/ 1744980 w 2461364"/>
                  <a:gd name="connsiteY12" fmla="*/ 388620 h 419100"/>
                  <a:gd name="connsiteX13" fmla="*/ 1844040 w 2461364"/>
                  <a:gd name="connsiteY13" fmla="*/ 365760 h 419100"/>
                  <a:gd name="connsiteX14" fmla="*/ 1905000 w 2461364"/>
                  <a:gd name="connsiteY14" fmla="*/ 350520 h 419100"/>
                  <a:gd name="connsiteX15" fmla="*/ 2049780 w 2461364"/>
                  <a:gd name="connsiteY15" fmla="*/ 342900 h 419100"/>
                  <a:gd name="connsiteX16" fmla="*/ 2072640 w 2461364"/>
                  <a:gd name="connsiteY16" fmla="*/ 335280 h 419100"/>
                  <a:gd name="connsiteX17" fmla="*/ 2164080 w 2461364"/>
                  <a:gd name="connsiteY17" fmla="*/ 320040 h 419100"/>
                  <a:gd name="connsiteX18" fmla="*/ 2308860 w 2461364"/>
                  <a:gd name="connsiteY18" fmla="*/ 266700 h 419100"/>
                  <a:gd name="connsiteX19" fmla="*/ 2369820 w 2461364"/>
                  <a:gd name="connsiteY19" fmla="*/ 228600 h 419100"/>
                  <a:gd name="connsiteX20" fmla="*/ 2423160 w 2461364"/>
                  <a:gd name="connsiteY20" fmla="*/ 190500 h 419100"/>
                  <a:gd name="connsiteX21" fmla="*/ 2446020 w 2461364"/>
                  <a:gd name="connsiteY21" fmla="*/ 160020 h 419100"/>
                  <a:gd name="connsiteX22" fmla="*/ 2461260 w 2461364"/>
                  <a:gd name="connsiteY22" fmla="*/ 99060 h 419100"/>
                  <a:gd name="connsiteX23" fmla="*/ 2446020 w 2461364"/>
                  <a:gd name="connsiteY23" fmla="*/ 53340 h 419100"/>
                  <a:gd name="connsiteX24" fmla="*/ 2423160 w 2461364"/>
                  <a:gd name="connsiteY24" fmla="*/ 22860 h 419100"/>
                  <a:gd name="connsiteX25" fmla="*/ 2400300 w 2461364"/>
                  <a:gd name="connsiteY25" fmla="*/ 0 h 419100"/>
                  <a:gd name="connsiteX0" fmla="*/ 0 w 2461364"/>
                  <a:gd name="connsiteY0" fmla="*/ 7620 h 411909"/>
                  <a:gd name="connsiteX1" fmla="*/ 7620 w 2461364"/>
                  <a:gd name="connsiteY1" fmla="*/ 45720 h 411909"/>
                  <a:gd name="connsiteX2" fmla="*/ 15240 w 2461364"/>
                  <a:gd name="connsiteY2" fmla="*/ 152400 h 411909"/>
                  <a:gd name="connsiteX3" fmla="*/ 60960 w 2461364"/>
                  <a:gd name="connsiteY3" fmla="*/ 205740 h 411909"/>
                  <a:gd name="connsiteX4" fmla="*/ 152400 w 2461364"/>
                  <a:gd name="connsiteY4" fmla="*/ 274320 h 411909"/>
                  <a:gd name="connsiteX5" fmla="*/ 365760 w 2461364"/>
                  <a:gd name="connsiteY5" fmla="*/ 327660 h 411909"/>
                  <a:gd name="connsiteX6" fmla="*/ 464820 w 2461364"/>
                  <a:gd name="connsiteY6" fmla="*/ 350520 h 411909"/>
                  <a:gd name="connsiteX7" fmla="*/ 579120 w 2461364"/>
                  <a:gd name="connsiteY7" fmla="*/ 365760 h 411909"/>
                  <a:gd name="connsiteX8" fmla="*/ 723900 w 2461364"/>
                  <a:gd name="connsiteY8" fmla="*/ 403860 h 411909"/>
                  <a:gd name="connsiteX9" fmla="*/ 1661160 w 2461364"/>
                  <a:gd name="connsiteY9" fmla="*/ 411480 h 411909"/>
                  <a:gd name="connsiteX10" fmla="*/ 1699260 w 2461364"/>
                  <a:gd name="connsiteY10" fmla="*/ 396240 h 411909"/>
                  <a:gd name="connsiteX11" fmla="*/ 1744980 w 2461364"/>
                  <a:gd name="connsiteY11" fmla="*/ 388620 h 411909"/>
                  <a:gd name="connsiteX12" fmla="*/ 1844040 w 2461364"/>
                  <a:gd name="connsiteY12" fmla="*/ 365760 h 411909"/>
                  <a:gd name="connsiteX13" fmla="*/ 1905000 w 2461364"/>
                  <a:gd name="connsiteY13" fmla="*/ 350520 h 411909"/>
                  <a:gd name="connsiteX14" fmla="*/ 2049780 w 2461364"/>
                  <a:gd name="connsiteY14" fmla="*/ 342900 h 411909"/>
                  <a:gd name="connsiteX15" fmla="*/ 2072640 w 2461364"/>
                  <a:gd name="connsiteY15" fmla="*/ 335280 h 411909"/>
                  <a:gd name="connsiteX16" fmla="*/ 2164080 w 2461364"/>
                  <a:gd name="connsiteY16" fmla="*/ 320040 h 411909"/>
                  <a:gd name="connsiteX17" fmla="*/ 2308860 w 2461364"/>
                  <a:gd name="connsiteY17" fmla="*/ 266700 h 411909"/>
                  <a:gd name="connsiteX18" fmla="*/ 2369820 w 2461364"/>
                  <a:gd name="connsiteY18" fmla="*/ 228600 h 411909"/>
                  <a:gd name="connsiteX19" fmla="*/ 2423160 w 2461364"/>
                  <a:gd name="connsiteY19" fmla="*/ 190500 h 411909"/>
                  <a:gd name="connsiteX20" fmla="*/ 2446020 w 2461364"/>
                  <a:gd name="connsiteY20" fmla="*/ 160020 h 411909"/>
                  <a:gd name="connsiteX21" fmla="*/ 2461260 w 2461364"/>
                  <a:gd name="connsiteY21" fmla="*/ 99060 h 411909"/>
                  <a:gd name="connsiteX22" fmla="*/ 2446020 w 2461364"/>
                  <a:gd name="connsiteY22" fmla="*/ 53340 h 411909"/>
                  <a:gd name="connsiteX23" fmla="*/ 2423160 w 2461364"/>
                  <a:gd name="connsiteY23" fmla="*/ 22860 h 411909"/>
                  <a:gd name="connsiteX24" fmla="*/ 2400300 w 2461364"/>
                  <a:gd name="connsiteY24" fmla="*/ 0 h 411909"/>
                  <a:gd name="connsiteX0" fmla="*/ 0 w 2461364"/>
                  <a:gd name="connsiteY0" fmla="*/ 7620 h 411582"/>
                  <a:gd name="connsiteX1" fmla="*/ 7620 w 2461364"/>
                  <a:gd name="connsiteY1" fmla="*/ 45720 h 411582"/>
                  <a:gd name="connsiteX2" fmla="*/ 15240 w 2461364"/>
                  <a:gd name="connsiteY2" fmla="*/ 152400 h 411582"/>
                  <a:gd name="connsiteX3" fmla="*/ 60960 w 2461364"/>
                  <a:gd name="connsiteY3" fmla="*/ 205740 h 411582"/>
                  <a:gd name="connsiteX4" fmla="*/ 152400 w 2461364"/>
                  <a:gd name="connsiteY4" fmla="*/ 274320 h 411582"/>
                  <a:gd name="connsiteX5" fmla="*/ 365760 w 2461364"/>
                  <a:gd name="connsiteY5" fmla="*/ 327660 h 411582"/>
                  <a:gd name="connsiteX6" fmla="*/ 464820 w 2461364"/>
                  <a:gd name="connsiteY6" fmla="*/ 350520 h 411582"/>
                  <a:gd name="connsiteX7" fmla="*/ 579120 w 2461364"/>
                  <a:gd name="connsiteY7" fmla="*/ 365760 h 411582"/>
                  <a:gd name="connsiteX8" fmla="*/ 850900 w 2461364"/>
                  <a:gd name="connsiteY8" fmla="*/ 394335 h 411582"/>
                  <a:gd name="connsiteX9" fmla="*/ 1661160 w 2461364"/>
                  <a:gd name="connsiteY9" fmla="*/ 411480 h 411582"/>
                  <a:gd name="connsiteX10" fmla="*/ 1699260 w 2461364"/>
                  <a:gd name="connsiteY10" fmla="*/ 396240 h 411582"/>
                  <a:gd name="connsiteX11" fmla="*/ 1744980 w 2461364"/>
                  <a:gd name="connsiteY11" fmla="*/ 388620 h 411582"/>
                  <a:gd name="connsiteX12" fmla="*/ 1844040 w 2461364"/>
                  <a:gd name="connsiteY12" fmla="*/ 365760 h 411582"/>
                  <a:gd name="connsiteX13" fmla="*/ 1905000 w 2461364"/>
                  <a:gd name="connsiteY13" fmla="*/ 350520 h 411582"/>
                  <a:gd name="connsiteX14" fmla="*/ 2049780 w 2461364"/>
                  <a:gd name="connsiteY14" fmla="*/ 342900 h 411582"/>
                  <a:gd name="connsiteX15" fmla="*/ 2072640 w 2461364"/>
                  <a:gd name="connsiteY15" fmla="*/ 335280 h 411582"/>
                  <a:gd name="connsiteX16" fmla="*/ 2164080 w 2461364"/>
                  <a:gd name="connsiteY16" fmla="*/ 320040 h 411582"/>
                  <a:gd name="connsiteX17" fmla="*/ 2308860 w 2461364"/>
                  <a:gd name="connsiteY17" fmla="*/ 266700 h 411582"/>
                  <a:gd name="connsiteX18" fmla="*/ 2369820 w 2461364"/>
                  <a:gd name="connsiteY18" fmla="*/ 228600 h 411582"/>
                  <a:gd name="connsiteX19" fmla="*/ 2423160 w 2461364"/>
                  <a:gd name="connsiteY19" fmla="*/ 190500 h 411582"/>
                  <a:gd name="connsiteX20" fmla="*/ 2446020 w 2461364"/>
                  <a:gd name="connsiteY20" fmla="*/ 160020 h 411582"/>
                  <a:gd name="connsiteX21" fmla="*/ 2461260 w 2461364"/>
                  <a:gd name="connsiteY21" fmla="*/ 99060 h 411582"/>
                  <a:gd name="connsiteX22" fmla="*/ 2446020 w 2461364"/>
                  <a:gd name="connsiteY22" fmla="*/ 53340 h 411582"/>
                  <a:gd name="connsiteX23" fmla="*/ 2423160 w 2461364"/>
                  <a:gd name="connsiteY23" fmla="*/ 22860 h 411582"/>
                  <a:gd name="connsiteX24" fmla="*/ 2400300 w 2461364"/>
                  <a:gd name="connsiteY24" fmla="*/ 0 h 411582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99260 w 2461364"/>
                  <a:gd name="connsiteY10" fmla="*/ 396240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23160 w 2461364"/>
                  <a:gd name="connsiteY16" fmla="*/ 190500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10460 w 2461364"/>
                  <a:gd name="connsiteY16" fmla="*/ 187325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2688"/>
                  <a:gd name="connsiteY0" fmla="*/ 7620 h 408436"/>
                  <a:gd name="connsiteX1" fmla="*/ 7620 w 2462688"/>
                  <a:gd name="connsiteY1" fmla="*/ 45720 h 408436"/>
                  <a:gd name="connsiteX2" fmla="*/ 15240 w 2462688"/>
                  <a:gd name="connsiteY2" fmla="*/ 152400 h 408436"/>
                  <a:gd name="connsiteX3" fmla="*/ 60960 w 2462688"/>
                  <a:gd name="connsiteY3" fmla="*/ 205740 h 408436"/>
                  <a:gd name="connsiteX4" fmla="*/ 152400 w 2462688"/>
                  <a:gd name="connsiteY4" fmla="*/ 274320 h 408436"/>
                  <a:gd name="connsiteX5" fmla="*/ 365760 w 2462688"/>
                  <a:gd name="connsiteY5" fmla="*/ 327660 h 408436"/>
                  <a:gd name="connsiteX6" fmla="*/ 464820 w 2462688"/>
                  <a:gd name="connsiteY6" fmla="*/ 350520 h 408436"/>
                  <a:gd name="connsiteX7" fmla="*/ 579120 w 2462688"/>
                  <a:gd name="connsiteY7" fmla="*/ 365760 h 408436"/>
                  <a:gd name="connsiteX8" fmla="*/ 850900 w 2462688"/>
                  <a:gd name="connsiteY8" fmla="*/ 394335 h 408436"/>
                  <a:gd name="connsiteX9" fmla="*/ 1565910 w 2462688"/>
                  <a:gd name="connsiteY9" fmla="*/ 408305 h 408436"/>
                  <a:gd name="connsiteX10" fmla="*/ 1667510 w 2462688"/>
                  <a:gd name="connsiteY10" fmla="*/ 399415 h 408436"/>
                  <a:gd name="connsiteX11" fmla="*/ 1811655 w 2462688"/>
                  <a:gd name="connsiteY11" fmla="*/ 375920 h 408436"/>
                  <a:gd name="connsiteX12" fmla="*/ 1927225 w 2462688"/>
                  <a:gd name="connsiteY12" fmla="*/ 360045 h 408436"/>
                  <a:gd name="connsiteX13" fmla="*/ 2072640 w 2462688"/>
                  <a:gd name="connsiteY13" fmla="*/ 335280 h 408436"/>
                  <a:gd name="connsiteX14" fmla="*/ 2164080 w 2462688"/>
                  <a:gd name="connsiteY14" fmla="*/ 310515 h 408436"/>
                  <a:gd name="connsiteX15" fmla="*/ 2308860 w 2462688"/>
                  <a:gd name="connsiteY15" fmla="*/ 247650 h 408436"/>
                  <a:gd name="connsiteX16" fmla="*/ 2410460 w 2462688"/>
                  <a:gd name="connsiteY16" fmla="*/ 187325 h 408436"/>
                  <a:gd name="connsiteX17" fmla="*/ 2461260 w 2462688"/>
                  <a:gd name="connsiteY17" fmla="*/ 99060 h 408436"/>
                  <a:gd name="connsiteX18" fmla="*/ 2446020 w 2462688"/>
                  <a:gd name="connsiteY18" fmla="*/ 53340 h 408436"/>
                  <a:gd name="connsiteX19" fmla="*/ 2423160 w 2462688"/>
                  <a:gd name="connsiteY19" fmla="*/ 22860 h 408436"/>
                  <a:gd name="connsiteX20" fmla="*/ 2400300 w 2462688"/>
                  <a:gd name="connsiteY20" fmla="*/ 0 h 408436"/>
                  <a:gd name="connsiteX0" fmla="*/ 0 w 2462688"/>
                  <a:gd name="connsiteY0" fmla="*/ 0 h 400816"/>
                  <a:gd name="connsiteX1" fmla="*/ 7620 w 2462688"/>
                  <a:gd name="connsiteY1" fmla="*/ 38100 h 400816"/>
                  <a:gd name="connsiteX2" fmla="*/ 15240 w 2462688"/>
                  <a:gd name="connsiteY2" fmla="*/ 144780 h 400816"/>
                  <a:gd name="connsiteX3" fmla="*/ 60960 w 2462688"/>
                  <a:gd name="connsiteY3" fmla="*/ 198120 h 400816"/>
                  <a:gd name="connsiteX4" fmla="*/ 152400 w 2462688"/>
                  <a:gd name="connsiteY4" fmla="*/ 266700 h 400816"/>
                  <a:gd name="connsiteX5" fmla="*/ 365760 w 2462688"/>
                  <a:gd name="connsiteY5" fmla="*/ 320040 h 400816"/>
                  <a:gd name="connsiteX6" fmla="*/ 464820 w 2462688"/>
                  <a:gd name="connsiteY6" fmla="*/ 342900 h 400816"/>
                  <a:gd name="connsiteX7" fmla="*/ 579120 w 2462688"/>
                  <a:gd name="connsiteY7" fmla="*/ 358140 h 400816"/>
                  <a:gd name="connsiteX8" fmla="*/ 850900 w 2462688"/>
                  <a:gd name="connsiteY8" fmla="*/ 386715 h 400816"/>
                  <a:gd name="connsiteX9" fmla="*/ 1565910 w 2462688"/>
                  <a:gd name="connsiteY9" fmla="*/ 400685 h 400816"/>
                  <a:gd name="connsiteX10" fmla="*/ 1667510 w 2462688"/>
                  <a:gd name="connsiteY10" fmla="*/ 391795 h 400816"/>
                  <a:gd name="connsiteX11" fmla="*/ 1811655 w 2462688"/>
                  <a:gd name="connsiteY11" fmla="*/ 368300 h 400816"/>
                  <a:gd name="connsiteX12" fmla="*/ 1927225 w 2462688"/>
                  <a:gd name="connsiteY12" fmla="*/ 352425 h 400816"/>
                  <a:gd name="connsiteX13" fmla="*/ 2072640 w 2462688"/>
                  <a:gd name="connsiteY13" fmla="*/ 327660 h 400816"/>
                  <a:gd name="connsiteX14" fmla="*/ 2164080 w 2462688"/>
                  <a:gd name="connsiteY14" fmla="*/ 302895 h 400816"/>
                  <a:gd name="connsiteX15" fmla="*/ 2308860 w 2462688"/>
                  <a:gd name="connsiteY15" fmla="*/ 240030 h 400816"/>
                  <a:gd name="connsiteX16" fmla="*/ 2410460 w 2462688"/>
                  <a:gd name="connsiteY16" fmla="*/ 179705 h 400816"/>
                  <a:gd name="connsiteX17" fmla="*/ 2461260 w 2462688"/>
                  <a:gd name="connsiteY17" fmla="*/ 91440 h 400816"/>
                  <a:gd name="connsiteX18" fmla="*/ 2446020 w 2462688"/>
                  <a:gd name="connsiteY18" fmla="*/ 45720 h 400816"/>
                  <a:gd name="connsiteX19" fmla="*/ 2423160 w 2462688"/>
                  <a:gd name="connsiteY19" fmla="*/ 15240 h 400816"/>
                  <a:gd name="connsiteX0" fmla="*/ 0 w 2462742"/>
                  <a:gd name="connsiteY0" fmla="*/ 13335 h 414151"/>
                  <a:gd name="connsiteX1" fmla="*/ 7620 w 2462742"/>
                  <a:gd name="connsiteY1" fmla="*/ 51435 h 414151"/>
                  <a:gd name="connsiteX2" fmla="*/ 15240 w 2462742"/>
                  <a:gd name="connsiteY2" fmla="*/ 158115 h 414151"/>
                  <a:gd name="connsiteX3" fmla="*/ 60960 w 2462742"/>
                  <a:gd name="connsiteY3" fmla="*/ 211455 h 414151"/>
                  <a:gd name="connsiteX4" fmla="*/ 152400 w 2462742"/>
                  <a:gd name="connsiteY4" fmla="*/ 280035 h 414151"/>
                  <a:gd name="connsiteX5" fmla="*/ 365760 w 2462742"/>
                  <a:gd name="connsiteY5" fmla="*/ 333375 h 414151"/>
                  <a:gd name="connsiteX6" fmla="*/ 464820 w 2462742"/>
                  <a:gd name="connsiteY6" fmla="*/ 356235 h 414151"/>
                  <a:gd name="connsiteX7" fmla="*/ 579120 w 2462742"/>
                  <a:gd name="connsiteY7" fmla="*/ 371475 h 414151"/>
                  <a:gd name="connsiteX8" fmla="*/ 850900 w 2462742"/>
                  <a:gd name="connsiteY8" fmla="*/ 400050 h 414151"/>
                  <a:gd name="connsiteX9" fmla="*/ 1565910 w 2462742"/>
                  <a:gd name="connsiteY9" fmla="*/ 414020 h 414151"/>
                  <a:gd name="connsiteX10" fmla="*/ 1667510 w 2462742"/>
                  <a:gd name="connsiteY10" fmla="*/ 405130 h 414151"/>
                  <a:gd name="connsiteX11" fmla="*/ 1811655 w 2462742"/>
                  <a:gd name="connsiteY11" fmla="*/ 381635 h 414151"/>
                  <a:gd name="connsiteX12" fmla="*/ 1927225 w 2462742"/>
                  <a:gd name="connsiteY12" fmla="*/ 365760 h 414151"/>
                  <a:gd name="connsiteX13" fmla="*/ 2072640 w 2462742"/>
                  <a:gd name="connsiteY13" fmla="*/ 340995 h 414151"/>
                  <a:gd name="connsiteX14" fmla="*/ 2164080 w 2462742"/>
                  <a:gd name="connsiteY14" fmla="*/ 316230 h 414151"/>
                  <a:gd name="connsiteX15" fmla="*/ 2308860 w 2462742"/>
                  <a:gd name="connsiteY15" fmla="*/ 253365 h 414151"/>
                  <a:gd name="connsiteX16" fmla="*/ 2410460 w 2462742"/>
                  <a:gd name="connsiteY16" fmla="*/ 193040 h 414151"/>
                  <a:gd name="connsiteX17" fmla="*/ 2461260 w 2462742"/>
                  <a:gd name="connsiteY17" fmla="*/ 104775 h 414151"/>
                  <a:gd name="connsiteX18" fmla="*/ 2446020 w 2462742"/>
                  <a:gd name="connsiteY18" fmla="*/ 59055 h 414151"/>
                  <a:gd name="connsiteX19" fmla="*/ 2413635 w 2462742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93040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83515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63915 w 2474771"/>
                  <a:gd name="connsiteY4" fmla="*/ 280035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82965 w 2474771"/>
                  <a:gd name="connsiteY4" fmla="*/ 270510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960"/>
                  <a:gd name="connsiteY0" fmla="*/ 32385 h 433201"/>
                  <a:gd name="connsiteX1" fmla="*/ 85 w 2474960"/>
                  <a:gd name="connsiteY1" fmla="*/ 67310 h 433201"/>
                  <a:gd name="connsiteX2" fmla="*/ 26755 w 2474960"/>
                  <a:gd name="connsiteY2" fmla="*/ 177165 h 433201"/>
                  <a:gd name="connsiteX3" fmla="*/ 72475 w 2474960"/>
                  <a:gd name="connsiteY3" fmla="*/ 230505 h 433201"/>
                  <a:gd name="connsiteX4" fmla="*/ 182965 w 2474960"/>
                  <a:gd name="connsiteY4" fmla="*/ 289560 h 433201"/>
                  <a:gd name="connsiteX5" fmla="*/ 377275 w 2474960"/>
                  <a:gd name="connsiteY5" fmla="*/ 352425 h 433201"/>
                  <a:gd name="connsiteX6" fmla="*/ 476335 w 2474960"/>
                  <a:gd name="connsiteY6" fmla="*/ 375285 h 433201"/>
                  <a:gd name="connsiteX7" fmla="*/ 590635 w 2474960"/>
                  <a:gd name="connsiteY7" fmla="*/ 390525 h 433201"/>
                  <a:gd name="connsiteX8" fmla="*/ 862415 w 2474960"/>
                  <a:gd name="connsiteY8" fmla="*/ 419100 h 433201"/>
                  <a:gd name="connsiteX9" fmla="*/ 1577425 w 2474960"/>
                  <a:gd name="connsiteY9" fmla="*/ 433070 h 433201"/>
                  <a:gd name="connsiteX10" fmla="*/ 1679025 w 2474960"/>
                  <a:gd name="connsiteY10" fmla="*/ 424180 h 433201"/>
                  <a:gd name="connsiteX11" fmla="*/ 1823170 w 2474960"/>
                  <a:gd name="connsiteY11" fmla="*/ 400685 h 433201"/>
                  <a:gd name="connsiteX12" fmla="*/ 1938740 w 2474960"/>
                  <a:gd name="connsiteY12" fmla="*/ 384810 h 433201"/>
                  <a:gd name="connsiteX13" fmla="*/ 2084155 w 2474960"/>
                  <a:gd name="connsiteY13" fmla="*/ 360045 h 433201"/>
                  <a:gd name="connsiteX14" fmla="*/ 2175595 w 2474960"/>
                  <a:gd name="connsiteY14" fmla="*/ 335280 h 433201"/>
                  <a:gd name="connsiteX15" fmla="*/ 2320375 w 2474960"/>
                  <a:gd name="connsiteY15" fmla="*/ 272415 h 433201"/>
                  <a:gd name="connsiteX16" fmla="*/ 2421975 w 2474960"/>
                  <a:gd name="connsiteY16" fmla="*/ 202565 h 433201"/>
                  <a:gd name="connsiteX17" fmla="*/ 2472775 w 2474960"/>
                  <a:gd name="connsiteY17" fmla="*/ 123825 h 433201"/>
                  <a:gd name="connsiteX18" fmla="*/ 2460710 w 2474960"/>
                  <a:gd name="connsiteY18" fmla="*/ 65405 h 433201"/>
                  <a:gd name="connsiteX19" fmla="*/ 2415625 w 2474960"/>
                  <a:gd name="connsiteY19" fmla="*/ 0 h 433201"/>
                  <a:gd name="connsiteX0" fmla="*/ 24135 w 2474880"/>
                  <a:gd name="connsiteY0" fmla="*/ 16510 h 433201"/>
                  <a:gd name="connsiteX1" fmla="*/ 5 w 2474880"/>
                  <a:gd name="connsiteY1" fmla="*/ 67310 h 433201"/>
                  <a:gd name="connsiteX2" fmla="*/ 26675 w 2474880"/>
                  <a:gd name="connsiteY2" fmla="*/ 177165 h 433201"/>
                  <a:gd name="connsiteX3" fmla="*/ 72395 w 2474880"/>
                  <a:gd name="connsiteY3" fmla="*/ 230505 h 433201"/>
                  <a:gd name="connsiteX4" fmla="*/ 182885 w 2474880"/>
                  <a:gd name="connsiteY4" fmla="*/ 289560 h 433201"/>
                  <a:gd name="connsiteX5" fmla="*/ 377195 w 2474880"/>
                  <a:gd name="connsiteY5" fmla="*/ 352425 h 433201"/>
                  <a:gd name="connsiteX6" fmla="*/ 476255 w 2474880"/>
                  <a:gd name="connsiteY6" fmla="*/ 375285 h 433201"/>
                  <a:gd name="connsiteX7" fmla="*/ 590555 w 2474880"/>
                  <a:gd name="connsiteY7" fmla="*/ 390525 h 433201"/>
                  <a:gd name="connsiteX8" fmla="*/ 862335 w 2474880"/>
                  <a:gd name="connsiteY8" fmla="*/ 419100 h 433201"/>
                  <a:gd name="connsiteX9" fmla="*/ 1577345 w 2474880"/>
                  <a:gd name="connsiteY9" fmla="*/ 433070 h 433201"/>
                  <a:gd name="connsiteX10" fmla="*/ 1678945 w 2474880"/>
                  <a:gd name="connsiteY10" fmla="*/ 424180 h 433201"/>
                  <a:gd name="connsiteX11" fmla="*/ 1823090 w 2474880"/>
                  <a:gd name="connsiteY11" fmla="*/ 400685 h 433201"/>
                  <a:gd name="connsiteX12" fmla="*/ 1938660 w 2474880"/>
                  <a:gd name="connsiteY12" fmla="*/ 384810 h 433201"/>
                  <a:gd name="connsiteX13" fmla="*/ 2084075 w 2474880"/>
                  <a:gd name="connsiteY13" fmla="*/ 360045 h 433201"/>
                  <a:gd name="connsiteX14" fmla="*/ 2175515 w 2474880"/>
                  <a:gd name="connsiteY14" fmla="*/ 335280 h 433201"/>
                  <a:gd name="connsiteX15" fmla="*/ 2320295 w 2474880"/>
                  <a:gd name="connsiteY15" fmla="*/ 272415 h 433201"/>
                  <a:gd name="connsiteX16" fmla="*/ 2421895 w 2474880"/>
                  <a:gd name="connsiteY16" fmla="*/ 202565 h 433201"/>
                  <a:gd name="connsiteX17" fmla="*/ 2472695 w 2474880"/>
                  <a:gd name="connsiteY17" fmla="*/ 123825 h 433201"/>
                  <a:gd name="connsiteX18" fmla="*/ 2460630 w 2474880"/>
                  <a:gd name="connsiteY18" fmla="*/ 65405 h 433201"/>
                  <a:gd name="connsiteX19" fmla="*/ 2415545 w 2474880"/>
                  <a:gd name="connsiteY19" fmla="*/ 0 h 433201"/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60" name="Freeform: Shape 55">
                <a:extLst>
                  <a:ext uri="{FF2B5EF4-FFF2-40B4-BE49-F238E27FC236}">
                    <a16:creationId xmlns:a16="http://schemas.microsoft.com/office/drawing/2014/main" id="{9844F960-08B3-3735-25EE-B29DABF41EDE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476250 w 2262188"/>
                  <a:gd name="connsiteY14" fmla="*/ 509588 h 982971"/>
                  <a:gd name="connsiteX15" fmla="*/ 542925 w 2262188"/>
                  <a:gd name="connsiteY15" fmla="*/ 557213 h 982971"/>
                  <a:gd name="connsiteX16" fmla="*/ 600075 w 2262188"/>
                  <a:gd name="connsiteY16" fmla="*/ 614363 h 982971"/>
                  <a:gd name="connsiteX17" fmla="*/ 633413 w 2262188"/>
                  <a:gd name="connsiteY17" fmla="*/ 633413 h 982971"/>
                  <a:gd name="connsiteX18" fmla="*/ 690563 w 2262188"/>
                  <a:gd name="connsiteY18" fmla="*/ 676275 h 982971"/>
                  <a:gd name="connsiteX19" fmla="*/ 757238 w 2262188"/>
                  <a:gd name="connsiteY19" fmla="*/ 714375 h 982971"/>
                  <a:gd name="connsiteX20" fmla="*/ 776288 w 2262188"/>
                  <a:gd name="connsiteY20" fmla="*/ 728663 h 982971"/>
                  <a:gd name="connsiteX21" fmla="*/ 828675 w 2262188"/>
                  <a:gd name="connsiteY21" fmla="*/ 752475 h 982971"/>
                  <a:gd name="connsiteX22" fmla="*/ 847725 w 2262188"/>
                  <a:gd name="connsiteY22" fmla="*/ 766763 h 982971"/>
                  <a:gd name="connsiteX23" fmla="*/ 914400 w 2262188"/>
                  <a:gd name="connsiteY23" fmla="*/ 790575 h 982971"/>
                  <a:gd name="connsiteX24" fmla="*/ 947738 w 2262188"/>
                  <a:gd name="connsiteY24" fmla="*/ 809625 h 982971"/>
                  <a:gd name="connsiteX25" fmla="*/ 966788 w 2262188"/>
                  <a:gd name="connsiteY25" fmla="*/ 823913 h 982971"/>
                  <a:gd name="connsiteX26" fmla="*/ 981075 w 2262188"/>
                  <a:gd name="connsiteY26" fmla="*/ 828675 h 982971"/>
                  <a:gd name="connsiteX27" fmla="*/ 1000125 w 2262188"/>
                  <a:gd name="connsiteY27" fmla="*/ 838200 h 982971"/>
                  <a:gd name="connsiteX28" fmla="*/ 1033463 w 2262188"/>
                  <a:gd name="connsiteY28" fmla="*/ 852488 h 982971"/>
                  <a:gd name="connsiteX29" fmla="*/ 1100138 w 2262188"/>
                  <a:gd name="connsiteY29" fmla="*/ 881063 h 982971"/>
                  <a:gd name="connsiteX30" fmla="*/ 1128713 w 2262188"/>
                  <a:gd name="connsiteY30" fmla="*/ 885825 h 982971"/>
                  <a:gd name="connsiteX31" fmla="*/ 1204913 w 2262188"/>
                  <a:gd name="connsiteY31" fmla="*/ 909638 h 982971"/>
                  <a:gd name="connsiteX32" fmla="*/ 1233488 w 2262188"/>
                  <a:gd name="connsiteY32" fmla="*/ 914400 h 982971"/>
                  <a:gd name="connsiteX33" fmla="*/ 1281113 w 2262188"/>
                  <a:gd name="connsiteY33" fmla="*/ 928688 h 982971"/>
                  <a:gd name="connsiteX34" fmla="*/ 1343025 w 2262188"/>
                  <a:gd name="connsiteY34" fmla="*/ 933450 h 982971"/>
                  <a:gd name="connsiteX35" fmla="*/ 1409700 w 2262188"/>
                  <a:gd name="connsiteY35" fmla="*/ 942975 h 982971"/>
                  <a:gd name="connsiteX36" fmla="*/ 1485900 w 2262188"/>
                  <a:gd name="connsiteY36" fmla="*/ 952500 h 982971"/>
                  <a:gd name="connsiteX37" fmla="*/ 1538288 w 2262188"/>
                  <a:gd name="connsiteY37" fmla="*/ 962025 h 982971"/>
                  <a:gd name="connsiteX38" fmla="*/ 1919288 w 2262188"/>
                  <a:gd name="connsiteY38" fmla="*/ 966788 h 982971"/>
                  <a:gd name="connsiteX39" fmla="*/ 2262188 w 2262188"/>
                  <a:gd name="connsiteY3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542925 w 2262188"/>
                  <a:gd name="connsiteY14" fmla="*/ 557213 h 982971"/>
                  <a:gd name="connsiteX15" fmla="*/ 600075 w 2262188"/>
                  <a:gd name="connsiteY15" fmla="*/ 614363 h 982971"/>
                  <a:gd name="connsiteX16" fmla="*/ 633413 w 2262188"/>
                  <a:gd name="connsiteY16" fmla="*/ 633413 h 982971"/>
                  <a:gd name="connsiteX17" fmla="*/ 690563 w 2262188"/>
                  <a:gd name="connsiteY17" fmla="*/ 676275 h 982971"/>
                  <a:gd name="connsiteX18" fmla="*/ 757238 w 2262188"/>
                  <a:gd name="connsiteY18" fmla="*/ 714375 h 982971"/>
                  <a:gd name="connsiteX19" fmla="*/ 776288 w 2262188"/>
                  <a:gd name="connsiteY19" fmla="*/ 728663 h 982971"/>
                  <a:gd name="connsiteX20" fmla="*/ 828675 w 2262188"/>
                  <a:gd name="connsiteY20" fmla="*/ 752475 h 982971"/>
                  <a:gd name="connsiteX21" fmla="*/ 847725 w 2262188"/>
                  <a:gd name="connsiteY21" fmla="*/ 766763 h 982971"/>
                  <a:gd name="connsiteX22" fmla="*/ 914400 w 2262188"/>
                  <a:gd name="connsiteY22" fmla="*/ 790575 h 982971"/>
                  <a:gd name="connsiteX23" fmla="*/ 947738 w 2262188"/>
                  <a:gd name="connsiteY23" fmla="*/ 809625 h 982971"/>
                  <a:gd name="connsiteX24" fmla="*/ 966788 w 2262188"/>
                  <a:gd name="connsiteY24" fmla="*/ 823913 h 982971"/>
                  <a:gd name="connsiteX25" fmla="*/ 981075 w 2262188"/>
                  <a:gd name="connsiteY25" fmla="*/ 828675 h 982971"/>
                  <a:gd name="connsiteX26" fmla="*/ 1000125 w 2262188"/>
                  <a:gd name="connsiteY26" fmla="*/ 838200 h 982971"/>
                  <a:gd name="connsiteX27" fmla="*/ 1033463 w 2262188"/>
                  <a:gd name="connsiteY27" fmla="*/ 852488 h 982971"/>
                  <a:gd name="connsiteX28" fmla="*/ 1100138 w 2262188"/>
                  <a:gd name="connsiteY28" fmla="*/ 881063 h 982971"/>
                  <a:gd name="connsiteX29" fmla="*/ 1128713 w 2262188"/>
                  <a:gd name="connsiteY29" fmla="*/ 885825 h 982971"/>
                  <a:gd name="connsiteX30" fmla="*/ 1204913 w 2262188"/>
                  <a:gd name="connsiteY30" fmla="*/ 909638 h 982971"/>
                  <a:gd name="connsiteX31" fmla="*/ 1233488 w 2262188"/>
                  <a:gd name="connsiteY31" fmla="*/ 914400 h 982971"/>
                  <a:gd name="connsiteX32" fmla="*/ 1281113 w 2262188"/>
                  <a:gd name="connsiteY32" fmla="*/ 928688 h 982971"/>
                  <a:gd name="connsiteX33" fmla="*/ 1343025 w 2262188"/>
                  <a:gd name="connsiteY33" fmla="*/ 933450 h 982971"/>
                  <a:gd name="connsiteX34" fmla="*/ 1409700 w 2262188"/>
                  <a:gd name="connsiteY34" fmla="*/ 942975 h 982971"/>
                  <a:gd name="connsiteX35" fmla="*/ 1485900 w 2262188"/>
                  <a:gd name="connsiteY35" fmla="*/ 952500 h 982971"/>
                  <a:gd name="connsiteX36" fmla="*/ 1538288 w 2262188"/>
                  <a:gd name="connsiteY36" fmla="*/ 962025 h 982971"/>
                  <a:gd name="connsiteX37" fmla="*/ 1919288 w 2262188"/>
                  <a:gd name="connsiteY37" fmla="*/ 966788 h 982971"/>
                  <a:gd name="connsiteX38" fmla="*/ 2262188 w 2262188"/>
                  <a:gd name="connsiteY3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542925 w 2262188"/>
                  <a:gd name="connsiteY13" fmla="*/ 557213 h 982971"/>
                  <a:gd name="connsiteX14" fmla="*/ 600075 w 2262188"/>
                  <a:gd name="connsiteY14" fmla="*/ 614363 h 982971"/>
                  <a:gd name="connsiteX15" fmla="*/ 633413 w 2262188"/>
                  <a:gd name="connsiteY15" fmla="*/ 633413 h 982971"/>
                  <a:gd name="connsiteX16" fmla="*/ 690563 w 2262188"/>
                  <a:gd name="connsiteY16" fmla="*/ 676275 h 982971"/>
                  <a:gd name="connsiteX17" fmla="*/ 757238 w 2262188"/>
                  <a:gd name="connsiteY17" fmla="*/ 714375 h 982971"/>
                  <a:gd name="connsiteX18" fmla="*/ 776288 w 2262188"/>
                  <a:gd name="connsiteY18" fmla="*/ 728663 h 982971"/>
                  <a:gd name="connsiteX19" fmla="*/ 828675 w 2262188"/>
                  <a:gd name="connsiteY19" fmla="*/ 752475 h 982971"/>
                  <a:gd name="connsiteX20" fmla="*/ 847725 w 2262188"/>
                  <a:gd name="connsiteY20" fmla="*/ 766763 h 982971"/>
                  <a:gd name="connsiteX21" fmla="*/ 914400 w 2262188"/>
                  <a:gd name="connsiteY21" fmla="*/ 790575 h 982971"/>
                  <a:gd name="connsiteX22" fmla="*/ 947738 w 2262188"/>
                  <a:gd name="connsiteY22" fmla="*/ 809625 h 982971"/>
                  <a:gd name="connsiteX23" fmla="*/ 966788 w 2262188"/>
                  <a:gd name="connsiteY23" fmla="*/ 823913 h 982971"/>
                  <a:gd name="connsiteX24" fmla="*/ 981075 w 2262188"/>
                  <a:gd name="connsiteY24" fmla="*/ 828675 h 982971"/>
                  <a:gd name="connsiteX25" fmla="*/ 1000125 w 2262188"/>
                  <a:gd name="connsiteY25" fmla="*/ 838200 h 982971"/>
                  <a:gd name="connsiteX26" fmla="*/ 1033463 w 2262188"/>
                  <a:gd name="connsiteY26" fmla="*/ 852488 h 982971"/>
                  <a:gd name="connsiteX27" fmla="*/ 1100138 w 2262188"/>
                  <a:gd name="connsiteY27" fmla="*/ 881063 h 982971"/>
                  <a:gd name="connsiteX28" fmla="*/ 1128713 w 2262188"/>
                  <a:gd name="connsiteY28" fmla="*/ 885825 h 982971"/>
                  <a:gd name="connsiteX29" fmla="*/ 1204913 w 2262188"/>
                  <a:gd name="connsiteY29" fmla="*/ 909638 h 982971"/>
                  <a:gd name="connsiteX30" fmla="*/ 1233488 w 2262188"/>
                  <a:gd name="connsiteY30" fmla="*/ 914400 h 982971"/>
                  <a:gd name="connsiteX31" fmla="*/ 1281113 w 2262188"/>
                  <a:gd name="connsiteY31" fmla="*/ 928688 h 982971"/>
                  <a:gd name="connsiteX32" fmla="*/ 1343025 w 2262188"/>
                  <a:gd name="connsiteY32" fmla="*/ 933450 h 982971"/>
                  <a:gd name="connsiteX33" fmla="*/ 1409700 w 2262188"/>
                  <a:gd name="connsiteY33" fmla="*/ 942975 h 982971"/>
                  <a:gd name="connsiteX34" fmla="*/ 1485900 w 2262188"/>
                  <a:gd name="connsiteY34" fmla="*/ 952500 h 982971"/>
                  <a:gd name="connsiteX35" fmla="*/ 1538288 w 2262188"/>
                  <a:gd name="connsiteY35" fmla="*/ 962025 h 982971"/>
                  <a:gd name="connsiteX36" fmla="*/ 1919288 w 2262188"/>
                  <a:gd name="connsiteY36" fmla="*/ 966788 h 982971"/>
                  <a:gd name="connsiteX37" fmla="*/ 2262188 w 2262188"/>
                  <a:gd name="connsiteY3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71463 w 2262188"/>
                  <a:gd name="connsiteY7" fmla="*/ 347663 h 982971"/>
                  <a:gd name="connsiteX8" fmla="*/ 290513 w 2262188"/>
                  <a:gd name="connsiteY8" fmla="*/ 366713 h 982971"/>
                  <a:gd name="connsiteX9" fmla="*/ 338138 w 2262188"/>
                  <a:gd name="connsiteY9" fmla="*/ 419100 h 982971"/>
                  <a:gd name="connsiteX10" fmla="*/ 371475 w 2262188"/>
                  <a:gd name="connsiteY10" fmla="*/ 438150 h 982971"/>
                  <a:gd name="connsiteX11" fmla="*/ 395288 w 2262188"/>
                  <a:gd name="connsiteY11" fmla="*/ 457200 h 982971"/>
                  <a:gd name="connsiteX12" fmla="*/ 542925 w 2262188"/>
                  <a:gd name="connsiteY12" fmla="*/ 557213 h 982971"/>
                  <a:gd name="connsiteX13" fmla="*/ 600075 w 2262188"/>
                  <a:gd name="connsiteY13" fmla="*/ 614363 h 982971"/>
                  <a:gd name="connsiteX14" fmla="*/ 633413 w 2262188"/>
                  <a:gd name="connsiteY14" fmla="*/ 633413 h 982971"/>
                  <a:gd name="connsiteX15" fmla="*/ 690563 w 2262188"/>
                  <a:gd name="connsiteY15" fmla="*/ 676275 h 982971"/>
                  <a:gd name="connsiteX16" fmla="*/ 757238 w 2262188"/>
                  <a:gd name="connsiteY16" fmla="*/ 714375 h 982971"/>
                  <a:gd name="connsiteX17" fmla="*/ 776288 w 2262188"/>
                  <a:gd name="connsiteY17" fmla="*/ 728663 h 982971"/>
                  <a:gd name="connsiteX18" fmla="*/ 828675 w 2262188"/>
                  <a:gd name="connsiteY18" fmla="*/ 752475 h 982971"/>
                  <a:gd name="connsiteX19" fmla="*/ 847725 w 2262188"/>
                  <a:gd name="connsiteY19" fmla="*/ 766763 h 982971"/>
                  <a:gd name="connsiteX20" fmla="*/ 914400 w 2262188"/>
                  <a:gd name="connsiteY20" fmla="*/ 790575 h 982971"/>
                  <a:gd name="connsiteX21" fmla="*/ 947738 w 2262188"/>
                  <a:gd name="connsiteY21" fmla="*/ 809625 h 982971"/>
                  <a:gd name="connsiteX22" fmla="*/ 966788 w 2262188"/>
                  <a:gd name="connsiteY22" fmla="*/ 823913 h 982971"/>
                  <a:gd name="connsiteX23" fmla="*/ 981075 w 2262188"/>
                  <a:gd name="connsiteY23" fmla="*/ 828675 h 982971"/>
                  <a:gd name="connsiteX24" fmla="*/ 1000125 w 2262188"/>
                  <a:gd name="connsiteY24" fmla="*/ 838200 h 982971"/>
                  <a:gd name="connsiteX25" fmla="*/ 1033463 w 2262188"/>
                  <a:gd name="connsiteY25" fmla="*/ 852488 h 982971"/>
                  <a:gd name="connsiteX26" fmla="*/ 1100138 w 2262188"/>
                  <a:gd name="connsiteY26" fmla="*/ 881063 h 982971"/>
                  <a:gd name="connsiteX27" fmla="*/ 1128713 w 2262188"/>
                  <a:gd name="connsiteY27" fmla="*/ 885825 h 982971"/>
                  <a:gd name="connsiteX28" fmla="*/ 1204913 w 2262188"/>
                  <a:gd name="connsiteY28" fmla="*/ 909638 h 982971"/>
                  <a:gd name="connsiteX29" fmla="*/ 1233488 w 2262188"/>
                  <a:gd name="connsiteY29" fmla="*/ 914400 h 982971"/>
                  <a:gd name="connsiteX30" fmla="*/ 1281113 w 2262188"/>
                  <a:gd name="connsiteY30" fmla="*/ 928688 h 982971"/>
                  <a:gd name="connsiteX31" fmla="*/ 1343025 w 2262188"/>
                  <a:gd name="connsiteY31" fmla="*/ 933450 h 982971"/>
                  <a:gd name="connsiteX32" fmla="*/ 1409700 w 2262188"/>
                  <a:gd name="connsiteY32" fmla="*/ 942975 h 982971"/>
                  <a:gd name="connsiteX33" fmla="*/ 1485900 w 2262188"/>
                  <a:gd name="connsiteY33" fmla="*/ 952500 h 982971"/>
                  <a:gd name="connsiteX34" fmla="*/ 1538288 w 2262188"/>
                  <a:gd name="connsiteY34" fmla="*/ 962025 h 982971"/>
                  <a:gd name="connsiteX35" fmla="*/ 1919288 w 2262188"/>
                  <a:gd name="connsiteY35" fmla="*/ 966788 h 982971"/>
                  <a:gd name="connsiteX36" fmla="*/ 2262188 w 2262188"/>
                  <a:gd name="connsiteY3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290513 w 2262188"/>
                  <a:gd name="connsiteY7" fmla="*/ 366713 h 982971"/>
                  <a:gd name="connsiteX8" fmla="*/ 338138 w 2262188"/>
                  <a:gd name="connsiteY8" fmla="*/ 419100 h 982971"/>
                  <a:gd name="connsiteX9" fmla="*/ 371475 w 2262188"/>
                  <a:gd name="connsiteY9" fmla="*/ 438150 h 982971"/>
                  <a:gd name="connsiteX10" fmla="*/ 395288 w 2262188"/>
                  <a:gd name="connsiteY10" fmla="*/ 457200 h 982971"/>
                  <a:gd name="connsiteX11" fmla="*/ 542925 w 2262188"/>
                  <a:gd name="connsiteY11" fmla="*/ 557213 h 982971"/>
                  <a:gd name="connsiteX12" fmla="*/ 600075 w 2262188"/>
                  <a:gd name="connsiteY12" fmla="*/ 614363 h 982971"/>
                  <a:gd name="connsiteX13" fmla="*/ 633413 w 2262188"/>
                  <a:gd name="connsiteY13" fmla="*/ 633413 h 982971"/>
                  <a:gd name="connsiteX14" fmla="*/ 690563 w 2262188"/>
                  <a:gd name="connsiteY14" fmla="*/ 676275 h 982971"/>
                  <a:gd name="connsiteX15" fmla="*/ 757238 w 2262188"/>
                  <a:gd name="connsiteY15" fmla="*/ 714375 h 982971"/>
                  <a:gd name="connsiteX16" fmla="*/ 776288 w 2262188"/>
                  <a:gd name="connsiteY16" fmla="*/ 728663 h 982971"/>
                  <a:gd name="connsiteX17" fmla="*/ 828675 w 2262188"/>
                  <a:gd name="connsiteY17" fmla="*/ 752475 h 982971"/>
                  <a:gd name="connsiteX18" fmla="*/ 847725 w 2262188"/>
                  <a:gd name="connsiteY18" fmla="*/ 766763 h 982971"/>
                  <a:gd name="connsiteX19" fmla="*/ 914400 w 2262188"/>
                  <a:gd name="connsiteY19" fmla="*/ 790575 h 982971"/>
                  <a:gd name="connsiteX20" fmla="*/ 947738 w 2262188"/>
                  <a:gd name="connsiteY20" fmla="*/ 809625 h 982971"/>
                  <a:gd name="connsiteX21" fmla="*/ 966788 w 2262188"/>
                  <a:gd name="connsiteY21" fmla="*/ 823913 h 982971"/>
                  <a:gd name="connsiteX22" fmla="*/ 981075 w 2262188"/>
                  <a:gd name="connsiteY22" fmla="*/ 828675 h 982971"/>
                  <a:gd name="connsiteX23" fmla="*/ 1000125 w 2262188"/>
                  <a:gd name="connsiteY23" fmla="*/ 838200 h 982971"/>
                  <a:gd name="connsiteX24" fmla="*/ 1033463 w 2262188"/>
                  <a:gd name="connsiteY24" fmla="*/ 852488 h 982971"/>
                  <a:gd name="connsiteX25" fmla="*/ 1100138 w 2262188"/>
                  <a:gd name="connsiteY25" fmla="*/ 881063 h 982971"/>
                  <a:gd name="connsiteX26" fmla="*/ 1128713 w 2262188"/>
                  <a:gd name="connsiteY26" fmla="*/ 885825 h 982971"/>
                  <a:gd name="connsiteX27" fmla="*/ 1204913 w 2262188"/>
                  <a:gd name="connsiteY27" fmla="*/ 909638 h 982971"/>
                  <a:gd name="connsiteX28" fmla="*/ 1233488 w 2262188"/>
                  <a:gd name="connsiteY28" fmla="*/ 914400 h 982971"/>
                  <a:gd name="connsiteX29" fmla="*/ 1281113 w 2262188"/>
                  <a:gd name="connsiteY29" fmla="*/ 928688 h 982971"/>
                  <a:gd name="connsiteX30" fmla="*/ 1343025 w 2262188"/>
                  <a:gd name="connsiteY30" fmla="*/ 933450 h 982971"/>
                  <a:gd name="connsiteX31" fmla="*/ 1409700 w 2262188"/>
                  <a:gd name="connsiteY31" fmla="*/ 942975 h 982971"/>
                  <a:gd name="connsiteX32" fmla="*/ 1485900 w 2262188"/>
                  <a:gd name="connsiteY32" fmla="*/ 952500 h 982971"/>
                  <a:gd name="connsiteX33" fmla="*/ 1538288 w 2262188"/>
                  <a:gd name="connsiteY33" fmla="*/ 962025 h 982971"/>
                  <a:gd name="connsiteX34" fmla="*/ 1919288 w 2262188"/>
                  <a:gd name="connsiteY34" fmla="*/ 966788 h 982971"/>
                  <a:gd name="connsiteX35" fmla="*/ 2262188 w 2262188"/>
                  <a:gd name="connsiteY3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338138 w 2262188"/>
                  <a:gd name="connsiteY7" fmla="*/ 419100 h 982971"/>
                  <a:gd name="connsiteX8" fmla="*/ 371475 w 2262188"/>
                  <a:gd name="connsiteY8" fmla="*/ 438150 h 982971"/>
                  <a:gd name="connsiteX9" fmla="*/ 395288 w 2262188"/>
                  <a:gd name="connsiteY9" fmla="*/ 457200 h 982971"/>
                  <a:gd name="connsiteX10" fmla="*/ 542925 w 2262188"/>
                  <a:gd name="connsiteY10" fmla="*/ 557213 h 982971"/>
                  <a:gd name="connsiteX11" fmla="*/ 600075 w 2262188"/>
                  <a:gd name="connsiteY11" fmla="*/ 614363 h 982971"/>
                  <a:gd name="connsiteX12" fmla="*/ 633413 w 2262188"/>
                  <a:gd name="connsiteY12" fmla="*/ 633413 h 982971"/>
                  <a:gd name="connsiteX13" fmla="*/ 690563 w 2262188"/>
                  <a:gd name="connsiteY13" fmla="*/ 676275 h 982971"/>
                  <a:gd name="connsiteX14" fmla="*/ 757238 w 2262188"/>
                  <a:gd name="connsiteY14" fmla="*/ 714375 h 982971"/>
                  <a:gd name="connsiteX15" fmla="*/ 776288 w 2262188"/>
                  <a:gd name="connsiteY15" fmla="*/ 728663 h 982971"/>
                  <a:gd name="connsiteX16" fmla="*/ 828675 w 2262188"/>
                  <a:gd name="connsiteY16" fmla="*/ 752475 h 982971"/>
                  <a:gd name="connsiteX17" fmla="*/ 847725 w 2262188"/>
                  <a:gd name="connsiteY17" fmla="*/ 766763 h 982971"/>
                  <a:gd name="connsiteX18" fmla="*/ 914400 w 2262188"/>
                  <a:gd name="connsiteY18" fmla="*/ 790575 h 982971"/>
                  <a:gd name="connsiteX19" fmla="*/ 947738 w 2262188"/>
                  <a:gd name="connsiteY19" fmla="*/ 809625 h 982971"/>
                  <a:gd name="connsiteX20" fmla="*/ 966788 w 2262188"/>
                  <a:gd name="connsiteY20" fmla="*/ 823913 h 982971"/>
                  <a:gd name="connsiteX21" fmla="*/ 981075 w 2262188"/>
                  <a:gd name="connsiteY21" fmla="*/ 828675 h 982971"/>
                  <a:gd name="connsiteX22" fmla="*/ 1000125 w 2262188"/>
                  <a:gd name="connsiteY22" fmla="*/ 838200 h 982971"/>
                  <a:gd name="connsiteX23" fmla="*/ 1033463 w 2262188"/>
                  <a:gd name="connsiteY23" fmla="*/ 852488 h 982971"/>
                  <a:gd name="connsiteX24" fmla="*/ 1100138 w 2262188"/>
                  <a:gd name="connsiteY24" fmla="*/ 881063 h 982971"/>
                  <a:gd name="connsiteX25" fmla="*/ 1128713 w 2262188"/>
                  <a:gd name="connsiteY25" fmla="*/ 885825 h 982971"/>
                  <a:gd name="connsiteX26" fmla="*/ 1204913 w 2262188"/>
                  <a:gd name="connsiteY26" fmla="*/ 909638 h 982971"/>
                  <a:gd name="connsiteX27" fmla="*/ 1233488 w 2262188"/>
                  <a:gd name="connsiteY27" fmla="*/ 914400 h 982971"/>
                  <a:gd name="connsiteX28" fmla="*/ 1281113 w 2262188"/>
                  <a:gd name="connsiteY28" fmla="*/ 928688 h 982971"/>
                  <a:gd name="connsiteX29" fmla="*/ 1343025 w 2262188"/>
                  <a:gd name="connsiteY29" fmla="*/ 933450 h 982971"/>
                  <a:gd name="connsiteX30" fmla="*/ 1409700 w 2262188"/>
                  <a:gd name="connsiteY30" fmla="*/ 942975 h 982971"/>
                  <a:gd name="connsiteX31" fmla="*/ 1485900 w 2262188"/>
                  <a:gd name="connsiteY31" fmla="*/ 952500 h 982971"/>
                  <a:gd name="connsiteX32" fmla="*/ 1538288 w 2262188"/>
                  <a:gd name="connsiteY32" fmla="*/ 962025 h 982971"/>
                  <a:gd name="connsiteX33" fmla="*/ 1919288 w 2262188"/>
                  <a:gd name="connsiteY33" fmla="*/ 966788 h 982971"/>
                  <a:gd name="connsiteX34" fmla="*/ 2262188 w 2262188"/>
                  <a:gd name="connsiteY3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128713 w 2262188"/>
                  <a:gd name="connsiteY24" fmla="*/ 885825 h 982971"/>
                  <a:gd name="connsiteX25" fmla="*/ 1204913 w 2262188"/>
                  <a:gd name="connsiteY25" fmla="*/ 909638 h 982971"/>
                  <a:gd name="connsiteX26" fmla="*/ 1233488 w 2262188"/>
                  <a:gd name="connsiteY26" fmla="*/ 914400 h 982971"/>
                  <a:gd name="connsiteX27" fmla="*/ 1281113 w 2262188"/>
                  <a:gd name="connsiteY27" fmla="*/ 928688 h 982971"/>
                  <a:gd name="connsiteX28" fmla="*/ 1343025 w 2262188"/>
                  <a:gd name="connsiteY28" fmla="*/ 933450 h 982971"/>
                  <a:gd name="connsiteX29" fmla="*/ 1409700 w 2262188"/>
                  <a:gd name="connsiteY29" fmla="*/ 942975 h 982971"/>
                  <a:gd name="connsiteX30" fmla="*/ 1485900 w 2262188"/>
                  <a:gd name="connsiteY30" fmla="*/ 952500 h 982971"/>
                  <a:gd name="connsiteX31" fmla="*/ 1538288 w 2262188"/>
                  <a:gd name="connsiteY31" fmla="*/ 962025 h 982971"/>
                  <a:gd name="connsiteX32" fmla="*/ 1919288 w 2262188"/>
                  <a:gd name="connsiteY32" fmla="*/ 966788 h 982971"/>
                  <a:gd name="connsiteX33" fmla="*/ 2262188 w 2262188"/>
                  <a:gd name="connsiteY3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204913 w 2262188"/>
                  <a:gd name="connsiteY24" fmla="*/ 909638 h 982971"/>
                  <a:gd name="connsiteX25" fmla="*/ 1233488 w 2262188"/>
                  <a:gd name="connsiteY25" fmla="*/ 914400 h 982971"/>
                  <a:gd name="connsiteX26" fmla="*/ 1281113 w 2262188"/>
                  <a:gd name="connsiteY26" fmla="*/ 928688 h 982971"/>
                  <a:gd name="connsiteX27" fmla="*/ 1343025 w 2262188"/>
                  <a:gd name="connsiteY27" fmla="*/ 933450 h 982971"/>
                  <a:gd name="connsiteX28" fmla="*/ 1409700 w 2262188"/>
                  <a:gd name="connsiteY28" fmla="*/ 942975 h 982971"/>
                  <a:gd name="connsiteX29" fmla="*/ 1485900 w 2262188"/>
                  <a:gd name="connsiteY29" fmla="*/ 952500 h 982971"/>
                  <a:gd name="connsiteX30" fmla="*/ 1538288 w 2262188"/>
                  <a:gd name="connsiteY30" fmla="*/ 962025 h 982971"/>
                  <a:gd name="connsiteX31" fmla="*/ 1919288 w 2262188"/>
                  <a:gd name="connsiteY31" fmla="*/ 966788 h 982971"/>
                  <a:gd name="connsiteX32" fmla="*/ 2262188 w 2262188"/>
                  <a:gd name="connsiteY3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204913 w 2262188"/>
                  <a:gd name="connsiteY23" fmla="*/ 909638 h 982971"/>
                  <a:gd name="connsiteX24" fmla="*/ 1233488 w 2262188"/>
                  <a:gd name="connsiteY24" fmla="*/ 914400 h 982971"/>
                  <a:gd name="connsiteX25" fmla="*/ 1281113 w 2262188"/>
                  <a:gd name="connsiteY25" fmla="*/ 928688 h 982971"/>
                  <a:gd name="connsiteX26" fmla="*/ 1343025 w 2262188"/>
                  <a:gd name="connsiteY26" fmla="*/ 933450 h 982971"/>
                  <a:gd name="connsiteX27" fmla="*/ 1409700 w 2262188"/>
                  <a:gd name="connsiteY27" fmla="*/ 942975 h 982971"/>
                  <a:gd name="connsiteX28" fmla="*/ 1485900 w 2262188"/>
                  <a:gd name="connsiteY28" fmla="*/ 952500 h 982971"/>
                  <a:gd name="connsiteX29" fmla="*/ 1538288 w 2262188"/>
                  <a:gd name="connsiteY29" fmla="*/ 962025 h 982971"/>
                  <a:gd name="connsiteX30" fmla="*/ 1919288 w 2262188"/>
                  <a:gd name="connsiteY30" fmla="*/ 966788 h 982971"/>
                  <a:gd name="connsiteX31" fmla="*/ 2262188 w 2262188"/>
                  <a:gd name="connsiteY3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0075 w 2262188"/>
                  <a:gd name="connsiteY9" fmla="*/ 614363 h 982971"/>
                  <a:gd name="connsiteX10" fmla="*/ 633413 w 2262188"/>
                  <a:gd name="connsiteY10" fmla="*/ 633413 h 982971"/>
                  <a:gd name="connsiteX11" fmla="*/ 690563 w 2262188"/>
                  <a:gd name="connsiteY11" fmla="*/ 676275 h 982971"/>
                  <a:gd name="connsiteX12" fmla="*/ 757238 w 2262188"/>
                  <a:gd name="connsiteY12" fmla="*/ 714375 h 982971"/>
                  <a:gd name="connsiteX13" fmla="*/ 776288 w 2262188"/>
                  <a:gd name="connsiteY13" fmla="*/ 728663 h 982971"/>
                  <a:gd name="connsiteX14" fmla="*/ 828675 w 2262188"/>
                  <a:gd name="connsiteY14" fmla="*/ 752475 h 982971"/>
                  <a:gd name="connsiteX15" fmla="*/ 847725 w 2262188"/>
                  <a:gd name="connsiteY15" fmla="*/ 766763 h 982971"/>
                  <a:gd name="connsiteX16" fmla="*/ 914400 w 2262188"/>
                  <a:gd name="connsiteY16" fmla="*/ 790575 h 982971"/>
                  <a:gd name="connsiteX17" fmla="*/ 947738 w 2262188"/>
                  <a:gd name="connsiteY17" fmla="*/ 809625 h 982971"/>
                  <a:gd name="connsiteX18" fmla="*/ 966788 w 2262188"/>
                  <a:gd name="connsiteY18" fmla="*/ 823913 h 982971"/>
                  <a:gd name="connsiteX19" fmla="*/ 981075 w 2262188"/>
                  <a:gd name="connsiteY19" fmla="*/ 828675 h 982971"/>
                  <a:gd name="connsiteX20" fmla="*/ 1000125 w 2262188"/>
                  <a:gd name="connsiteY20" fmla="*/ 838200 h 982971"/>
                  <a:gd name="connsiteX21" fmla="*/ 1033463 w 2262188"/>
                  <a:gd name="connsiteY21" fmla="*/ 852488 h 982971"/>
                  <a:gd name="connsiteX22" fmla="*/ 1204913 w 2262188"/>
                  <a:gd name="connsiteY22" fmla="*/ 909638 h 982971"/>
                  <a:gd name="connsiteX23" fmla="*/ 1233488 w 2262188"/>
                  <a:gd name="connsiteY23" fmla="*/ 914400 h 982971"/>
                  <a:gd name="connsiteX24" fmla="*/ 1281113 w 2262188"/>
                  <a:gd name="connsiteY24" fmla="*/ 928688 h 982971"/>
                  <a:gd name="connsiteX25" fmla="*/ 1343025 w 2262188"/>
                  <a:gd name="connsiteY25" fmla="*/ 933450 h 982971"/>
                  <a:gd name="connsiteX26" fmla="*/ 1409700 w 2262188"/>
                  <a:gd name="connsiteY26" fmla="*/ 942975 h 982971"/>
                  <a:gd name="connsiteX27" fmla="*/ 1485900 w 2262188"/>
                  <a:gd name="connsiteY27" fmla="*/ 952500 h 982971"/>
                  <a:gd name="connsiteX28" fmla="*/ 1538288 w 2262188"/>
                  <a:gd name="connsiteY28" fmla="*/ 962025 h 982971"/>
                  <a:gd name="connsiteX29" fmla="*/ 1919288 w 2262188"/>
                  <a:gd name="connsiteY29" fmla="*/ 966788 h 982971"/>
                  <a:gd name="connsiteX30" fmla="*/ 2262188 w 2262188"/>
                  <a:gd name="connsiteY3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690563 w 2262188"/>
                  <a:gd name="connsiteY10" fmla="*/ 676275 h 982971"/>
                  <a:gd name="connsiteX11" fmla="*/ 757238 w 2262188"/>
                  <a:gd name="connsiteY11" fmla="*/ 714375 h 982971"/>
                  <a:gd name="connsiteX12" fmla="*/ 776288 w 2262188"/>
                  <a:gd name="connsiteY12" fmla="*/ 728663 h 982971"/>
                  <a:gd name="connsiteX13" fmla="*/ 828675 w 2262188"/>
                  <a:gd name="connsiteY13" fmla="*/ 752475 h 982971"/>
                  <a:gd name="connsiteX14" fmla="*/ 847725 w 2262188"/>
                  <a:gd name="connsiteY14" fmla="*/ 766763 h 982971"/>
                  <a:gd name="connsiteX15" fmla="*/ 914400 w 2262188"/>
                  <a:gd name="connsiteY15" fmla="*/ 790575 h 982971"/>
                  <a:gd name="connsiteX16" fmla="*/ 947738 w 2262188"/>
                  <a:gd name="connsiteY16" fmla="*/ 809625 h 982971"/>
                  <a:gd name="connsiteX17" fmla="*/ 966788 w 2262188"/>
                  <a:gd name="connsiteY17" fmla="*/ 823913 h 982971"/>
                  <a:gd name="connsiteX18" fmla="*/ 981075 w 2262188"/>
                  <a:gd name="connsiteY18" fmla="*/ 828675 h 982971"/>
                  <a:gd name="connsiteX19" fmla="*/ 1000125 w 2262188"/>
                  <a:gd name="connsiteY19" fmla="*/ 838200 h 982971"/>
                  <a:gd name="connsiteX20" fmla="*/ 1033463 w 2262188"/>
                  <a:gd name="connsiteY20" fmla="*/ 852488 h 982971"/>
                  <a:gd name="connsiteX21" fmla="*/ 1204913 w 2262188"/>
                  <a:gd name="connsiteY21" fmla="*/ 909638 h 982971"/>
                  <a:gd name="connsiteX22" fmla="*/ 1233488 w 2262188"/>
                  <a:gd name="connsiteY22" fmla="*/ 914400 h 982971"/>
                  <a:gd name="connsiteX23" fmla="*/ 1281113 w 2262188"/>
                  <a:gd name="connsiteY23" fmla="*/ 928688 h 982971"/>
                  <a:gd name="connsiteX24" fmla="*/ 1343025 w 2262188"/>
                  <a:gd name="connsiteY24" fmla="*/ 933450 h 982971"/>
                  <a:gd name="connsiteX25" fmla="*/ 1409700 w 2262188"/>
                  <a:gd name="connsiteY25" fmla="*/ 942975 h 982971"/>
                  <a:gd name="connsiteX26" fmla="*/ 1485900 w 2262188"/>
                  <a:gd name="connsiteY26" fmla="*/ 952500 h 982971"/>
                  <a:gd name="connsiteX27" fmla="*/ 1538288 w 2262188"/>
                  <a:gd name="connsiteY27" fmla="*/ 962025 h 982971"/>
                  <a:gd name="connsiteX28" fmla="*/ 1919288 w 2262188"/>
                  <a:gd name="connsiteY28" fmla="*/ 966788 h 982971"/>
                  <a:gd name="connsiteX29" fmla="*/ 2262188 w 2262188"/>
                  <a:gd name="connsiteY2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033463 w 2262188"/>
                  <a:gd name="connsiteY18" fmla="*/ 852488 h 982971"/>
                  <a:gd name="connsiteX19" fmla="*/ 1204913 w 2262188"/>
                  <a:gd name="connsiteY19" fmla="*/ 909638 h 982971"/>
                  <a:gd name="connsiteX20" fmla="*/ 1233488 w 2262188"/>
                  <a:gd name="connsiteY20" fmla="*/ 914400 h 982971"/>
                  <a:gd name="connsiteX21" fmla="*/ 1281113 w 2262188"/>
                  <a:gd name="connsiteY21" fmla="*/ 928688 h 982971"/>
                  <a:gd name="connsiteX22" fmla="*/ 1343025 w 2262188"/>
                  <a:gd name="connsiteY22" fmla="*/ 933450 h 982971"/>
                  <a:gd name="connsiteX23" fmla="*/ 1409700 w 2262188"/>
                  <a:gd name="connsiteY23" fmla="*/ 942975 h 982971"/>
                  <a:gd name="connsiteX24" fmla="*/ 1485900 w 2262188"/>
                  <a:gd name="connsiteY24" fmla="*/ 952500 h 982971"/>
                  <a:gd name="connsiteX25" fmla="*/ 1538288 w 2262188"/>
                  <a:gd name="connsiteY25" fmla="*/ 962025 h 982971"/>
                  <a:gd name="connsiteX26" fmla="*/ 1919288 w 2262188"/>
                  <a:gd name="connsiteY26" fmla="*/ 966788 h 982971"/>
                  <a:gd name="connsiteX27" fmla="*/ 2262188 w 2262188"/>
                  <a:gd name="connsiteY2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204913 w 2262188"/>
                  <a:gd name="connsiteY18" fmla="*/ 909638 h 982971"/>
                  <a:gd name="connsiteX19" fmla="*/ 1233488 w 2262188"/>
                  <a:gd name="connsiteY19" fmla="*/ 914400 h 982971"/>
                  <a:gd name="connsiteX20" fmla="*/ 1281113 w 2262188"/>
                  <a:gd name="connsiteY20" fmla="*/ 928688 h 982971"/>
                  <a:gd name="connsiteX21" fmla="*/ 1343025 w 2262188"/>
                  <a:gd name="connsiteY21" fmla="*/ 933450 h 982971"/>
                  <a:gd name="connsiteX22" fmla="*/ 1409700 w 2262188"/>
                  <a:gd name="connsiteY22" fmla="*/ 942975 h 982971"/>
                  <a:gd name="connsiteX23" fmla="*/ 1485900 w 2262188"/>
                  <a:gd name="connsiteY23" fmla="*/ 952500 h 982971"/>
                  <a:gd name="connsiteX24" fmla="*/ 1538288 w 2262188"/>
                  <a:gd name="connsiteY24" fmla="*/ 962025 h 982971"/>
                  <a:gd name="connsiteX25" fmla="*/ 1919288 w 2262188"/>
                  <a:gd name="connsiteY25" fmla="*/ 966788 h 982971"/>
                  <a:gd name="connsiteX26" fmla="*/ 2262188 w 2262188"/>
                  <a:gd name="connsiteY2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1000125 w 2262188"/>
                  <a:gd name="connsiteY16" fmla="*/ 838200 h 982971"/>
                  <a:gd name="connsiteX17" fmla="*/ 1204913 w 2262188"/>
                  <a:gd name="connsiteY17" fmla="*/ 909638 h 982971"/>
                  <a:gd name="connsiteX18" fmla="*/ 1233488 w 2262188"/>
                  <a:gd name="connsiteY18" fmla="*/ 914400 h 982971"/>
                  <a:gd name="connsiteX19" fmla="*/ 1281113 w 2262188"/>
                  <a:gd name="connsiteY19" fmla="*/ 928688 h 982971"/>
                  <a:gd name="connsiteX20" fmla="*/ 1343025 w 2262188"/>
                  <a:gd name="connsiteY20" fmla="*/ 933450 h 982971"/>
                  <a:gd name="connsiteX21" fmla="*/ 1409700 w 2262188"/>
                  <a:gd name="connsiteY21" fmla="*/ 942975 h 982971"/>
                  <a:gd name="connsiteX22" fmla="*/ 1485900 w 2262188"/>
                  <a:gd name="connsiteY22" fmla="*/ 952500 h 982971"/>
                  <a:gd name="connsiteX23" fmla="*/ 1538288 w 2262188"/>
                  <a:gd name="connsiteY23" fmla="*/ 962025 h 982971"/>
                  <a:gd name="connsiteX24" fmla="*/ 1919288 w 2262188"/>
                  <a:gd name="connsiteY24" fmla="*/ 966788 h 982971"/>
                  <a:gd name="connsiteX25" fmla="*/ 2262188 w 2262188"/>
                  <a:gd name="connsiteY2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66788 w 2262188"/>
                  <a:gd name="connsiteY14" fmla="*/ 823913 h 982971"/>
                  <a:gd name="connsiteX15" fmla="*/ 1000125 w 2262188"/>
                  <a:gd name="connsiteY15" fmla="*/ 838200 h 982971"/>
                  <a:gd name="connsiteX16" fmla="*/ 1204913 w 2262188"/>
                  <a:gd name="connsiteY16" fmla="*/ 909638 h 982971"/>
                  <a:gd name="connsiteX17" fmla="*/ 1233488 w 2262188"/>
                  <a:gd name="connsiteY17" fmla="*/ 914400 h 982971"/>
                  <a:gd name="connsiteX18" fmla="*/ 1281113 w 2262188"/>
                  <a:gd name="connsiteY18" fmla="*/ 928688 h 982971"/>
                  <a:gd name="connsiteX19" fmla="*/ 1343025 w 2262188"/>
                  <a:gd name="connsiteY19" fmla="*/ 933450 h 982971"/>
                  <a:gd name="connsiteX20" fmla="*/ 1409700 w 2262188"/>
                  <a:gd name="connsiteY20" fmla="*/ 942975 h 982971"/>
                  <a:gd name="connsiteX21" fmla="*/ 1485900 w 2262188"/>
                  <a:gd name="connsiteY21" fmla="*/ 952500 h 982971"/>
                  <a:gd name="connsiteX22" fmla="*/ 1538288 w 2262188"/>
                  <a:gd name="connsiteY22" fmla="*/ 962025 h 982971"/>
                  <a:gd name="connsiteX23" fmla="*/ 1919288 w 2262188"/>
                  <a:gd name="connsiteY23" fmla="*/ 966788 h 982971"/>
                  <a:gd name="connsiteX24" fmla="*/ 2262188 w 2262188"/>
                  <a:gd name="connsiteY2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343025 w 2262188"/>
                  <a:gd name="connsiteY18" fmla="*/ 933450 h 982971"/>
                  <a:gd name="connsiteX19" fmla="*/ 1409700 w 2262188"/>
                  <a:gd name="connsiteY19" fmla="*/ 942975 h 982971"/>
                  <a:gd name="connsiteX20" fmla="*/ 1485900 w 2262188"/>
                  <a:gd name="connsiteY20" fmla="*/ 952500 h 982971"/>
                  <a:gd name="connsiteX21" fmla="*/ 1538288 w 2262188"/>
                  <a:gd name="connsiteY21" fmla="*/ 962025 h 982971"/>
                  <a:gd name="connsiteX22" fmla="*/ 1919288 w 2262188"/>
                  <a:gd name="connsiteY22" fmla="*/ 966788 h 982971"/>
                  <a:gd name="connsiteX23" fmla="*/ 2262188 w 2262188"/>
                  <a:gd name="connsiteY2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09700 w 2262188"/>
                  <a:gd name="connsiteY18" fmla="*/ 942975 h 982971"/>
                  <a:gd name="connsiteX19" fmla="*/ 1485900 w 2262188"/>
                  <a:gd name="connsiteY19" fmla="*/ 952500 h 982971"/>
                  <a:gd name="connsiteX20" fmla="*/ 1538288 w 2262188"/>
                  <a:gd name="connsiteY20" fmla="*/ 962025 h 982971"/>
                  <a:gd name="connsiteX21" fmla="*/ 1919288 w 2262188"/>
                  <a:gd name="connsiteY21" fmla="*/ 966788 h 982971"/>
                  <a:gd name="connsiteX22" fmla="*/ 2262188 w 2262188"/>
                  <a:gd name="connsiteY2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85900 w 2262188"/>
                  <a:gd name="connsiteY18" fmla="*/ 952500 h 982971"/>
                  <a:gd name="connsiteX19" fmla="*/ 1538288 w 2262188"/>
                  <a:gd name="connsiteY19" fmla="*/ 962025 h 982971"/>
                  <a:gd name="connsiteX20" fmla="*/ 1919288 w 2262188"/>
                  <a:gd name="connsiteY20" fmla="*/ 966788 h 982971"/>
                  <a:gd name="connsiteX21" fmla="*/ 2262188 w 2262188"/>
                  <a:gd name="connsiteY2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538288 w 2262188"/>
                  <a:gd name="connsiteY18" fmla="*/ 962025 h 982971"/>
                  <a:gd name="connsiteX19" fmla="*/ 1919288 w 2262188"/>
                  <a:gd name="connsiteY19" fmla="*/ 966788 h 982971"/>
                  <a:gd name="connsiteX20" fmla="*/ 2262188 w 2262188"/>
                  <a:gd name="connsiteY2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81113 w 2262188"/>
                  <a:gd name="connsiteY16" fmla="*/ 928688 h 982971"/>
                  <a:gd name="connsiteX17" fmla="*/ 1538288 w 2262188"/>
                  <a:gd name="connsiteY17" fmla="*/ 962025 h 982971"/>
                  <a:gd name="connsiteX18" fmla="*/ 1919288 w 2262188"/>
                  <a:gd name="connsiteY18" fmla="*/ 966788 h 982971"/>
                  <a:gd name="connsiteX19" fmla="*/ 2262188 w 2262188"/>
                  <a:gd name="connsiteY19" fmla="*/ 957263 h 98297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57163 w 2262188"/>
                  <a:gd name="connsiteY3" fmla="*/ 195263 h 970411"/>
                  <a:gd name="connsiteX4" fmla="*/ 195263 w 2262188"/>
                  <a:gd name="connsiteY4" fmla="*/ 242888 h 970411"/>
                  <a:gd name="connsiteX5" fmla="*/ 271463 w 2262188"/>
                  <a:gd name="connsiteY5" fmla="*/ 347663 h 970411"/>
                  <a:gd name="connsiteX6" fmla="*/ 338138 w 2262188"/>
                  <a:gd name="connsiteY6" fmla="*/ 419100 h 970411"/>
                  <a:gd name="connsiteX7" fmla="*/ 371475 w 2262188"/>
                  <a:gd name="connsiteY7" fmla="*/ 438150 h 970411"/>
                  <a:gd name="connsiteX8" fmla="*/ 395288 w 2262188"/>
                  <a:gd name="connsiteY8" fmla="*/ 457200 h 970411"/>
                  <a:gd name="connsiteX9" fmla="*/ 604838 w 2262188"/>
                  <a:gd name="connsiteY9" fmla="*/ 633413 h 970411"/>
                  <a:gd name="connsiteX10" fmla="*/ 757238 w 2262188"/>
                  <a:gd name="connsiteY10" fmla="*/ 714375 h 970411"/>
                  <a:gd name="connsiteX11" fmla="*/ 776288 w 2262188"/>
                  <a:gd name="connsiteY11" fmla="*/ 728663 h 970411"/>
                  <a:gd name="connsiteX12" fmla="*/ 828675 w 2262188"/>
                  <a:gd name="connsiteY12" fmla="*/ 752475 h 970411"/>
                  <a:gd name="connsiteX13" fmla="*/ 966788 w 2262188"/>
                  <a:gd name="connsiteY13" fmla="*/ 823913 h 970411"/>
                  <a:gd name="connsiteX14" fmla="*/ 1000125 w 2262188"/>
                  <a:gd name="connsiteY14" fmla="*/ 838200 h 970411"/>
                  <a:gd name="connsiteX15" fmla="*/ 1204913 w 2262188"/>
                  <a:gd name="connsiteY15" fmla="*/ 909638 h 970411"/>
                  <a:gd name="connsiteX16" fmla="*/ 1281113 w 2262188"/>
                  <a:gd name="connsiteY16" fmla="*/ 928688 h 970411"/>
                  <a:gd name="connsiteX17" fmla="*/ 1538288 w 2262188"/>
                  <a:gd name="connsiteY17" fmla="*/ 962025 h 970411"/>
                  <a:gd name="connsiteX18" fmla="*/ 1919288 w 2262188"/>
                  <a:gd name="connsiteY18" fmla="*/ 966788 h 970411"/>
                  <a:gd name="connsiteX19" fmla="*/ 2262188 w 2262188"/>
                  <a:gd name="connsiteY19" fmla="*/ 957263 h 97041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95263 w 2262188"/>
                  <a:gd name="connsiteY3" fmla="*/ 242888 h 970411"/>
                  <a:gd name="connsiteX4" fmla="*/ 271463 w 2262188"/>
                  <a:gd name="connsiteY4" fmla="*/ 347663 h 970411"/>
                  <a:gd name="connsiteX5" fmla="*/ 338138 w 2262188"/>
                  <a:gd name="connsiteY5" fmla="*/ 419100 h 970411"/>
                  <a:gd name="connsiteX6" fmla="*/ 371475 w 2262188"/>
                  <a:gd name="connsiteY6" fmla="*/ 438150 h 970411"/>
                  <a:gd name="connsiteX7" fmla="*/ 395288 w 2262188"/>
                  <a:gd name="connsiteY7" fmla="*/ 457200 h 970411"/>
                  <a:gd name="connsiteX8" fmla="*/ 604838 w 2262188"/>
                  <a:gd name="connsiteY8" fmla="*/ 633413 h 970411"/>
                  <a:gd name="connsiteX9" fmla="*/ 757238 w 2262188"/>
                  <a:gd name="connsiteY9" fmla="*/ 714375 h 970411"/>
                  <a:gd name="connsiteX10" fmla="*/ 776288 w 2262188"/>
                  <a:gd name="connsiteY10" fmla="*/ 728663 h 970411"/>
                  <a:gd name="connsiteX11" fmla="*/ 828675 w 2262188"/>
                  <a:gd name="connsiteY11" fmla="*/ 752475 h 970411"/>
                  <a:gd name="connsiteX12" fmla="*/ 966788 w 2262188"/>
                  <a:gd name="connsiteY12" fmla="*/ 823913 h 970411"/>
                  <a:gd name="connsiteX13" fmla="*/ 1000125 w 2262188"/>
                  <a:gd name="connsiteY13" fmla="*/ 838200 h 970411"/>
                  <a:gd name="connsiteX14" fmla="*/ 1204913 w 2262188"/>
                  <a:gd name="connsiteY14" fmla="*/ 909638 h 970411"/>
                  <a:gd name="connsiteX15" fmla="*/ 1281113 w 2262188"/>
                  <a:gd name="connsiteY15" fmla="*/ 928688 h 970411"/>
                  <a:gd name="connsiteX16" fmla="*/ 1538288 w 2262188"/>
                  <a:gd name="connsiteY16" fmla="*/ 962025 h 970411"/>
                  <a:gd name="connsiteX17" fmla="*/ 1919288 w 2262188"/>
                  <a:gd name="connsiteY17" fmla="*/ 966788 h 970411"/>
                  <a:gd name="connsiteX18" fmla="*/ 2262188 w 2262188"/>
                  <a:gd name="connsiteY18" fmla="*/ 957263 h 970411"/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62" name="Freeform: Shape 90">
                <a:extLst>
                  <a:ext uri="{FF2B5EF4-FFF2-40B4-BE49-F238E27FC236}">
                    <a16:creationId xmlns:a16="http://schemas.microsoft.com/office/drawing/2014/main" id="{9F5DACB6-89C7-88B7-2B04-E823462D843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750695 w 3008034"/>
                  <a:gd name="connsiteY83" fmla="*/ 68580 h 3680460"/>
                  <a:gd name="connsiteX84" fmla="*/ 1811655 w 3008034"/>
                  <a:gd name="connsiteY84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  <p:sp>
            <p:nvSpPr>
              <p:cNvPr id="66" name="Freeform: Shape 52">
                <a:extLst>
                  <a:ext uri="{FF2B5EF4-FFF2-40B4-BE49-F238E27FC236}">
                    <a16:creationId xmlns:a16="http://schemas.microsoft.com/office/drawing/2014/main" id="{87603CE2-7CE6-0600-B4FF-CF90D8524505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213360 h 754380"/>
                  <a:gd name="connsiteX13" fmla="*/ 297446 w 378064"/>
                  <a:gd name="connsiteY13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25386 w 378064"/>
                  <a:gd name="connsiteY11" fmla="*/ 215265 h 754380"/>
                  <a:gd name="connsiteX12" fmla="*/ 297446 w 378064"/>
                  <a:gd name="connsiteY12" fmla="*/ 0 h 754380"/>
                  <a:gd name="connsiteX0" fmla="*/ 23126 w 378064"/>
                  <a:gd name="connsiteY0" fmla="*/ 4445 h 751205"/>
                  <a:gd name="connsiteX1" fmla="*/ 15506 w 378064"/>
                  <a:gd name="connsiteY1" fmla="*/ 133985 h 751205"/>
                  <a:gd name="connsiteX2" fmla="*/ 266 w 378064"/>
                  <a:gd name="connsiteY2" fmla="*/ 507365 h 751205"/>
                  <a:gd name="connsiteX3" fmla="*/ 7886 w 378064"/>
                  <a:gd name="connsiteY3" fmla="*/ 667385 h 751205"/>
                  <a:gd name="connsiteX4" fmla="*/ 84086 w 378064"/>
                  <a:gd name="connsiteY4" fmla="*/ 735965 h 751205"/>
                  <a:gd name="connsiteX5" fmla="*/ 106946 w 378064"/>
                  <a:gd name="connsiteY5" fmla="*/ 751205 h 751205"/>
                  <a:gd name="connsiteX6" fmla="*/ 312686 w 378064"/>
                  <a:gd name="connsiteY6" fmla="*/ 743585 h 751205"/>
                  <a:gd name="connsiteX7" fmla="*/ 335546 w 378064"/>
                  <a:gd name="connsiteY7" fmla="*/ 728345 h 751205"/>
                  <a:gd name="connsiteX8" fmla="*/ 366026 w 378064"/>
                  <a:gd name="connsiteY8" fmla="*/ 713105 h 751205"/>
                  <a:gd name="connsiteX9" fmla="*/ 366026 w 378064"/>
                  <a:gd name="connsiteY9" fmla="*/ 568325 h 751205"/>
                  <a:gd name="connsiteX10" fmla="*/ 335546 w 378064"/>
                  <a:gd name="connsiteY10" fmla="*/ 415925 h 751205"/>
                  <a:gd name="connsiteX11" fmla="*/ 325386 w 378064"/>
                  <a:gd name="connsiteY11" fmla="*/ 212090 h 751205"/>
                  <a:gd name="connsiteX12" fmla="*/ 310146 w 378064"/>
                  <a:gd name="connsiteY12" fmla="*/ 0 h 751205"/>
                  <a:gd name="connsiteX0" fmla="*/ 23126 w 375245"/>
                  <a:gd name="connsiteY0" fmla="*/ 4445 h 751205"/>
                  <a:gd name="connsiteX1" fmla="*/ 15506 w 375245"/>
                  <a:gd name="connsiteY1" fmla="*/ 133985 h 751205"/>
                  <a:gd name="connsiteX2" fmla="*/ 266 w 375245"/>
                  <a:gd name="connsiteY2" fmla="*/ 507365 h 751205"/>
                  <a:gd name="connsiteX3" fmla="*/ 7886 w 375245"/>
                  <a:gd name="connsiteY3" fmla="*/ 667385 h 751205"/>
                  <a:gd name="connsiteX4" fmla="*/ 84086 w 375245"/>
                  <a:gd name="connsiteY4" fmla="*/ 735965 h 751205"/>
                  <a:gd name="connsiteX5" fmla="*/ 106946 w 375245"/>
                  <a:gd name="connsiteY5" fmla="*/ 751205 h 751205"/>
                  <a:gd name="connsiteX6" fmla="*/ 312686 w 375245"/>
                  <a:gd name="connsiteY6" fmla="*/ 743585 h 751205"/>
                  <a:gd name="connsiteX7" fmla="*/ 335546 w 375245"/>
                  <a:gd name="connsiteY7" fmla="*/ 728345 h 751205"/>
                  <a:gd name="connsiteX8" fmla="*/ 366026 w 375245"/>
                  <a:gd name="connsiteY8" fmla="*/ 713105 h 751205"/>
                  <a:gd name="connsiteX9" fmla="*/ 366026 w 375245"/>
                  <a:gd name="connsiteY9" fmla="*/ 568325 h 751205"/>
                  <a:gd name="connsiteX10" fmla="*/ 354596 w 375245"/>
                  <a:gd name="connsiteY10" fmla="*/ 409575 h 751205"/>
                  <a:gd name="connsiteX11" fmla="*/ 325386 w 375245"/>
                  <a:gd name="connsiteY11" fmla="*/ 212090 h 751205"/>
                  <a:gd name="connsiteX12" fmla="*/ 310146 w 375245"/>
                  <a:gd name="connsiteY12" fmla="*/ 0 h 751205"/>
                  <a:gd name="connsiteX0" fmla="*/ 23126 w 370435"/>
                  <a:gd name="connsiteY0" fmla="*/ 4445 h 751205"/>
                  <a:gd name="connsiteX1" fmla="*/ 15506 w 370435"/>
                  <a:gd name="connsiteY1" fmla="*/ 133985 h 751205"/>
                  <a:gd name="connsiteX2" fmla="*/ 266 w 370435"/>
                  <a:gd name="connsiteY2" fmla="*/ 507365 h 751205"/>
                  <a:gd name="connsiteX3" fmla="*/ 7886 w 370435"/>
                  <a:gd name="connsiteY3" fmla="*/ 667385 h 751205"/>
                  <a:gd name="connsiteX4" fmla="*/ 84086 w 370435"/>
                  <a:gd name="connsiteY4" fmla="*/ 735965 h 751205"/>
                  <a:gd name="connsiteX5" fmla="*/ 106946 w 370435"/>
                  <a:gd name="connsiteY5" fmla="*/ 751205 h 751205"/>
                  <a:gd name="connsiteX6" fmla="*/ 312686 w 370435"/>
                  <a:gd name="connsiteY6" fmla="*/ 743585 h 751205"/>
                  <a:gd name="connsiteX7" fmla="*/ 366026 w 370435"/>
                  <a:gd name="connsiteY7" fmla="*/ 713105 h 751205"/>
                  <a:gd name="connsiteX8" fmla="*/ 366026 w 370435"/>
                  <a:gd name="connsiteY8" fmla="*/ 568325 h 751205"/>
                  <a:gd name="connsiteX9" fmla="*/ 354596 w 370435"/>
                  <a:gd name="connsiteY9" fmla="*/ 409575 h 751205"/>
                  <a:gd name="connsiteX10" fmla="*/ 325386 w 370435"/>
                  <a:gd name="connsiteY10" fmla="*/ 212090 h 751205"/>
                  <a:gd name="connsiteX11" fmla="*/ 310146 w 370435"/>
                  <a:gd name="connsiteY11" fmla="*/ 0 h 751205"/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DM Sans 14pt ExtraBold"/>
                </a:endParaRPr>
              </a:p>
            </p:txBody>
          </p:sp>
        </p:grpSp>
        <p:sp>
          <p:nvSpPr>
            <p:cNvPr id="24" name="Freeform: Shape 93">
              <a:extLst>
                <a:ext uri="{FF2B5EF4-FFF2-40B4-BE49-F238E27FC236}">
                  <a16:creationId xmlns:a16="http://schemas.microsoft.com/office/drawing/2014/main" id="{1B5DDC81-739C-20D6-C9D5-12A50D3EE84B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47625 w 1162050"/>
                <a:gd name="connsiteY9" fmla="*/ 1533525 h 2381250"/>
                <a:gd name="connsiteX10" fmla="*/ 66675 w 1162050"/>
                <a:gd name="connsiteY10" fmla="*/ 1495425 h 2381250"/>
                <a:gd name="connsiteX11" fmla="*/ 76200 w 1162050"/>
                <a:gd name="connsiteY11" fmla="*/ 1466850 h 2381250"/>
                <a:gd name="connsiteX12" fmla="*/ 95250 w 1162050"/>
                <a:gd name="connsiteY12" fmla="*/ 1400175 h 2381250"/>
                <a:gd name="connsiteX13" fmla="*/ 104775 w 1162050"/>
                <a:gd name="connsiteY13" fmla="*/ 1352550 h 2381250"/>
                <a:gd name="connsiteX14" fmla="*/ 133350 w 1162050"/>
                <a:gd name="connsiteY14" fmla="*/ 1295400 h 2381250"/>
                <a:gd name="connsiteX15" fmla="*/ 142875 w 1162050"/>
                <a:gd name="connsiteY15" fmla="*/ 1238250 h 2381250"/>
                <a:gd name="connsiteX16" fmla="*/ 161925 w 1162050"/>
                <a:gd name="connsiteY16" fmla="*/ 1200150 h 2381250"/>
                <a:gd name="connsiteX17" fmla="*/ 200025 w 1162050"/>
                <a:gd name="connsiteY17" fmla="*/ 1095375 h 2381250"/>
                <a:gd name="connsiteX18" fmla="*/ 228600 w 1162050"/>
                <a:gd name="connsiteY18" fmla="*/ 1000125 h 2381250"/>
                <a:gd name="connsiteX19" fmla="*/ 247650 w 1162050"/>
                <a:gd name="connsiteY19" fmla="*/ 962025 h 2381250"/>
                <a:gd name="connsiteX20" fmla="*/ 257175 w 1162050"/>
                <a:gd name="connsiteY20" fmla="*/ 933450 h 2381250"/>
                <a:gd name="connsiteX21" fmla="*/ 276225 w 1162050"/>
                <a:gd name="connsiteY21" fmla="*/ 904875 h 2381250"/>
                <a:gd name="connsiteX22" fmla="*/ 285750 w 1162050"/>
                <a:gd name="connsiteY22" fmla="*/ 876300 h 2381250"/>
                <a:gd name="connsiteX23" fmla="*/ 361950 w 1162050"/>
                <a:gd name="connsiteY23" fmla="*/ 781050 h 2381250"/>
                <a:gd name="connsiteX24" fmla="*/ 419100 w 1162050"/>
                <a:gd name="connsiteY24" fmla="*/ 676275 h 2381250"/>
                <a:gd name="connsiteX25" fmla="*/ 447675 w 1162050"/>
                <a:gd name="connsiteY25" fmla="*/ 647700 h 2381250"/>
                <a:gd name="connsiteX26" fmla="*/ 457200 w 1162050"/>
                <a:gd name="connsiteY26" fmla="*/ 609600 h 2381250"/>
                <a:gd name="connsiteX27" fmla="*/ 485775 w 1162050"/>
                <a:gd name="connsiteY27" fmla="*/ 571500 h 2381250"/>
                <a:gd name="connsiteX28" fmla="*/ 523875 w 1162050"/>
                <a:gd name="connsiteY28" fmla="*/ 514350 h 2381250"/>
                <a:gd name="connsiteX29" fmla="*/ 600075 w 1162050"/>
                <a:gd name="connsiteY29" fmla="*/ 419100 h 2381250"/>
                <a:gd name="connsiteX30" fmla="*/ 638175 w 1162050"/>
                <a:gd name="connsiteY30" fmla="*/ 361950 h 2381250"/>
                <a:gd name="connsiteX31" fmla="*/ 666750 w 1162050"/>
                <a:gd name="connsiteY31" fmla="*/ 333375 h 2381250"/>
                <a:gd name="connsiteX32" fmla="*/ 704850 w 1162050"/>
                <a:gd name="connsiteY32" fmla="*/ 285750 h 2381250"/>
                <a:gd name="connsiteX33" fmla="*/ 723900 w 1162050"/>
                <a:gd name="connsiteY33" fmla="*/ 257175 h 2381250"/>
                <a:gd name="connsiteX34" fmla="*/ 771525 w 1162050"/>
                <a:gd name="connsiteY34" fmla="*/ 228600 h 2381250"/>
                <a:gd name="connsiteX35" fmla="*/ 838200 w 1162050"/>
                <a:gd name="connsiteY35" fmla="*/ 180975 h 2381250"/>
                <a:gd name="connsiteX36" fmla="*/ 914400 w 1162050"/>
                <a:gd name="connsiteY36" fmla="*/ 133350 h 2381250"/>
                <a:gd name="connsiteX37" fmla="*/ 1009650 w 1162050"/>
                <a:gd name="connsiteY37" fmla="*/ 66675 h 2381250"/>
                <a:gd name="connsiteX38" fmla="*/ 1085850 w 1162050"/>
                <a:gd name="connsiteY38" fmla="*/ 19050 h 2381250"/>
                <a:gd name="connsiteX39" fmla="*/ 1123950 w 1162050"/>
                <a:gd name="connsiteY39" fmla="*/ 9525 h 2381250"/>
                <a:gd name="connsiteX40" fmla="*/ 1162050 w 1162050"/>
                <a:gd name="connsiteY40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76200 w 1162050"/>
                <a:gd name="connsiteY10" fmla="*/ 1466850 h 2381250"/>
                <a:gd name="connsiteX11" fmla="*/ 95250 w 1162050"/>
                <a:gd name="connsiteY11" fmla="*/ 1400175 h 2381250"/>
                <a:gd name="connsiteX12" fmla="*/ 104775 w 1162050"/>
                <a:gd name="connsiteY12" fmla="*/ 1352550 h 2381250"/>
                <a:gd name="connsiteX13" fmla="*/ 133350 w 1162050"/>
                <a:gd name="connsiteY13" fmla="*/ 1295400 h 2381250"/>
                <a:gd name="connsiteX14" fmla="*/ 142875 w 1162050"/>
                <a:gd name="connsiteY14" fmla="*/ 1238250 h 2381250"/>
                <a:gd name="connsiteX15" fmla="*/ 161925 w 1162050"/>
                <a:gd name="connsiteY15" fmla="*/ 1200150 h 2381250"/>
                <a:gd name="connsiteX16" fmla="*/ 200025 w 1162050"/>
                <a:gd name="connsiteY16" fmla="*/ 1095375 h 2381250"/>
                <a:gd name="connsiteX17" fmla="*/ 228600 w 1162050"/>
                <a:gd name="connsiteY17" fmla="*/ 1000125 h 2381250"/>
                <a:gd name="connsiteX18" fmla="*/ 247650 w 1162050"/>
                <a:gd name="connsiteY18" fmla="*/ 962025 h 2381250"/>
                <a:gd name="connsiteX19" fmla="*/ 257175 w 1162050"/>
                <a:gd name="connsiteY19" fmla="*/ 933450 h 2381250"/>
                <a:gd name="connsiteX20" fmla="*/ 276225 w 1162050"/>
                <a:gd name="connsiteY20" fmla="*/ 904875 h 2381250"/>
                <a:gd name="connsiteX21" fmla="*/ 285750 w 1162050"/>
                <a:gd name="connsiteY21" fmla="*/ 876300 h 2381250"/>
                <a:gd name="connsiteX22" fmla="*/ 361950 w 1162050"/>
                <a:gd name="connsiteY22" fmla="*/ 781050 h 2381250"/>
                <a:gd name="connsiteX23" fmla="*/ 419100 w 1162050"/>
                <a:gd name="connsiteY23" fmla="*/ 676275 h 2381250"/>
                <a:gd name="connsiteX24" fmla="*/ 447675 w 1162050"/>
                <a:gd name="connsiteY24" fmla="*/ 647700 h 2381250"/>
                <a:gd name="connsiteX25" fmla="*/ 457200 w 1162050"/>
                <a:gd name="connsiteY25" fmla="*/ 609600 h 2381250"/>
                <a:gd name="connsiteX26" fmla="*/ 485775 w 1162050"/>
                <a:gd name="connsiteY26" fmla="*/ 571500 h 2381250"/>
                <a:gd name="connsiteX27" fmla="*/ 523875 w 1162050"/>
                <a:gd name="connsiteY27" fmla="*/ 514350 h 2381250"/>
                <a:gd name="connsiteX28" fmla="*/ 600075 w 1162050"/>
                <a:gd name="connsiteY28" fmla="*/ 419100 h 2381250"/>
                <a:gd name="connsiteX29" fmla="*/ 638175 w 1162050"/>
                <a:gd name="connsiteY29" fmla="*/ 361950 h 2381250"/>
                <a:gd name="connsiteX30" fmla="*/ 666750 w 1162050"/>
                <a:gd name="connsiteY30" fmla="*/ 333375 h 2381250"/>
                <a:gd name="connsiteX31" fmla="*/ 704850 w 1162050"/>
                <a:gd name="connsiteY31" fmla="*/ 285750 h 2381250"/>
                <a:gd name="connsiteX32" fmla="*/ 723900 w 1162050"/>
                <a:gd name="connsiteY32" fmla="*/ 257175 h 2381250"/>
                <a:gd name="connsiteX33" fmla="*/ 771525 w 1162050"/>
                <a:gd name="connsiteY33" fmla="*/ 228600 h 2381250"/>
                <a:gd name="connsiteX34" fmla="*/ 838200 w 1162050"/>
                <a:gd name="connsiteY34" fmla="*/ 180975 h 2381250"/>
                <a:gd name="connsiteX35" fmla="*/ 914400 w 1162050"/>
                <a:gd name="connsiteY35" fmla="*/ 133350 h 2381250"/>
                <a:gd name="connsiteX36" fmla="*/ 1009650 w 1162050"/>
                <a:gd name="connsiteY36" fmla="*/ 66675 h 2381250"/>
                <a:gd name="connsiteX37" fmla="*/ 1085850 w 1162050"/>
                <a:gd name="connsiteY37" fmla="*/ 19050 h 2381250"/>
                <a:gd name="connsiteX38" fmla="*/ 1123950 w 1162050"/>
                <a:gd name="connsiteY38" fmla="*/ 9525 h 2381250"/>
                <a:gd name="connsiteX39" fmla="*/ 1162050 w 1162050"/>
                <a:gd name="connsiteY39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95250 w 1162050"/>
                <a:gd name="connsiteY10" fmla="*/ 1400175 h 2381250"/>
                <a:gd name="connsiteX11" fmla="*/ 104775 w 1162050"/>
                <a:gd name="connsiteY11" fmla="*/ 1352550 h 2381250"/>
                <a:gd name="connsiteX12" fmla="*/ 133350 w 1162050"/>
                <a:gd name="connsiteY12" fmla="*/ 1295400 h 2381250"/>
                <a:gd name="connsiteX13" fmla="*/ 142875 w 1162050"/>
                <a:gd name="connsiteY13" fmla="*/ 1238250 h 2381250"/>
                <a:gd name="connsiteX14" fmla="*/ 161925 w 1162050"/>
                <a:gd name="connsiteY14" fmla="*/ 1200150 h 2381250"/>
                <a:gd name="connsiteX15" fmla="*/ 200025 w 1162050"/>
                <a:gd name="connsiteY15" fmla="*/ 1095375 h 2381250"/>
                <a:gd name="connsiteX16" fmla="*/ 228600 w 1162050"/>
                <a:gd name="connsiteY16" fmla="*/ 1000125 h 2381250"/>
                <a:gd name="connsiteX17" fmla="*/ 247650 w 1162050"/>
                <a:gd name="connsiteY17" fmla="*/ 962025 h 2381250"/>
                <a:gd name="connsiteX18" fmla="*/ 257175 w 1162050"/>
                <a:gd name="connsiteY18" fmla="*/ 933450 h 2381250"/>
                <a:gd name="connsiteX19" fmla="*/ 276225 w 1162050"/>
                <a:gd name="connsiteY19" fmla="*/ 904875 h 2381250"/>
                <a:gd name="connsiteX20" fmla="*/ 285750 w 1162050"/>
                <a:gd name="connsiteY20" fmla="*/ 876300 h 2381250"/>
                <a:gd name="connsiteX21" fmla="*/ 361950 w 1162050"/>
                <a:gd name="connsiteY21" fmla="*/ 781050 h 2381250"/>
                <a:gd name="connsiteX22" fmla="*/ 419100 w 1162050"/>
                <a:gd name="connsiteY22" fmla="*/ 676275 h 2381250"/>
                <a:gd name="connsiteX23" fmla="*/ 447675 w 1162050"/>
                <a:gd name="connsiteY23" fmla="*/ 647700 h 2381250"/>
                <a:gd name="connsiteX24" fmla="*/ 457200 w 1162050"/>
                <a:gd name="connsiteY24" fmla="*/ 609600 h 2381250"/>
                <a:gd name="connsiteX25" fmla="*/ 485775 w 1162050"/>
                <a:gd name="connsiteY25" fmla="*/ 571500 h 2381250"/>
                <a:gd name="connsiteX26" fmla="*/ 523875 w 1162050"/>
                <a:gd name="connsiteY26" fmla="*/ 514350 h 2381250"/>
                <a:gd name="connsiteX27" fmla="*/ 600075 w 1162050"/>
                <a:gd name="connsiteY27" fmla="*/ 419100 h 2381250"/>
                <a:gd name="connsiteX28" fmla="*/ 638175 w 1162050"/>
                <a:gd name="connsiteY28" fmla="*/ 361950 h 2381250"/>
                <a:gd name="connsiteX29" fmla="*/ 666750 w 1162050"/>
                <a:gd name="connsiteY29" fmla="*/ 333375 h 2381250"/>
                <a:gd name="connsiteX30" fmla="*/ 704850 w 1162050"/>
                <a:gd name="connsiteY30" fmla="*/ 285750 h 2381250"/>
                <a:gd name="connsiteX31" fmla="*/ 723900 w 1162050"/>
                <a:gd name="connsiteY31" fmla="*/ 257175 h 2381250"/>
                <a:gd name="connsiteX32" fmla="*/ 771525 w 1162050"/>
                <a:gd name="connsiteY32" fmla="*/ 228600 h 2381250"/>
                <a:gd name="connsiteX33" fmla="*/ 838200 w 1162050"/>
                <a:gd name="connsiteY33" fmla="*/ 180975 h 2381250"/>
                <a:gd name="connsiteX34" fmla="*/ 914400 w 1162050"/>
                <a:gd name="connsiteY34" fmla="*/ 133350 h 2381250"/>
                <a:gd name="connsiteX35" fmla="*/ 1009650 w 1162050"/>
                <a:gd name="connsiteY35" fmla="*/ 66675 h 2381250"/>
                <a:gd name="connsiteX36" fmla="*/ 1085850 w 1162050"/>
                <a:gd name="connsiteY36" fmla="*/ 19050 h 2381250"/>
                <a:gd name="connsiteX37" fmla="*/ 1123950 w 1162050"/>
                <a:gd name="connsiteY37" fmla="*/ 9525 h 2381250"/>
                <a:gd name="connsiteX38" fmla="*/ 1162050 w 1162050"/>
                <a:gd name="connsiteY38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95250 w 1162050"/>
                <a:gd name="connsiteY9" fmla="*/ 1400175 h 2381250"/>
                <a:gd name="connsiteX10" fmla="*/ 104775 w 1162050"/>
                <a:gd name="connsiteY10" fmla="*/ 1352550 h 2381250"/>
                <a:gd name="connsiteX11" fmla="*/ 133350 w 1162050"/>
                <a:gd name="connsiteY11" fmla="*/ 1295400 h 2381250"/>
                <a:gd name="connsiteX12" fmla="*/ 142875 w 1162050"/>
                <a:gd name="connsiteY12" fmla="*/ 1238250 h 2381250"/>
                <a:gd name="connsiteX13" fmla="*/ 161925 w 1162050"/>
                <a:gd name="connsiteY13" fmla="*/ 1200150 h 2381250"/>
                <a:gd name="connsiteX14" fmla="*/ 200025 w 1162050"/>
                <a:gd name="connsiteY14" fmla="*/ 1095375 h 2381250"/>
                <a:gd name="connsiteX15" fmla="*/ 228600 w 1162050"/>
                <a:gd name="connsiteY15" fmla="*/ 1000125 h 2381250"/>
                <a:gd name="connsiteX16" fmla="*/ 247650 w 1162050"/>
                <a:gd name="connsiteY16" fmla="*/ 962025 h 2381250"/>
                <a:gd name="connsiteX17" fmla="*/ 257175 w 1162050"/>
                <a:gd name="connsiteY17" fmla="*/ 933450 h 2381250"/>
                <a:gd name="connsiteX18" fmla="*/ 276225 w 1162050"/>
                <a:gd name="connsiteY18" fmla="*/ 904875 h 2381250"/>
                <a:gd name="connsiteX19" fmla="*/ 285750 w 1162050"/>
                <a:gd name="connsiteY19" fmla="*/ 876300 h 2381250"/>
                <a:gd name="connsiteX20" fmla="*/ 361950 w 1162050"/>
                <a:gd name="connsiteY20" fmla="*/ 781050 h 2381250"/>
                <a:gd name="connsiteX21" fmla="*/ 419100 w 1162050"/>
                <a:gd name="connsiteY21" fmla="*/ 676275 h 2381250"/>
                <a:gd name="connsiteX22" fmla="*/ 447675 w 1162050"/>
                <a:gd name="connsiteY22" fmla="*/ 647700 h 2381250"/>
                <a:gd name="connsiteX23" fmla="*/ 457200 w 1162050"/>
                <a:gd name="connsiteY23" fmla="*/ 609600 h 2381250"/>
                <a:gd name="connsiteX24" fmla="*/ 485775 w 1162050"/>
                <a:gd name="connsiteY24" fmla="*/ 571500 h 2381250"/>
                <a:gd name="connsiteX25" fmla="*/ 523875 w 1162050"/>
                <a:gd name="connsiteY25" fmla="*/ 514350 h 2381250"/>
                <a:gd name="connsiteX26" fmla="*/ 600075 w 1162050"/>
                <a:gd name="connsiteY26" fmla="*/ 419100 h 2381250"/>
                <a:gd name="connsiteX27" fmla="*/ 638175 w 1162050"/>
                <a:gd name="connsiteY27" fmla="*/ 361950 h 2381250"/>
                <a:gd name="connsiteX28" fmla="*/ 666750 w 1162050"/>
                <a:gd name="connsiteY28" fmla="*/ 333375 h 2381250"/>
                <a:gd name="connsiteX29" fmla="*/ 704850 w 1162050"/>
                <a:gd name="connsiteY29" fmla="*/ 285750 h 2381250"/>
                <a:gd name="connsiteX30" fmla="*/ 723900 w 1162050"/>
                <a:gd name="connsiteY30" fmla="*/ 257175 h 2381250"/>
                <a:gd name="connsiteX31" fmla="*/ 771525 w 1162050"/>
                <a:gd name="connsiteY31" fmla="*/ 228600 h 2381250"/>
                <a:gd name="connsiteX32" fmla="*/ 838200 w 1162050"/>
                <a:gd name="connsiteY32" fmla="*/ 180975 h 2381250"/>
                <a:gd name="connsiteX33" fmla="*/ 914400 w 1162050"/>
                <a:gd name="connsiteY33" fmla="*/ 133350 h 2381250"/>
                <a:gd name="connsiteX34" fmla="*/ 1009650 w 1162050"/>
                <a:gd name="connsiteY34" fmla="*/ 66675 h 2381250"/>
                <a:gd name="connsiteX35" fmla="*/ 1085850 w 1162050"/>
                <a:gd name="connsiteY35" fmla="*/ 19050 h 2381250"/>
                <a:gd name="connsiteX36" fmla="*/ 1123950 w 1162050"/>
                <a:gd name="connsiteY36" fmla="*/ 9525 h 2381250"/>
                <a:gd name="connsiteX37" fmla="*/ 1162050 w 1162050"/>
                <a:gd name="connsiteY37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95250 w 1162050"/>
                <a:gd name="connsiteY8" fmla="*/ 1400175 h 2381250"/>
                <a:gd name="connsiteX9" fmla="*/ 104775 w 1162050"/>
                <a:gd name="connsiteY9" fmla="*/ 1352550 h 2381250"/>
                <a:gd name="connsiteX10" fmla="*/ 133350 w 1162050"/>
                <a:gd name="connsiteY10" fmla="*/ 1295400 h 2381250"/>
                <a:gd name="connsiteX11" fmla="*/ 142875 w 1162050"/>
                <a:gd name="connsiteY11" fmla="*/ 1238250 h 2381250"/>
                <a:gd name="connsiteX12" fmla="*/ 161925 w 1162050"/>
                <a:gd name="connsiteY12" fmla="*/ 1200150 h 2381250"/>
                <a:gd name="connsiteX13" fmla="*/ 200025 w 1162050"/>
                <a:gd name="connsiteY13" fmla="*/ 1095375 h 2381250"/>
                <a:gd name="connsiteX14" fmla="*/ 228600 w 1162050"/>
                <a:gd name="connsiteY14" fmla="*/ 1000125 h 2381250"/>
                <a:gd name="connsiteX15" fmla="*/ 247650 w 1162050"/>
                <a:gd name="connsiteY15" fmla="*/ 962025 h 2381250"/>
                <a:gd name="connsiteX16" fmla="*/ 257175 w 1162050"/>
                <a:gd name="connsiteY16" fmla="*/ 933450 h 2381250"/>
                <a:gd name="connsiteX17" fmla="*/ 276225 w 1162050"/>
                <a:gd name="connsiteY17" fmla="*/ 904875 h 2381250"/>
                <a:gd name="connsiteX18" fmla="*/ 285750 w 1162050"/>
                <a:gd name="connsiteY18" fmla="*/ 876300 h 2381250"/>
                <a:gd name="connsiteX19" fmla="*/ 361950 w 1162050"/>
                <a:gd name="connsiteY19" fmla="*/ 781050 h 2381250"/>
                <a:gd name="connsiteX20" fmla="*/ 419100 w 1162050"/>
                <a:gd name="connsiteY20" fmla="*/ 676275 h 2381250"/>
                <a:gd name="connsiteX21" fmla="*/ 447675 w 1162050"/>
                <a:gd name="connsiteY21" fmla="*/ 647700 h 2381250"/>
                <a:gd name="connsiteX22" fmla="*/ 457200 w 1162050"/>
                <a:gd name="connsiteY22" fmla="*/ 609600 h 2381250"/>
                <a:gd name="connsiteX23" fmla="*/ 485775 w 1162050"/>
                <a:gd name="connsiteY23" fmla="*/ 571500 h 2381250"/>
                <a:gd name="connsiteX24" fmla="*/ 523875 w 1162050"/>
                <a:gd name="connsiteY24" fmla="*/ 514350 h 2381250"/>
                <a:gd name="connsiteX25" fmla="*/ 600075 w 1162050"/>
                <a:gd name="connsiteY25" fmla="*/ 419100 h 2381250"/>
                <a:gd name="connsiteX26" fmla="*/ 638175 w 1162050"/>
                <a:gd name="connsiteY26" fmla="*/ 361950 h 2381250"/>
                <a:gd name="connsiteX27" fmla="*/ 666750 w 1162050"/>
                <a:gd name="connsiteY27" fmla="*/ 333375 h 2381250"/>
                <a:gd name="connsiteX28" fmla="*/ 704850 w 1162050"/>
                <a:gd name="connsiteY28" fmla="*/ 285750 h 2381250"/>
                <a:gd name="connsiteX29" fmla="*/ 723900 w 1162050"/>
                <a:gd name="connsiteY29" fmla="*/ 257175 h 2381250"/>
                <a:gd name="connsiteX30" fmla="*/ 771525 w 1162050"/>
                <a:gd name="connsiteY30" fmla="*/ 228600 h 2381250"/>
                <a:gd name="connsiteX31" fmla="*/ 838200 w 1162050"/>
                <a:gd name="connsiteY31" fmla="*/ 180975 h 2381250"/>
                <a:gd name="connsiteX32" fmla="*/ 914400 w 1162050"/>
                <a:gd name="connsiteY32" fmla="*/ 133350 h 2381250"/>
                <a:gd name="connsiteX33" fmla="*/ 1009650 w 1162050"/>
                <a:gd name="connsiteY33" fmla="*/ 66675 h 2381250"/>
                <a:gd name="connsiteX34" fmla="*/ 1085850 w 1162050"/>
                <a:gd name="connsiteY34" fmla="*/ 19050 h 2381250"/>
                <a:gd name="connsiteX35" fmla="*/ 1123950 w 1162050"/>
                <a:gd name="connsiteY35" fmla="*/ 9525 h 2381250"/>
                <a:gd name="connsiteX36" fmla="*/ 1162050 w 1162050"/>
                <a:gd name="connsiteY36" fmla="*/ 0 h 2381250"/>
                <a:gd name="connsiteX0" fmla="*/ 68591 w 1163966"/>
                <a:gd name="connsiteY0" fmla="*/ 2381250 h 2381250"/>
                <a:gd name="connsiteX1" fmla="*/ 59066 w 1163966"/>
                <a:gd name="connsiteY1" fmla="*/ 2333625 h 2381250"/>
                <a:gd name="connsiteX2" fmla="*/ 40016 w 1163966"/>
                <a:gd name="connsiteY2" fmla="*/ 2124075 h 2381250"/>
                <a:gd name="connsiteX3" fmla="*/ 30491 w 1163966"/>
                <a:gd name="connsiteY3" fmla="*/ 2095500 h 2381250"/>
                <a:gd name="connsiteX4" fmla="*/ 20966 w 1163966"/>
                <a:gd name="connsiteY4" fmla="*/ 1971675 h 2381250"/>
                <a:gd name="connsiteX5" fmla="*/ 1916 w 1163966"/>
                <a:gd name="connsiteY5" fmla="*/ 1905000 h 2381250"/>
                <a:gd name="connsiteX6" fmla="*/ 11441 w 1163966"/>
                <a:gd name="connsiteY6" fmla="*/ 1619250 h 2381250"/>
                <a:gd name="connsiteX7" fmla="*/ 97166 w 1163966"/>
                <a:gd name="connsiteY7" fmla="*/ 1400175 h 2381250"/>
                <a:gd name="connsiteX8" fmla="*/ 106691 w 1163966"/>
                <a:gd name="connsiteY8" fmla="*/ 1352550 h 2381250"/>
                <a:gd name="connsiteX9" fmla="*/ 135266 w 1163966"/>
                <a:gd name="connsiteY9" fmla="*/ 1295400 h 2381250"/>
                <a:gd name="connsiteX10" fmla="*/ 144791 w 1163966"/>
                <a:gd name="connsiteY10" fmla="*/ 1238250 h 2381250"/>
                <a:gd name="connsiteX11" fmla="*/ 163841 w 1163966"/>
                <a:gd name="connsiteY11" fmla="*/ 1200150 h 2381250"/>
                <a:gd name="connsiteX12" fmla="*/ 201941 w 1163966"/>
                <a:gd name="connsiteY12" fmla="*/ 1095375 h 2381250"/>
                <a:gd name="connsiteX13" fmla="*/ 230516 w 1163966"/>
                <a:gd name="connsiteY13" fmla="*/ 1000125 h 2381250"/>
                <a:gd name="connsiteX14" fmla="*/ 249566 w 1163966"/>
                <a:gd name="connsiteY14" fmla="*/ 962025 h 2381250"/>
                <a:gd name="connsiteX15" fmla="*/ 259091 w 1163966"/>
                <a:gd name="connsiteY15" fmla="*/ 933450 h 2381250"/>
                <a:gd name="connsiteX16" fmla="*/ 278141 w 1163966"/>
                <a:gd name="connsiteY16" fmla="*/ 904875 h 2381250"/>
                <a:gd name="connsiteX17" fmla="*/ 287666 w 1163966"/>
                <a:gd name="connsiteY17" fmla="*/ 876300 h 2381250"/>
                <a:gd name="connsiteX18" fmla="*/ 363866 w 1163966"/>
                <a:gd name="connsiteY18" fmla="*/ 781050 h 2381250"/>
                <a:gd name="connsiteX19" fmla="*/ 421016 w 1163966"/>
                <a:gd name="connsiteY19" fmla="*/ 676275 h 2381250"/>
                <a:gd name="connsiteX20" fmla="*/ 449591 w 1163966"/>
                <a:gd name="connsiteY20" fmla="*/ 647700 h 2381250"/>
                <a:gd name="connsiteX21" fmla="*/ 459116 w 1163966"/>
                <a:gd name="connsiteY21" fmla="*/ 609600 h 2381250"/>
                <a:gd name="connsiteX22" fmla="*/ 487691 w 1163966"/>
                <a:gd name="connsiteY22" fmla="*/ 571500 h 2381250"/>
                <a:gd name="connsiteX23" fmla="*/ 525791 w 1163966"/>
                <a:gd name="connsiteY23" fmla="*/ 514350 h 2381250"/>
                <a:gd name="connsiteX24" fmla="*/ 601991 w 1163966"/>
                <a:gd name="connsiteY24" fmla="*/ 419100 h 2381250"/>
                <a:gd name="connsiteX25" fmla="*/ 640091 w 1163966"/>
                <a:gd name="connsiteY25" fmla="*/ 361950 h 2381250"/>
                <a:gd name="connsiteX26" fmla="*/ 668666 w 1163966"/>
                <a:gd name="connsiteY26" fmla="*/ 333375 h 2381250"/>
                <a:gd name="connsiteX27" fmla="*/ 706766 w 1163966"/>
                <a:gd name="connsiteY27" fmla="*/ 285750 h 2381250"/>
                <a:gd name="connsiteX28" fmla="*/ 725816 w 1163966"/>
                <a:gd name="connsiteY28" fmla="*/ 257175 h 2381250"/>
                <a:gd name="connsiteX29" fmla="*/ 773441 w 1163966"/>
                <a:gd name="connsiteY29" fmla="*/ 228600 h 2381250"/>
                <a:gd name="connsiteX30" fmla="*/ 840116 w 1163966"/>
                <a:gd name="connsiteY30" fmla="*/ 180975 h 2381250"/>
                <a:gd name="connsiteX31" fmla="*/ 916316 w 1163966"/>
                <a:gd name="connsiteY31" fmla="*/ 133350 h 2381250"/>
                <a:gd name="connsiteX32" fmla="*/ 1011566 w 1163966"/>
                <a:gd name="connsiteY32" fmla="*/ 66675 h 2381250"/>
                <a:gd name="connsiteX33" fmla="*/ 1087766 w 1163966"/>
                <a:gd name="connsiteY33" fmla="*/ 19050 h 2381250"/>
                <a:gd name="connsiteX34" fmla="*/ 1125866 w 1163966"/>
                <a:gd name="connsiteY34" fmla="*/ 9525 h 2381250"/>
                <a:gd name="connsiteX35" fmla="*/ 1163966 w 1163966"/>
                <a:gd name="connsiteY35" fmla="*/ 0 h 2381250"/>
                <a:gd name="connsiteX0" fmla="*/ 69267 w 1164642"/>
                <a:gd name="connsiteY0" fmla="*/ 2381250 h 2381250"/>
                <a:gd name="connsiteX1" fmla="*/ 59742 w 1164642"/>
                <a:gd name="connsiteY1" fmla="*/ 2333625 h 2381250"/>
                <a:gd name="connsiteX2" fmla="*/ 40692 w 1164642"/>
                <a:gd name="connsiteY2" fmla="*/ 2124075 h 2381250"/>
                <a:gd name="connsiteX3" fmla="*/ 31167 w 1164642"/>
                <a:gd name="connsiteY3" fmla="*/ 2095500 h 2381250"/>
                <a:gd name="connsiteX4" fmla="*/ 2592 w 1164642"/>
                <a:gd name="connsiteY4" fmla="*/ 1905000 h 2381250"/>
                <a:gd name="connsiteX5" fmla="*/ 12117 w 1164642"/>
                <a:gd name="connsiteY5" fmla="*/ 1619250 h 2381250"/>
                <a:gd name="connsiteX6" fmla="*/ 97842 w 1164642"/>
                <a:gd name="connsiteY6" fmla="*/ 1400175 h 2381250"/>
                <a:gd name="connsiteX7" fmla="*/ 107367 w 1164642"/>
                <a:gd name="connsiteY7" fmla="*/ 1352550 h 2381250"/>
                <a:gd name="connsiteX8" fmla="*/ 135942 w 1164642"/>
                <a:gd name="connsiteY8" fmla="*/ 1295400 h 2381250"/>
                <a:gd name="connsiteX9" fmla="*/ 145467 w 1164642"/>
                <a:gd name="connsiteY9" fmla="*/ 1238250 h 2381250"/>
                <a:gd name="connsiteX10" fmla="*/ 164517 w 1164642"/>
                <a:gd name="connsiteY10" fmla="*/ 1200150 h 2381250"/>
                <a:gd name="connsiteX11" fmla="*/ 202617 w 1164642"/>
                <a:gd name="connsiteY11" fmla="*/ 1095375 h 2381250"/>
                <a:gd name="connsiteX12" fmla="*/ 231192 w 1164642"/>
                <a:gd name="connsiteY12" fmla="*/ 1000125 h 2381250"/>
                <a:gd name="connsiteX13" fmla="*/ 250242 w 1164642"/>
                <a:gd name="connsiteY13" fmla="*/ 962025 h 2381250"/>
                <a:gd name="connsiteX14" fmla="*/ 259767 w 1164642"/>
                <a:gd name="connsiteY14" fmla="*/ 933450 h 2381250"/>
                <a:gd name="connsiteX15" fmla="*/ 278817 w 1164642"/>
                <a:gd name="connsiteY15" fmla="*/ 904875 h 2381250"/>
                <a:gd name="connsiteX16" fmla="*/ 288342 w 1164642"/>
                <a:gd name="connsiteY16" fmla="*/ 876300 h 2381250"/>
                <a:gd name="connsiteX17" fmla="*/ 364542 w 1164642"/>
                <a:gd name="connsiteY17" fmla="*/ 781050 h 2381250"/>
                <a:gd name="connsiteX18" fmla="*/ 421692 w 1164642"/>
                <a:gd name="connsiteY18" fmla="*/ 676275 h 2381250"/>
                <a:gd name="connsiteX19" fmla="*/ 450267 w 1164642"/>
                <a:gd name="connsiteY19" fmla="*/ 647700 h 2381250"/>
                <a:gd name="connsiteX20" fmla="*/ 459792 w 1164642"/>
                <a:gd name="connsiteY20" fmla="*/ 609600 h 2381250"/>
                <a:gd name="connsiteX21" fmla="*/ 488367 w 1164642"/>
                <a:gd name="connsiteY21" fmla="*/ 571500 h 2381250"/>
                <a:gd name="connsiteX22" fmla="*/ 526467 w 1164642"/>
                <a:gd name="connsiteY22" fmla="*/ 514350 h 2381250"/>
                <a:gd name="connsiteX23" fmla="*/ 602667 w 1164642"/>
                <a:gd name="connsiteY23" fmla="*/ 419100 h 2381250"/>
                <a:gd name="connsiteX24" fmla="*/ 640767 w 1164642"/>
                <a:gd name="connsiteY24" fmla="*/ 361950 h 2381250"/>
                <a:gd name="connsiteX25" fmla="*/ 669342 w 1164642"/>
                <a:gd name="connsiteY25" fmla="*/ 333375 h 2381250"/>
                <a:gd name="connsiteX26" fmla="*/ 707442 w 1164642"/>
                <a:gd name="connsiteY26" fmla="*/ 285750 h 2381250"/>
                <a:gd name="connsiteX27" fmla="*/ 726492 w 1164642"/>
                <a:gd name="connsiteY27" fmla="*/ 257175 h 2381250"/>
                <a:gd name="connsiteX28" fmla="*/ 774117 w 1164642"/>
                <a:gd name="connsiteY28" fmla="*/ 228600 h 2381250"/>
                <a:gd name="connsiteX29" fmla="*/ 840792 w 1164642"/>
                <a:gd name="connsiteY29" fmla="*/ 180975 h 2381250"/>
                <a:gd name="connsiteX30" fmla="*/ 916992 w 1164642"/>
                <a:gd name="connsiteY30" fmla="*/ 133350 h 2381250"/>
                <a:gd name="connsiteX31" fmla="*/ 1012242 w 1164642"/>
                <a:gd name="connsiteY31" fmla="*/ 66675 h 2381250"/>
                <a:gd name="connsiteX32" fmla="*/ 1088442 w 1164642"/>
                <a:gd name="connsiteY32" fmla="*/ 19050 h 2381250"/>
                <a:gd name="connsiteX33" fmla="*/ 1126542 w 1164642"/>
                <a:gd name="connsiteY33" fmla="*/ 9525 h 2381250"/>
                <a:gd name="connsiteX34" fmla="*/ 1164642 w 1164642"/>
                <a:gd name="connsiteY34" fmla="*/ 0 h 2381250"/>
                <a:gd name="connsiteX0" fmla="*/ 69951 w 1165326"/>
                <a:gd name="connsiteY0" fmla="*/ 2381250 h 2381250"/>
                <a:gd name="connsiteX1" fmla="*/ 60426 w 1165326"/>
                <a:gd name="connsiteY1" fmla="*/ 2333625 h 2381250"/>
                <a:gd name="connsiteX2" fmla="*/ 41376 w 1165326"/>
                <a:gd name="connsiteY2" fmla="*/ 2124075 h 2381250"/>
                <a:gd name="connsiteX3" fmla="*/ 3276 w 1165326"/>
                <a:gd name="connsiteY3" fmla="*/ 1905000 h 2381250"/>
                <a:gd name="connsiteX4" fmla="*/ 12801 w 1165326"/>
                <a:gd name="connsiteY4" fmla="*/ 1619250 h 2381250"/>
                <a:gd name="connsiteX5" fmla="*/ 98526 w 1165326"/>
                <a:gd name="connsiteY5" fmla="*/ 1400175 h 2381250"/>
                <a:gd name="connsiteX6" fmla="*/ 108051 w 1165326"/>
                <a:gd name="connsiteY6" fmla="*/ 1352550 h 2381250"/>
                <a:gd name="connsiteX7" fmla="*/ 136626 w 1165326"/>
                <a:gd name="connsiteY7" fmla="*/ 1295400 h 2381250"/>
                <a:gd name="connsiteX8" fmla="*/ 146151 w 1165326"/>
                <a:gd name="connsiteY8" fmla="*/ 1238250 h 2381250"/>
                <a:gd name="connsiteX9" fmla="*/ 165201 w 1165326"/>
                <a:gd name="connsiteY9" fmla="*/ 1200150 h 2381250"/>
                <a:gd name="connsiteX10" fmla="*/ 203301 w 1165326"/>
                <a:gd name="connsiteY10" fmla="*/ 1095375 h 2381250"/>
                <a:gd name="connsiteX11" fmla="*/ 231876 w 1165326"/>
                <a:gd name="connsiteY11" fmla="*/ 1000125 h 2381250"/>
                <a:gd name="connsiteX12" fmla="*/ 250926 w 1165326"/>
                <a:gd name="connsiteY12" fmla="*/ 962025 h 2381250"/>
                <a:gd name="connsiteX13" fmla="*/ 260451 w 1165326"/>
                <a:gd name="connsiteY13" fmla="*/ 933450 h 2381250"/>
                <a:gd name="connsiteX14" fmla="*/ 279501 w 1165326"/>
                <a:gd name="connsiteY14" fmla="*/ 904875 h 2381250"/>
                <a:gd name="connsiteX15" fmla="*/ 289026 w 1165326"/>
                <a:gd name="connsiteY15" fmla="*/ 876300 h 2381250"/>
                <a:gd name="connsiteX16" fmla="*/ 365226 w 1165326"/>
                <a:gd name="connsiteY16" fmla="*/ 781050 h 2381250"/>
                <a:gd name="connsiteX17" fmla="*/ 422376 w 1165326"/>
                <a:gd name="connsiteY17" fmla="*/ 676275 h 2381250"/>
                <a:gd name="connsiteX18" fmla="*/ 450951 w 1165326"/>
                <a:gd name="connsiteY18" fmla="*/ 647700 h 2381250"/>
                <a:gd name="connsiteX19" fmla="*/ 460476 w 1165326"/>
                <a:gd name="connsiteY19" fmla="*/ 609600 h 2381250"/>
                <a:gd name="connsiteX20" fmla="*/ 489051 w 1165326"/>
                <a:gd name="connsiteY20" fmla="*/ 571500 h 2381250"/>
                <a:gd name="connsiteX21" fmla="*/ 527151 w 1165326"/>
                <a:gd name="connsiteY21" fmla="*/ 514350 h 2381250"/>
                <a:gd name="connsiteX22" fmla="*/ 603351 w 1165326"/>
                <a:gd name="connsiteY22" fmla="*/ 419100 h 2381250"/>
                <a:gd name="connsiteX23" fmla="*/ 641451 w 1165326"/>
                <a:gd name="connsiteY23" fmla="*/ 361950 h 2381250"/>
                <a:gd name="connsiteX24" fmla="*/ 670026 w 1165326"/>
                <a:gd name="connsiteY24" fmla="*/ 333375 h 2381250"/>
                <a:gd name="connsiteX25" fmla="*/ 708126 w 1165326"/>
                <a:gd name="connsiteY25" fmla="*/ 285750 h 2381250"/>
                <a:gd name="connsiteX26" fmla="*/ 727176 w 1165326"/>
                <a:gd name="connsiteY26" fmla="*/ 257175 h 2381250"/>
                <a:gd name="connsiteX27" fmla="*/ 774801 w 1165326"/>
                <a:gd name="connsiteY27" fmla="*/ 228600 h 2381250"/>
                <a:gd name="connsiteX28" fmla="*/ 841476 w 1165326"/>
                <a:gd name="connsiteY28" fmla="*/ 180975 h 2381250"/>
                <a:gd name="connsiteX29" fmla="*/ 917676 w 1165326"/>
                <a:gd name="connsiteY29" fmla="*/ 133350 h 2381250"/>
                <a:gd name="connsiteX30" fmla="*/ 1012926 w 1165326"/>
                <a:gd name="connsiteY30" fmla="*/ 66675 h 2381250"/>
                <a:gd name="connsiteX31" fmla="*/ 1089126 w 1165326"/>
                <a:gd name="connsiteY31" fmla="*/ 19050 h 2381250"/>
                <a:gd name="connsiteX32" fmla="*/ 1127226 w 1165326"/>
                <a:gd name="connsiteY32" fmla="*/ 9525 h 2381250"/>
                <a:gd name="connsiteX33" fmla="*/ 1165326 w 1165326"/>
                <a:gd name="connsiteY33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38010 w 1166710"/>
                <a:gd name="connsiteY6" fmla="*/ 1295400 h 2381250"/>
                <a:gd name="connsiteX7" fmla="*/ 147535 w 1166710"/>
                <a:gd name="connsiteY7" fmla="*/ 1238250 h 2381250"/>
                <a:gd name="connsiteX8" fmla="*/ 166585 w 1166710"/>
                <a:gd name="connsiteY8" fmla="*/ 1200150 h 2381250"/>
                <a:gd name="connsiteX9" fmla="*/ 204685 w 1166710"/>
                <a:gd name="connsiteY9" fmla="*/ 1095375 h 2381250"/>
                <a:gd name="connsiteX10" fmla="*/ 233260 w 1166710"/>
                <a:gd name="connsiteY10" fmla="*/ 1000125 h 2381250"/>
                <a:gd name="connsiteX11" fmla="*/ 252310 w 1166710"/>
                <a:gd name="connsiteY11" fmla="*/ 962025 h 2381250"/>
                <a:gd name="connsiteX12" fmla="*/ 261835 w 1166710"/>
                <a:gd name="connsiteY12" fmla="*/ 933450 h 2381250"/>
                <a:gd name="connsiteX13" fmla="*/ 280885 w 1166710"/>
                <a:gd name="connsiteY13" fmla="*/ 904875 h 2381250"/>
                <a:gd name="connsiteX14" fmla="*/ 290410 w 1166710"/>
                <a:gd name="connsiteY14" fmla="*/ 876300 h 2381250"/>
                <a:gd name="connsiteX15" fmla="*/ 366610 w 1166710"/>
                <a:gd name="connsiteY15" fmla="*/ 781050 h 2381250"/>
                <a:gd name="connsiteX16" fmla="*/ 423760 w 1166710"/>
                <a:gd name="connsiteY16" fmla="*/ 676275 h 2381250"/>
                <a:gd name="connsiteX17" fmla="*/ 452335 w 1166710"/>
                <a:gd name="connsiteY17" fmla="*/ 647700 h 2381250"/>
                <a:gd name="connsiteX18" fmla="*/ 461860 w 1166710"/>
                <a:gd name="connsiteY18" fmla="*/ 609600 h 2381250"/>
                <a:gd name="connsiteX19" fmla="*/ 490435 w 1166710"/>
                <a:gd name="connsiteY19" fmla="*/ 571500 h 2381250"/>
                <a:gd name="connsiteX20" fmla="*/ 528535 w 1166710"/>
                <a:gd name="connsiteY20" fmla="*/ 514350 h 2381250"/>
                <a:gd name="connsiteX21" fmla="*/ 604735 w 1166710"/>
                <a:gd name="connsiteY21" fmla="*/ 419100 h 2381250"/>
                <a:gd name="connsiteX22" fmla="*/ 642835 w 1166710"/>
                <a:gd name="connsiteY22" fmla="*/ 361950 h 2381250"/>
                <a:gd name="connsiteX23" fmla="*/ 671410 w 1166710"/>
                <a:gd name="connsiteY23" fmla="*/ 333375 h 2381250"/>
                <a:gd name="connsiteX24" fmla="*/ 709510 w 1166710"/>
                <a:gd name="connsiteY24" fmla="*/ 285750 h 2381250"/>
                <a:gd name="connsiteX25" fmla="*/ 728560 w 1166710"/>
                <a:gd name="connsiteY25" fmla="*/ 257175 h 2381250"/>
                <a:gd name="connsiteX26" fmla="*/ 776185 w 1166710"/>
                <a:gd name="connsiteY26" fmla="*/ 228600 h 2381250"/>
                <a:gd name="connsiteX27" fmla="*/ 842860 w 1166710"/>
                <a:gd name="connsiteY27" fmla="*/ 180975 h 2381250"/>
                <a:gd name="connsiteX28" fmla="*/ 919060 w 1166710"/>
                <a:gd name="connsiteY28" fmla="*/ 133350 h 2381250"/>
                <a:gd name="connsiteX29" fmla="*/ 1014310 w 1166710"/>
                <a:gd name="connsiteY29" fmla="*/ 66675 h 2381250"/>
                <a:gd name="connsiteX30" fmla="*/ 1090510 w 1166710"/>
                <a:gd name="connsiteY30" fmla="*/ 19050 h 2381250"/>
                <a:gd name="connsiteX31" fmla="*/ 1128610 w 1166710"/>
                <a:gd name="connsiteY31" fmla="*/ 9525 h 2381250"/>
                <a:gd name="connsiteX32" fmla="*/ 1166710 w 1166710"/>
                <a:gd name="connsiteY32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47535 w 1166710"/>
                <a:gd name="connsiteY6" fmla="*/ 1238250 h 2381250"/>
                <a:gd name="connsiteX7" fmla="*/ 166585 w 1166710"/>
                <a:gd name="connsiteY7" fmla="*/ 1200150 h 2381250"/>
                <a:gd name="connsiteX8" fmla="*/ 204685 w 1166710"/>
                <a:gd name="connsiteY8" fmla="*/ 1095375 h 2381250"/>
                <a:gd name="connsiteX9" fmla="*/ 233260 w 1166710"/>
                <a:gd name="connsiteY9" fmla="*/ 1000125 h 2381250"/>
                <a:gd name="connsiteX10" fmla="*/ 252310 w 1166710"/>
                <a:gd name="connsiteY10" fmla="*/ 962025 h 2381250"/>
                <a:gd name="connsiteX11" fmla="*/ 261835 w 1166710"/>
                <a:gd name="connsiteY11" fmla="*/ 933450 h 2381250"/>
                <a:gd name="connsiteX12" fmla="*/ 280885 w 1166710"/>
                <a:gd name="connsiteY12" fmla="*/ 904875 h 2381250"/>
                <a:gd name="connsiteX13" fmla="*/ 290410 w 1166710"/>
                <a:gd name="connsiteY13" fmla="*/ 876300 h 2381250"/>
                <a:gd name="connsiteX14" fmla="*/ 366610 w 1166710"/>
                <a:gd name="connsiteY14" fmla="*/ 781050 h 2381250"/>
                <a:gd name="connsiteX15" fmla="*/ 423760 w 1166710"/>
                <a:gd name="connsiteY15" fmla="*/ 676275 h 2381250"/>
                <a:gd name="connsiteX16" fmla="*/ 452335 w 1166710"/>
                <a:gd name="connsiteY16" fmla="*/ 647700 h 2381250"/>
                <a:gd name="connsiteX17" fmla="*/ 461860 w 1166710"/>
                <a:gd name="connsiteY17" fmla="*/ 609600 h 2381250"/>
                <a:gd name="connsiteX18" fmla="*/ 490435 w 1166710"/>
                <a:gd name="connsiteY18" fmla="*/ 571500 h 2381250"/>
                <a:gd name="connsiteX19" fmla="*/ 528535 w 1166710"/>
                <a:gd name="connsiteY19" fmla="*/ 514350 h 2381250"/>
                <a:gd name="connsiteX20" fmla="*/ 604735 w 1166710"/>
                <a:gd name="connsiteY20" fmla="*/ 419100 h 2381250"/>
                <a:gd name="connsiteX21" fmla="*/ 642835 w 1166710"/>
                <a:gd name="connsiteY21" fmla="*/ 361950 h 2381250"/>
                <a:gd name="connsiteX22" fmla="*/ 671410 w 1166710"/>
                <a:gd name="connsiteY22" fmla="*/ 333375 h 2381250"/>
                <a:gd name="connsiteX23" fmla="*/ 709510 w 1166710"/>
                <a:gd name="connsiteY23" fmla="*/ 285750 h 2381250"/>
                <a:gd name="connsiteX24" fmla="*/ 728560 w 1166710"/>
                <a:gd name="connsiteY24" fmla="*/ 257175 h 2381250"/>
                <a:gd name="connsiteX25" fmla="*/ 776185 w 1166710"/>
                <a:gd name="connsiteY25" fmla="*/ 228600 h 2381250"/>
                <a:gd name="connsiteX26" fmla="*/ 842860 w 1166710"/>
                <a:gd name="connsiteY26" fmla="*/ 180975 h 2381250"/>
                <a:gd name="connsiteX27" fmla="*/ 919060 w 1166710"/>
                <a:gd name="connsiteY27" fmla="*/ 133350 h 2381250"/>
                <a:gd name="connsiteX28" fmla="*/ 1014310 w 1166710"/>
                <a:gd name="connsiteY28" fmla="*/ 66675 h 2381250"/>
                <a:gd name="connsiteX29" fmla="*/ 1090510 w 1166710"/>
                <a:gd name="connsiteY29" fmla="*/ 19050 h 2381250"/>
                <a:gd name="connsiteX30" fmla="*/ 1128610 w 1166710"/>
                <a:gd name="connsiteY30" fmla="*/ 9525 h 2381250"/>
                <a:gd name="connsiteX31" fmla="*/ 1166710 w 1166710"/>
                <a:gd name="connsiteY31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47535 w 1166710"/>
                <a:gd name="connsiteY5" fmla="*/ 1238250 h 2381250"/>
                <a:gd name="connsiteX6" fmla="*/ 166585 w 1166710"/>
                <a:gd name="connsiteY6" fmla="*/ 1200150 h 2381250"/>
                <a:gd name="connsiteX7" fmla="*/ 204685 w 1166710"/>
                <a:gd name="connsiteY7" fmla="*/ 1095375 h 2381250"/>
                <a:gd name="connsiteX8" fmla="*/ 233260 w 1166710"/>
                <a:gd name="connsiteY8" fmla="*/ 1000125 h 2381250"/>
                <a:gd name="connsiteX9" fmla="*/ 252310 w 1166710"/>
                <a:gd name="connsiteY9" fmla="*/ 962025 h 2381250"/>
                <a:gd name="connsiteX10" fmla="*/ 261835 w 1166710"/>
                <a:gd name="connsiteY10" fmla="*/ 933450 h 2381250"/>
                <a:gd name="connsiteX11" fmla="*/ 280885 w 1166710"/>
                <a:gd name="connsiteY11" fmla="*/ 904875 h 2381250"/>
                <a:gd name="connsiteX12" fmla="*/ 290410 w 1166710"/>
                <a:gd name="connsiteY12" fmla="*/ 876300 h 2381250"/>
                <a:gd name="connsiteX13" fmla="*/ 366610 w 1166710"/>
                <a:gd name="connsiteY13" fmla="*/ 781050 h 2381250"/>
                <a:gd name="connsiteX14" fmla="*/ 423760 w 1166710"/>
                <a:gd name="connsiteY14" fmla="*/ 676275 h 2381250"/>
                <a:gd name="connsiteX15" fmla="*/ 452335 w 1166710"/>
                <a:gd name="connsiteY15" fmla="*/ 647700 h 2381250"/>
                <a:gd name="connsiteX16" fmla="*/ 461860 w 1166710"/>
                <a:gd name="connsiteY16" fmla="*/ 609600 h 2381250"/>
                <a:gd name="connsiteX17" fmla="*/ 490435 w 1166710"/>
                <a:gd name="connsiteY17" fmla="*/ 571500 h 2381250"/>
                <a:gd name="connsiteX18" fmla="*/ 528535 w 1166710"/>
                <a:gd name="connsiteY18" fmla="*/ 514350 h 2381250"/>
                <a:gd name="connsiteX19" fmla="*/ 604735 w 1166710"/>
                <a:gd name="connsiteY19" fmla="*/ 419100 h 2381250"/>
                <a:gd name="connsiteX20" fmla="*/ 642835 w 1166710"/>
                <a:gd name="connsiteY20" fmla="*/ 361950 h 2381250"/>
                <a:gd name="connsiteX21" fmla="*/ 671410 w 1166710"/>
                <a:gd name="connsiteY21" fmla="*/ 333375 h 2381250"/>
                <a:gd name="connsiteX22" fmla="*/ 709510 w 1166710"/>
                <a:gd name="connsiteY22" fmla="*/ 285750 h 2381250"/>
                <a:gd name="connsiteX23" fmla="*/ 728560 w 1166710"/>
                <a:gd name="connsiteY23" fmla="*/ 257175 h 2381250"/>
                <a:gd name="connsiteX24" fmla="*/ 776185 w 1166710"/>
                <a:gd name="connsiteY24" fmla="*/ 228600 h 2381250"/>
                <a:gd name="connsiteX25" fmla="*/ 842860 w 1166710"/>
                <a:gd name="connsiteY25" fmla="*/ 180975 h 2381250"/>
                <a:gd name="connsiteX26" fmla="*/ 919060 w 1166710"/>
                <a:gd name="connsiteY26" fmla="*/ 133350 h 2381250"/>
                <a:gd name="connsiteX27" fmla="*/ 1014310 w 1166710"/>
                <a:gd name="connsiteY27" fmla="*/ 66675 h 2381250"/>
                <a:gd name="connsiteX28" fmla="*/ 1090510 w 1166710"/>
                <a:gd name="connsiteY28" fmla="*/ 19050 h 2381250"/>
                <a:gd name="connsiteX29" fmla="*/ 1128610 w 1166710"/>
                <a:gd name="connsiteY29" fmla="*/ 9525 h 2381250"/>
                <a:gd name="connsiteX30" fmla="*/ 1166710 w 1166710"/>
                <a:gd name="connsiteY3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169098 w 1169223"/>
                <a:gd name="connsiteY5" fmla="*/ 1200150 h 2381250"/>
                <a:gd name="connsiteX6" fmla="*/ 207198 w 1169223"/>
                <a:gd name="connsiteY6" fmla="*/ 1095375 h 2381250"/>
                <a:gd name="connsiteX7" fmla="*/ 235773 w 1169223"/>
                <a:gd name="connsiteY7" fmla="*/ 1000125 h 2381250"/>
                <a:gd name="connsiteX8" fmla="*/ 254823 w 1169223"/>
                <a:gd name="connsiteY8" fmla="*/ 962025 h 2381250"/>
                <a:gd name="connsiteX9" fmla="*/ 264348 w 1169223"/>
                <a:gd name="connsiteY9" fmla="*/ 933450 h 2381250"/>
                <a:gd name="connsiteX10" fmla="*/ 283398 w 1169223"/>
                <a:gd name="connsiteY10" fmla="*/ 904875 h 2381250"/>
                <a:gd name="connsiteX11" fmla="*/ 292923 w 1169223"/>
                <a:gd name="connsiteY11" fmla="*/ 876300 h 2381250"/>
                <a:gd name="connsiteX12" fmla="*/ 369123 w 1169223"/>
                <a:gd name="connsiteY12" fmla="*/ 781050 h 2381250"/>
                <a:gd name="connsiteX13" fmla="*/ 426273 w 1169223"/>
                <a:gd name="connsiteY13" fmla="*/ 676275 h 2381250"/>
                <a:gd name="connsiteX14" fmla="*/ 454848 w 1169223"/>
                <a:gd name="connsiteY14" fmla="*/ 647700 h 2381250"/>
                <a:gd name="connsiteX15" fmla="*/ 464373 w 1169223"/>
                <a:gd name="connsiteY15" fmla="*/ 609600 h 2381250"/>
                <a:gd name="connsiteX16" fmla="*/ 492948 w 1169223"/>
                <a:gd name="connsiteY16" fmla="*/ 571500 h 2381250"/>
                <a:gd name="connsiteX17" fmla="*/ 531048 w 1169223"/>
                <a:gd name="connsiteY17" fmla="*/ 514350 h 2381250"/>
                <a:gd name="connsiteX18" fmla="*/ 607248 w 1169223"/>
                <a:gd name="connsiteY18" fmla="*/ 419100 h 2381250"/>
                <a:gd name="connsiteX19" fmla="*/ 645348 w 1169223"/>
                <a:gd name="connsiteY19" fmla="*/ 361950 h 2381250"/>
                <a:gd name="connsiteX20" fmla="*/ 673923 w 1169223"/>
                <a:gd name="connsiteY20" fmla="*/ 333375 h 2381250"/>
                <a:gd name="connsiteX21" fmla="*/ 712023 w 1169223"/>
                <a:gd name="connsiteY21" fmla="*/ 285750 h 2381250"/>
                <a:gd name="connsiteX22" fmla="*/ 731073 w 1169223"/>
                <a:gd name="connsiteY22" fmla="*/ 257175 h 2381250"/>
                <a:gd name="connsiteX23" fmla="*/ 778698 w 1169223"/>
                <a:gd name="connsiteY23" fmla="*/ 228600 h 2381250"/>
                <a:gd name="connsiteX24" fmla="*/ 845373 w 1169223"/>
                <a:gd name="connsiteY24" fmla="*/ 180975 h 2381250"/>
                <a:gd name="connsiteX25" fmla="*/ 921573 w 1169223"/>
                <a:gd name="connsiteY25" fmla="*/ 133350 h 2381250"/>
                <a:gd name="connsiteX26" fmla="*/ 1016823 w 1169223"/>
                <a:gd name="connsiteY26" fmla="*/ 66675 h 2381250"/>
                <a:gd name="connsiteX27" fmla="*/ 1093023 w 1169223"/>
                <a:gd name="connsiteY27" fmla="*/ 19050 h 2381250"/>
                <a:gd name="connsiteX28" fmla="*/ 1131123 w 1169223"/>
                <a:gd name="connsiteY28" fmla="*/ 9525 h 2381250"/>
                <a:gd name="connsiteX29" fmla="*/ 1169223 w 1169223"/>
                <a:gd name="connsiteY2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83398 w 1169223"/>
                <a:gd name="connsiteY9" fmla="*/ 904875 h 2381250"/>
                <a:gd name="connsiteX10" fmla="*/ 292923 w 1169223"/>
                <a:gd name="connsiteY10" fmla="*/ 876300 h 2381250"/>
                <a:gd name="connsiteX11" fmla="*/ 369123 w 1169223"/>
                <a:gd name="connsiteY11" fmla="*/ 781050 h 2381250"/>
                <a:gd name="connsiteX12" fmla="*/ 426273 w 1169223"/>
                <a:gd name="connsiteY12" fmla="*/ 676275 h 2381250"/>
                <a:gd name="connsiteX13" fmla="*/ 454848 w 1169223"/>
                <a:gd name="connsiteY13" fmla="*/ 647700 h 2381250"/>
                <a:gd name="connsiteX14" fmla="*/ 464373 w 1169223"/>
                <a:gd name="connsiteY14" fmla="*/ 609600 h 2381250"/>
                <a:gd name="connsiteX15" fmla="*/ 492948 w 1169223"/>
                <a:gd name="connsiteY15" fmla="*/ 571500 h 2381250"/>
                <a:gd name="connsiteX16" fmla="*/ 531048 w 1169223"/>
                <a:gd name="connsiteY16" fmla="*/ 514350 h 2381250"/>
                <a:gd name="connsiteX17" fmla="*/ 607248 w 1169223"/>
                <a:gd name="connsiteY17" fmla="*/ 419100 h 2381250"/>
                <a:gd name="connsiteX18" fmla="*/ 645348 w 1169223"/>
                <a:gd name="connsiteY18" fmla="*/ 361950 h 2381250"/>
                <a:gd name="connsiteX19" fmla="*/ 673923 w 1169223"/>
                <a:gd name="connsiteY19" fmla="*/ 333375 h 2381250"/>
                <a:gd name="connsiteX20" fmla="*/ 712023 w 1169223"/>
                <a:gd name="connsiteY20" fmla="*/ 285750 h 2381250"/>
                <a:gd name="connsiteX21" fmla="*/ 731073 w 1169223"/>
                <a:gd name="connsiteY21" fmla="*/ 257175 h 2381250"/>
                <a:gd name="connsiteX22" fmla="*/ 778698 w 1169223"/>
                <a:gd name="connsiteY22" fmla="*/ 228600 h 2381250"/>
                <a:gd name="connsiteX23" fmla="*/ 845373 w 1169223"/>
                <a:gd name="connsiteY23" fmla="*/ 180975 h 2381250"/>
                <a:gd name="connsiteX24" fmla="*/ 921573 w 1169223"/>
                <a:gd name="connsiteY24" fmla="*/ 133350 h 2381250"/>
                <a:gd name="connsiteX25" fmla="*/ 1016823 w 1169223"/>
                <a:gd name="connsiteY25" fmla="*/ 66675 h 2381250"/>
                <a:gd name="connsiteX26" fmla="*/ 1093023 w 1169223"/>
                <a:gd name="connsiteY26" fmla="*/ 19050 h 2381250"/>
                <a:gd name="connsiteX27" fmla="*/ 1131123 w 1169223"/>
                <a:gd name="connsiteY27" fmla="*/ 9525 h 2381250"/>
                <a:gd name="connsiteX28" fmla="*/ 1169223 w 1169223"/>
                <a:gd name="connsiteY2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92923 w 1169223"/>
                <a:gd name="connsiteY9" fmla="*/ 876300 h 2381250"/>
                <a:gd name="connsiteX10" fmla="*/ 369123 w 1169223"/>
                <a:gd name="connsiteY10" fmla="*/ 781050 h 2381250"/>
                <a:gd name="connsiteX11" fmla="*/ 426273 w 1169223"/>
                <a:gd name="connsiteY11" fmla="*/ 676275 h 2381250"/>
                <a:gd name="connsiteX12" fmla="*/ 454848 w 1169223"/>
                <a:gd name="connsiteY12" fmla="*/ 647700 h 2381250"/>
                <a:gd name="connsiteX13" fmla="*/ 464373 w 1169223"/>
                <a:gd name="connsiteY13" fmla="*/ 609600 h 2381250"/>
                <a:gd name="connsiteX14" fmla="*/ 492948 w 1169223"/>
                <a:gd name="connsiteY14" fmla="*/ 571500 h 2381250"/>
                <a:gd name="connsiteX15" fmla="*/ 531048 w 1169223"/>
                <a:gd name="connsiteY15" fmla="*/ 514350 h 2381250"/>
                <a:gd name="connsiteX16" fmla="*/ 607248 w 1169223"/>
                <a:gd name="connsiteY16" fmla="*/ 419100 h 2381250"/>
                <a:gd name="connsiteX17" fmla="*/ 645348 w 1169223"/>
                <a:gd name="connsiteY17" fmla="*/ 361950 h 2381250"/>
                <a:gd name="connsiteX18" fmla="*/ 673923 w 1169223"/>
                <a:gd name="connsiteY18" fmla="*/ 333375 h 2381250"/>
                <a:gd name="connsiteX19" fmla="*/ 712023 w 1169223"/>
                <a:gd name="connsiteY19" fmla="*/ 285750 h 2381250"/>
                <a:gd name="connsiteX20" fmla="*/ 731073 w 1169223"/>
                <a:gd name="connsiteY20" fmla="*/ 257175 h 2381250"/>
                <a:gd name="connsiteX21" fmla="*/ 778698 w 1169223"/>
                <a:gd name="connsiteY21" fmla="*/ 228600 h 2381250"/>
                <a:gd name="connsiteX22" fmla="*/ 845373 w 1169223"/>
                <a:gd name="connsiteY22" fmla="*/ 180975 h 2381250"/>
                <a:gd name="connsiteX23" fmla="*/ 921573 w 1169223"/>
                <a:gd name="connsiteY23" fmla="*/ 133350 h 2381250"/>
                <a:gd name="connsiteX24" fmla="*/ 1016823 w 1169223"/>
                <a:gd name="connsiteY24" fmla="*/ 66675 h 2381250"/>
                <a:gd name="connsiteX25" fmla="*/ 1093023 w 1169223"/>
                <a:gd name="connsiteY25" fmla="*/ 19050 h 2381250"/>
                <a:gd name="connsiteX26" fmla="*/ 1131123 w 1169223"/>
                <a:gd name="connsiteY26" fmla="*/ 9525 h 2381250"/>
                <a:gd name="connsiteX27" fmla="*/ 1169223 w 1169223"/>
                <a:gd name="connsiteY2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369123 w 1169223"/>
                <a:gd name="connsiteY9" fmla="*/ 781050 h 2381250"/>
                <a:gd name="connsiteX10" fmla="*/ 426273 w 1169223"/>
                <a:gd name="connsiteY10" fmla="*/ 676275 h 2381250"/>
                <a:gd name="connsiteX11" fmla="*/ 454848 w 1169223"/>
                <a:gd name="connsiteY11" fmla="*/ 647700 h 2381250"/>
                <a:gd name="connsiteX12" fmla="*/ 464373 w 1169223"/>
                <a:gd name="connsiteY12" fmla="*/ 609600 h 2381250"/>
                <a:gd name="connsiteX13" fmla="*/ 492948 w 1169223"/>
                <a:gd name="connsiteY13" fmla="*/ 571500 h 2381250"/>
                <a:gd name="connsiteX14" fmla="*/ 531048 w 1169223"/>
                <a:gd name="connsiteY14" fmla="*/ 514350 h 2381250"/>
                <a:gd name="connsiteX15" fmla="*/ 607248 w 1169223"/>
                <a:gd name="connsiteY15" fmla="*/ 419100 h 2381250"/>
                <a:gd name="connsiteX16" fmla="*/ 645348 w 1169223"/>
                <a:gd name="connsiteY16" fmla="*/ 361950 h 2381250"/>
                <a:gd name="connsiteX17" fmla="*/ 673923 w 1169223"/>
                <a:gd name="connsiteY17" fmla="*/ 333375 h 2381250"/>
                <a:gd name="connsiteX18" fmla="*/ 712023 w 1169223"/>
                <a:gd name="connsiteY18" fmla="*/ 285750 h 2381250"/>
                <a:gd name="connsiteX19" fmla="*/ 731073 w 1169223"/>
                <a:gd name="connsiteY19" fmla="*/ 257175 h 2381250"/>
                <a:gd name="connsiteX20" fmla="*/ 778698 w 1169223"/>
                <a:gd name="connsiteY20" fmla="*/ 228600 h 2381250"/>
                <a:gd name="connsiteX21" fmla="*/ 845373 w 1169223"/>
                <a:gd name="connsiteY21" fmla="*/ 180975 h 2381250"/>
                <a:gd name="connsiteX22" fmla="*/ 921573 w 1169223"/>
                <a:gd name="connsiteY22" fmla="*/ 133350 h 2381250"/>
                <a:gd name="connsiteX23" fmla="*/ 1016823 w 1169223"/>
                <a:gd name="connsiteY23" fmla="*/ 66675 h 2381250"/>
                <a:gd name="connsiteX24" fmla="*/ 1093023 w 1169223"/>
                <a:gd name="connsiteY24" fmla="*/ 19050 h 2381250"/>
                <a:gd name="connsiteX25" fmla="*/ 1131123 w 1169223"/>
                <a:gd name="connsiteY25" fmla="*/ 9525 h 2381250"/>
                <a:gd name="connsiteX26" fmla="*/ 1169223 w 1169223"/>
                <a:gd name="connsiteY2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369123 w 1169223"/>
                <a:gd name="connsiteY8" fmla="*/ 781050 h 2381250"/>
                <a:gd name="connsiteX9" fmla="*/ 426273 w 1169223"/>
                <a:gd name="connsiteY9" fmla="*/ 676275 h 2381250"/>
                <a:gd name="connsiteX10" fmla="*/ 454848 w 1169223"/>
                <a:gd name="connsiteY10" fmla="*/ 647700 h 2381250"/>
                <a:gd name="connsiteX11" fmla="*/ 464373 w 1169223"/>
                <a:gd name="connsiteY11" fmla="*/ 609600 h 2381250"/>
                <a:gd name="connsiteX12" fmla="*/ 492948 w 1169223"/>
                <a:gd name="connsiteY12" fmla="*/ 571500 h 2381250"/>
                <a:gd name="connsiteX13" fmla="*/ 531048 w 1169223"/>
                <a:gd name="connsiteY13" fmla="*/ 514350 h 2381250"/>
                <a:gd name="connsiteX14" fmla="*/ 607248 w 1169223"/>
                <a:gd name="connsiteY14" fmla="*/ 419100 h 2381250"/>
                <a:gd name="connsiteX15" fmla="*/ 645348 w 1169223"/>
                <a:gd name="connsiteY15" fmla="*/ 361950 h 2381250"/>
                <a:gd name="connsiteX16" fmla="*/ 673923 w 1169223"/>
                <a:gd name="connsiteY16" fmla="*/ 333375 h 2381250"/>
                <a:gd name="connsiteX17" fmla="*/ 712023 w 1169223"/>
                <a:gd name="connsiteY17" fmla="*/ 285750 h 2381250"/>
                <a:gd name="connsiteX18" fmla="*/ 731073 w 1169223"/>
                <a:gd name="connsiteY18" fmla="*/ 257175 h 2381250"/>
                <a:gd name="connsiteX19" fmla="*/ 778698 w 1169223"/>
                <a:gd name="connsiteY19" fmla="*/ 228600 h 2381250"/>
                <a:gd name="connsiteX20" fmla="*/ 845373 w 1169223"/>
                <a:gd name="connsiteY20" fmla="*/ 180975 h 2381250"/>
                <a:gd name="connsiteX21" fmla="*/ 921573 w 1169223"/>
                <a:gd name="connsiteY21" fmla="*/ 133350 h 2381250"/>
                <a:gd name="connsiteX22" fmla="*/ 1016823 w 1169223"/>
                <a:gd name="connsiteY22" fmla="*/ 66675 h 2381250"/>
                <a:gd name="connsiteX23" fmla="*/ 1093023 w 1169223"/>
                <a:gd name="connsiteY23" fmla="*/ 19050 h 2381250"/>
                <a:gd name="connsiteX24" fmla="*/ 1131123 w 1169223"/>
                <a:gd name="connsiteY24" fmla="*/ 9525 h 2381250"/>
                <a:gd name="connsiteX25" fmla="*/ 1169223 w 1169223"/>
                <a:gd name="connsiteY2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369123 w 1169223"/>
                <a:gd name="connsiteY7" fmla="*/ 781050 h 2381250"/>
                <a:gd name="connsiteX8" fmla="*/ 426273 w 1169223"/>
                <a:gd name="connsiteY8" fmla="*/ 676275 h 2381250"/>
                <a:gd name="connsiteX9" fmla="*/ 454848 w 1169223"/>
                <a:gd name="connsiteY9" fmla="*/ 647700 h 2381250"/>
                <a:gd name="connsiteX10" fmla="*/ 464373 w 1169223"/>
                <a:gd name="connsiteY10" fmla="*/ 609600 h 2381250"/>
                <a:gd name="connsiteX11" fmla="*/ 492948 w 1169223"/>
                <a:gd name="connsiteY11" fmla="*/ 571500 h 2381250"/>
                <a:gd name="connsiteX12" fmla="*/ 531048 w 1169223"/>
                <a:gd name="connsiteY12" fmla="*/ 514350 h 2381250"/>
                <a:gd name="connsiteX13" fmla="*/ 607248 w 1169223"/>
                <a:gd name="connsiteY13" fmla="*/ 419100 h 2381250"/>
                <a:gd name="connsiteX14" fmla="*/ 645348 w 1169223"/>
                <a:gd name="connsiteY14" fmla="*/ 361950 h 2381250"/>
                <a:gd name="connsiteX15" fmla="*/ 673923 w 1169223"/>
                <a:gd name="connsiteY15" fmla="*/ 333375 h 2381250"/>
                <a:gd name="connsiteX16" fmla="*/ 712023 w 1169223"/>
                <a:gd name="connsiteY16" fmla="*/ 285750 h 2381250"/>
                <a:gd name="connsiteX17" fmla="*/ 731073 w 1169223"/>
                <a:gd name="connsiteY17" fmla="*/ 257175 h 2381250"/>
                <a:gd name="connsiteX18" fmla="*/ 778698 w 1169223"/>
                <a:gd name="connsiteY18" fmla="*/ 228600 h 2381250"/>
                <a:gd name="connsiteX19" fmla="*/ 845373 w 1169223"/>
                <a:gd name="connsiteY19" fmla="*/ 180975 h 2381250"/>
                <a:gd name="connsiteX20" fmla="*/ 921573 w 1169223"/>
                <a:gd name="connsiteY20" fmla="*/ 133350 h 2381250"/>
                <a:gd name="connsiteX21" fmla="*/ 1016823 w 1169223"/>
                <a:gd name="connsiteY21" fmla="*/ 66675 h 2381250"/>
                <a:gd name="connsiteX22" fmla="*/ 1093023 w 1169223"/>
                <a:gd name="connsiteY22" fmla="*/ 19050 h 2381250"/>
                <a:gd name="connsiteX23" fmla="*/ 1131123 w 1169223"/>
                <a:gd name="connsiteY23" fmla="*/ 9525 h 2381250"/>
                <a:gd name="connsiteX24" fmla="*/ 1169223 w 1169223"/>
                <a:gd name="connsiteY2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492948 w 1169223"/>
                <a:gd name="connsiteY10" fmla="*/ 571500 h 2381250"/>
                <a:gd name="connsiteX11" fmla="*/ 531048 w 1169223"/>
                <a:gd name="connsiteY11" fmla="*/ 514350 h 2381250"/>
                <a:gd name="connsiteX12" fmla="*/ 607248 w 1169223"/>
                <a:gd name="connsiteY12" fmla="*/ 419100 h 2381250"/>
                <a:gd name="connsiteX13" fmla="*/ 645348 w 1169223"/>
                <a:gd name="connsiteY13" fmla="*/ 361950 h 2381250"/>
                <a:gd name="connsiteX14" fmla="*/ 673923 w 1169223"/>
                <a:gd name="connsiteY14" fmla="*/ 333375 h 2381250"/>
                <a:gd name="connsiteX15" fmla="*/ 712023 w 1169223"/>
                <a:gd name="connsiteY15" fmla="*/ 285750 h 2381250"/>
                <a:gd name="connsiteX16" fmla="*/ 731073 w 1169223"/>
                <a:gd name="connsiteY16" fmla="*/ 257175 h 2381250"/>
                <a:gd name="connsiteX17" fmla="*/ 778698 w 1169223"/>
                <a:gd name="connsiteY17" fmla="*/ 228600 h 2381250"/>
                <a:gd name="connsiteX18" fmla="*/ 845373 w 1169223"/>
                <a:gd name="connsiteY18" fmla="*/ 180975 h 2381250"/>
                <a:gd name="connsiteX19" fmla="*/ 921573 w 1169223"/>
                <a:gd name="connsiteY19" fmla="*/ 133350 h 2381250"/>
                <a:gd name="connsiteX20" fmla="*/ 1016823 w 1169223"/>
                <a:gd name="connsiteY20" fmla="*/ 66675 h 2381250"/>
                <a:gd name="connsiteX21" fmla="*/ 1093023 w 1169223"/>
                <a:gd name="connsiteY21" fmla="*/ 19050 h 2381250"/>
                <a:gd name="connsiteX22" fmla="*/ 1131123 w 1169223"/>
                <a:gd name="connsiteY22" fmla="*/ 9525 h 2381250"/>
                <a:gd name="connsiteX23" fmla="*/ 1169223 w 1169223"/>
                <a:gd name="connsiteY23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531048 w 1169223"/>
                <a:gd name="connsiteY10" fmla="*/ 514350 h 2381250"/>
                <a:gd name="connsiteX11" fmla="*/ 607248 w 1169223"/>
                <a:gd name="connsiteY11" fmla="*/ 419100 h 2381250"/>
                <a:gd name="connsiteX12" fmla="*/ 645348 w 1169223"/>
                <a:gd name="connsiteY12" fmla="*/ 361950 h 2381250"/>
                <a:gd name="connsiteX13" fmla="*/ 673923 w 1169223"/>
                <a:gd name="connsiteY13" fmla="*/ 333375 h 2381250"/>
                <a:gd name="connsiteX14" fmla="*/ 712023 w 1169223"/>
                <a:gd name="connsiteY14" fmla="*/ 285750 h 2381250"/>
                <a:gd name="connsiteX15" fmla="*/ 731073 w 1169223"/>
                <a:gd name="connsiteY15" fmla="*/ 257175 h 2381250"/>
                <a:gd name="connsiteX16" fmla="*/ 778698 w 1169223"/>
                <a:gd name="connsiteY16" fmla="*/ 228600 h 2381250"/>
                <a:gd name="connsiteX17" fmla="*/ 845373 w 1169223"/>
                <a:gd name="connsiteY17" fmla="*/ 180975 h 2381250"/>
                <a:gd name="connsiteX18" fmla="*/ 921573 w 1169223"/>
                <a:gd name="connsiteY18" fmla="*/ 133350 h 2381250"/>
                <a:gd name="connsiteX19" fmla="*/ 1016823 w 1169223"/>
                <a:gd name="connsiteY19" fmla="*/ 66675 h 2381250"/>
                <a:gd name="connsiteX20" fmla="*/ 1093023 w 1169223"/>
                <a:gd name="connsiteY20" fmla="*/ 19050 h 2381250"/>
                <a:gd name="connsiteX21" fmla="*/ 1131123 w 1169223"/>
                <a:gd name="connsiteY21" fmla="*/ 9525 h 2381250"/>
                <a:gd name="connsiteX22" fmla="*/ 1169223 w 1169223"/>
                <a:gd name="connsiteY22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607248 w 1169223"/>
                <a:gd name="connsiteY10" fmla="*/ 419100 h 2381250"/>
                <a:gd name="connsiteX11" fmla="*/ 645348 w 1169223"/>
                <a:gd name="connsiteY11" fmla="*/ 361950 h 2381250"/>
                <a:gd name="connsiteX12" fmla="*/ 673923 w 1169223"/>
                <a:gd name="connsiteY12" fmla="*/ 333375 h 2381250"/>
                <a:gd name="connsiteX13" fmla="*/ 712023 w 1169223"/>
                <a:gd name="connsiteY13" fmla="*/ 285750 h 2381250"/>
                <a:gd name="connsiteX14" fmla="*/ 731073 w 1169223"/>
                <a:gd name="connsiteY14" fmla="*/ 257175 h 2381250"/>
                <a:gd name="connsiteX15" fmla="*/ 778698 w 1169223"/>
                <a:gd name="connsiteY15" fmla="*/ 228600 h 2381250"/>
                <a:gd name="connsiteX16" fmla="*/ 845373 w 1169223"/>
                <a:gd name="connsiteY16" fmla="*/ 180975 h 2381250"/>
                <a:gd name="connsiteX17" fmla="*/ 921573 w 1169223"/>
                <a:gd name="connsiteY17" fmla="*/ 133350 h 2381250"/>
                <a:gd name="connsiteX18" fmla="*/ 1016823 w 1169223"/>
                <a:gd name="connsiteY18" fmla="*/ 66675 h 2381250"/>
                <a:gd name="connsiteX19" fmla="*/ 1093023 w 1169223"/>
                <a:gd name="connsiteY19" fmla="*/ 19050 h 2381250"/>
                <a:gd name="connsiteX20" fmla="*/ 1131123 w 1169223"/>
                <a:gd name="connsiteY20" fmla="*/ 9525 h 2381250"/>
                <a:gd name="connsiteX21" fmla="*/ 1169223 w 1169223"/>
                <a:gd name="connsiteY21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673923 w 1169223"/>
                <a:gd name="connsiteY11" fmla="*/ 333375 h 2381250"/>
                <a:gd name="connsiteX12" fmla="*/ 712023 w 1169223"/>
                <a:gd name="connsiteY12" fmla="*/ 285750 h 2381250"/>
                <a:gd name="connsiteX13" fmla="*/ 731073 w 1169223"/>
                <a:gd name="connsiteY13" fmla="*/ 257175 h 2381250"/>
                <a:gd name="connsiteX14" fmla="*/ 778698 w 1169223"/>
                <a:gd name="connsiteY14" fmla="*/ 228600 h 2381250"/>
                <a:gd name="connsiteX15" fmla="*/ 845373 w 1169223"/>
                <a:gd name="connsiteY15" fmla="*/ 180975 h 2381250"/>
                <a:gd name="connsiteX16" fmla="*/ 921573 w 1169223"/>
                <a:gd name="connsiteY16" fmla="*/ 133350 h 2381250"/>
                <a:gd name="connsiteX17" fmla="*/ 1016823 w 1169223"/>
                <a:gd name="connsiteY17" fmla="*/ 66675 h 2381250"/>
                <a:gd name="connsiteX18" fmla="*/ 1093023 w 1169223"/>
                <a:gd name="connsiteY18" fmla="*/ 19050 h 2381250"/>
                <a:gd name="connsiteX19" fmla="*/ 1131123 w 1169223"/>
                <a:gd name="connsiteY19" fmla="*/ 9525 h 2381250"/>
                <a:gd name="connsiteX20" fmla="*/ 1169223 w 1169223"/>
                <a:gd name="connsiteY2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778698 w 1169223"/>
                <a:gd name="connsiteY13" fmla="*/ 228600 h 2381250"/>
                <a:gd name="connsiteX14" fmla="*/ 845373 w 1169223"/>
                <a:gd name="connsiteY14" fmla="*/ 180975 h 2381250"/>
                <a:gd name="connsiteX15" fmla="*/ 921573 w 1169223"/>
                <a:gd name="connsiteY15" fmla="*/ 133350 h 2381250"/>
                <a:gd name="connsiteX16" fmla="*/ 1016823 w 1169223"/>
                <a:gd name="connsiteY16" fmla="*/ 66675 h 2381250"/>
                <a:gd name="connsiteX17" fmla="*/ 1093023 w 1169223"/>
                <a:gd name="connsiteY17" fmla="*/ 19050 h 2381250"/>
                <a:gd name="connsiteX18" fmla="*/ 1131123 w 1169223"/>
                <a:gd name="connsiteY18" fmla="*/ 9525 h 2381250"/>
                <a:gd name="connsiteX19" fmla="*/ 1169223 w 1169223"/>
                <a:gd name="connsiteY1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845373 w 1169223"/>
                <a:gd name="connsiteY13" fmla="*/ 180975 h 2381250"/>
                <a:gd name="connsiteX14" fmla="*/ 921573 w 1169223"/>
                <a:gd name="connsiteY14" fmla="*/ 133350 h 2381250"/>
                <a:gd name="connsiteX15" fmla="*/ 1016823 w 1169223"/>
                <a:gd name="connsiteY15" fmla="*/ 66675 h 2381250"/>
                <a:gd name="connsiteX16" fmla="*/ 1093023 w 1169223"/>
                <a:gd name="connsiteY16" fmla="*/ 19050 h 2381250"/>
                <a:gd name="connsiteX17" fmla="*/ 1131123 w 1169223"/>
                <a:gd name="connsiteY17" fmla="*/ 9525 h 2381250"/>
                <a:gd name="connsiteX18" fmla="*/ 1169223 w 1169223"/>
                <a:gd name="connsiteY1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921573 w 1169223"/>
                <a:gd name="connsiteY13" fmla="*/ 133350 h 2381250"/>
                <a:gd name="connsiteX14" fmla="*/ 1016823 w 1169223"/>
                <a:gd name="connsiteY14" fmla="*/ 66675 h 2381250"/>
                <a:gd name="connsiteX15" fmla="*/ 1093023 w 1169223"/>
                <a:gd name="connsiteY15" fmla="*/ 19050 h 2381250"/>
                <a:gd name="connsiteX16" fmla="*/ 1131123 w 1169223"/>
                <a:gd name="connsiteY16" fmla="*/ 9525 h 2381250"/>
                <a:gd name="connsiteX17" fmla="*/ 1169223 w 1169223"/>
                <a:gd name="connsiteY1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093023 w 1169223"/>
                <a:gd name="connsiteY14" fmla="*/ 19050 h 2381250"/>
                <a:gd name="connsiteX15" fmla="*/ 1131123 w 1169223"/>
                <a:gd name="connsiteY15" fmla="*/ 9525 h 2381250"/>
                <a:gd name="connsiteX16" fmla="*/ 1169223 w 1169223"/>
                <a:gd name="connsiteY1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131123 w 1169223"/>
                <a:gd name="connsiteY14" fmla="*/ 9525 h 2381250"/>
                <a:gd name="connsiteX15" fmla="*/ 1169223 w 1169223"/>
                <a:gd name="connsiteY1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731073 w 1169223"/>
                <a:gd name="connsiteY11" fmla="*/ 257175 h 2381250"/>
                <a:gd name="connsiteX12" fmla="*/ 1016823 w 1169223"/>
                <a:gd name="connsiteY12" fmla="*/ 66675 h 2381250"/>
                <a:gd name="connsiteX13" fmla="*/ 1131123 w 1169223"/>
                <a:gd name="connsiteY13" fmla="*/ 9525 h 2381250"/>
                <a:gd name="connsiteX14" fmla="*/ 1169223 w 1169223"/>
                <a:gd name="connsiteY1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1016823 w 1169223"/>
                <a:gd name="connsiteY11" fmla="*/ 66675 h 2381250"/>
                <a:gd name="connsiteX12" fmla="*/ 1131123 w 1169223"/>
                <a:gd name="connsiteY12" fmla="*/ 9525 h 2381250"/>
                <a:gd name="connsiteX13" fmla="*/ 1169223 w 1169223"/>
                <a:gd name="connsiteY13" fmla="*/ 0 h 2381250"/>
                <a:gd name="connsiteX0" fmla="*/ 73848 w 1131123"/>
                <a:gd name="connsiteY0" fmla="*/ 2371725 h 2371725"/>
                <a:gd name="connsiteX1" fmla="*/ 64323 w 1131123"/>
                <a:gd name="connsiteY1" fmla="*/ 2324100 h 2371725"/>
                <a:gd name="connsiteX2" fmla="*/ 7173 w 1131123"/>
                <a:gd name="connsiteY2" fmla="*/ 1895475 h 2371725"/>
                <a:gd name="connsiteX3" fmla="*/ 16698 w 1131123"/>
                <a:gd name="connsiteY3" fmla="*/ 1609725 h 2371725"/>
                <a:gd name="connsiteX4" fmla="*/ 150048 w 1131123"/>
                <a:gd name="connsiteY4" fmla="*/ 1228725 h 2371725"/>
                <a:gd name="connsiteX5" fmla="*/ 207198 w 1131123"/>
                <a:gd name="connsiteY5" fmla="*/ 1085850 h 2371725"/>
                <a:gd name="connsiteX6" fmla="*/ 254823 w 1131123"/>
                <a:gd name="connsiteY6" fmla="*/ 952500 h 2371725"/>
                <a:gd name="connsiteX7" fmla="*/ 426273 w 1131123"/>
                <a:gd name="connsiteY7" fmla="*/ 666750 h 2371725"/>
                <a:gd name="connsiteX8" fmla="*/ 454848 w 1131123"/>
                <a:gd name="connsiteY8" fmla="*/ 638175 h 2371725"/>
                <a:gd name="connsiteX9" fmla="*/ 607248 w 1131123"/>
                <a:gd name="connsiteY9" fmla="*/ 409575 h 2371725"/>
                <a:gd name="connsiteX10" fmla="*/ 712023 w 1131123"/>
                <a:gd name="connsiteY10" fmla="*/ 276225 h 2371725"/>
                <a:gd name="connsiteX11" fmla="*/ 1016823 w 1131123"/>
                <a:gd name="connsiteY11" fmla="*/ 57150 h 2371725"/>
                <a:gd name="connsiteX12" fmla="*/ 1131123 w 1131123"/>
                <a:gd name="connsiteY12" fmla="*/ 0 h 2371725"/>
                <a:gd name="connsiteX0" fmla="*/ 68314 w 1125589"/>
                <a:gd name="connsiteY0" fmla="*/ 2371725 h 2371725"/>
                <a:gd name="connsiteX1" fmla="*/ 58789 w 1125589"/>
                <a:gd name="connsiteY1" fmla="*/ 2324100 h 2371725"/>
                <a:gd name="connsiteX2" fmla="*/ 1639 w 1125589"/>
                <a:gd name="connsiteY2" fmla="*/ 1895475 h 2371725"/>
                <a:gd name="connsiteX3" fmla="*/ 39739 w 1125589"/>
                <a:gd name="connsiteY3" fmla="*/ 1552575 h 2371725"/>
                <a:gd name="connsiteX4" fmla="*/ 144514 w 1125589"/>
                <a:gd name="connsiteY4" fmla="*/ 1228725 h 2371725"/>
                <a:gd name="connsiteX5" fmla="*/ 201664 w 1125589"/>
                <a:gd name="connsiteY5" fmla="*/ 1085850 h 2371725"/>
                <a:gd name="connsiteX6" fmla="*/ 249289 w 1125589"/>
                <a:gd name="connsiteY6" fmla="*/ 952500 h 2371725"/>
                <a:gd name="connsiteX7" fmla="*/ 420739 w 1125589"/>
                <a:gd name="connsiteY7" fmla="*/ 666750 h 2371725"/>
                <a:gd name="connsiteX8" fmla="*/ 449314 w 1125589"/>
                <a:gd name="connsiteY8" fmla="*/ 638175 h 2371725"/>
                <a:gd name="connsiteX9" fmla="*/ 601714 w 1125589"/>
                <a:gd name="connsiteY9" fmla="*/ 409575 h 2371725"/>
                <a:gd name="connsiteX10" fmla="*/ 706489 w 1125589"/>
                <a:gd name="connsiteY10" fmla="*/ 276225 h 2371725"/>
                <a:gd name="connsiteX11" fmla="*/ 1011289 w 1125589"/>
                <a:gd name="connsiteY11" fmla="*/ 57150 h 2371725"/>
                <a:gd name="connsiteX12" fmla="*/ 1125589 w 1125589"/>
                <a:gd name="connsiteY12" fmla="*/ 0 h 2371725"/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DM Sans 14pt ExtraBold"/>
              </a:endParaRPr>
            </a:p>
          </p:txBody>
        </p:sp>
        <p:sp>
          <p:nvSpPr>
            <p:cNvPr id="29" name="Freeform: Shape 96">
              <a:extLst>
                <a:ext uri="{FF2B5EF4-FFF2-40B4-BE49-F238E27FC236}">
                  <a16:creationId xmlns:a16="http://schemas.microsoft.com/office/drawing/2014/main" id="{B7C275B8-69F6-A830-F414-7EEA7A957122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52500 w 1381125"/>
                <a:gd name="connsiteY22" fmla="*/ 1590675 h 2277341"/>
                <a:gd name="connsiteX23" fmla="*/ 923925 w 1381125"/>
                <a:gd name="connsiteY23" fmla="*/ 1628775 h 2277341"/>
                <a:gd name="connsiteX24" fmla="*/ 866775 w 1381125"/>
                <a:gd name="connsiteY24" fmla="*/ 1685925 h 2277341"/>
                <a:gd name="connsiteX25" fmla="*/ 819150 w 1381125"/>
                <a:gd name="connsiteY25" fmla="*/ 1733550 h 2277341"/>
                <a:gd name="connsiteX26" fmla="*/ 762000 w 1381125"/>
                <a:gd name="connsiteY26" fmla="*/ 1800225 h 2277341"/>
                <a:gd name="connsiteX27" fmla="*/ 723900 w 1381125"/>
                <a:gd name="connsiteY27" fmla="*/ 1828800 h 2277341"/>
                <a:gd name="connsiteX28" fmla="*/ 695325 w 1381125"/>
                <a:gd name="connsiteY28" fmla="*/ 1857375 h 2277341"/>
                <a:gd name="connsiteX29" fmla="*/ 657225 w 1381125"/>
                <a:gd name="connsiteY29" fmla="*/ 1885950 h 2277341"/>
                <a:gd name="connsiteX30" fmla="*/ 581025 w 1381125"/>
                <a:gd name="connsiteY30" fmla="*/ 1952625 h 2277341"/>
                <a:gd name="connsiteX31" fmla="*/ 533400 w 1381125"/>
                <a:gd name="connsiteY31" fmla="*/ 1981200 h 2277341"/>
                <a:gd name="connsiteX32" fmla="*/ 504825 w 1381125"/>
                <a:gd name="connsiteY32" fmla="*/ 2009775 h 2277341"/>
                <a:gd name="connsiteX33" fmla="*/ 476250 w 1381125"/>
                <a:gd name="connsiteY33" fmla="*/ 2028825 h 2277341"/>
                <a:gd name="connsiteX34" fmla="*/ 438150 w 1381125"/>
                <a:gd name="connsiteY34" fmla="*/ 2057400 h 2277341"/>
                <a:gd name="connsiteX35" fmla="*/ 390525 w 1381125"/>
                <a:gd name="connsiteY35" fmla="*/ 2085975 h 2277341"/>
                <a:gd name="connsiteX36" fmla="*/ 333375 w 1381125"/>
                <a:gd name="connsiteY36" fmla="*/ 2133600 h 2277341"/>
                <a:gd name="connsiteX37" fmla="*/ 276225 w 1381125"/>
                <a:gd name="connsiteY37" fmla="*/ 2171700 h 2277341"/>
                <a:gd name="connsiteX38" fmla="*/ 247650 w 1381125"/>
                <a:gd name="connsiteY38" fmla="*/ 2190750 h 2277341"/>
                <a:gd name="connsiteX39" fmla="*/ 200025 w 1381125"/>
                <a:gd name="connsiteY39" fmla="*/ 2209800 h 2277341"/>
                <a:gd name="connsiteX40" fmla="*/ 161925 w 1381125"/>
                <a:gd name="connsiteY40" fmla="*/ 2228850 h 2277341"/>
                <a:gd name="connsiteX41" fmla="*/ 66675 w 1381125"/>
                <a:gd name="connsiteY41" fmla="*/ 2257425 h 2277341"/>
                <a:gd name="connsiteX42" fmla="*/ 0 w 1381125"/>
                <a:gd name="connsiteY4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23925 w 1381125"/>
                <a:gd name="connsiteY22" fmla="*/ 1628775 h 2277341"/>
                <a:gd name="connsiteX23" fmla="*/ 866775 w 1381125"/>
                <a:gd name="connsiteY23" fmla="*/ 1685925 h 2277341"/>
                <a:gd name="connsiteX24" fmla="*/ 819150 w 1381125"/>
                <a:gd name="connsiteY24" fmla="*/ 1733550 h 2277341"/>
                <a:gd name="connsiteX25" fmla="*/ 762000 w 1381125"/>
                <a:gd name="connsiteY25" fmla="*/ 1800225 h 2277341"/>
                <a:gd name="connsiteX26" fmla="*/ 723900 w 1381125"/>
                <a:gd name="connsiteY26" fmla="*/ 1828800 h 2277341"/>
                <a:gd name="connsiteX27" fmla="*/ 695325 w 1381125"/>
                <a:gd name="connsiteY27" fmla="*/ 1857375 h 2277341"/>
                <a:gd name="connsiteX28" fmla="*/ 657225 w 1381125"/>
                <a:gd name="connsiteY28" fmla="*/ 1885950 h 2277341"/>
                <a:gd name="connsiteX29" fmla="*/ 581025 w 1381125"/>
                <a:gd name="connsiteY29" fmla="*/ 1952625 h 2277341"/>
                <a:gd name="connsiteX30" fmla="*/ 533400 w 1381125"/>
                <a:gd name="connsiteY30" fmla="*/ 1981200 h 2277341"/>
                <a:gd name="connsiteX31" fmla="*/ 504825 w 1381125"/>
                <a:gd name="connsiteY31" fmla="*/ 2009775 h 2277341"/>
                <a:gd name="connsiteX32" fmla="*/ 476250 w 1381125"/>
                <a:gd name="connsiteY32" fmla="*/ 2028825 h 2277341"/>
                <a:gd name="connsiteX33" fmla="*/ 438150 w 1381125"/>
                <a:gd name="connsiteY33" fmla="*/ 2057400 h 2277341"/>
                <a:gd name="connsiteX34" fmla="*/ 390525 w 1381125"/>
                <a:gd name="connsiteY34" fmla="*/ 2085975 h 2277341"/>
                <a:gd name="connsiteX35" fmla="*/ 333375 w 1381125"/>
                <a:gd name="connsiteY35" fmla="*/ 2133600 h 2277341"/>
                <a:gd name="connsiteX36" fmla="*/ 276225 w 1381125"/>
                <a:gd name="connsiteY36" fmla="*/ 2171700 h 2277341"/>
                <a:gd name="connsiteX37" fmla="*/ 247650 w 1381125"/>
                <a:gd name="connsiteY37" fmla="*/ 2190750 h 2277341"/>
                <a:gd name="connsiteX38" fmla="*/ 200025 w 1381125"/>
                <a:gd name="connsiteY38" fmla="*/ 2209800 h 2277341"/>
                <a:gd name="connsiteX39" fmla="*/ 161925 w 1381125"/>
                <a:gd name="connsiteY39" fmla="*/ 2228850 h 2277341"/>
                <a:gd name="connsiteX40" fmla="*/ 66675 w 1381125"/>
                <a:gd name="connsiteY40" fmla="*/ 2257425 h 2277341"/>
                <a:gd name="connsiteX41" fmla="*/ 0 w 1381125"/>
                <a:gd name="connsiteY4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819150 w 1381125"/>
                <a:gd name="connsiteY23" fmla="*/ 1733550 h 2277341"/>
                <a:gd name="connsiteX24" fmla="*/ 762000 w 1381125"/>
                <a:gd name="connsiteY24" fmla="*/ 1800225 h 2277341"/>
                <a:gd name="connsiteX25" fmla="*/ 723900 w 1381125"/>
                <a:gd name="connsiteY25" fmla="*/ 1828800 h 2277341"/>
                <a:gd name="connsiteX26" fmla="*/ 695325 w 1381125"/>
                <a:gd name="connsiteY26" fmla="*/ 1857375 h 2277341"/>
                <a:gd name="connsiteX27" fmla="*/ 657225 w 1381125"/>
                <a:gd name="connsiteY27" fmla="*/ 1885950 h 2277341"/>
                <a:gd name="connsiteX28" fmla="*/ 581025 w 1381125"/>
                <a:gd name="connsiteY28" fmla="*/ 1952625 h 2277341"/>
                <a:gd name="connsiteX29" fmla="*/ 533400 w 1381125"/>
                <a:gd name="connsiteY29" fmla="*/ 1981200 h 2277341"/>
                <a:gd name="connsiteX30" fmla="*/ 504825 w 1381125"/>
                <a:gd name="connsiteY30" fmla="*/ 2009775 h 2277341"/>
                <a:gd name="connsiteX31" fmla="*/ 476250 w 1381125"/>
                <a:gd name="connsiteY31" fmla="*/ 2028825 h 2277341"/>
                <a:gd name="connsiteX32" fmla="*/ 438150 w 1381125"/>
                <a:gd name="connsiteY32" fmla="*/ 2057400 h 2277341"/>
                <a:gd name="connsiteX33" fmla="*/ 390525 w 1381125"/>
                <a:gd name="connsiteY33" fmla="*/ 2085975 h 2277341"/>
                <a:gd name="connsiteX34" fmla="*/ 333375 w 1381125"/>
                <a:gd name="connsiteY34" fmla="*/ 2133600 h 2277341"/>
                <a:gd name="connsiteX35" fmla="*/ 276225 w 1381125"/>
                <a:gd name="connsiteY35" fmla="*/ 2171700 h 2277341"/>
                <a:gd name="connsiteX36" fmla="*/ 247650 w 1381125"/>
                <a:gd name="connsiteY36" fmla="*/ 2190750 h 2277341"/>
                <a:gd name="connsiteX37" fmla="*/ 200025 w 1381125"/>
                <a:gd name="connsiteY37" fmla="*/ 2209800 h 2277341"/>
                <a:gd name="connsiteX38" fmla="*/ 161925 w 1381125"/>
                <a:gd name="connsiteY38" fmla="*/ 2228850 h 2277341"/>
                <a:gd name="connsiteX39" fmla="*/ 66675 w 1381125"/>
                <a:gd name="connsiteY39" fmla="*/ 2257425 h 2277341"/>
                <a:gd name="connsiteX40" fmla="*/ 0 w 1381125"/>
                <a:gd name="connsiteY4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62000 w 1381125"/>
                <a:gd name="connsiteY23" fmla="*/ 1800225 h 2277341"/>
                <a:gd name="connsiteX24" fmla="*/ 723900 w 1381125"/>
                <a:gd name="connsiteY24" fmla="*/ 1828800 h 2277341"/>
                <a:gd name="connsiteX25" fmla="*/ 695325 w 1381125"/>
                <a:gd name="connsiteY25" fmla="*/ 1857375 h 2277341"/>
                <a:gd name="connsiteX26" fmla="*/ 657225 w 1381125"/>
                <a:gd name="connsiteY26" fmla="*/ 1885950 h 2277341"/>
                <a:gd name="connsiteX27" fmla="*/ 581025 w 1381125"/>
                <a:gd name="connsiteY27" fmla="*/ 1952625 h 2277341"/>
                <a:gd name="connsiteX28" fmla="*/ 533400 w 1381125"/>
                <a:gd name="connsiteY28" fmla="*/ 1981200 h 2277341"/>
                <a:gd name="connsiteX29" fmla="*/ 504825 w 1381125"/>
                <a:gd name="connsiteY29" fmla="*/ 2009775 h 2277341"/>
                <a:gd name="connsiteX30" fmla="*/ 476250 w 1381125"/>
                <a:gd name="connsiteY30" fmla="*/ 2028825 h 2277341"/>
                <a:gd name="connsiteX31" fmla="*/ 438150 w 1381125"/>
                <a:gd name="connsiteY31" fmla="*/ 2057400 h 2277341"/>
                <a:gd name="connsiteX32" fmla="*/ 390525 w 1381125"/>
                <a:gd name="connsiteY32" fmla="*/ 2085975 h 2277341"/>
                <a:gd name="connsiteX33" fmla="*/ 333375 w 1381125"/>
                <a:gd name="connsiteY33" fmla="*/ 2133600 h 2277341"/>
                <a:gd name="connsiteX34" fmla="*/ 276225 w 1381125"/>
                <a:gd name="connsiteY34" fmla="*/ 2171700 h 2277341"/>
                <a:gd name="connsiteX35" fmla="*/ 247650 w 1381125"/>
                <a:gd name="connsiteY35" fmla="*/ 2190750 h 2277341"/>
                <a:gd name="connsiteX36" fmla="*/ 200025 w 1381125"/>
                <a:gd name="connsiteY36" fmla="*/ 2209800 h 2277341"/>
                <a:gd name="connsiteX37" fmla="*/ 161925 w 1381125"/>
                <a:gd name="connsiteY37" fmla="*/ 2228850 h 2277341"/>
                <a:gd name="connsiteX38" fmla="*/ 66675 w 1381125"/>
                <a:gd name="connsiteY38" fmla="*/ 2257425 h 2277341"/>
                <a:gd name="connsiteX39" fmla="*/ 0 w 1381125"/>
                <a:gd name="connsiteY3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23900 w 1381125"/>
                <a:gd name="connsiteY23" fmla="*/ 1828800 h 2277341"/>
                <a:gd name="connsiteX24" fmla="*/ 695325 w 1381125"/>
                <a:gd name="connsiteY24" fmla="*/ 1857375 h 2277341"/>
                <a:gd name="connsiteX25" fmla="*/ 657225 w 1381125"/>
                <a:gd name="connsiteY25" fmla="*/ 1885950 h 2277341"/>
                <a:gd name="connsiteX26" fmla="*/ 581025 w 1381125"/>
                <a:gd name="connsiteY26" fmla="*/ 1952625 h 2277341"/>
                <a:gd name="connsiteX27" fmla="*/ 533400 w 1381125"/>
                <a:gd name="connsiteY27" fmla="*/ 1981200 h 2277341"/>
                <a:gd name="connsiteX28" fmla="*/ 504825 w 1381125"/>
                <a:gd name="connsiteY28" fmla="*/ 2009775 h 2277341"/>
                <a:gd name="connsiteX29" fmla="*/ 476250 w 1381125"/>
                <a:gd name="connsiteY29" fmla="*/ 2028825 h 2277341"/>
                <a:gd name="connsiteX30" fmla="*/ 438150 w 1381125"/>
                <a:gd name="connsiteY30" fmla="*/ 2057400 h 2277341"/>
                <a:gd name="connsiteX31" fmla="*/ 390525 w 1381125"/>
                <a:gd name="connsiteY31" fmla="*/ 2085975 h 2277341"/>
                <a:gd name="connsiteX32" fmla="*/ 333375 w 1381125"/>
                <a:gd name="connsiteY32" fmla="*/ 2133600 h 2277341"/>
                <a:gd name="connsiteX33" fmla="*/ 276225 w 1381125"/>
                <a:gd name="connsiteY33" fmla="*/ 2171700 h 2277341"/>
                <a:gd name="connsiteX34" fmla="*/ 247650 w 1381125"/>
                <a:gd name="connsiteY34" fmla="*/ 2190750 h 2277341"/>
                <a:gd name="connsiteX35" fmla="*/ 200025 w 1381125"/>
                <a:gd name="connsiteY35" fmla="*/ 2209800 h 2277341"/>
                <a:gd name="connsiteX36" fmla="*/ 161925 w 1381125"/>
                <a:gd name="connsiteY36" fmla="*/ 2228850 h 2277341"/>
                <a:gd name="connsiteX37" fmla="*/ 66675 w 1381125"/>
                <a:gd name="connsiteY37" fmla="*/ 2257425 h 2277341"/>
                <a:gd name="connsiteX38" fmla="*/ 0 w 1381125"/>
                <a:gd name="connsiteY3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657225 w 1381125"/>
                <a:gd name="connsiteY24" fmla="*/ 1885950 h 2277341"/>
                <a:gd name="connsiteX25" fmla="*/ 581025 w 1381125"/>
                <a:gd name="connsiteY25" fmla="*/ 1952625 h 2277341"/>
                <a:gd name="connsiteX26" fmla="*/ 533400 w 1381125"/>
                <a:gd name="connsiteY26" fmla="*/ 1981200 h 2277341"/>
                <a:gd name="connsiteX27" fmla="*/ 504825 w 1381125"/>
                <a:gd name="connsiteY27" fmla="*/ 2009775 h 2277341"/>
                <a:gd name="connsiteX28" fmla="*/ 476250 w 1381125"/>
                <a:gd name="connsiteY28" fmla="*/ 2028825 h 2277341"/>
                <a:gd name="connsiteX29" fmla="*/ 438150 w 1381125"/>
                <a:gd name="connsiteY29" fmla="*/ 2057400 h 2277341"/>
                <a:gd name="connsiteX30" fmla="*/ 390525 w 1381125"/>
                <a:gd name="connsiteY30" fmla="*/ 2085975 h 2277341"/>
                <a:gd name="connsiteX31" fmla="*/ 333375 w 1381125"/>
                <a:gd name="connsiteY31" fmla="*/ 2133600 h 2277341"/>
                <a:gd name="connsiteX32" fmla="*/ 276225 w 1381125"/>
                <a:gd name="connsiteY32" fmla="*/ 2171700 h 2277341"/>
                <a:gd name="connsiteX33" fmla="*/ 247650 w 1381125"/>
                <a:gd name="connsiteY33" fmla="*/ 2190750 h 2277341"/>
                <a:gd name="connsiteX34" fmla="*/ 200025 w 1381125"/>
                <a:gd name="connsiteY34" fmla="*/ 2209800 h 2277341"/>
                <a:gd name="connsiteX35" fmla="*/ 161925 w 1381125"/>
                <a:gd name="connsiteY35" fmla="*/ 2228850 h 2277341"/>
                <a:gd name="connsiteX36" fmla="*/ 66675 w 1381125"/>
                <a:gd name="connsiteY36" fmla="*/ 2257425 h 2277341"/>
                <a:gd name="connsiteX37" fmla="*/ 0 w 1381125"/>
                <a:gd name="connsiteY3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438150 w 1381125"/>
                <a:gd name="connsiteY28" fmla="*/ 2057400 h 2277341"/>
                <a:gd name="connsiteX29" fmla="*/ 390525 w 1381125"/>
                <a:gd name="connsiteY29" fmla="*/ 2085975 h 2277341"/>
                <a:gd name="connsiteX30" fmla="*/ 333375 w 1381125"/>
                <a:gd name="connsiteY30" fmla="*/ 2133600 h 2277341"/>
                <a:gd name="connsiteX31" fmla="*/ 276225 w 1381125"/>
                <a:gd name="connsiteY31" fmla="*/ 2171700 h 2277341"/>
                <a:gd name="connsiteX32" fmla="*/ 247650 w 1381125"/>
                <a:gd name="connsiteY32" fmla="*/ 2190750 h 2277341"/>
                <a:gd name="connsiteX33" fmla="*/ 200025 w 1381125"/>
                <a:gd name="connsiteY33" fmla="*/ 2209800 h 2277341"/>
                <a:gd name="connsiteX34" fmla="*/ 161925 w 1381125"/>
                <a:gd name="connsiteY34" fmla="*/ 2228850 h 2277341"/>
                <a:gd name="connsiteX35" fmla="*/ 66675 w 1381125"/>
                <a:gd name="connsiteY35" fmla="*/ 2257425 h 2277341"/>
                <a:gd name="connsiteX36" fmla="*/ 0 w 1381125"/>
                <a:gd name="connsiteY3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333375 w 1381125"/>
                <a:gd name="connsiteY29" fmla="*/ 2133600 h 2277341"/>
                <a:gd name="connsiteX30" fmla="*/ 276225 w 1381125"/>
                <a:gd name="connsiteY30" fmla="*/ 2171700 h 2277341"/>
                <a:gd name="connsiteX31" fmla="*/ 247650 w 1381125"/>
                <a:gd name="connsiteY31" fmla="*/ 2190750 h 2277341"/>
                <a:gd name="connsiteX32" fmla="*/ 200025 w 1381125"/>
                <a:gd name="connsiteY32" fmla="*/ 2209800 h 2277341"/>
                <a:gd name="connsiteX33" fmla="*/ 161925 w 1381125"/>
                <a:gd name="connsiteY33" fmla="*/ 2228850 h 2277341"/>
                <a:gd name="connsiteX34" fmla="*/ 66675 w 1381125"/>
                <a:gd name="connsiteY34" fmla="*/ 2257425 h 2277341"/>
                <a:gd name="connsiteX35" fmla="*/ 0 w 1381125"/>
                <a:gd name="connsiteY3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47650 w 1381125"/>
                <a:gd name="connsiteY30" fmla="*/ 2190750 h 2277341"/>
                <a:gd name="connsiteX31" fmla="*/ 200025 w 1381125"/>
                <a:gd name="connsiteY31" fmla="*/ 2209800 h 2277341"/>
                <a:gd name="connsiteX32" fmla="*/ 161925 w 1381125"/>
                <a:gd name="connsiteY32" fmla="*/ 2228850 h 2277341"/>
                <a:gd name="connsiteX33" fmla="*/ 66675 w 1381125"/>
                <a:gd name="connsiteY33" fmla="*/ 2257425 h 2277341"/>
                <a:gd name="connsiteX34" fmla="*/ 0 w 1381125"/>
                <a:gd name="connsiteY3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161925 w 1381125"/>
                <a:gd name="connsiteY31" fmla="*/ 2228850 h 2277341"/>
                <a:gd name="connsiteX32" fmla="*/ 66675 w 1381125"/>
                <a:gd name="connsiteY32" fmla="*/ 2257425 h 2277341"/>
                <a:gd name="connsiteX33" fmla="*/ 0 w 1381125"/>
                <a:gd name="connsiteY3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66675 w 1381125"/>
                <a:gd name="connsiteY31" fmla="*/ 2257425 h 2277341"/>
                <a:gd name="connsiteX32" fmla="*/ 0 w 1381125"/>
                <a:gd name="connsiteY3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476250 w 1381125"/>
                <a:gd name="connsiteY26" fmla="*/ 2028825 h 2277341"/>
                <a:gd name="connsiteX27" fmla="*/ 390525 w 1381125"/>
                <a:gd name="connsiteY27" fmla="*/ 2085975 h 2277341"/>
                <a:gd name="connsiteX28" fmla="*/ 276225 w 1381125"/>
                <a:gd name="connsiteY28" fmla="*/ 2171700 h 2277341"/>
                <a:gd name="connsiteX29" fmla="*/ 200025 w 1381125"/>
                <a:gd name="connsiteY29" fmla="*/ 2209800 h 2277341"/>
                <a:gd name="connsiteX30" fmla="*/ 66675 w 1381125"/>
                <a:gd name="connsiteY30" fmla="*/ 2257425 h 2277341"/>
                <a:gd name="connsiteX31" fmla="*/ 0 w 1381125"/>
                <a:gd name="connsiteY3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476250 w 1381125"/>
                <a:gd name="connsiteY25" fmla="*/ 2028825 h 2277341"/>
                <a:gd name="connsiteX26" fmla="*/ 390525 w 1381125"/>
                <a:gd name="connsiteY26" fmla="*/ 2085975 h 2277341"/>
                <a:gd name="connsiteX27" fmla="*/ 276225 w 1381125"/>
                <a:gd name="connsiteY27" fmla="*/ 2171700 h 2277341"/>
                <a:gd name="connsiteX28" fmla="*/ 200025 w 1381125"/>
                <a:gd name="connsiteY28" fmla="*/ 2209800 h 2277341"/>
                <a:gd name="connsiteX29" fmla="*/ 66675 w 1381125"/>
                <a:gd name="connsiteY29" fmla="*/ 2257425 h 2277341"/>
                <a:gd name="connsiteX30" fmla="*/ 0 w 1381125"/>
                <a:gd name="connsiteY3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476250 w 1381125"/>
                <a:gd name="connsiteY24" fmla="*/ 2028825 h 2277341"/>
                <a:gd name="connsiteX25" fmla="*/ 390525 w 1381125"/>
                <a:gd name="connsiteY25" fmla="*/ 2085975 h 2277341"/>
                <a:gd name="connsiteX26" fmla="*/ 276225 w 1381125"/>
                <a:gd name="connsiteY26" fmla="*/ 2171700 h 2277341"/>
                <a:gd name="connsiteX27" fmla="*/ 200025 w 1381125"/>
                <a:gd name="connsiteY27" fmla="*/ 2209800 h 2277341"/>
                <a:gd name="connsiteX28" fmla="*/ 66675 w 1381125"/>
                <a:gd name="connsiteY28" fmla="*/ 2257425 h 2277341"/>
                <a:gd name="connsiteX29" fmla="*/ 0 w 1381125"/>
                <a:gd name="connsiteY2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476250 w 1381125"/>
                <a:gd name="connsiteY23" fmla="*/ 2028825 h 2277341"/>
                <a:gd name="connsiteX24" fmla="*/ 390525 w 1381125"/>
                <a:gd name="connsiteY24" fmla="*/ 2085975 h 2277341"/>
                <a:gd name="connsiteX25" fmla="*/ 276225 w 1381125"/>
                <a:gd name="connsiteY25" fmla="*/ 2171700 h 2277341"/>
                <a:gd name="connsiteX26" fmla="*/ 200025 w 1381125"/>
                <a:gd name="connsiteY26" fmla="*/ 2209800 h 2277341"/>
                <a:gd name="connsiteX27" fmla="*/ 66675 w 1381125"/>
                <a:gd name="connsiteY27" fmla="*/ 2257425 h 2277341"/>
                <a:gd name="connsiteX28" fmla="*/ 0 w 1381125"/>
                <a:gd name="connsiteY2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723900 w 1381125"/>
                <a:gd name="connsiteY21" fmla="*/ 1828800 h 2277341"/>
                <a:gd name="connsiteX22" fmla="*/ 476250 w 1381125"/>
                <a:gd name="connsiteY22" fmla="*/ 2028825 h 2277341"/>
                <a:gd name="connsiteX23" fmla="*/ 390525 w 1381125"/>
                <a:gd name="connsiteY23" fmla="*/ 2085975 h 2277341"/>
                <a:gd name="connsiteX24" fmla="*/ 276225 w 1381125"/>
                <a:gd name="connsiteY24" fmla="*/ 2171700 h 2277341"/>
                <a:gd name="connsiteX25" fmla="*/ 200025 w 1381125"/>
                <a:gd name="connsiteY25" fmla="*/ 2209800 h 2277341"/>
                <a:gd name="connsiteX26" fmla="*/ 66675 w 1381125"/>
                <a:gd name="connsiteY26" fmla="*/ 2257425 h 2277341"/>
                <a:gd name="connsiteX27" fmla="*/ 0 w 1381125"/>
                <a:gd name="connsiteY2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723900 w 1381125"/>
                <a:gd name="connsiteY20" fmla="*/ 1828800 h 2277341"/>
                <a:gd name="connsiteX21" fmla="*/ 476250 w 1381125"/>
                <a:gd name="connsiteY21" fmla="*/ 2028825 h 2277341"/>
                <a:gd name="connsiteX22" fmla="*/ 390525 w 1381125"/>
                <a:gd name="connsiteY22" fmla="*/ 2085975 h 2277341"/>
                <a:gd name="connsiteX23" fmla="*/ 276225 w 1381125"/>
                <a:gd name="connsiteY23" fmla="*/ 2171700 h 2277341"/>
                <a:gd name="connsiteX24" fmla="*/ 200025 w 1381125"/>
                <a:gd name="connsiteY24" fmla="*/ 2209800 h 2277341"/>
                <a:gd name="connsiteX25" fmla="*/ 66675 w 1381125"/>
                <a:gd name="connsiteY25" fmla="*/ 2257425 h 2277341"/>
                <a:gd name="connsiteX26" fmla="*/ 0 w 1381125"/>
                <a:gd name="connsiteY2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723900 w 1381125"/>
                <a:gd name="connsiteY19" fmla="*/ 1828800 h 2277341"/>
                <a:gd name="connsiteX20" fmla="*/ 476250 w 1381125"/>
                <a:gd name="connsiteY20" fmla="*/ 2028825 h 2277341"/>
                <a:gd name="connsiteX21" fmla="*/ 390525 w 1381125"/>
                <a:gd name="connsiteY21" fmla="*/ 2085975 h 2277341"/>
                <a:gd name="connsiteX22" fmla="*/ 276225 w 1381125"/>
                <a:gd name="connsiteY22" fmla="*/ 2171700 h 2277341"/>
                <a:gd name="connsiteX23" fmla="*/ 200025 w 1381125"/>
                <a:gd name="connsiteY23" fmla="*/ 2209800 h 2277341"/>
                <a:gd name="connsiteX24" fmla="*/ 66675 w 1381125"/>
                <a:gd name="connsiteY24" fmla="*/ 2257425 h 2277341"/>
                <a:gd name="connsiteX25" fmla="*/ 0 w 1381125"/>
                <a:gd name="connsiteY2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085850 w 1381125"/>
                <a:gd name="connsiteY17" fmla="*/ 1343025 h 2277341"/>
                <a:gd name="connsiteX18" fmla="*/ 723900 w 1381125"/>
                <a:gd name="connsiteY18" fmla="*/ 1828800 h 2277341"/>
                <a:gd name="connsiteX19" fmla="*/ 476250 w 1381125"/>
                <a:gd name="connsiteY19" fmla="*/ 2028825 h 2277341"/>
                <a:gd name="connsiteX20" fmla="*/ 390525 w 1381125"/>
                <a:gd name="connsiteY20" fmla="*/ 2085975 h 2277341"/>
                <a:gd name="connsiteX21" fmla="*/ 276225 w 1381125"/>
                <a:gd name="connsiteY21" fmla="*/ 2171700 h 2277341"/>
                <a:gd name="connsiteX22" fmla="*/ 200025 w 1381125"/>
                <a:gd name="connsiteY22" fmla="*/ 2209800 h 2277341"/>
                <a:gd name="connsiteX23" fmla="*/ 66675 w 1381125"/>
                <a:gd name="connsiteY23" fmla="*/ 2257425 h 2277341"/>
                <a:gd name="connsiteX24" fmla="*/ 0 w 1381125"/>
                <a:gd name="connsiteY2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133475 w 1381125"/>
                <a:gd name="connsiteY15" fmla="*/ 1200150 h 2277341"/>
                <a:gd name="connsiteX16" fmla="*/ 1085850 w 1381125"/>
                <a:gd name="connsiteY16" fmla="*/ 1343025 h 2277341"/>
                <a:gd name="connsiteX17" fmla="*/ 723900 w 1381125"/>
                <a:gd name="connsiteY17" fmla="*/ 1828800 h 2277341"/>
                <a:gd name="connsiteX18" fmla="*/ 476250 w 1381125"/>
                <a:gd name="connsiteY18" fmla="*/ 2028825 h 2277341"/>
                <a:gd name="connsiteX19" fmla="*/ 390525 w 1381125"/>
                <a:gd name="connsiteY19" fmla="*/ 2085975 h 2277341"/>
                <a:gd name="connsiteX20" fmla="*/ 276225 w 1381125"/>
                <a:gd name="connsiteY20" fmla="*/ 2171700 h 2277341"/>
                <a:gd name="connsiteX21" fmla="*/ 200025 w 1381125"/>
                <a:gd name="connsiteY21" fmla="*/ 2209800 h 2277341"/>
                <a:gd name="connsiteX22" fmla="*/ 66675 w 1381125"/>
                <a:gd name="connsiteY22" fmla="*/ 2257425 h 2277341"/>
                <a:gd name="connsiteX23" fmla="*/ 0 w 1381125"/>
                <a:gd name="connsiteY2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085850 w 1381125"/>
                <a:gd name="connsiteY15" fmla="*/ 1343025 h 2277341"/>
                <a:gd name="connsiteX16" fmla="*/ 723900 w 1381125"/>
                <a:gd name="connsiteY16" fmla="*/ 1828800 h 2277341"/>
                <a:gd name="connsiteX17" fmla="*/ 476250 w 1381125"/>
                <a:gd name="connsiteY17" fmla="*/ 2028825 h 2277341"/>
                <a:gd name="connsiteX18" fmla="*/ 390525 w 1381125"/>
                <a:gd name="connsiteY18" fmla="*/ 2085975 h 2277341"/>
                <a:gd name="connsiteX19" fmla="*/ 276225 w 1381125"/>
                <a:gd name="connsiteY19" fmla="*/ 2171700 h 2277341"/>
                <a:gd name="connsiteX20" fmla="*/ 200025 w 1381125"/>
                <a:gd name="connsiteY20" fmla="*/ 2209800 h 2277341"/>
                <a:gd name="connsiteX21" fmla="*/ 66675 w 1381125"/>
                <a:gd name="connsiteY21" fmla="*/ 2257425 h 2277341"/>
                <a:gd name="connsiteX22" fmla="*/ 0 w 1381125"/>
                <a:gd name="connsiteY2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085850 w 1381125"/>
                <a:gd name="connsiteY14" fmla="*/ 1343025 h 2277341"/>
                <a:gd name="connsiteX15" fmla="*/ 723900 w 1381125"/>
                <a:gd name="connsiteY15" fmla="*/ 1828800 h 2277341"/>
                <a:gd name="connsiteX16" fmla="*/ 476250 w 1381125"/>
                <a:gd name="connsiteY16" fmla="*/ 2028825 h 2277341"/>
                <a:gd name="connsiteX17" fmla="*/ 390525 w 1381125"/>
                <a:gd name="connsiteY17" fmla="*/ 2085975 h 2277341"/>
                <a:gd name="connsiteX18" fmla="*/ 276225 w 1381125"/>
                <a:gd name="connsiteY18" fmla="*/ 2171700 h 2277341"/>
                <a:gd name="connsiteX19" fmla="*/ 200025 w 1381125"/>
                <a:gd name="connsiteY19" fmla="*/ 2209800 h 2277341"/>
                <a:gd name="connsiteX20" fmla="*/ 66675 w 1381125"/>
                <a:gd name="connsiteY20" fmla="*/ 2257425 h 2277341"/>
                <a:gd name="connsiteX21" fmla="*/ 0 w 1381125"/>
                <a:gd name="connsiteY2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47775 w 1381125"/>
                <a:gd name="connsiteY10" fmla="*/ 895350 h 2277341"/>
                <a:gd name="connsiteX11" fmla="*/ 1238250 w 1381125"/>
                <a:gd name="connsiteY11" fmla="*/ 962025 h 2277341"/>
                <a:gd name="connsiteX12" fmla="*/ 1171575 w 1381125"/>
                <a:gd name="connsiteY12" fmla="*/ 1133475 h 2277341"/>
                <a:gd name="connsiteX13" fmla="*/ 1085850 w 1381125"/>
                <a:gd name="connsiteY13" fmla="*/ 1343025 h 2277341"/>
                <a:gd name="connsiteX14" fmla="*/ 723900 w 1381125"/>
                <a:gd name="connsiteY14" fmla="*/ 1828800 h 2277341"/>
                <a:gd name="connsiteX15" fmla="*/ 476250 w 1381125"/>
                <a:gd name="connsiteY15" fmla="*/ 2028825 h 2277341"/>
                <a:gd name="connsiteX16" fmla="*/ 390525 w 1381125"/>
                <a:gd name="connsiteY16" fmla="*/ 2085975 h 2277341"/>
                <a:gd name="connsiteX17" fmla="*/ 276225 w 1381125"/>
                <a:gd name="connsiteY17" fmla="*/ 2171700 h 2277341"/>
                <a:gd name="connsiteX18" fmla="*/ 200025 w 1381125"/>
                <a:gd name="connsiteY18" fmla="*/ 2209800 h 2277341"/>
                <a:gd name="connsiteX19" fmla="*/ 66675 w 1381125"/>
                <a:gd name="connsiteY19" fmla="*/ 2257425 h 2277341"/>
                <a:gd name="connsiteX20" fmla="*/ 0 w 1381125"/>
                <a:gd name="connsiteY2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76350 w 1381125"/>
                <a:gd name="connsiteY8" fmla="*/ 771525 h 2277341"/>
                <a:gd name="connsiteX9" fmla="*/ 1247775 w 1381125"/>
                <a:gd name="connsiteY9" fmla="*/ 895350 h 2277341"/>
                <a:gd name="connsiteX10" fmla="*/ 1238250 w 1381125"/>
                <a:gd name="connsiteY10" fmla="*/ 962025 h 2277341"/>
                <a:gd name="connsiteX11" fmla="*/ 1171575 w 1381125"/>
                <a:gd name="connsiteY11" fmla="*/ 1133475 h 2277341"/>
                <a:gd name="connsiteX12" fmla="*/ 1085850 w 1381125"/>
                <a:gd name="connsiteY12" fmla="*/ 1343025 h 2277341"/>
                <a:gd name="connsiteX13" fmla="*/ 723900 w 1381125"/>
                <a:gd name="connsiteY13" fmla="*/ 1828800 h 2277341"/>
                <a:gd name="connsiteX14" fmla="*/ 476250 w 1381125"/>
                <a:gd name="connsiteY14" fmla="*/ 2028825 h 2277341"/>
                <a:gd name="connsiteX15" fmla="*/ 390525 w 1381125"/>
                <a:gd name="connsiteY15" fmla="*/ 2085975 h 2277341"/>
                <a:gd name="connsiteX16" fmla="*/ 276225 w 1381125"/>
                <a:gd name="connsiteY16" fmla="*/ 2171700 h 2277341"/>
                <a:gd name="connsiteX17" fmla="*/ 200025 w 1381125"/>
                <a:gd name="connsiteY17" fmla="*/ 2209800 h 2277341"/>
                <a:gd name="connsiteX18" fmla="*/ 66675 w 1381125"/>
                <a:gd name="connsiteY18" fmla="*/ 2257425 h 2277341"/>
                <a:gd name="connsiteX19" fmla="*/ 0 w 1381125"/>
                <a:gd name="connsiteY1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76350 w 1381125"/>
                <a:gd name="connsiteY7" fmla="*/ 771525 h 2277341"/>
                <a:gd name="connsiteX8" fmla="*/ 1247775 w 1381125"/>
                <a:gd name="connsiteY8" fmla="*/ 895350 h 2277341"/>
                <a:gd name="connsiteX9" fmla="*/ 1238250 w 1381125"/>
                <a:gd name="connsiteY9" fmla="*/ 962025 h 2277341"/>
                <a:gd name="connsiteX10" fmla="*/ 1171575 w 1381125"/>
                <a:gd name="connsiteY10" fmla="*/ 1133475 h 2277341"/>
                <a:gd name="connsiteX11" fmla="*/ 1085850 w 1381125"/>
                <a:gd name="connsiteY11" fmla="*/ 1343025 h 2277341"/>
                <a:gd name="connsiteX12" fmla="*/ 723900 w 1381125"/>
                <a:gd name="connsiteY12" fmla="*/ 1828800 h 2277341"/>
                <a:gd name="connsiteX13" fmla="*/ 476250 w 1381125"/>
                <a:gd name="connsiteY13" fmla="*/ 2028825 h 2277341"/>
                <a:gd name="connsiteX14" fmla="*/ 390525 w 1381125"/>
                <a:gd name="connsiteY14" fmla="*/ 2085975 h 2277341"/>
                <a:gd name="connsiteX15" fmla="*/ 276225 w 1381125"/>
                <a:gd name="connsiteY15" fmla="*/ 2171700 h 2277341"/>
                <a:gd name="connsiteX16" fmla="*/ 200025 w 1381125"/>
                <a:gd name="connsiteY16" fmla="*/ 2209800 h 2277341"/>
                <a:gd name="connsiteX17" fmla="*/ 66675 w 1381125"/>
                <a:gd name="connsiteY17" fmla="*/ 2257425 h 2277341"/>
                <a:gd name="connsiteX18" fmla="*/ 0 w 1381125"/>
                <a:gd name="connsiteY1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47775 w 1381125"/>
                <a:gd name="connsiteY7" fmla="*/ 895350 h 2277341"/>
                <a:gd name="connsiteX8" fmla="*/ 1238250 w 1381125"/>
                <a:gd name="connsiteY8" fmla="*/ 962025 h 2277341"/>
                <a:gd name="connsiteX9" fmla="*/ 1171575 w 1381125"/>
                <a:gd name="connsiteY9" fmla="*/ 1133475 h 2277341"/>
                <a:gd name="connsiteX10" fmla="*/ 1085850 w 1381125"/>
                <a:gd name="connsiteY10" fmla="*/ 1343025 h 2277341"/>
                <a:gd name="connsiteX11" fmla="*/ 723900 w 1381125"/>
                <a:gd name="connsiteY11" fmla="*/ 1828800 h 2277341"/>
                <a:gd name="connsiteX12" fmla="*/ 476250 w 1381125"/>
                <a:gd name="connsiteY12" fmla="*/ 2028825 h 2277341"/>
                <a:gd name="connsiteX13" fmla="*/ 390525 w 1381125"/>
                <a:gd name="connsiteY13" fmla="*/ 2085975 h 2277341"/>
                <a:gd name="connsiteX14" fmla="*/ 276225 w 1381125"/>
                <a:gd name="connsiteY14" fmla="*/ 2171700 h 2277341"/>
                <a:gd name="connsiteX15" fmla="*/ 200025 w 1381125"/>
                <a:gd name="connsiteY15" fmla="*/ 2209800 h 2277341"/>
                <a:gd name="connsiteX16" fmla="*/ 66675 w 1381125"/>
                <a:gd name="connsiteY16" fmla="*/ 2257425 h 2277341"/>
                <a:gd name="connsiteX17" fmla="*/ 0 w 1381125"/>
                <a:gd name="connsiteY1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23975 w 1381125"/>
                <a:gd name="connsiteY5" fmla="*/ 628650 h 2277341"/>
                <a:gd name="connsiteX6" fmla="*/ 1247775 w 1381125"/>
                <a:gd name="connsiteY6" fmla="*/ 895350 h 2277341"/>
                <a:gd name="connsiteX7" fmla="*/ 1238250 w 1381125"/>
                <a:gd name="connsiteY7" fmla="*/ 962025 h 2277341"/>
                <a:gd name="connsiteX8" fmla="*/ 1171575 w 1381125"/>
                <a:gd name="connsiteY8" fmla="*/ 1133475 h 2277341"/>
                <a:gd name="connsiteX9" fmla="*/ 1085850 w 1381125"/>
                <a:gd name="connsiteY9" fmla="*/ 1343025 h 2277341"/>
                <a:gd name="connsiteX10" fmla="*/ 723900 w 1381125"/>
                <a:gd name="connsiteY10" fmla="*/ 1828800 h 2277341"/>
                <a:gd name="connsiteX11" fmla="*/ 476250 w 1381125"/>
                <a:gd name="connsiteY11" fmla="*/ 2028825 h 2277341"/>
                <a:gd name="connsiteX12" fmla="*/ 390525 w 1381125"/>
                <a:gd name="connsiteY12" fmla="*/ 2085975 h 2277341"/>
                <a:gd name="connsiteX13" fmla="*/ 276225 w 1381125"/>
                <a:gd name="connsiteY13" fmla="*/ 2171700 h 2277341"/>
                <a:gd name="connsiteX14" fmla="*/ 200025 w 1381125"/>
                <a:gd name="connsiteY14" fmla="*/ 2209800 h 2277341"/>
                <a:gd name="connsiteX15" fmla="*/ 66675 w 1381125"/>
                <a:gd name="connsiteY15" fmla="*/ 2257425 h 2277341"/>
                <a:gd name="connsiteX16" fmla="*/ 0 w 1381125"/>
                <a:gd name="connsiteY1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43025 w 1381125"/>
                <a:gd name="connsiteY3" fmla="*/ 542925 h 2277341"/>
                <a:gd name="connsiteX4" fmla="*/ 1323975 w 1381125"/>
                <a:gd name="connsiteY4" fmla="*/ 628650 h 2277341"/>
                <a:gd name="connsiteX5" fmla="*/ 1247775 w 1381125"/>
                <a:gd name="connsiteY5" fmla="*/ 895350 h 2277341"/>
                <a:gd name="connsiteX6" fmla="*/ 1238250 w 1381125"/>
                <a:gd name="connsiteY6" fmla="*/ 962025 h 2277341"/>
                <a:gd name="connsiteX7" fmla="*/ 1171575 w 1381125"/>
                <a:gd name="connsiteY7" fmla="*/ 1133475 h 2277341"/>
                <a:gd name="connsiteX8" fmla="*/ 1085850 w 1381125"/>
                <a:gd name="connsiteY8" fmla="*/ 1343025 h 2277341"/>
                <a:gd name="connsiteX9" fmla="*/ 723900 w 1381125"/>
                <a:gd name="connsiteY9" fmla="*/ 1828800 h 2277341"/>
                <a:gd name="connsiteX10" fmla="*/ 476250 w 1381125"/>
                <a:gd name="connsiteY10" fmla="*/ 2028825 h 2277341"/>
                <a:gd name="connsiteX11" fmla="*/ 390525 w 1381125"/>
                <a:gd name="connsiteY11" fmla="*/ 2085975 h 2277341"/>
                <a:gd name="connsiteX12" fmla="*/ 276225 w 1381125"/>
                <a:gd name="connsiteY12" fmla="*/ 2171700 h 2277341"/>
                <a:gd name="connsiteX13" fmla="*/ 200025 w 1381125"/>
                <a:gd name="connsiteY13" fmla="*/ 2209800 h 2277341"/>
                <a:gd name="connsiteX14" fmla="*/ 66675 w 1381125"/>
                <a:gd name="connsiteY14" fmla="*/ 2257425 h 2277341"/>
                <a:gd name="connsiteX15" fmla="*/ 0 w 1381125"/>
                <a:gd name="connsiteY1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23975 w 1381125"/>
                <a:gd name="connsiteY3" fmla="*/ 628650 h 2277341"/>
                <a:gd name="connsiteX4" fmla="*/ 1247775 w 1381125"/>
                <a:gd name="connsiteY4" fmla="*/ 895350 h 2277341"/>
                <a:gd name="connsiteX5" fmla="*/ 1238250 w 1381125"/>
                <a:gd name="connsiteY5" fmla="*/ 962025 h 2277341"/>
                <a:gd name="connsiteX6" fmla="*/ 1171575 w 1381125"/>
                <a:gd name="connsiteY6" fmla="*/ 1133475 h 2277341"/>
                <a:gd name="connsiteX7" fmla="*/ 1085850 w 1381125"/>
                <a:gd name="connsiteY7" fmla="*/ 1343025 h 2277341"/>
                <a:gd name="connsiteX8" fmla="*/ 723900 w 1381125"/>
                <a:gd name="connsiteY8" fmla="*/ 1828800 h 2277341"/>
                <a:gd name="connsiteX9" fmla="*/ 476250 w 1381125"/>
                <a:gd name="connsiteY9" fmla="*/ 2028825 h 2277341"/>
                <a:gd name="connsiteX10" fmla="*/ 390525 w 1381125"/>
                <a:gd name="connsiteY10" fmla="*/ 2085975 h 2277341"/>
                <a:gd name="connsiteX11" fmla="*/ 276225 w 1381125"/>
                <a:gd name="connsiteY11" fmla="*/ 2171700 h 2277341"/>
                <a:gd name="connsiteX12" fmla="*/ 200025 w 1381125"/>
                <a:gd name="connsiteY12" fmla="*/ 2209800 h 2277341"/>
                <a:gd name="connsiteX13" fmla="*/ 66675 w 1381125"/>
                <a:gd name="connsiteY13" fmla="*/ 2257425 h 2277341"/>
                <a:gd name="connsiteX14" fmla="*/ 0 w 1381125"/>
                <a:gd name="connsiteY1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238250 w 1381125"/>
                <a:gd name="connsiteY4" fmla="*/ 962025 h 2277341"/>
                <a:gd name="connsiteX5" fmla="*/ 1171575 w 1381125"/>
                <a:gd name="connsiteY5" fmla="*/ 1133475 h 2277341"/>
                <a:gd name="connsiteX6" fmla="*/ 1085850 w 1381125"/>
                <a:gd name="connsiteY6" fmla="*/ 1343025 h 2277341"/>
                <a:gd name="connsiteX7" fmla="*/ 723900 w 1381125"/>
                <a:gd name="connsiteY7" fmla="*/ 1828800 h 2277341"/>
                <a:gd name="connsiteX8" fmla="*/ 476250 w 1381125"/>
                <a:gd name="connsiteY8" fmla="*/ 2028825 h 2277341"/>
                <a:gd name="connsiteX9" fmla="*/ 390525 w 1381125"/>
                <a:gd name="connsiteY9" fmla="*/ 2085975 h 2277341"/>
                <a:gd name="connsiteX10" fmla="*/ 276225 w 1381125"/>
                <a:gd name="connsiteY10" fmla="*/ 2171700 h 2277341"/>
                <a:gd name="connsiteX11" fmla="*/ 200025 w 1381125"/>
                <a:gd name="connsiteY11" fmla="*/ 2209800 h 2277341"/>
                <a:gd name="connsiteX12" fmla="*/ 66675 w 1381125"/>
                <a:gd name="connsiteY12" fmla="*/ 2257425 h 2277341"/>
                <a:gd name="connsiteX13" fmla="*/ 0 w 1381125"/>
                <a:gd name="connsiteY1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66675 w 1381125"/>
                <a:gd name="connsiteY10" fmla="*/ 2257425 h 2277341"/>
                <a:gd name="connsiteX11" fmla="*/ 0 w 1381125"/>
                <a:gd name="connsiteY11" fmla="*/ 2276475 h 2277341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390525 w 1381125"/>
                <a:gd name="connsiteY8" fmla="*/ 2085975 h 2276475"/>
                <a:gd name="connsiteX9" fmla="*/ 276225 w 1381125"/>
                <a:gd name="connsiteY9" fmla="*/ 2171700 h 2276475"/>
                <a:gd name="connsiteX10" fmla="*/ 0 w 1381125"/>
                <a:gd name="connsiteY10" fmla="*/ 2276475 h 2276475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DM Sans 14pt ExtraBold"/>
              </a:endParaRPr>
            </a:p>
          </p:txBody>
        </p:sp>
        <p:sp>
          <p:nvSpPr>
            <p:cNvPr id="30" name="Freeform: Shape 98">
              <a:extLst>
                <a:ext uri="{FF2B5EF4-FFF2-40B4-BE49-F238E27FC236}">
                  <a16:creationId xmlns:a16="http://schemas.microsoft.com/office/drawing/2014/main" id="{9E2CFC32-E50B-BECE-778B-6588DB30F015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72644 w 806044"/>
                <a:gd name="connsiteY0" fmla="*/ 28575 h 409575"/>
                <a:gd name="connsiteX1" fmla="*/ 110719 w 806044"/>
                <a:gd name="connsiteY1" fmla="*/ 9525 h 409575"/>
                <a:gd name="connsiteX2" fmla="*/ 24994 w 806044"/>
                <a:gd name="connsiteY2" fmla="*/ 0 h 409575"/>
                <a:gd name="connsiteX3" fmla="*/ 24994 w 806044"/>
                <a:gd name="connsiteY3" fmla="*/ 171450 h 409575"/>
                <a:gd name="connsiteX4" fmla="*/ 44044 w 806044"/>
                <a:gd name="connsiteY4" fmla="*/ 200025 h 409575"/>
                <a:gd name="connsiteX5" fmla="*/ 120244 w 806044"/>
                <a:gd name="connsiteY5" fmla="*/ 228600 h 409575"/>
                <a:gd name="connsiteX6" fmla="*/ 205969 w 806044"/>
                <a:gd name="connsiteY6" fmla="*/ 266700 h 409575"/>
                <a:gd name="connsiteX7" fmla="*/ 234544 w 806044"/>
                <a:gd name="connsiteY7" fmla="*/ 295275 h 409575"/>
                <a:gd name="connsiteX8" fmla="*/ 272644 w 806044"/>
                <a:gd name="connsiteY8" fmla="*/ 314325 h 409575"/>
                <a:gd name="connsiteX9" fmla="*/ 310744 w 806044"/>
                <a:gd name="connsiteY9" fmla="*/ 342900 h 409575"/>
                <a:gd name="connsiteX10" fmla="*/ 377419 w 806044"/>
                <a:gd name="connsiteY10" fmla="*/ 371475 h 409575"/>
                <a:gd name="connsiteX11" fmla="*/ 405994 w 806044"/>
                <a:gd name="connsiteY11" fmla="*/ 390525 h 409575"/>
                <a:gd name="connsiteX12" fmla="*/ 472669 w 806044"/>
                <a:gd name="connsiteY12" fmla="*/ 400050 h 409575"/>
                <a:gd name="connsiteX13" fmla="*/ 529819 w 806044"/>
                <a:gd name="connsiteY13" fmla="*/ 409575 h 409575"/>
                <a:gd name="connsiteX14" fmla="*/ 786994 w 806044"/>
                <a:gd name="connsiteY14" fmla="*/ 371475 h 409575"/>
                <a:gd name="connsiteX15" fmla="*/ 806044 w 806044"/>
                <a:gd name="connsiteY15" fmla="*/ 352425 h 409575"/>
                <a:gd name="connsiteX0" fmla="*/ 272644 w 806044"/>
                <a:gd name="connsiteY0" fmla="*/ 35318 h 416318"/>
                <a:gd name="connsiteX1" fmla="*/ 24994 w 806044"/>
                <a:gd name="connsiteY1" fmla="*/ 6743 h 416318"/>
                <a:gd name="connsiteX2" fmla="*/ 24994 w 806044"/>
                <a:gd name="connsiteY2" fmla="*/ 178193 h 416318"/>
                <a:gd name="connsiteX3" fmla="*/ 44044 w 806044"/>
                <a:gd name="connsiteY3" fmla="*/ 206768 h 416318"/>
                <a:gd name="connsiteX4" fmla="*/ 120244 w 806044"/>
                <a:gd name="connsiteY4" fmla="*/ 235343 h 416318"/>
                <a:gd name="connsiteX5" fmla="*/ 205969 w 806044"/>
                <a:gd name="connsiteY5" fmla="*/ 273443 h 416318"/>
                <a:gd name="connsiteX6" fmla="*/ 234544 w 806044"/>
                <a:gd name="connsiteY6" fmla="*/ 302018 h 416318"/>
                <a:gd name="connsiteX7" fmla="*/ 272644 w 806044"/>
                <a:gd name="connsiteY7" fmla="*/ 321068 h 416318"/>
                <a:gd name="connsiteX8" fmla="*/ 310744 w 806044"/>
                <a:gd name="connsiteY8" fmla="*/ 349643 h 416318"/>
                <a:gd name="connsiteX9" fmla="*/ 377419 w 806044"/>
                <a:gd name="connsiteY9" fmla="*/ 378218 h 416318"/>
                <a:gd name="connsiteX10" fmla="*/ 405994 w 806044"/>
                <a:gd name="connsiteY10" fmla="*/ 397268 h 416318"/>
                <a:gd name="connsiteX11" fmla="*/ 472669 w 806044"/>
                <a:gd name="connsiteY11" fmla="*/ 406793 h 416318"/>
                <a:gd name="connsiteX12" fmla="*/ 529819 w 806044"/>
                <a:gd name="connsiteY12" fmla="*/ 416318 h 416318"/>
                <a:gd name="connsiteX13" fmla="*/ 786994 w 806044"/>
                <a:gd name="connsiteY13" fmla="*/ 378218 h 416318"/>
                <a:gd name="connsiteX14" fmla="*/ 806044 w 806044"/>
                <a:gd name="connsiteY14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267874 w 801274"/>
                <a:gd name="connsiteY6" fmla="*/ 321068 h 416318"/>
                <a:gd name="connsiteX7" fmla="*/ 305974 w 801274"/>
                <a:gd name="connsiteY7" fmla="*/ 349643 h 416318"/>
                <a:gd name="connsiteX8" fmla="*/ 372649 w 801274"/>
                <a:gd name="connsiteY8" fmla="*/ 378218 h 416318"/>
                <a:gd name="connsiteX9" fmla="*/ 401224 w 801274"/>
                <a:gd name="connsiteY9" fmla="*/ 397268 h 416318"/>
                <a:gd name="connsiteX10" fmla="*/ 467899 w 801274"/>
                <a:gd name="connsiteY10" fmla="*/ 406793 h 416318"/>
                <a:gd name="connsiteX11" fmla="*/ 525049 w 801274"/>
                <a:gd name="connsiteY11" fmla="*/ 416318 h 416318"/>
                <a:gd name="connsiteX12" fmla="*/ 782224 w 801274"/>
                <a:gd name="connsiteY12" fmla="*/ 378218 h 416318"/>
                <a:gd name="connsiteX13" fmla="*/ 801274 w 801274"/>
                <a:gd name="connsiteY13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305974 w 801274"/>
                <a:gd name="connsiteY6" fmla="*/ 349643 h 416318"/>
                <a:gd name="connsiteX7" fmla="*/ 372649 w 801274"/>
                <a:gd name="connsiteY7" fmla="*/ 378218 h 416318"/>
                <a:gd name="connsiteX8" fmla="*/ 401224 w 801274"/>
                <a:gd name="connsiteY8" fmla="*/ 397268 h 416318"/>
                <a:gd name="connsiteX9" fmla="*/ 467899 w 801274"/>
                <a:gd name="connsiteY9" fmla="*/ 406793 h 416318"/>
                <a:gd name="connsiteX10" fmla="*/ 525049 w 801274"/>
                <a:gd name="connsiteY10" fmla="*/ 416318 h 416318"/>
                <a:gd name="connsiteX11" fmla="*/ 782224 w 801274"/>
                <a:gd name="connsiteY11" fmla="*/ 378218 h 416318"/>
                <a:gd name="connsiteX12" fmla="*/ 801274 w 801274"/>
                <a:gd name="connsiteY12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29774 w 801274"/>
                <a:gd name="connsiteY4" fmla="*/ 302018 h 416318"/>
                <a:gd name="connsiteX5" fmla="*/ 305974 w 801274"/>
                <a:gd name="connsiteY5" fmla="*/ 349643 h 416318"/>
                <a:gd name="connsiteX6" fmla="*/ 372649 w 801274"/>
                <a:gd name="connsiteY6" fmla="*/ 378218 h 416318"/>
                <a:gd name="connsiteX7" fmla="*/ 401224 w 801274"/>
                <a:gd name="connsiteY7" fmla="*/ 397268 h 416318"/>
                <a:gd name="connsiteX8" fmla="*/ 467899 w 801274"/>
                <a:gd name="connsiteY8" fmla="*/ 406793 h 416318"/>
                <a:gd name="connsiteX9" fmla="*/ 525049 w 801274"/>
                <a:gd name="connsiteY9" fmla="*/ 416318 h 416318"/>
                <a:gd name="connsiteX10" fmla="*/ 782224 w 801274"/>
                <a:gd name="connsiteY10" fmla="*/ 378218 h 416318"/>
                <a:gd name="connsiteX11" fmla="*/ 801274 w 801274"/>
                <a:gd name="connsiteY11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07674 w 807724"/>
                <a:gd name="connsiteY6" fmla="*/ 397268 h 416318"/>
                <a:gd name="connsiteX7" fmla="*/ 474349 w 807724"/>
                <a:gd name="connsiteY7" fmla="*/ 406793 h 416318"/>
                <a:gd name="connsiteX8" fmla="*/ 531499 w 807724"/>
                <a:gd name="connsiteY8" fmla="*/ 416318 h 416318"/>
                <a:gd name="connsiteX9" fmla="*/ 788674 w 807724"/>
                <a:gd name="connsiteY9" fmla="*/ 378218 h 416318"/>
                <a:gd name="connsiteX10" fmla="*/ 807724 w 807724"/>
                <a:gd name="connsiteY10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788674 w 807724"/>
                <a:gd name="connsiteY8" fmla="*/ 378218 h 416318"/>
                <a:gd name="connsiteX9" fmla="*/ 807724 w 807724"/>
                <a:gd name="connsiteY9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807724 w 807724"/>
                <a:gd name="connsiteY8" fmla="*/ 359168 h 416318"/>
                <a:gd name="connsiteX0" fmla="*/ 274324 w 807724"/>
                <a:gd name="connsiteY0" fmla="*/ 35318 h 416321"/>
                <a:gd name="connsiteX1" fmla="*/ 26674 w 807724"/>
                <a:gd name="connsiteY1" fmla="*/ 6743 h 416321"/>
                <a:gd name="connsiteX2" fmla="*/ 26674 w 807724"/>
                <a:gd name="connsiteY2" fmla="*/ 178193 h 416321"/>
                <a:gd name="connsiteX3" fmla="*/ 236224 w 807724"/>
                <a:gd name="connsiteY3" fmla="*/ 302018 h 416321"/>
                <a:gd name="connsiteX4" fmla="*/ 312424 w 807724"/>
                <a:gd name="connsiteY4" fmla="*/ 349643 h 416321"/>
                <a:gd name="connsiteX5" fmla="*/ 379099 w 807724"/>
                <a:gd name="connsiteY5" fmla="*/ 378218 h 416321"/>
                <a:gd name="connsiteX6" fmla="*/ 474349 w 807724"/>
                <a:gd name="connsiteY6" fmla="*/ 406793 h 416321"/>
                <a:gd name="connsiteX7" fmla="*/ 531499 w 807724"/>
                <a:gd name="connsiteY7" fmla="*/ 416318 h 416321"/>
                <a:gd name="connsiteX8" fmla="*/ 807724 w 807724"/>
                <a:gd name="connsiteY8" fmla="*/ 359168 h 416321"/>
                <a:gd name="connsiteX0" fmla="*/ 274324 w 807724"/>
                <a:gd name="connsiteY0" fmla="*/ 35318 h 416550"/>
                <a:gd name="connsiteX1" fmla="*/ 26674 w 807724"/>
                <a:gd name="connsiteY1" fmla="*/ 6743 h 416550"/>
                <a:gd name="connsiteX2" fmla="*/ 26674 w 807724"/>
                <a:gd name="connsiteY2" fmla="*/ 178193 h 416550"/>
                <a:gd name="connsiteX3" fmla="*/ 236224 w 807724"/>
                <a:gd name="connsiteY3" fmla="*/ 302018 h 416550"/>
                <a:gd name="connsiteX4" fmla="*/ 312424 w 807724"/>
                <a:gd name="connsiteY4" fmla="*/ 349643 h 416550"/>
                <a:gd name="connsiteX5" fmla="*/ 379099 w 807724"/>
                <a:gd name="connsiteY5" fmla="*/ 378218 h 416550"/>
                <a:gd name="connsiteX6" fmla="*/ 531499 w 807724"/>
                <a:gd name="connsiteY6" fmla="*/ 416318 h 416550"/>
                <a:gd name="connsiteX7" fmla="*/ 807724 w 807724"/>
                <a:gd name="connsiteY7" fmla="*/ 359168 h 416550"/>
                <a:gd name="connsiteX0" fmla="*/ 260902 w 794302"/>
                <a:gd name="connsiteY0" fmla="*/ 35318 h 416550"/>
                <a:gd name="connsiteX1" fmla="*/ 13252 w 794302"/>
                <a:gd name="connsiteY1" fmla="*/ 6743 h 416550"/>
                <a:gd name="connsiteX2" fmla="*/ 57702 w 794302"/>
                <a:gd name="connsiteY2" fmla="*/ 178193 h 416550"/>
                <a:gd name="connsiteX3" fmla="*/ 222802 w 794302"/>
                <a:gd name="connsiteY3" fmla="*/ 302018 h 416550"/>
                <a:gd name="connsiteX4" fmla="*/ 299002 w 794302"/>
                <a:gd name="connsiteY4" fmla="*/ 349643 h 416550"/>
                <a:gd name="connsiteX5" fmla="*/ 365677 w 794302"/>
                <a:gd name="connsiteY5" fmla="*/ 378218 h 416550"/>
                <a:gd name="connsiteX6" fmla="*/ 518077 w 794302"/>
                <a:gd name="connsiteY6" fmla="*/ 416318 h 416550"/>
                <a:gd name="connsiteX7" fmla="*/ 794302 w 794302"/>
                <a:gd name="connsiteY7" fmla="*/ 359168 h 416550"/>
                <a:gd name="connsiteX0" fmla="*/ 283127 w 794302"/>
                <a:gd name="connsiteY0" fmla="*/ 32495 h 416902"/>
                <a:gd name="connsiteX1" fmla="*/ 13252 w 794302"/>
                <a:gd name="connsiteY1" fmla="*/ 7095 h 416902"/>
                <a:gd name="connsiteX2" fmla="*/ 57702 w 794302"/>
                <a:gd name="connsiteY2" fmla="*/ 178545 h 416902"/>
                <a:gd name="connsiteX3" fmla="*/ 222802 w 794302"/>
                <a:gd name="connsiteY3" fmla="*/ 302370 h 416902"/>
                <a:gd name="connsiteX4" fmla="*/ 299002 w 794302"/>
                <a:gd name="connsiteY4" fmla="*/ 349995 h 416902"/>
                <a:gd name="connsiteX5" fmla="*/ 365677 w 794302"/>
                <a:gd name="connsiteY5" fmla="*/ 378570 h 416902"/>
                <a:gd name="connsiteX6" fmla="*/ 518077 w 794302"/>
                <a:gd name="connsiteY6" fmla="*/ 416670 h 416902"/>
                <a:gd name="connsiteX7" fmla="*/ 794302 w 794302"/>
                <a:gd name="connsiteY7" fmla="*/ 359520 h 416902"/>
                <a:gd name="connsiteX0" fmla="*/ 285241 w 796416"/>
                <a:gd name="connsiteY0" fmla="*/ 32495 h 416902"/>
                <a:gd name="connsiteX1" fmla="*/ 15366 w 796416"/>
                <a:gd name="connsiteY1" fmla="*/ 7095 h 416902"/>
                <a:gd name="connsiteX2" fmla="*/ 59816 w 796416"/>
                <a:gd name="connsiteY2" fmla="*/ 178545 h 416902"/>
                <a:gd name="connsiteX3" fmla="*/ 301116 w 796416"/>
                <a:gd name="connsiteY3" fmla="*/ 349995 h 416902"/>
                <a:gd name="connsiteX4" fmla="*/ 367791 w 796416"/>
                <a:gd name="connsiteY4" fmla="*/ 378570 h 416902"/>
                <a:gd name="connsiteX5" fmla="*/ 520191 w 796416"/>
                <a:gd name="connsiteY5" fmla="*/ 416670 h 416902"/>
                <a:gd name="connsiteX6" fmla="*/ 796416 w 796416"/>
                <a:gd name="connsiteY6" fmla="*/ 359520 h 416902"/>
                <a:gd name="connsiteX0" fmla="*/ 282302 w 793477"/>
                <a:gd name="connsiteY0" fmla="*/ 32495 h 417025"/>
                <a:gd name="connsiteX1" fmla="*/ 12427 w 793477"/>
                <a:gd name="connsiteY1" fmla="*/ 7095 h 417025"/>
                <a:gd name="connsiteX2" fmla="*/ 56877 w 793477"/>
                <a:gd name="connsiteY2" fmla="*/ 178545 h 417025"/>
                <a:gd name="connsiteX3" fmla="*/ 187052 w 793477"/>
                <a:gd name="connsiteY3" fmla="*/ 280145 h 417025"/>
                <a:gd name="connsiteX4" fmla="*/ 364852 w 793477"/>
                <a:gd name="connsiteY4" fmla="*/ 378570 h 417025"/>
                <a:gd name="connsiteX5" fmla="*/ 517252 w 793477"/>
                <a:gd name="connsiteY5" fmla="*/ 416670 h 417025"/>
                <a:gd name="connsiteX6" fmla="*/ 793477 w 793477"/>
                <a:gd name="connsiteY6" fmla="*/ 359520 h 417025"/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DM Sans 14pt ExtraBold"/>
              </a:endParaRPr>
            </a:p>
          </p:txBody>
        </p:sp>
      </p:grpSp>
      <p:pic>
        <p:nvPicPr>
          <p:cNvPr id="67" name="Graphic 1069">
            <a:extLst>
              <a:ext uri="{FF2B5EF4-FFF2-40B4-BE49-F238E27FC236}">
                <a16:creationId xmlns:a16="http://schemas.microsoft.com/office/drawing/2014/main" id="{1C82E889-5943-2CE3-FCAB-1EDD308DB10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056737" y="5372176"/>
            <a:ext cx="661998" cy="387134"/>
          </a:xfrm>
          <a:prstGeom prst="rect">
            <a:avLst/>
          </a:prstGeom>
        </p:spPr>
      </p:pic>
      <p:cxnSp>
        <p:nvCxnSpPr>
          <p:cNvPr id="88" name="Lige pilforbindelse 87">
            <a:extLst>
              <a:ext uri="{FF2B5EF4-FFF2-40B4-BE49-F238E27FC236}">
                <a16:creationId xmlns:a16="http://schemas.microsoft.com/office/drawing/2014/main" id="{6EA11DB4-5C6A-F978-F808-272085BD53A8}"/>
              </a:ext>
            </a:extLst>
          </p:cNvPr>
          <p:cNvCxnSpPr>
            <a:cxnSpLocks/>
          </p:cNvCxnSpPr>
          <p:nvPr/>
        </p:nvCxnSpPr>
        <p:spPr>
          <a:xfrm flipV="1">
            <a:off x="1999131" y="2251503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Lige pilforbindelse 117">
            <a:extLst>
              <a:ext uri="{FF2B5EF4-FFF2-40B4-BE49-F238E27FC236}">
                <a16:creationId xmlns:a16="http://schemas.microsoft.com/office/drawing/2014/main" id="{0A6D1E08-477B-2192-A7AF-064771C81F2E}"/>
              </a:ext>
            </a:extLst>
          </p:cNvPr>
          <p:cNvCxnSpPr>
            <a:cxnSpLocks/>
          </p:cNvCxnSpPr>
          <p:nvPr/>
        </p:nvCxnSpPr>
        <p:spPr>
          <a:xfrm flipV="1">
            <a:off x="1999131" y="3357651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Lige pilforbindelse 118">
            <a:extLst>
              <a:ext uri="{FF2B5EF4-FFF2-40B4-BE49-F238E27FC236}">
                <a16:creationId xmlns:a16="http://schemas.microsoft.com/office/drawing/2014/main" id="{4EF9E20A-C64B-A64E-7A3B-01A91DFADD6B}"/>
              </a:ext>
            </a:extLst>
          </p:cNvPr>
          <p:cNvCxnSpPr>
            <a:cxnSpLocks/>
          </p:cNvCxnSpPr>
          <p:nvPr/>
        </p:nvCxnSpPr>
        <p:spPr>
          <a:xfrm flipV="1">
            <a:off x="1995370" y="4421435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Lige pilforbindelse 119">
            <a:extLst>
              <a:ext uri="{FF2B5EF4-FFF2-40B4-BE49-F238E27FC236}">
                <a16:creationId xmlns:a16="http://schemas.microsoft.com/office/drawing/2014/main" id="{125F1FAD-D480-F064-F36C-6031B5BC6477}"/>
              </a:ext>
            </a:extLst>
          </p:cNvPr>
          <p:cNvCxnSpPr>
            <a:cxnSpLocks/>
          </p:cNvCxnSpPr>
          <p:nvPr/>
        </p:nvCxnSpPr>
        <p:spPr>
          <a:xfrm flipV="1">
            <a:off x="2005047" y="5539877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Lige pilforbindelse 123">
            <a:extLst>
              <a:ext uri="{FF2B5EF4-FFF2-40B4-BE49-F238E27FC236}">
                <a16:creationId xmlns:a16="http://schemas.microsoft.com/office/drawing/2014/main" id="{54E4205C-B459-4A67-3CA9-BBD5B87A2F4E}"/>
              </a:ext>
            </a:extLst>
          </p:cNvPr>
          <p:cNvCxnSpPr>
            <a:cxnSpLocks/>
          </p:cNvCxnSpPr>
          <p:nvPr/>
        </p:nvCxnSpPr>
        <p:spPr>
          <a:xfrm flipV="1">
            <a:off x="8645772" y="2243364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Lige pilforbindelse 124">
            <a:extLst>
              <a:ext uri="{FF2B5EF4-FFF2-40B4-BE49-F238E27FC236}">
                <a16:creationId xmlns:a16="http://schemas.microsoft.com/office/drawing/2014/main" id="{E15B04D7-84BE-AF54-D87C-D5C5BE41E894}"/>
              </a:ext>
            </a:extLst>
          </p:cNvPr>
          <p:cNvCxnSpPr>
            <a:cxnSpLocks/>
          </p:cNvCxnSpPr>
          <p:nvPr/>
        </p:nvCxnSpPr>
        <p:spPr>
          <a:xfrm flipV="1">
            <a:off x="8648670" y="3405178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Lige pilforbindelse 125">
            <a:extLst>
              <a:ext uri="{FF2B5EF4-FFF2-40B4-BE49-F238E27FC236}">
                <a16:creationId xmlns:a16="http://schemas.microsoft.com/office/drawing/2014/main" id="{8B0F6471-13CB-5F20-4C02-213C70F480E0}"/>
              </a:ext>
            </a:extLst>
          </p:cNvPr>
          <p:cNvCxnSpPr>
            <a:cxnSpLocks/>
          </p:cNvCxnSpPr>
          <p:nvPr/>
        </p:nvCxnSpPr>
        <p:spPr>
          <a:xfrm flipV="1">
            <a:off x="8645772" y="4352205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4" name="Lige pilforbindelse 1023">
            <a:extLst>
              <a:ext uri="{FF2B5EF4-FFF2-40B4-BE49-F238E27FC236}">
                <a16:creationId xmlns:a16="http://schemas.microsoft.com/office/drawing/2014/main" id="{4144D4FA-1A59-399E-1836-B1566E9084DA}"/>
              </a:ext>
            </a:extLst>
          </p:cNvPr>
          <p:cNvCxnSpPr>
            <a:cxnSpLocks/>
          </p:cNvCxnSpPr>
          <p:nvPr/>
        </p:nvCxnSpPr>
        <p:spPr>
          <a:xfrm flipV="1">
            <a:off x="8645772" y="5527749"/>
            <a:ext cx="1565005" cy="60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Billede 24">
            <a:extLst>
              <a:ext uri="{FF2B5EF4-FFF2-40B4-BE49-F238E27FC236}">
                <a16:creationId xmlns:a16="http://schemas.microsoft.com/office/drawing/2014/main" id="{BCA1A08A-A501-1EA8-CC0E-DE99961BE1B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821325" y="1687168"/>
            <a:ext cx="4921587" cy="312340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D68A99E-FFB9-02DB-C318-30ADBBF6114A}"/>
              </a:ext>
            </a:extLst>
          </p:cNvPr>
          <p:cNvSpPr txBox="1"/>
          <p:nvPr/>
        </p:nvSpPr>
        <p:spPr>
          <a:xfrm>
            <a:off x="5626769" y="3651585"/>
            <a:ext cx="727911" cy="23083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e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52C60D-46CC-7A44-40EB-69BF64C2B72B}"/>
              </a:ext>
            </a:extLst>
          </p:cNvPr>
          <p:cNvSpPr txBox="1"/>
          <p:nvPr/>
        </p:nvSpPr>
        <p:spPr>
          <a:xfrm>
            <a:off x="4934951" y="3390899"/>
            <a:ext cx="687807" cy="23083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Ansatte</a:t>
            </a:r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578892-09D0-1434-2E97-73E62C1F2563}"/>
              </a:ext>
            </a:extLst>
          </p:cNvPr>
          <p:cNvSpPr txBox="1"/>
          <p:nvPr/>
        </p:nvSpPr>
        <p:spPr>
          <a:xfrm>
            <a:off x="6408821" y="3771899"/>
            <a:ext cx="1469858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demokrater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3679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/>
      <p:bldP spid="114" grpId="0"/>
      <p:bldP spid="115" grpId="0"/>
      <p:bldP spid="116" grpId="0"/>
      <p:bldP spid="117" grpId="0"/>
      <p:bldP spid="1030" grpId="0"/>
      <p:bldP spid="1031" grpId="0"/>
      <p:bldP spid="1032" grpId="0"/>
      <p:bldP spid="1033" grpId="0"/>
      <p:bldP spid="103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F908B-16E6-FA82-61C0-869BEFFDB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BE12D9-DC9D-7CA4-A811-A2714602C8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293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E12D9-DC9D-7CA4-A811-A2714602C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7C5015F-34AE-43F3-8F51-312B035FB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Sådan arbejder AlmenKompa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7963372-DAAE-9EE8-D869-77EB340563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6</a:t>
            </a:fld>
            <a:endParaRPr lang="da-DK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6A1B48-2E6A-9205-D565-1F2D146036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2E2EC3-DD3A-065D-649D-AAE5C71A94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Vi samler branchen om data, værktøjer og et fælles sprog</a:t>
            </a:r>
          </a:p>
        </p:txBody>
      </p:sp>
      <p:grpSp>
        <p:nvGrpSpPr>
          <p:cNvPr id="1068" name="Group 1067">
            <a:extLst>
              <a:ext uri="{FF2B5EF4-FFF2-40B4-BE49-F238E27FC236}">
                <a16:creationId xmlns:a16="http://schemas.microsoft.com/office/drawing/2014/main" id="{EFF23DB3-5A17-0189-2206-7A07F7B16D71}"/>
              </a:ext>
            </a:extLst>
          </p:cNvPr>
          <p:cNvGrpSpPr/>
          <p:nvPr/>
        </p:nvGrpSpPr>
        <p:grpSpPr>
          <a:xfrm>
            <a:off x="4118219" y="1899772"/>
            <a:ext cx="4227009" cy="4227009"/>
            <a:chOff x="7524568" y="2046791"/>
            <a:chExt cx="4227009" cy="4227009"/>
          </a:xfrm>
        </p:grpSpPr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E95C6F23-559B-F3D3-CB7B-1C857316F731}"/>
                </a:ext>
              </a:extLst>
            </p:cNvPr>
            <p:cNvSpPr/>
            <p:nvPr/>
          </p:nvSpPr>
          <p:spPr>
            <a:xfrm>
              <a:off x="7524568" y="2046791"/>
              <a:ext cx="4227009" cy="422700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16A9D233-9EFB-23A7-E037-D21F1CE9D86E}"/>
                </a:ext>
              </a:extLst>
            </p:cNvPr>
            <p:cNvSpPr/>
            <p:nvPr/>
          </p:nvSpPr>
          <p:spPr>
            <a:xfrm>
              <a:off x="11719397" y="3836525"/>
              <a:ext cx="32180" cy="679220"/>
            </a:xfrm>
            <a:custGeom>
              <a:avLst/>
              <a:gdLst>
                <a:gd name="connsiteX0" fmla="*/ 27346 w 4227010"/>
                <a:gd name="connsiteY0" fmla="*/ 0 h 679220"/>
                <a:gd name="connsiteX1" fmla="*/ 4199665 w 4227010"/>
                <a:gd name="connsiteY1" fmla="*/ 0 h 679220"/>
                <a:gd name="connsiteX2" fmla="*/ 4216098 w 4227010"/>
                <a:gd name="connsiteY2" fmla="*/ 107677 h 679220"/>
                <a:gd name="connsiteX3" fmla="*/ 4227010 w 4227010"/>
                <a:gd name="connsiteY3" fmla="*/ 323771 h 679220"/>
                <a:gd name="connsiteX4" fmla="*/ 4216098 w 4227010"/>
                <a:gd name="connsiteY4" fmla="*/ 539865 h 679220"/>
                <a:gd name="connsiteX5" fmla="*/ 4194830 w 4227010"/>
                <a:gd name="connsiteY5" fmla="*/ 679220 h 679220"/>
                <a:gd name="connsiteX6" fmla="*/ 32180 w 4227010"/>
                <a:gd name="connsiteY6" fmla="*/ 679220 h 679220"/>
                <a:gd name="connsiteX7" fmla="*/ 10912 w 4227010"/>
                <a:gd name="connsiteY7" fmla="*/ 539865 h 679220"/>
                <a:gd name="connsiteX8" fmla="*/ 0 w 4227010"/>
                <a:gd name="connsiteY8" fmla="*/ 323771 h 679220"/>
                <a:gd name="connsiteX9" fmla="*/ 10912 w 4227010"/>
                <a:gd name="connsiteY9" fmla="*/ 107677 h 679220"/>
                <a:gd name="connsiteX10" fmla="*/ 27346 w 4227010"/>
                <a:gd name="connsiteY10" fmla="*/ 0 h 679220"/>
                <a:gd name="connsiteX0" fmla="*/ 4199665 w 4291105"/>
                <a:gd name="connsiteY0" fmla="*/ 0 h 679220"/>
                <a:gd name="connsiteX1" fmla="*/ 4216098 w 4291105"/>
                <a:gd name="connsiteY1" fmla="*/ 107677 h 679220"/>
                <a:gd name="connsiteX2" fmla="*/ 4227010 w 4291105"/>
                <a:gd name="connsiteY2" fmla="*/ 323771 h 679220"/>
                <a:gd name="connsiteX3" fmla="*/ 4216098 w 4291105"/>
                <a:gd name="connsiteY3" fmla="*/ 539865 h 679220"/>
                <a:gd name="connsiteX4" fmla="*/ 4194830 w 4291105"/>
                <a:gd name="connsiteY4" fmla="*/ 679220 h 679220"/>
                <a:gd name="connsiteX5" fmla="*/ 32180 w 4291105"/>
                <a:gd name="connsiteY5" fmla="*/ 679220 h 679220"/>
                <a:gd name="connsiteX6" fmla="*/ 10912 w 4291105"/>
                <a:gd name="connsiteY6" fmla="*/ 539865 h 679220"/>
                <a:gd name="connsiteX7" fmla="*/ 0 w 4291105"/>
                <a:gd name="connsiteY7" fmla="*/ 323771 h 679220"/>
                <a:gd name="connsiteX8" fmla="*/ 10912 w 4291105"/>
                <a:gd name="connsiteY8" fmla="*/ 107677 h 679220"/>
                <a:gd name="connsiteX9" fmla="*/ 27346 w 4291105"/>
                <a:gd name="connsiteY9" fmla="*/ 0 h 679220"/>
                <a:gd name="connsiteX10" fmla="*/ 4291105 w 4291105"/>
                <a:gd name="connsiteY10" fmla="*/ 9144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9" fmla="*/ 27346 w 4227010"/>
                <a:gd name="connsiteY9" fmla="*/ 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0" fmla="*/ 4188753 w 4216098"/>
                <a:gd name="connsiteY0" fmla="*/ 0 h 679220"/>
                <a:gd name="connsiteX1" fmla="*/ 4205186 w 4216098"/>
                <a:gd name="connsiteY1" fmla="*/ 107677 h 679220"/>
                <a:gd name="connsiteX2" fmla="*/ 4216098 w 4216098"/>
                <a:gd name="connsiteY2" fmla="*/ 323771 h 679220"/>
                <a:gd name="connsiteX3" fmla="*/ 4205186 w 4216098"/>
                <a:gd name="connsiteY3" fmla="*/ 539865 h 679220"/>
                <a:gd name="connsiteX4" fmla="*/ 4183918 w 4216098"/>
                <a:gd name="connsiteY4" fmla="*/ 679220 h 679220"/>
                <a:gd name="connsiteX5" fmla="*/ 21268 w 4216098"/>
                <a:gd name="connsiteY5" fmla="*/ 679220 h 679220"/>
                <a:gd name="connsiteX6" fmla="*/ 0 w 4216098"/>
                <a:gd name="connsiteY6" fmla="*/ 539865 h 679220"/>
                <a:gd name="connsiteX0" fmla="*/ 4167485 w 4194830"/>
                <a:gd name="connsiteY0" fmla="*/ 0 h 679220"/>
                <a:gd name="connsiteX1" fmla="*/ 4183918 w 4194830"/>
                <a:gd name="connsiteY1" fmla="*/ 107677 h 679220"/>
                <a:gd name="connsiteX2" fmla="*/ 4194830 w 4194830"/>
                <a:gd name="connsiteY2" fmla="*/ 323771 h 679220"/>
                <a:gd name="connsiteX3" fmla="*/ 4183918 w 4194830"/>
                <a:gd name="connsiteY3" fmla="*/ 539865 h 679220"/>
                <a:gd name="connsiteX4" fmla="*/ 4162650 w 4194830"/>
                <a:gd name="connsiteY4" fmla="*/ 679220 h 679220"/>
                <a:gd name="connsiteX5" fmla="*/ 0 w 4194830"/>
                <a:gd name="connsiteY5" fmla="*/ 679220 h 679220"/>
                <a:gd name="connsiteX0" fmla="*/ 4835 w 32180"/>
                <a:gd name="connsiteY0" fmla="*/ 0 h 679220"/>
                <a:gd name="connsiteX1" fmla="*/ 21268 w 32180"/>
                <a:gd name="connsiteY1" fmla="*/ 107677 h 679220"/>
                <a:gd name="connsiteX2" fmla="*/ 32180 w 32180"/>
                <a:gd name="connsiteY2" fmla="*/ 323771 h 679220"/>
                <a:gd name="connsiteX3" fmla="*/ 21268 w 32180"/>
                <a:gd name="connsiteY3" fmla="*/ 539865 h 679220"/>
                <a:gd name="connsiteX4" fmla="*/ 0 w 32180"/>
                <a:gd name="connsiteY4" fmla="*/ 679220 h 6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0" h="679220">
                  <a:moveTo>
                    <a:pt x="4835" y="0"/>
                  </a:moveTo>
                  <a:lnTo>
                    <a:pt x="21268" y="107677"/>
                  </a:lnTo>
                  <a:cubicBezTo>
                    <a:pt x="28484" y="178727"/>
                    <a:pt x="32180" y="250818"/>
                    <a:pt x="32180" y="323771"/>
                  </a:cubicBezTo>
                  <a:cubicBezTo>
                    <a:pt x="32180" y="396725"/>
                    <a:pt x="28484" y="468815"/>
                    <a:pt x="21268" y="539865"/>
                  </a:cubicBezTo>
                  <a:lnTo>
                    <a:pt x="0" y="679220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664E1FA2-028C-EB55-C76F-A6E5F0758359}"/>
                </a:ext>
              </a:extLst>
            </p:cNvPr>
            <p:cNvSpPr/>
            <p:nvPr/>
          </p:nvSpPr>
          <p:spPr>
            <a:xfrm>
              <a:off x="8555427" y="2046791"/>
              <a:ext cx="2165292" cy="300788"/>
            </a:xfrm>
            <a:custGeom>
              <a:avLst/>
              <a:gdLst>
                <a:gd name="connsiteX0" fmla="*/ 1082646 w 2165292"/>
                <a:gd name="connsiteY0" fmla="*/ 0 h 300788"/>
                <a:gd name="connsiteX1" fmla="*/ 2090068 w 2165292"/>
                <a:gd name="connsiteY1" fmla="*/ 255089 h 300788"/>
                <a:gd name="connsiteX2" fmla="*/ 2165292 w 2165292"/>
                <a:gd name="connsiteY2" fmla="*/ 300788 h 300788"/>
                <a:gd name="connsiteX3" fmla="*/ 0 w 2165292"/>
                <a:gd name="connsiteY3" fmla="*/ 300788 h 300788"/>
                <a:gd name="connsiteX4" fmla="*/ 75224 w 2165292"/>
                <a:gd name="connsiteY4" fmla="*/ 255089 h 300788"/>
                <a:gd name="connsiteX5" fmla="*/ 1082646 w 2165292"/>
                <a:gd name="connsiteY5" fmla="*/ 0 h 300788"/>
                <a:gd name="connsiteX0" fmla="*/ 0 w 2165292"/>
                <a:gd name="connsiteY0" fmla="*/ 300788 h 392228"/>
                <a:gd name="connsiteX1" fmla="*/ 75224 w 2165292"/>
                <a:gd name="connsiteY1" fmla="*/ 255089 h 392228"/>
                <a:gd name="connsiteX2" fmla="*/ 1082646 w 2165292"/>
                <a:gd name="connsiteY2" fmla="*/ 0 h 392228"/>
                <a:gd name="connsiteX3" fmla="*/ 2090068 w 2165292"/>
                <a:gd name="connsiteY3" fmla="*/ 255089 h 392228"/>
                <a:gd name="connsiteX4" fmla="*/ 2165292 w 2165292"/>
                <a:gd name="connsiteY4" fmla="*/ 300788 h 392228"/>
                <a:gd name="connsiteX5" fmla="*/ 91440 w 2165292"/>
                <a:gd name="connsiteY5" fmla="*/ 392228 h 392228"/>
                <a:gd name="connsiteX0" fmla="*/ 0 w 2165292"/>
                <a:gd name="connsiteY0" fmla="*/ 300788 h 300788"/>
                <a:gd name="connsiteX1" fmla="*/ 75224 w 2165292"/>
                <a:gd name="connsiteY1" fmla="*/ 255089 h 300788"/>
                <a:gd name="connsiteX2" fmla="*/ 1082646 w 2165292"/>
                <a:gd name="connsiteY2" fmla="*/ 0 h 300788"/>
                <a:gd name="connsiteX3" fmla="*/ 2090068 w 2165292"/>
                <a:gd name="connsiteY3" fmla="*/ 255089 h 300788"/>
                <a:gd name="connsiteX4" fmla="*/ 2165292 w 2165292"/>
                <a:gd name="connsiteY4" fmla="*/ 300788 h 30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5292" h="300788">
                  <a:moveTo>
                    <a:pt x="0" y="300788"/>
                  </a:moveTo>
                  <a:lnTo>
                    <a:pt x="75224" y="255089"/>
                  </a:lnTo>
                  <a:cubicBezTo>
                    <a:pt x="374693" y="92407"/>
                    <a:pt x="717878" y="0"/>
                    <a:pt x="1082646" y="0"/>
                  </a:cubicBezTo>
                  <a:cubicBezTo>
                    <a:pt x="1447414" y="0"/>
                    <a:pt x="1790599" y="92407"/>
                    <a:pt x="2090068" y="255089"/>
                  </a:cubicBezTo>
                  <a:lnTo>
                    <a:pt x="2165292" y="300788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623DAFDC-5E96-54C3-4D02-A34232153E9B}"/>
                </a:ext>
              </a:extLst>
            </p:cNvPr>
            <p:cNvSpPr/>
            <p:nvPr/>
          </p:nvSpPr>
          <p:spPr>
            <a:xfrm>
              <a:off x="8620490" y="6000775"/>
              <a:ext cx="2038558" cy="268263"/>
            </a:xfrm>
            <a:custGeom>
              <a:avLst/>
              <a:gdLst>
                <a:gd name="connsiteX0" fmla="*/ 0 w 2061002"/>
                <a:gd name="connsiteY0" fmla="*/ 0 h 269110"/>
                <a:gd name="connsiteX1" fmla="*/ 2061002 w 2061002"/>
                <a:gd name="connsiteY1" fmla="*/ 0 h 269110"/>
                <a:gd name="connsiteX2" fmla="*/ 2037923 w 2061002"/>
                <a:gd name="connsiteY2" fmla="*/ 14021 h 269110"/>
                <a:gd name="connsiteX3" fmla="*/ 1030501 w 2061002"/>
                <a:gd name="connsiteY3" fmla="*/ 269110 h 269110"/>
                <a:gd name="connsiteX4" fmla="*/ 23079 w 2061002"/>
                <a:gd name="connsiteY4" fmla="*/ 14021 h 269110"/>
                <a:gd name="connsiteX5" fmla="*/ 0 w 2061002"/>
                <a:gd name="connsiteY5" fmla="*/ 0 h 269110"/>
                <a:gd name="connsiteX0" fmla="*/ 0 w 2061002"/>
                <a:gd name="connsiteY0" fmla="*/ 0 h 269110"/>
                <a:gd name="connsiteX1" fmla="*/ 2061002 w 2061002"/>
                <a:gd name="connsiteY1" fmla="*/ 0 h 269110"/>
                <a:gd name="connsiteX2" fmla="*/ 2037923 w 2061002"/>
                <a:gd name="connsiteY2" fmla="*/ 14021 h 269110"/>
                <a:gd name="connsiteX3" fmla="*/ 1030501 w 2061002"/>
                <a:gd name="connsiteY3" fmla="*/ 269110 h 269110"/>
                <a:gd name="connsiteX4" fmla="*/ 23079 w 2061002"/>
                <a:gd name="connsiteY4" fmla="*/ 14021 h 269110"/>
                <a:gd name="connsiteX5" fmla="*/ 91440 w 2061002"/>
                <a:gd name="connsiteY5" fmla="*/ 91440 h 269110"/>
                <a:gd name="connsiteX0" fmla="*/ 0 w 2108627"/>
                <a:gd name="connsiteY0" fmla="*/ 0 h 540572"/>
                <a:gd name="connsiteX1" fmla="*/ 2108627 w 2108627"/>
                <a:gd name="connsiteY1" fmla="*/ 271462 h 540572"/>
                <a:gd name="connsiteX2" fmla="*/ 2085548 w 2108627"/>
                <a:gd name="connsiteY2" fmla="*/ 285483 h 540572"/>
                <a:gd name="connsiteX3" fmla="*/ 1078126 w 2108627"/>
                <a:gd name="connsiteY3" fmla="*/ 540572 h 540572"/>
                <a:gd name="connsiteX4" fmla="*/ 70704 w 2108627"/>
                <a:gd name="connsiteY4" fmla="*/ 285483 h 540572"/>
                <a:gd name="connsiteX5" fmla="*/ 139065 w 2108627"/>
                <a:gd name="connsiteY5" fmla="*/ 362902 h 540572"/>
                <a:gd name="connsiteX0" fmla="*/ 2038470 w 2038470"/>
                <a:gd name="connsiteY0" fmla="*/ 0 h 269110"/>
                <a:gd name="connsiteX1" fmla="*/ 2015391 w 2038470"/>
                <a:gd name="connsiteY1" fmla="*/ 14021 h 269110"/>
                <a:gd name="connsiteX2" fmla="*/ 1007969 w 2038470"/>
                <a:gd name="connsiteY2" fmla="*/ 269110 h 269110"/>
                <a:gd name="connsiteX3" fmla="*/ 547 w 2038470"/>
                <a:gd name="connsiteY3" fmla="*/ 14021 h 269110"/>
                <a:gd name="connsiteX4" fmla="*/ 68908 w 2038470"/>
                <a:gd name="connsiteY4" fmla="*/ 91440 h 269110"/>
                <a:gd name="connsiteX0" fmla="*/ 2037923 w 2037923"/>
                <a:gd name="connsiteY0" fmla="*/ 0 h 269110"/>
                <a:gd name="connsiteX1" fmla="*/ 2014844 w 2037923"/>
                <a:gd name="connsiteY1" fmla="*/ 14021 h 269110"/>
                <a:gd name="connsiteX2" fmla="*/ 1007422 w 2037923"/>
                <a:gd name="connsiteY2" fmla="*/ 269110 h 269110"/>
                <a:gd name="connsiteX3" fmla="*/ 0 w 2037923"/>
                <a:gd name="connsiteY3" fmla="*/ 14021 h 269110"/>
                <a:gd name="connsiteX0" fmla="*/ 2047490 w 2047490"/>
                <a:gd name="connsiteY0" fmla="*/ 328 h 269438"/>
                <a:gd name="connsiteX1" fmla="*/ 2024411 w 2047490"/>
                <a:gd name="connsiteY1" fmla="*/ 14349 h 269438"/>
                <a:gd name="connsiteX2" fmla="*/ 1016989 w 2047490"/>
                <a:gd name="connsiteY2" fmla="*/ 269438 h 269438"/>
                <a:gd name="connsiteX3" fmla="*/ 0 w 2047490"/>
                <a:gd name="connsiteY3" fmla="*/ 0 h 26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7490" h="269438">
                  <a:moveTo>
                    <a:pt x="2047490" y="328"/>
                  </a:moveTo>
                  <a:lnTo>
                    <a:pt x="2024411" y="14349"/>
                  </a:lnTo>
                  <a:cubicBezTo>
                    <a:pt x="1724942" y="177031"/>
                    <a:pt x="1381757" y="269438"/>
                    <a:pt x="1016989" y="269438"/>
                  </a:cubicBezTo>
                  <a:cubicBezTo>
                    <a:pt x="652221" y="269438"/>
                    <a:pt x="299469" y="162682"/>
                    <a:pt x="0" y="0"/>
                  </a:cubicBez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D1C8ABC-B68B-1458-95BE-C34107B40929}"/>
                </a:ext>
              </a:extLst>
            </p:cNvPr>
            <p:cNvSpPr/>
            <p:nvPr/>
          </p:nvSpPr>
          <p:spPr>
            <a:xfrm flipH="1">
              <a:off x="7524568" y="3836525"/>
              <a:ext cx="32180" cy="679220"/>
            </a:xfrm>
            <a:custGeom>
              <a:avLst/>
              <a:gdLst>
                <a:gd name="connsiteX0" fmla="*/ 27346 w 4227010"/>
                <a:gd name="connsiteY0" fmla="*/ 0 h 679220"/>
                <a:gd name="connsiteX1" fmla="*/ 4199665 w 4227010"/>
                <a:gd name="connsiteY1" fmla="*/ 0 h 679220"/>
                <a:gd name="connsiteX2" fmla="*/ 4216098 w 4227010"/>
                <a:gd name="connsiteY2" fmla="*/ 107677 h 679220"/>
                <a:gd name="connsiteX3" fmla="*/ 4227010 w 4227010"/>
                <a:gd name="connsiteY3" fmla="*/ 323771 h 679220"/>
                <a:gd name="connsiteX4" fmla="*/ 4216098 w 4227010"/>
                <a:gd name="connsiteY4" fmla="*/ 539865 h 679220"/>
                <a:gd name="connsiteX5" fmla="*/ 4194830 w 4227010"/>
                <a:gd name="connsiteY5" fmla="*/ 679220 h 679220"/>
                <a:gd name="connsiteX6" fmla="*/ 32180 w 4227010"/>
                <a:gd name="connsiteY6" fmla="*/ 679220 h 679220"/>
                <a:gd name="connsiteX7" fmla="*/ 10912 w 4227010"/>
                <a:gd name="connsiteY7" fmla="*/ 539865 h 679220"/>
                <a:gd name="connsiteX8" fmla="*/ 0 w 4227010"/>
                <a:gd name="connsiteY8" fmla="*/ 323771 h 679220"/>
                <a:gd name="connsiteX9" fmla="*/ 10912 w 4227010"/>
                <a:gd name="connsiteY9" fmla="*/ 107677 h 679220"/>
                <a:gd name="connsiteX10" fmla="*/ 27346 w 4227010"/>
                <a:gd name="connsiteY10" fmla="*/ 0 h 679220"/>
                <a:gd name="connsiteX0" fmla="*/ 4199665 w 4291105"/>
                <a:gd name="connsiteY0" fmla="*/ 0 h 679220"/>
                <a:gd name="connsiteX1" fmla="*/ 4216098 w 4291105"/>
                <a:gd name="connsiteY1" fmla="*/ 107677 h 679220"/>
                <a:gd name="connsiteX2" fmla="*/ 4227010 w 4291105"/>
                <a:gd name="connsiteY2" fmla="*/ 323771 h 679220"/>
                <a:gd name="connsiteX3" fmla="*/ 4216098 w 4291105"/>
                <a:gd name="connsiteY3" fmla="*/ 539865 h 679220"/>
                <a:gd name="connsiteX4" fmla="*/ 4194830 w 4291105"/>
                <a:gd name="connsiteY4" fmla="*/ 679220 h 679220"/>
                <a:gd name="connsiteX5" fmla="*/ 32180 w 4291105"/>
                <a:gd name="connsiteY5" fmla="*/ 679220 h 679220"/>
                <a:gd name="connsiteX6" fmla="*/ 10912 w 4291105"/>
                <a:gd name="connsiteY6" fmla="*/ 539865 h 679220"/>
                <a:gd name="connsiteX7" fmla="*/ 0 w 4291105"/>
                <a:gd name="connsiteY7" fmla="*/ 323771 h 679220"/>
                <a:gd name="connsiteX8" fmla="*/ 10912 w 4291105"/>
                <a:gd name="connsiteY8" fmla="*/ 107677 h 679220"/>
                <a:gd name="connsiteX9" fmla="*/ 27346 w 4291105"/>
                <a:gd name="connsiteY9" fmla="*/ 0 h 679220"/>
                <a:gd name="connsiteX10" fmla="*/ 4291105 w 4291105"/>
                <a:gd name="connsiteY10" fmla="*/ 9144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9" fmla="*/ 27346 w 4227010"/>
                <a:gd name="connsiteY9" fmla="*/ 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0" fmla="*/ 4188753 w 4216098"/>
                <a:gd name="connsiteY0" fmla="*/ 0 h 679220"/>
                <a:gd name="connsiteX1" fmla="*/ 4205186 w 4216098"/>
                <a:gd name="connsiteY1" fmla="*/ 107677 h 679220"/>
                <a:gd name="connsiteX2" fmla="*/ 4216098 w 4216098"/>
                <a:gd name="connsiteY2" fmla="*/ 323771 h 679220"/>
                <a:gd name="connsiteX3" fmla="*/ 4205186 w 4216098"/>
                <a:gd name="connsiteY3" fmla="*/ 539865 h 679220"/>
                <a:gd name="connsiteX4" fmla="*/ 4183918 w 4216098"/>
                <a:gd name="connsiteY4" fmla="*/ 679220 h 679220"/>
                <a:gd name="connsiteX5" fmla="*/ 21268 w 4216098"/>
                <a:gd name="connsiteY5" fmla="*/ 679220 h 679220"/>
                <a:gd name="connsiteX6" fmla="*/ 0 w 4216098"/>
                <a:gd name="connsiteY6" fmla="*/ 539865 h 679220"/>
                <a:gd name="connsiteX0" fmla="*/ 4167485 w 4194830"/>
                <a:gd name="connsiteY0" fmla="*/ 0 h 679220"/>
                <a:gd name="connsiteX1" fmla="*/ 4183918 w 4194830"/>
                <a:gd name="connsiteY1" fmla="*/ 107677 h 679220"/>
                <a:gd name="connsiteX2" fmla="*/ 4194830 w 4194830"/>
                <a:gd name="connsiteY2" fmla="*/ 323771 h 679220"/>
                <a:gd name="connsiteX3" fmla="*/ 4183918 w 4194830"/>
                <a:gd name="connsiteY3" fmla="*/ 539865 h 679220"/>
                <a:gd name="connsiteX4" fmla="*/ 4162650 w 4194830"/>
                <a:gd name="connsiteY4" fmla="*/ 679220 h 679220"/>
                <a:gd name="connsiteX5" fmla="*/ 0 w 4194830"/>
                <a:gd name="connsiteY5" fmla="*/ 679220 h 679220"/>
                <a:gd name="connsiteX0" fmla="*/ 4835 w 32180"/>
                <a:gd name="connsiteY0" fmla="*/ 0 h 679220"/>
                <a:gd name="connsiteX1" fmla="*/ 21268 w 32180"/>
                <a:gd name="connsiteY1" fmla="*/ 107677 h 679220"/>
                <a:gd name="connsiteX2" fmla="*/ 32180 w 32180"/>
                <a:gd name="connsiteY2" fmla="*/ 323771 h 679220"/>
                <a:gd name="connsiteX3" fmla="*/ 21268 w 32180"/>
                <a:gd name="connsiteY3" fmla="*/ 539865 h 679220"/>
                <a:gd name="connsiteX4" fmla="*/ 0 w 32180"/>
                <a:gd name="connsiteY4" fmla="*/ 679220 h 6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0" h="679220">
                  <a:moveTo>
                    <a:pt x="4835" y="0"/>
                  </a:moveTo>
                  <a:lnTo>
                    <a:pt x="21268" y="107677"/>
                  </a:lnTo>
                  <a:cubicBezTo>
                    <a:pt x="28484" y="178727"/>
                    <a:pt x="32180" y="250818"/>
                    <a:pt x="32180" y="323771"/>
                  </a:cubicBezTo>
                  <a:cubicBezTo>
                    <a:pt x="32180" y="396725"/>
                    <a:pt x="28484" y="468815"/>
                    <a:pt x="21268" y="539865"/>
                  </a:cubicBezTo>
                  <a:lnTo>
                    <a:pt x="0" y="679220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138B0212-16F6-E41A-6AEC-35B67C299F39}"/>
                </a:ext>
              </a:extLst>
            </p:cNvPr>
            <p:cNvGrpSpPr/>
            <p:nvPr/>
          </p:nvGrpSpPr>
          <p:grpSpPr>
            <a:xfrm>
              <a:off x="8037385" y="2455039"/>
              <a:ext cx="3201374" cy="3065022"/>
              <a:chOff x="6282735" y="2249376"/>
              <a:chExt cx="4203456" cy="4024424"/>
            </a:xfrm>
          </p:grpSpPr>
          <p:sp>
            <p:nvSpPr>
              <p:cNvPr id="20" name="Oval 5">
                <a:extLst>
                  <a:ext uri="{FF2B5EF4-FFF2-40B4-BE49-F238E27FC236}">
                    <a16:creationId xmlns:a16="http://schemas.microsoft.com/office/drawing/2014/main" id="{05782FBE-2985-0A91-17AB-4F3131127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82735" y="6012259"/>
                <a:ext cx="4203456" cy="26154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FB8EA7A2-7A63-A8E7-52D8-D3546F0DCE7C}"/>
                  </a:ext>
                </a:extLst>
              </p:cNvPr>
              <p:cNvSpPr/>
              <p:nvPr/>
            </p:nvSpPr>
            <p:spPr bwMode="auto">
              <a:xfrm>
                <a:off x="6740041" y="4212791"/>
                <a:ext cx="1028938" cy="1030505"/>
              </a:xfrm>
              <a:custGeom>
                <a:avLst/>
                <a:gdLst>
                  <a:gd name="T0" fmla="*/ 0 w 657"/>
                  <a:gd name="T1" fmla="*/ 635 h 658"/>
                  <a:gd name="T2" fmla="*/ 634 w 657"/>
                  <a:gd name="T3" fmla="*/ 0 h 658"/>
                  <a:gd name="T4" fmla="*/ 657 w 657"/>
                  <a:gd name="T5" fmla="*/ 23 h 658"/>
                  <a:gd name="T6" fmla="*/ 22 w 657"/>
                  <a:gd name="T7" fmla="*/ 658 h 658"/>
                  <a:gd name="T8" fmla="*/ 0 w 657"/>
                  <a:gd name="T9" fmla="*/ 635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7" h="658">
                    <a:moveTo>
                      <a:pt x="0" y="635"/>
                    </a:moveTo>
                    <a:lnTo>
                      <a:pt x="634" y="0"/>
                    </a:lnTo>
                    <a:lnTo>
                      <a:pt x="657" y="23"/>
                    </a:lnTo>
                    <a:lnTo>
                      <a:pt x="22" y="658"/>
                    </a:lnTo>
                    <a:lnTo>
                      <a:pt x="0" y="635"/>
                    </a:lnTo>
                    <a:close/>
                  </a:path>
                </a:pathLst>
              </a:cu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B113CE93-49BB-E9A2-0CAD-F1AC85409D9B}"/>
                  </a:ext>
                </a:extLst>
              </p:cNvPr>
              <p:cNvSpPr/>
              <p:nvPr/>
            </p:nvSpPr>
            <p:spPr bwMode="auto">
              <a:xfrm>
                <a:off x="8993683" y="4212791"/>
                <a:ext cx="1027373" cy="1030505"/>
              </a:xfrm>
              <a:custGeom>
                <a:avLst/>
                <a:gdLst>
                  <a:gd name="T0" fmla="*/ 656 w 656"/>
                  <a:gd name="T1" fmla="*/ 635 h 658"/>
                  <a:gd name="T2" fmla="*/ 23 w 656"/>
                  <a:gd name="T3" fmla="*/ 0 h 658"/>
                  <a:gd name="T4" fmla="*/ 0 w 656"/>
                  <a:gd name="T5" fmla="*/ 23 h 658"/>
                  <a:gd name="T6" fmla="*/ 634 w 656"/>
                  <a:gd name="T7" fmla="*/ 658 h 658"/>
                  <a:gd name="T8" fmla="*/ 656 w 656"/>
                  <a:gd name="T9" fmla="*/ 635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6" h="658">
                    <a:moveTo>
                      <a:pt x="656" y="635"/>
                    </a:moveTo>
                    <a:lnTo>
                      <a:pt x="23" y="0"/>
                    </a:lnTo>
                    <a:lnTo>
                      <a:pt x="0" y="23"/>
                    </a:lnTo>
                    <a:lnTo>
                      <a:pt x="634" y="658"/>
                    </a:lnTo>
                    <a:lnTo>
                      <a:pt x="656" y="635"/>
                    </a:lnTo>
                    <a:close/>
                  </a:path>
                </a:pathLst>
              </a:cu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Rectangle 8">
                <a:extLst>
                  <a:ext uri="{FF2B5EF4-FFF2-40B4-BE49-F238E27FC236}">
                    <a16:creationId xmlns:a16="http://schemas.microsoft.com/office/drawing/2014/main" id="{7A4C8949-C3C1-1A7D-25D6-265480A77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29080" y="4208091"/>
                <a:ext cx="51682" cy="1924758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Rectangle 9">
                <a:extLst>
                  <a:ext uri="{FF2B5EF4-FFF2-40B4-BE49-F238E27FC236}">
                    <a16:creationId xmlns:a16="http://schemas.microsoft.com/office/drawing/2014/main" id="{3A31E95B-BD36-7417-6317-F08E4E7CF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6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10">
                <a:extLst>
                  <a:ext uri="{FF2B5EF4-FFF2-40B4-BE49-F238E27FC236}">
                    <a16:creationId xmlns:a16="http://schemas.microsoft.com/office/drawing/2014/main" id="{8AA33A4A-EAA4-D87A-3BAE-AAC6767139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444575"/>
                <a:ext cx="338281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B8945946-C6DF-D283-05EB-F22A91574E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868994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Rectangle 14">
                <a:extLst>
                  <a:ext uri="{FF2B5EF4-FFF2-40B4-BE49-F238E27FC236}">
                    <a16:creationId xmlns:a16="http://schemas.microsoft.com/office/drawing/2014/main" id="{0E81C80E-AAA7-16AE-FB45-58F421B27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5291846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Rectangle 16">
                <a:extLst>
                  <a:ext uri="{FF2B5EF4-FFF2-40B4-BE49-F238E27FC236}">
                    <a16:creationId xmlns:a16="http://schemas.microsoft.com/office/drawing/2014/main" id="{FDD40DCD-2E25-8B5D-15FB-6765AF457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5717829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Rectangle 18">
                <a:extLst>
                  <a:ext uri="{FF2B5EF4-FFF2-40B4-BE49-F238E27FC236}">
                    <a16:creationId xmlns:a16="http://schemas.microsoft.com/office/drawing/2014/main" id="{AB6F5381-B588-D588-45CA-97296F84BA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0337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Rectangle 19">
                <a:extLst>
                  <a:ext uri="{FF2B5EF4-FFF2-40B4-BE49-F238E27FC236}">
                    <a16:creationId xmlns:a16="http://schemas.microsoft.com/office/drawing/2014/main" id="{2420DA4A-49D8-FFD8-5DEC-206A59428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560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20">
                <a:extLst>
                  <a:ext uri="{FF2B5EF4-FFF2-40B4-BE49-F238E27FC236}">
                    <a16:creationId xmlns:a16="http://schemas.microsoft.com/office/drawing/2014/main" id="{E56E8D21-0E65-F489-2185-7491BF4888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4444575"/>
                <a:ext cx="338281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22">
                <a:extLst>
                  <a:ext uri="{FF2B5EF4-FFF2-40B4-BE49-F238E27FC236}">
                    <a16:creationId xmlns:a16="http://schemas.microsoft.com/office/drawing/2014/main" id="{A7F9145B-3E6F-E94C-FD67-7A9317B8DD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4868994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Rectangle 24">
                <a:extLst>
                  <a:ext uri="{FF2B5EF4-FFF2-40B4-BE49-F238E27FC236}">
                    <a16:creationId xmlns:a16="http://schemas.microsoft.com/office/drawing/2014/main" id="{312BE8D6-1FF4-908E-3C9E-25A37E014E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5291846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26">
                <a:extLst>
                  <a:ext uri="{FF2B5EF4-FFF2-40B4-BE49-F238E27FC236}">
                    <a16:creationId xmlns:a16="http://schemas.microsoft.com/office/drawing/2014/main" id="{FAA0447E-0258-5961-E0BB-A1D3369FD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5717829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28">
                <a:extLst>
                  <a:ext uri="{FF2B5EF4-FFF2-40B4-BE49-F238E27FC236}">
                    <a16:creationId xmlns:a16="http://schemas.microsoft.com/office/drawing/2014/main" id="{4BFA257F-A976-10EA-404A-B766F4B2C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206525"/>
                <a:ext cx="3929385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35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A9CFA7F2-CC8F-F381-B202-F85D9F6CCC4E}"/>
                  </a:ext>
                </a:extLst>
              </p:cNvPr>
              <p:cNvGrpSpPr/>
              <p:nvPr/>
            </p:nvGrpSpPr>
            <p:grpSpPr>
              <a:xfrm>
                <a:off x="6644508" y="4682626"/>
                <a:ext cx="624879" cy="1450222"/>
                <a:chOff x="6900006" y="4682626"/>
                <a:chExt cx="624879" cy="1450222"/>
              </a:xfrm>
            </p:grpSpPr>
            <p:sp>
              <p:nvSpPr>
                <p:cNvPr id="65" name="Freeform 77">
                  <a:extLst>
                    <a:ext uri="{FF2B5EF4-FFF2-40B4-BE49-F238E27FC236}">
                      <a16:creationId xmlns:a16="http://schemas.microsoft.com/office/drawing/2014/main" id="{F4CFE6BD-E3DB-4BAE-0820-7A432CFF8A4A}"/>
                    </a:ext>
                  </a:extLst>
                </p:cNvPr>
                <p:cNvSpPr/>
                <p:nvPr/>
              </p:nvSpPr>
              <p:spPr bwMode="auto">
                <a:xfrm>
                  <a:off x="7125527" y="4726476"/>
                  <a:ext cx="397794" cy="438513"/>
                </a:xfrm>
                <a:custGeom>
                  <a:avLst/>
                  <a:gdLst>
                    <a:gd name="T0" fmla="*/ 146 w 155"/>
                    <a:gd name="T1" fmla="*/ 4 h 171"/>
                    <a:gd name="T2" fmla="*/ 141 w 155"/>
                    <a:gd name="T3" fmla="*/ 16 h 171"/>
                    <a:gd name="T4" fmla="*/ 151 w 155"/>
                    <a:gd name="T5" fmla="*/ 10 h 171"/>
                    <a:gd name="T6" fmla="*/ 154 w 155"/>
                    <a:gd name="T7" fmla="*/ 14 h 171"/>
                    <a:gd name="T8" fmla="*/ 150 w 155"/>
                    <a:gd name="T9" fmla="*/ 21 h 171"/>
                    <a:gd name="T10" fmla="*/ 146 w 155"/>
                    <a:gd name="T11" fmla="*/ 35 h 171"/>
                    <a:gd name="T12" fmla="*/ 146 w 155"/>
                    <a:gd name="T13" fmla="*/ 35 h 171"/>
                    <a:gd name="T14" fmla="*/ 19 w 155"/>
                    <a:gd name="T15" fmla="*/ 170 h 171"/>
                    <a:gd name="T16" fmla="*/ 1 w 155"/>
                    <a:gd name="T17" fmla="*/ 152 h 171"/>
                    <a:gd name="T18" fmla="*/ 13 w 155"/>
                    <a:gd name="T19" fmla="*/ 138 h 171"/>
                    <a:gd name="T20" fmla="*/ 48 w 155"/>
                    <a:gd name="T21" fmla="*/ 123 h 171"/>
                    <a:gd name="T22" fmla="*/ 115 w 155"/>
                    <a:gd name="T23" fmla="*/ 41 h 171"/>
                    <a:gd name="T24" fmla="*/ 116 w 155"/>
                    <a:gd name="T25" fmla="*/ 36 h 171"/>
                    <a:gd name="T26" fmla="*/ 108 w 155"/>
                    <a:gd name="T27" fmla="*/ 28 h 171"/>
                    <a:gd name="T28" fmla="*/ 107 w 155"/>
                    <a:gd name="T29" fmla="*/ 24 h 171"/>
                    <a:gd name="T30" fmla="*/ 108 w 155"/>
                    <a:gd name="T31" fmla="*/ 20 h 171"/>
                    <a:gd name="T32" fmla="*/ 111 w 155"/>
                    <a:gd name="T33" fmla="*/ 20 h 171"/>
                    <a:gd name="T34" fmla="*/ 116 w 155"/>
                    <a:gd name="T35" fmla="*/ 21 h 171"/>
                    <a:gd name="T36" fmla="*/ 120 w 155"/>
                    <a:gd name="T37" fmla="*/ 19 h 171"/>
                    <a:gd name="T38" fmla="*/ 121 w 155"/>
                    <a:gd name="T39" fmla="*/ 17 h 171"/>
                    <a:gd name="T40" fmla="*/ 126 w 155"/>
                    <a:gd name="T41" fmla="*/ 4 h 171"/>
                    <a:gd name="T42" fmla="*/ 130 w 155"/>
                    <a:gd name="T43" fmla="*/ 0 h 171"/>
                    <a:gd name="T44" fmla="*/ 131 w 155"/>
                    <a:gd name="T45" fmla="*/ 6 h 171"/>
                    <a:gd name="T46" fmla="*/ 130 w 155"/>
                    <a:gd name="T47" fmla="*/ 13 h 171"/>
                    <a:gd name="T48" fmla="*/ 139 w 155"/>
                    <a:gd name="T49" fmla="*/ 4 h 171"/>
                    <a:gd name="T50" fmla="*/ 142 w 155"/>
                    <a:gd name="T51" fmla="*/ 1 h 171"/>
                    <a:gd name="T52" fmla="*/ 146 w 155"/>
                    <a:gd name="T53" fmla="*/ 4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5" h="171">
                      <a:moveTo>
                        <a:pt x="146" y="4"/>
                      </a:moveTo>
                      <a:cubicBezTo>
                        <a:pt x="145" y="8"/>
                        <a:pt x="141" y="12"/>
                        <a:pt x="141" y="16"/>
                      </a:cubicBezTo>
                      <a:cubicBezTo>
                        <a:pt x="144" y="14"/>
                        <a:pt x="147" y="11"/>
                        <a:pt x="151" y="10"/>
                      </a:cubicBezTo>
                      <a:cubicBezTo>
                        <a:pt x="153" y="9"/>
                        <a:pt x="155" y="12"/>
                        <a:pt x="154" y="14"/>
                      </a:cubicBezTo>
                      <a:cubicBezTo>
                        <a:pt x="153" y="16"/>
                        <a:pt x="151" y="19"/>
                        <a:pt x="150" y="21"/>
                      </a:cubicBezTo>
                      <a:cubicBezTo>
                        <a:pt x="148" y="25"/>
                        <a:pt x="148" y="31"/>
                        <a:pt x="146" y="35"/>
                      </a:cubicBezTo>
                      <a:cubicBezTo>
                        <a:pt x="146" y="35"/>
                        <a:pt x="146" y="35"/>
                        <a:pt x="146" y="35"/>
                      </a:cubicBezTo>
                      <a:cubicBezTo>
                        <a:pt x="148" y="57"/>
                        <a:pt x="109" y="160"/>
                        <a:pt x="19" y="170"/>
                      </a:cubicBezTo>
                      <a:cubicBezTo>
                        <a:pt x="9" y="171"/>
                        <a:pt x="0" y="163"/>
                        <a:pt x="1" y="152"/>
                      </a:cubicBezTo>
                      <a:cubicBezTo>
                        <a:pt x="2" y="146"/>
                        <a:pt x="6" y="140"/>
                        <a:pt x="13" y="138"/>
                      </a:cubicBezTo>
                      <a:cubicBezTo>
                        <a:pt x="21" y="136"/>
                        <a:pt x="34" y="131"/>
                        <a:pt x="48" y="123"/>
                      </a:cubicBezTo>
                      <a:cubicBezTo>
                        <a:pt x="72" y="109"/>
                        <a:pt x="100" y="84"/>
                        <a:pt x="115" y="41"/>
                      </a:cubicBezTo>
                      <a:cubicBezTo>
                        <a:pt x="115" y="39"/>
                        <a:pt x="116" y="38"/>
                        <a:pt x="116" y="36"/>
                      </a:cubicBezTo>
                      <a:cubicBezTo>
                        <a:pt x="113" y="33"/>
                        <a:pt x="110" y="31"/>
                        <a:pt x="108" y="28"/>
                      </a:cubicBezTo>
                      <a:cubicBezTo>
                        <a:pt x="107" y="27"/>
                        <a:pt x="107" y="25"/>
                        <a:pt x="107" y="24"/>
                      </a:cubicBezTo>
                      <a:cubicBezTo>
                        <a:pt x="106" y="22"/>
                        <a:pt x="107" y="21"/>
                        <a:pt x="108" y="20"/>
                      </a:cubicBezTo>
                      <a:cubicBezTo>
                        <a:pt x="109" y="20"/>
                        <a:pt x="110" y="20"/>
                        <a:pt x="111" y="20"/>
                      </a:cubicBezTo>
                      <a:cubicBezTo>
                        <a:pt x="113" y="20"/>
                        <a:pt x="114" y="20"/>
                        <a:pt x="116" y="21"/>
                      </a:cubicBezTo>
                      <a:cubicBezTo>
                        <a:pt x="117" y="21"/>
                        <a:pt x="119" y="20"/>
                        <a:pt x="120" y="19"/>
                      </a:cubicBezTo>
                      <a:cubicBezTo>
                        <a:pt x="121" y="18"/>
                        <a:pt x="121" y="18"/>
                        <a:pt x="121" y="17"/>
                      </a:cubicBezTo>
                      <a:cubicBezTo>
                        <a:pt x="123" y="12"/>
                        <a:pt x="124" y="8"/>
                        <a:pt x="126" y="4"/>
                      </a:cubicBezTo>
                      <a:cubicBezTo>
                        <a:pt x="127" y="2"/>
                        <a:pt x="128" y="0"/>
                        <a:pt x="130" y="0"/>
                      </a:cubicBezTo>
                      <a:cubicBezTo>
                        <a:pt x="132" y="1"/>
                        <a:pt x="132" y="3"/>
                        <a:pt x="131" y="6"/>
                      </a:cubicBezTo>
                      <a:cubicBezTo>
                        <a:pt x="131" y="8"/>
                        <a:pt x="130" y="11"/>
                        <a:pt x="130" y="13"/>
                      </a:cubicBezTo>
                      <a:cubicBezTo>
                        <a:pt x="133" y="10"/>
                        <a:pt x="136" y="7"/>
                        <a:pt x="139" y="4"/>
                      </a:cubicBezTo>
                      <a:cubicBezTo>
                        <a:pt x="140" y="3"/>
                        <a:pt x="141" y="2"/>
                        <a:pt x="142" y="1"/>
                      </a:cubicBezTo>
                      <a:cubicBezTo>
                        <a:pt x="144" y="0"/>
                        <a:pt x="146" y="2"/>
                        <a:pt x="146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78">
                  <a:extLst>
                    <a:ext uri="{FF2B5EF4-FFF2-40B4-BE49-F238E27FC236}">
                      <a16:creationId xmlns:a16="http://schemas.microsoft.com/office/drawing/2014/main" id="{C7CA2389-1AC4-C652-A02E-E1278EAF27EF}"/>
                    </a:ext>
                  </a:extLst>
                </p:cNvPr>
                <p:cNvSpPr/>
                <p:nvPr/>
              </p:nvSpPr>
              <p:spPr bwMode="auto">
                <a:xfrm>
                  <a:off x="7117696" y="5052229"/>
                  <a:ext cx="136252" cy="119024"/>
                </a:xfrm>
                <a:custGeom>
                  <a:avLst/>
                  <a:gdLst>
                    <a:gd name="T0" fmla="*/ 1 w 53"/>
                    <a:gd name="T1" fmla="*/ 24 h 47"/>
                    <a:gd name="T2" fmla="*/ 22 w 53"/>
                    <a:gd name="T3" fmla="*/ 45 h 47"/>
                    <a:gd name="T4" fmla="*/ 22 w 53"/>
                    <a:gd name="T5" fmla="*/ 45 h 47"/>
                    <a:gd name="T6" fmla="*/ 53 w 53"/>
                    <a:gd name="T7" fmla="*/ 37 h 47"/>
                    <a:gd name="T8" fmla="*/ 39 w 53"/>
                    <a:gd name="T9" fmla="*/ 0 h 47"/>
                    <a:gd name="T10" fmla="*/ 5 w 53"/>
                    <a:gd name="T11" fmla="*/ 15 h 47"/>
                    <a:gd name="T12" fmla="*/ 1 w 53"/>
                    <a:gd name="T13" fmla="*/ 2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47">
                      <a:moveTo>
                        <a:pt x="1" y="24"/>
                      </a:moveTo>
                      <a:cubicBezTo>
                        <a:pt x="0" y="36"/>
                        <a:pt x="10" y="47"/>
                        <a:pt x="22" y="45"/>
                      </a:cubicBezTo>
                      <a:cubicBezTo>
                        <a:pt x="22" y="45"/>
                        <a:pt x="22" y="45"/>
                        <a:pt x="22" y="45"/>
                      </a:cubicBezTo>
                      <a:cubicBezTo>
                        <a:pt x="37" y="44"/>
                        <a:pt x="53" y="37"/>
                        <a:pt x="53" y="37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39" y="0"/>
                        <a:pt x="9" y="10"/>
                        <a:pt x="5" y="15"/>
                      </a:cubicBezTo>
                      <a:cubicBezTo>
                        <a:pt x="3" y="17"/>
                        <a:pt x="2" y="21"/>
                        <a:pt x="1" y="24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79">
                  <a:extLst>
                    <a:ext uri="{FF2B5EF4-FFF2-40B4-BE49-F238E27FC236}">
                      <a16:creationId xmlns:a16="http://schemas.microsoft.com/office/drawing/2014/main" id="{53E50630-50E5-B767-C37E-DD1B2BD39411}"/>
                    </a:ext>
                  </a:extLst>
                </p:cNvPr>
                <p:cNvSpPr/>
                <p:nvPr/>
              </p:nvSpPr>
              <p:spPr bwMode="auto">
                <a:xfrm>
                  <a:off x="7247684" y="4828274"/>
                  <a:ext cx="208294" cy="241182"/>
                </a:xfrm>
                <a:custGeom>
                  <a:avLst/>
                  <a:gdLst>
                    <a:gd name="T0" fmla="*/ 74 w 81"/>
                    <a:gd name="T1" fmla="*/ 4 h 94"/>
                    <a:gd name="T2" fmla="*/ 29 w 81"/>
                    <a:gd name="T3" fmla="*/ 86 h 94"/>
                    <a:gd name="T4" fmla="*/ 0 w 81"/>
                    <a:gd name="T5" fmla="*/ 83 h 94"/>
                    <a:gd name="T6" fmla="*/ 67 w 81"/>
                    <a:gd name="T7" fmla="*/ 1 h 94"/>
                    <a:gd name="T8" fmla="*/ 74 w 81"/>
                    <a:gd name="T9" fmla="*/ 4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94">
                      <a:moveTo>
                        <a:pt x="74" y="4"/>
                      </a:moveTo>
                      <a:cubicBezTo>
                        <a:pt x="81" y="20"/>
                        <a:pt x="47" y="74"/>
                        <a:pt x="29" y="86"/>
                      </a:cubicBezTo>
                      <a:cubicBezTo>
                        <a:pt x="18" y="94"/>
                        <a:pt x="6" y="88"/>
                        <a:pt x="0" y="83"/>
                      </a:cubicBezTo>
                      <a:cubicBezTo>
                        <a:pt x="24" y="69"/>
                        <a:pt x="52" y="44"/>
                        <a:pt x="67" y="1"/>
                      </a:cubicBezTo>
                      <a:cubicBezTo>
                        <a:pt x="70" y="0"/>
                        <a:pt x="73" y="1"/>
                        <a:pt x="74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81">
                  <a:extLst>
                    <a:ext uri="{FF2B5EF4-FFF2-40B4-BE49-F238E27FC236}">
                      <a16:creationId xmlns:a16="http://schemas.microsoft.com/office/drawing/2014/main" id="{B0F9AFD2-24A1-D19B-0C5E-2BB1FE8FC092}"/>
                    </a:ext>
                  </a:extLst>
                </p:cNvPr>
                <p:cNvSpPr/>
                <p:nvPr/>
              </p:nvSpPr>
              <p:spPr bwMode="auto">
                <a:xfrm>
                  <a:off x="6912534" y="4739006"/>
                  <a:ext cx="306959" cy="379000"/>
                </a:xfrm>
                <a:custGeom>
                  <a:avLst/>
                  <a:gdLst>
                    <a:gd name="T0" fmla="*/ 105 w 120"/>
                    <a:gd name="T1" fmla="*/ 36 h 148"/>
                    <a:gd name="T2" fmla="*/ 35 w 120"/>
                    <a:gd name="T3" fmla="*/ 14 h 148"/>
                    <a:gd name="T4" fmla="*/ 15 w 120"/>
                    <a:gd name="T5" fmla="*/ 78 h 148"/>
                    <a:gd name="T6" fmla="*/ 2 w 120"/>
                    <a:gd name="T7" fmla="*/ 86 h 148"/>
                    <a:gd name="T8" fmla="*/ 33 w 120"/>
                    <a:gd name="T9" fmla="*/ 102 h 148"/>
                    <a:gd name="T10" fmla="*/ 43 w 120"/>
                    <a:gd name="T11" fmla="*/ 108 h 148"/>
                    <a:gd name="T12" fmla="*/ 46 w 120"/>
                    <a:gd name="T13" fmla="*/ 148 h 148"/>
                    <a:gd name="T14" fmla="*/ 77 w 120"/>
                    <a:gd name="T15" fmla="*/ 146 h 148"/>
                    <a:gd name="T16" fmla="*/ 76 w 120"/>
                    <a:gd name="T17" fmla="*/ 113 h 148"/>
                    <a:gd name="T18" fmla="*/ 93 w 120"/>
                    <a:gd name="T19" fmla="*/ 107 h 148"/>
                    <a:gd name="T20" fmla="*/ 105 w 120"/>
                    <a:gd name="T21" fmla="*/ 3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8">
                      <a:moveTo>
                        <a:pt x="105" y="36"/>
                      </a:moveTo>
                      <a:cubicBezTo>
                        <a:pt x="90" y="10"/>
                        <a:pt x="58" y="0"/>
                        <a:pt x="35" y="14"/>
                      </a:cubicBezTo>
                      <a:cubicBezTo>
                        <a:pt x="13" y="27"/>
                        <a:pt x="5" y="54"/>
                        <a:pt x="15" y="78"/>
                      </a:cubicBezTo>
                      <a:cubicBezTo>
                        <a:pt x="10" y="78"/>
                        <a:pt x="3" y="79"/>
                        <a:pt x="2" y="86"/>
                      </a:cubicBezTo>
                      <a:cubicBezTo>
                        <a:pt x="0" y="98"/>
                        <a:pt x="19" y="106"/>
                        <a:pt x="33" y="102"/>
                      </a:cubicBezTo>
                      <a:cubicBezTo>
                        <a:pt x="36" y="104"/>
                        <a:pt x="40" y="106"/>
                        <a:pt x="43" y="108"/>
                      </a:cubicBezTo>
                      <a:cubicBezTo>
                        <a:pt x="46" y="148"/>
                        <a:pt x="46" y="148"/>
                        <a:pt x="46" y="148"/>
                      </a:cubicBezTo>
                      <a:cubicBezTo>
                        <a:pt x="77" y="146"/>
                        <a:pt x="77" y="146"/>
                        <a:pt x="77" y="146"/>
                      </a:cubicBezTo>
                      <a:cubicBezTo>
                        <a:pt x="76" y="113"/>
                        <a:pt x="76" y="113"/>
                        <a:pt x="76" y="113"/>
                      </a:cubicBezTo>
                      <a:cubicBezTo>
                        <a:pt x="82" y="112"/>
                        <a:pt x="88" y="110"/>
                        <a:pt x="93" y="107"/>
                      </a:cubicBezTo>
                      <a:cubicBezTo>
                        <a:pt x="117" y="93"/>
                        <a:pt x="120" y="62"/>
                        <a:pt x="105" y="3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83">
                  <a:extLst>
                    <a:ext uri="{FF2B5EF4-FFF2-40B4-BE49-F238E27FC236}">
                      <a16:creationId xmlns:a16="http://schemas.microsoft.com/office/drawing/2014/main" id="{27118AC0-2655-D971-570C-C1C857F59D84}"/>
                    </a:ext>
                  </a:extLst>
                </p:cNvPr>
                <p:cNvSpPr/>
                <p:nvPr/>
              </p:nvSpPr>
              <p:spPr bwMode="auto">
                <a:xfrm>
                  <a:off x="7051920" y="5028736"/>
                  <a:ext cx="57947" cy="37586"/>
                </a:xfrm>
                <a:custGeom>
                  <a:avLst/>
                  <a:gdLst>
                    <a:gd name="T0" fmla="*/ 22 w 23"/>
                    <a:gd name="T1" fmla="*/ 0 h 15"/>
                    <a:gd name="T2" fmla="*/ 23 w 23"/>
                    <a:gd name="T3" fmla="*/ 15 h 15"/>
                    <a:gd name="T4" fmla="*/ 0 w 23"/>
                    <a:gd name="T5" fmla="*/ 0 h 15"/>
                    <a:gd name="T6" fmla="*/ 22 w 23"/>
                    <a:gd name="T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5">
                      <a:moveTo>
                        <a:pt x="22" y="0"/>
                      </a:move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5"/>
                        <a:pt x="5" y="10"/>
                        <a:pt x="0" y="0"/>
                      </a:cubicBezTo>
                      <a:cubicBezTo>
                        <a:pt x="0" y="0"/>
                        <a:pt x="16" y="5"/>
                        <a:pt x="22" y="0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84">
                  <a:extLst>
                    <a:ext uri="{FF2B5EF4-FFF2-40B4-BE49-F238E27FC236}">
                      <a16:creationId xmlns:a16="http://schemas.microsoft.com/office/drawing/2014/main" id="{18B73163-3DD6-FC99-4C25-D7054117022E}"/>
                    </a:ext>
                  </a:extLst>
                </p:cNvPr>
                <p:cNvSpPr/>
                <p:nvPr/>
              </p:nvSpPr>
              <p:spPr bwMode="auto">
                <a:xfrm>
                  <a:off x="6945424" y="4997416"/>
                  <a:ext cx="78305" cy="40719"/>
                </a:xfrm>
                <a:custGeom>
                  <a:avLst/>
                  <a:gdLst>
                    <a:gd name="T0" fmla="*/ 0 w 30"/>
                    <a:gd name="T1" fmla="*/ 0 h 16"/>
                    <a:gd name="T2" fmla="*/ 30 w 30"/>
                    <a:gd name="T3" fmla="*/ 7 h 16"/>
                    <a:gd name="T4" fmla="*/ 20 w 30"/>
                    <a:gd name="T5" fmla="*/ 1 h 16"/>
                    <a:gd name="T6" fmla="*/ 0 w 30"/>
                    <a:gd name="T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" h="16">
                      <a:moveTo>
                        <a:pt x="0" y="0"/>
                      </a:moveTo>
                      <a:cubicBezTo>
                        <a:pt x="0" y="0"/>
                        <a:pt x="15" y="16"/>
                        <a:pt x="30" y="7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1"/>
                        <a:pt x="11" y="5"/>
                        <a:pt x="0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85">
                  <a:extLst>
                    <a:ext uri="{FF2B5EF4-FFF2-40B4-BE49-F238E27FC236}">
                      <a16:creationId xmlns:a16="http://schemas.microsoft.com/office/drawing/2014/main" id="{DEE4EF08-13E7-2CB1-129C-83B3C3A77DC9}"/>
                    </a:ext>
                  </a:extLst>
                </p:cNvPr>
                <p:cNvSpPr/>
                <p:nvPr/>
              </p:nvSpPr>
              <p:spPr bwMode="auto">
                <a:xfrm>
                  <a:off x="6900007" y="4682626"/>
                  <a:ext cx="286599" cy="281901"/>
                </a:xfrm>
                <a:custGeom>
                  <a:avLst/>
                  <a:gdLst>
                    <a:gd name="T0" fmla="*/ 112 w 112"/>
                    <a:gd name="T1" fmla="*/ 62 h 110"/>
                    <a:gd name="T2" fmla="*/ 92 w 112"/>
                    <a:gd name="T3" fmla="*/ 39 h 110"/>
                    <a:gd name="T4" fmla="*/ 90 w 112"/>
                    <a:gd name="T5" fmla="*/ 43 h 110"/>
                    <a:gd name="T6" fmla="*/ 48 w 112"/>
                    <a:gd name="T7" fmla="*/ 61 h 110"/>
                    <a:gd name="T8" fmla="*/ 37 w 112"/>
                    <a:gd name="T9" fmla="*/ 78 h 110"/>
                    <a:gd name="T10" fmla="*/ 41 w 112"/>
                    <a:gd name="T11" fmla="*/ 86 h 110"/>
                    <a:gd name="T12" fmla="*/ 42 w 112"/>
                    <a:gd name="T13" fmla="*/ 103 h 110"/>
                    <a:gd name="T14" fmla="*/ 19 w 112"/>
                    <a:gd name="T15" fmla="*/ 100 h 110"/>
                    <a:gd name="T16" fmla="*/ 9 w 112"/>
                    <a:gd name="T17" fmla="*/ 103 h 110"/>
                    <a:gd name="T18" fmla="*/ 3 w 112"/>
                    <a:gd name="T19" fmla="*/ 88 h 110"/>
                    <a:gd name="T20" fmla="*/ 3 w 112"/>
                    <a:gd name="T21" fmla="*/ 88 h 110"/>
                    <a:gd name="T22" fmla="*/ 3 w 112"/>
                    <a:gd name="T23" fmla="*/ 64 h 110"/>
                    <a:gd name="T24" fmla="*/ 15 w 112"/>
                    <a:gd name="T25" fmla="*/ 45 h 110"/>
                    <a:gd name="T26" fmla="*/ 35 w 112"/>
                    <a:gd name="T27" fmla="*/ 33 h 110"/>
                    <a:gd name="T28" fmla="*/ 52 w 112"/>
                    <a:gd name="T29" fmla="*/ 27 h 110"/>
                    <a:gd name="T30" fmla="*/ 51 w 112"/>
                    <a:gd name="T31" fmla="*/ 16 h 110"/>
                    <a:gd name="T32" fmla="*/ 63 w 112"/>
                    <a:gd name="T33" fmla="*/ 24 h 110"/>
                    <a:gd name="T34" fmla="*/ 72 w 112"/>
                    <a:gd name="T35" fmla="*/ 3 h 110"/>
                    <a:gd name="T36" fmla="*/ 87 w 112"/>
                    <a:gd name="T37" fmla="*/ 20 h 110"/>
                    <a:gd name="T38" fmla="*/ 88 w 112"/>
                    <a:gd name="T39" fmla="*/ 12 h 110"/>
                    <a:gd name="T40" fmla="*/ 93 w 112"/>
                    <a:gd name="T41" fmla="*/ 14 h 110"/>
                    <a:gd name="T42" fmla="*/ 95 w 112"/>
                    <a:gd name="T43" fmla="*/ 30 h 110"/>
                    <a:gd name="T44" fmla="*/ 112 w 112"/>
                    <a:gd name="T45" fmla="*/ 62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110">
                      <a:moveTo>
                        <a:pt x="112" y="62"/>
                      </a:moveTo>
                      <a:cubicBezTo>
                        <a:pt x="106" y="50"/>
                        <a:pt x="98" y="43"/>
                        <a:pt x="92" y="39"/>
                      </a:cubicBezTo>
                      <a:cubicBezTo>
                        <a:pt x="92" y="41"/>
                        <a:pt x="91" y="42"/>
                        <a:pt x="90" y="43"/>
                      </a:cubicBezTo>
                      <a:cubicBezTo>
                        <a:pt x="80" y="66"/>
                        <a:pt x="60" y="58"/>
                        <a:pt x="48" y="61"/>
                      </a:cubicBezTo>
                      <a:cubicBezTo>
                        <a:pt x="37" y="64"/>
                        <a:pt x="34" y="69"/>
                        <a:pt x="37" y="78"/>
                      </a:cubicBezTo>
                      <a:cubicBezTo>
                        <a:pt x="38" y="80"/>
                        <a:pt x="39" y="83"/>
                        <a:pt x="41" y="86"/>
                      </a:cubicBezTo>
                      <a:cubicBezTo>
                        <a:pt x="49" y="99"/>
                        <a:pt x="42" y="103"/>
                        <a:pt x="42" y="103"/>
                      </a:cubicBezTo>
                      <a:cubicBezTo>
                        <a:pt x="32" y="110"/>
                        <a:pt x="25" y="101"/>
                        <a:pt x="19" y="100"/>
                      </a:cubicBezTo>
                      <a:cubicBezTo>
                        <a:pt x="12" y="100"/>
                        <a:pt x="9" y="103"/>
                        <a:pt x="9" y="103"/>
                      </a:cubicBezTo>
                      <a:cubicBezTo>
                        <a:pt x="6" y="98"/>
                        <a:pt x="4" y="93"/>
                        <a:pt x="3" y="88"/>
                      </a:cubicBezTo>
                      <a:cubicBezTo>
                        <a:pt x="3" y="88"/>
                        <a:pt x="3" y="88"/>
                        <a:pt x="3" y="88"/>
                      </a:cubicBezTo>
                      <a:cubicBezTo>
                        <a:pt x="0" y="78"/>
                        <a:pt x="1" y="72"/>
                        <a:pt x="3" y="64"/>
                      </a:cubicBezTo>
                      <a:cubicBezTo>
                        <a:pt x="5" y="58"/>
                        <a:pt x="9" y="51"/>
                        <a:pt x="15" y="45"/>
                      </a:cubicBezTo>
                      <a:cubicBezTo>
                        <a:pt x="20" y="40"/>
                        <a:pt x="27" y="36"/>
                        <a:pt x="35" y="33"/>
                      </a:cubicBezTo>
                      <a:cubicBezTo>
                        <a:pt x="43" y="31"/>
                        <a:pt x="52" y="27"/>
                        <a:pt x="52" y="27"/>
                      </a:cubicBezTo>
                      <a:cubicBezTo>
                        <a:pt x="52" y="27"/>
                        <a:pt x="47" y="18"/>
                        <a:pt x="51" y="16"/>
                      </a:cubicBezTo>
                      <a:cubicBezTo>
                        <a:pt x="56" y="15"/>
                        <a:pt x="63" y="24"/>
                        <a:pt x="63" y="24"/>
                      </a:cubicBezTo>
                      <a:cubicBezTo>
                        <a:pt x="59" y="13"/>
                        <a:pt x="63" y="0"/>
                        <a:pt x="72" y="3"/>
                      </a:cubicBezTo>
                      <a:cubicBezTo>
                        <a:pt x="81" y="5"/>
                        <a:pt x="87" y="20"/>
                        <a:pt x="87" y="20"/>
                      </a:cubicBezTo>
                      <a:cubicBezTo>
                        <a:pt x="86" y="18"/>
                        <a:pt x="85" y="13"/>
                        <a:pt x="88" y="12"/>
                      </a:cubicBezTo>
                      <a:cubicBezTo>
                        <a:pt x="90" y="11"/>
                        <a:pt x="93" y="13"/>
                        <a:pt x="93" y="14"/>
                      </a:cubicBezTo>
                      <a:cubicBezTo>
                        <a:pt x="95" y="20"/>
                        <a:pt x="95" y="25"/>
                        <a:pt x="95" y="30"/>
                      </a:cubicBezTo>
                      <a:cubicBezTo>
                        <a:pt x="108" y="39"/>
                        <a:pt x="112" y="62"/>
                        <a:pt x="112" y="62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86">
                  <a:extLst>
                    <a:ext uri="{FF2B5EF4-FFF2-40B4-BE49-F238E27FC236}">
                      <a16:creationId xmlns:a16="http://schemas.microsoft.com/office/drawing/2014/main" id="{2A192803-C92C-3343-B491-6220A9CA5346}"/>
                    </a:ext>
                  </a:extLst>
                </p:cNvPr>
                <p:cNvSpPr/>
                <p:nvPr/>
              </p:nvSpPr>
              <p:spPr bwMode="auto">
                <a:xfrm>
                  <a:off x="6900006" y="4784423"/>
                  <a:ext cx="230219" cy="126856"/>
                </a:xfrm>
                <a:custGeom>
                  <a:avLst/>
                  <a:gdLst>
                    <a:gd name="T0" fmla="*/ 90 w 90"/>
                    <a:gd name="T1" fmla="*/ 3 h 49"/>
                    <a:gd name="T2" fmla="*/ 48 w 90"/>
                    <a:gd name="T3" fmla="*/ 21 h 49"/>
                    <a:gd name="T4" fmla="*/ 37 w 90"/>
                    <a:gd name="T5" fmla="*/ 38 h 49"/>
                    <a:gd name="T6" fmla="*/ 36 w 90"/>
                    <a:gd name="T7" fmla="*/ 40 h 49"/>
                    <a:gd name="T8" fmla="*/ 31 w 90"/>
                    <a:gd name="T9" fmla="*/ 44 h 49"/>
                    <a:gd name="T10" fmla="*/ 23 w 90"/>
                    <a:gd name="T11" fmla="*/ 43 h 49"/>
                    <a:gd name="T12" fmla="*/ 7 w 90"/>
                    <a:gd name="T13" fmla="*/ 49 h 49"/>
                    <a:gd name="T14" fmla="*/ 3 w 90"/>
                    <a:gd name="T15" fmla="*/ 48 h 49"/>
                    <a:gd name="T16" fmla="*/ 3 w 90"/>
                    <a:gd name="T17" fmla="*/ 48 h 49"/>
                    <a:gd name="T18" fmla="*/ 3 w 90"/>
                    <a:gd name="T19" fmla="*/ 24 h 49"/>
                    <a:gd name="T20" fmla="*/ 15 w 90"/>
                    <a:gd name="T21" fmla="*/ 5 h 49"/>
                    <a:gd name="T22" fmla="*/ 20 w 90"/>
                    <a:gd name="T23" fmla="*/ 10 h 49"/>
                    <a:gd name="T24" fmla="*/ 31 w 90"/>
                    <a:gd name="T25" fmla="*/ 12 h 49"/>
                    <a:gd name="T26" fmla="*/ 42 w 90"/>
                    <a:gd name="T27" fmla="*/ 6 h 49"/>
                    <a:gd name="T28" fmla="*/ 63 w 90"/>
                    <a:gd name="T29" fmla="*/ 1 h 49"/>
                    <a:gd name="T30" fmla="*/ 81 w 90"/>
                    <a:gd name="T31" fmla="*/ 4 h 49"/>
                    <a:gd name="T32" fmla="*/ 90 w 90"/>
                    <a:gd name="T33" fmla="*/ 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49">
                      <a:moveTo>
                        <a:pt x="90" y="3"/>
                      </a:moveTo>
                      <a:cubicBezTo>
                        <a:pt x="80" y="26"/>
                        <a:pt x="60" y="18"/>
                        <a:pt x="48" y="21"/>
                      </a:cubicBezTo>
                      <a:cubicBezTo>
                        <a:pt x="37" y="24"/>
                        <a:pt x="34" y="29"/>
                        <a:pt x="37" y="38"/>
                      </a:cubicBezTo>
                      <a:cubicBezTo>
                        <a:pt x="37" y="39"/>
                        <a:pt x="36" y="40"/>
                        <a:pt x="36" y="40"/>
                      </a:cubicBezTo>
                      <a:cubicBezTo>
                        <a:pt x="34" y="42"/>
                        <a:pt x="33" y="44"/>
                        <a:pt x="31" y="44"/>
                      </a:cubicBezTo>
                      <a:cubicBezTo>
                        <a:pt x="28" y="45"/>
                        <a:pt x="26" y="44"/>
                        <a:pt x="23" y="43"/>
                      </a:cubicBezTo>
                      <a:cubicBezTo>
                        <a:pt x="17" y="43"/>
                        <a:pt x="13" y="49"/>
                        <a:pt x="7" y="49"/>
                      </a:cubicBezTo>
                      <a:cubicBezTo>
                        <a:pt x="6" y="49"/>
                        <a:pt x="4" y="49"/>
                        <a:pt x="3" y="48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0" y="38"/>
                        <a:pt x="1" y="32"/>
                        <a:pt x="3" y="24"/>
                      </a:cubicBezTo>
                      <a:cubicBezTo>
                        <a:pt x="5" y="18"/>
                        <a:pt x="9" y="11"/>
                        <a:pt x="15" y="5"/>
                      </a:cubicBezTo>
                      <a:cubicBezTo>
                        <a:pt x="17" y="6"/>
                        <a:pt x="18" y="9"/>
                        <a:pt x="20" y="10"/>
                      </a:cubicBezTo>
                      <a:cubicBezTo>
                        <a:pt x="23" y="13"/>
                        <a:pt x="27" y="13"/>
                        <a:pt x="31" y="12"/>
                      </a:cubicBezTo>
                      <a:cubicBezTo>
                        <a:pt x="35" y="10"/>
                        <a:pt x="38" y="8"/>
                        <a:pt x="42" y="6"/>
                      </a:cubicBezTo>
                      <a:cubicBezTo>
                        <a:pt x="48" y="3"/>
                        <a:pt x="56" y="0"/>
                        <a:pt x="63" y="1"/>
                      </a:cubicBezTo>
                      <a:cubicBezTo>
                        <a:pt x="69" y="2"/>
                        <a:pt x="75" y="5"/>
                        <a:pt x="81" y="4"/>
                      </a:cubicBezTo>
                      <a:cubicBezTo>
                        <a:pt x="84" y="4"/>
                        <a:pt x="87" y="2"/>
                        <a:pt x="90" y="3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87">
                  <a:extLst>
                    <a:ext uri="{FF2B5EF4-FFF2-40B4-BE49-F238E27FC236}">
                      <a16:creationId xmlns:a16="http://schemas.microsoft.com/office/drawing/2014/main" id="{5F36FF53-B654-C2DD-F0DA-5B02B325AE70}"/>
                    </a:ext>
                  </a:extLst>
                </p:cNvPr>
                <p:cNvSpPr/>
                <p:nvPr/>
              </p:nvSpPr>
              <p:spPr bwMode="auto">
                <a:xfrm>
                  <a:off x="7109867" y="5387377"/>
                  <a:ext cx="266240" cy="700054"/>
                </a:xfrm>
                <a:custGeom>
                  <a:avLst/>
                  <a:gdLst>
                    <a:gd name="T0" fmla="*/ 54 w 104"/>
                    <a:gd name="T1" fmla="*/ 21 h 273"/>
                    <a:gd name="T2" fmla="*/ 103 w 104"/>
                    <a:gd name="T3" fmla="*/ 147 h 273"/>
                    <a:gd name="T4" fmla="*/ 55 w 104"/>
                    <a:gd name="T5" fmla="*/ 273 h 273"/>
                    <a:gd name="T6" fmla="*/ 24 w 104"/>
                    <a:gd name="T7" fmla="*/ 273 h 273"/>
                    <a:gd name="T8" fmla="*/ 47 w 104"/>
                    <a:gd name="T9" fmla="*/ 149 h 273"/>
                    <a:gd name="T10" fmla="*/ 1 w 104"/>
                    <a:gd name="T11" fmla="*/ 47 h 273"/>
                    <a:gd name="T12" fmla="*/ 54 w 104"/>
                    <a:gd name="T13" fmla="*/ 21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73">
                      <a:moveTo>
                        <a:pt x="54" y="21"/>
                      </a:moveTo>
                      <a:cubicBezTo>
                        <a:pt x="54" y="21"/>
                        <a:pt x="104" y="132"/>
                        <a:pt x="103" y="147"/>
                      </a:cubicBezTo>
                      <a:cubicBezTo>
                        <a:pt x="103" y="162"/>
                        <a:pt x="55" y="273"/>
                        <a:pt x="55" y="273"/>
                      </a:cubicBezTo>
                      <a:cubicBezTo>
                        <a:pt x="24" y="273"/>
                        <a:pt x="24" y="273"/>
                        <a:pt x="24" y="273"/>
                      </a:cubicBezTo>
                      <a:cubicBezTo>
                        <a:pt x="24" y="273"/>
                        <a:pt x="34" y="174"/>
                        <a:pt x="47" y="149"/>
                      </a:cubicBezTo>
                      <a:cubicBezTo>
                        <a:pt x="47" y="149"/>
                        <a:pt x="0" y="94"/>
                        <a:pt x="1" y="47"/>
                      </a:cubicBezTo>
                      <a:cubicBezTo>
                        <a:pt x="1" y="0"/>
                        <a:pt x="54" y="21"/>
                        <a:pt x="54" y="21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89">
                  <a:extLst>
                    <a:ext uri="{FF2B5EF4-FFF2-40B4-BE49-F238E27FC236}">
                      <a16:creationId xmlns:a16="http://schemas.microsoft.com/office/drawing/2014/main" id="{2E2D8408-E6DF-5C5A-57D2-5E8EDB74C351}"/>
                    </a:ext>
                  </a:extLst>
                </p:cNvPr>
                <p:cNvSpPr/>
                <p:nvPr/>
              </p:nvSpPr>
              <p:spPr bwMode="auto">
                <a:xfrm>
                  <a:off x="7164681" y="6084299"/>
                  <a:ext cx="133119" cy="48549"/>
                </a:xfrm>
                <a:custGeom>
                  <a:avLst/>
                  <a:gdLst>
                    <a:gd name="T0" fmla="*/ 4 w 52"/>
                    <a:gd name="T1" fmla="*/ 0 h 19"/>
                    <a:gd name="T2" fmla="*/ 1 w 52"/>
                    <a:gd name="T3" fmla="*/ 18 h 19"/>
                    <a:gd name="T4" fmla="*/ 3 w 52"/>
                    <a:gd name="T5" fmla="*/ 19 h 19"/>
                    <a:gd name="T6" fmla="*/ 50 w 52"/>
                    <a:gd name="T7" fmla="*/ 19 h 19"/>
                    <a:gd name="T8" fmla="*/ 51 w 52"/>
                    <a:gd name="T9" fmla="*/ 17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1" y="18"/>
                      </a:cubicBezTo>
                      <a:cubicBezTo>
                        <a:pt x="1" y="19"/>
                        <a:pt x="2" y="19"/>
                        <a:pt x="3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2" y="18"/>
                        <a:pt x="51" y="17"/>
                      </a:cubicBezTo>
                      <a:cubicBezTo>
                        <a:pt x="46" y="12"/>
                        <a:pt x="37" y="4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90">
                  <a:extLst>
                    <a:ext uri="{FF2B5EF4-FFF2-40B4-BE49-F238E27FC236}">
                      <a16:creationId xmlns:a16="http://schemas.microsoft.com/office/drawing/2014/main" id="{02F6BDAC-1A4C-E60E-6C18-0C04CD5E6AA1}"/>
                    </a:ext>
                  </a:extLst>
                </p:cNvPr>
                <p:cNvSpPr/>
                <p:nvPr/>
              </p:nvSpPr>
              <p:spPr bwMode="auto">
                <a:xfrm>
                  <a:off x="6959520" y="6084299"/>
                  <a:ext cx="133119" cy="48549"/>
                </a:xfrm>
                <a:custGeom>
                  <a:avLst/>
                  <a:gdLst>
                    <a:gd name="T0" fmla="*/ 4 w 52"/>
                    <a:gd name="T1" fmla="*/ 0 h 19"/>
                    <a:gd name="T2" fmla="*/ 2 w 52"/>
                    <a:gd name="T3" fmla="*/ 18 h 19"/>
                    <a:gd name="T4" fmla="*/ 4 w 52"/>
                    <a:gd name="T5" fmla="*/ 19 h 19"/>
                    <a:gd name="T6" fmla="*/ 50 w 52"/>
                    <a:gd name="T7" fmla="*/ 19 h 19"/>
                    <a:gd name="T8" fmla="*/ 51 w 52"/>
                    <a:gd name="T9" fmla="*/ 17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2" y="18"/>
                      </a:cubicBezTo>
                      <a:cubicBezTo>
                        <a:pt x="2" y="19"/>
                        <a:pt x="3" y="19"/>
                        <a:pt x="4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2" y="19"/>
                        <a:pt x="52" y="18"/>
                        <a:pt x="51" y="17"/>
                      </a:cubicBezTo>
                      <a:cubicBezTo>
                        <a:pt x="47" y="12"/>
                        <a:pt x="37" y="4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91">
                  <a:extLst>
                    <a:ext uri="{FF2B5EF4-FFF2-40B4-BE49-F238E27FC236}">
                      <a16:creationId xmlns:a16="http://schemas.microsoft.com/office/drawing/2014/main" id="{0DA80BDD-81D9-7923-E39D-E50B2F96EFA2}"/>
                    </a:ext>
                  </a:extLst>
                </p:cNvPr>
                <p:cNvSpPr/>
                <p:nvPr/>
              </p:nvSpPr>
              <p:spPr bwMode="auto">
                <a:xfrm>
                  <a:off x="6964218" y="5327867"/>
                  <a:ext cx="314789" cy="756434"/>
                </a:xfrm>
                <a:custGeom>
                  <a:avLst/>
                  <a:gdLst>
                    <a:gd name="T0" fmla="*/ 121 w 123"/>
                    <a:gd name="T1" fmla="*/ 57 h 295"/>
                    <a:gd name="T2" fmla="*/ 103 w 123"/>
                    <a:gd name="T3" fmla="*/ 0 h 295"/>
                    <a:gd name="T4" fmla="*/ 29 w 123"/>
                    <a:gd name="T5" fmla="*/ 1 h 295"/>
                    <a:gd name="T6" fmla="*/ 33 w 123"/>
                    <a:gd name="T7" fmla="*/ 130 h 295"/>
                    <a:gd name="T8" fmla="*/ 51 w 123"/>
                    <a:gd name="T9" fmla="*/ 172 h 295"/>
                    <a:gd name="T10" fmla="*/ 13 w 123"/>
                    <a:gd name="T11" fmla="*/ 260 h 295"/>
                    <a:gd name="T12" fmla="*/ 13 w 123"/>
                    <a:gd name="T13" fmla="*/ 260 h 295"/>
                    <a:gd name="T14" fmla="*/ 13 w 123"/>
                    <a:gd name="T15" fmla="*/ 260 h 295"/>
                    <a:gd name="T16" fmla="*/ 2 w 123"/>
                    <a:gd name="T17" fmla="*/ 295 h 295"/>
                    <a:gd name="T18" fmla="*/ 32 w 123"/>
                    <a:gd name="T19" fmla="*/ 295 h 295"/>
                    <a:gd name="T20" fmla="*/ 106 w 123"/>
                    <a:gd name="T21" fmla="*/ 182 h 295"/>
                    <a:gd name="T22" fmla="*/ 90 w 123"/>
                    <a:gd name="T23" fmla="*/ 78 h 295"/>
                    <a:gd name="T24" fmla="*/ 109 w 123"/>
                    <a:gd name="T25" fmla="*/ 73 h 295"/>
                    <a:gd name="T26" fmla="*/ 121 w 123"/>
                    <a:gd name="T27" fmla="*/ 57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3" h="295">
                      <a:moveTo>
                        <a:pt x="121" y="57"/>
                      </a:moveTo>
                      <a:cubicBezTo>
                        <a:pt x="118" y="41"/>
                        <a:pt x="113" y="18"/>
                        <a:pt x="103" y="0"/>
                      </a:cubicBezTo>
                      <a:cubicBezTo>
                        <a:pt x="29" y="1"/>
                        <a:pt x="29" y="1"/>
                        <a:pt x="29" y="1"/>
                      </a:cubicBezTo>
                      <a:cubicBezTo>
                        <a:pt x="29" y="1"/>
                        <a:pt x="0" y="38"/>
                        <a:pt x="33" y="130"/>
                      </a:cubicBezTo>
                      <a:cubicBezTo>
                        <a:pt x="41" y="154"/>
                        <a:pt x="51" y="172"/>
                        <a:pt x="51" y="172"/>
                      </a:cubicBezTo>
                      <a:cubicBezTo>
                        <a:pt x="40" y="186"/>
                        <a:pt x="24" y="229"/>
                        <a:pt x="13" y="260"/>
                      </a:cubicBezTo>
                      <a:cubicBezTo>
                        <a:pt x="13" y="260"/>
                        <a:pt x="13" y="260"/>
                        <a:pt x="13" y="260"/>
                      </a:cubicBezTo>
                      <a:cubicBezTo>
                        <a:pt x="13" y="260"/>
                        <a:pt x="13" y="260"/>
                        <a:pt x="13" y="260"/>
                      </a:cubicBezTo>
                      <a:cubicBezTo>
                        <a:pt x="6" y="280"/>
                        <a:pt x="2" y="295"/>
                        <a:pt x="2" y="295"/>
                      </a:cubicBezTo>
                      <a:cubicBezTo>
                        <a:pt x="32" y="295"/>
                        <a:pt x="32" y="295"/>
                        <a:pt x="32" y="295"/>
                      </a:cubicBezTo>
                      <a:cubicBezTo>
                        <a:pt x="32" y="295"/>
                        <a:pt x="102" y="196"/>
                        <a:pt x="106" y="182"/>
                      </a:cubicBezTo>
                      <a:cubicBezTo>
                        <a:pt x="108" y="172"/>
                        <a:pt x="97" y="115"/>
                        <a:pt x="90" y="78"/>
                      </a:cubicBezTo>
                      <a:cubicBezTo>
                        <a:pt x="109" y="73"/>
                        <a:pt x="109" y="73"/>
                        <a:pt x="109" y="73"/>
                      </a:cubicBezTo>
                      <a:cubicBezTo>
                        <a:pt x="117" y="73"/>
                        <a:pt x="123" y="65"/>
                        <a:pt x="121" y="57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94">
                  <a:extLst>
                    <a:ext uri="{FF2B5EF4-FFF2-40B4-BE49-F238E27FC236}">
                      <a16:creationId xmlns:a16="http://schemas.microsoft.com/office/drawing/2014/main" id="{6DDBA13E-CD99-AD08-1697-FD14570C15BC}"/>
                    </a:ext>
                  </a:extLst>
                </p:cNvPr>
                <p:cNvSpPr/>
                <p:nvPr/>
              </p:nvSpPr>
              <p:spPr bwMode="auto">
                <a:xfrm>
                  <a:off x="6973615" y="5072588"/>
                  <a:ext cx="277203" cy="311657"/>
                </a:xfrm>
                <a:custGeom>
                  <a:avLst/>
                  <a:gdLst>
                    <a:gd name="T0" fmla="*/ 33 w 108"/>
                    <a:gd name="T1" fmla="*/ 5 h 122"/>
                    <a:gd name="T2" fmla="*/ 68 w 108"/>
                    <a:gd name="T3" fmla="*/ 1 h 122"/>
                    <a:gd name="T4" fmla="*/ 105 w 108"/>
                    <a:gd name="T5" fmla="*/ 28 h 122"/>
                    <a:gd name="T6" fmla="*/ 108 w 108"/>
                    <a:gd name="T7" fmla="*/ 118 h 122"/>
                    <a:gd name="T8" fmla="*/ 16 w 108"/>
                    <a:gd name="T9" fmla="*/ 122 h 122"/>
                    <a:gd name="T10" fmla="*/ 6 w 108"/>
                    <a:gd name="T11" fmla="*/ 46 h 122"/>
                    <a:gd name="T12" fmla="*/ 33 w 108"/>
                    <a:gd name="T13" fmla="*/ 5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8" h="122">
                      <a:moveTo>
                        <a:pt x="33" y="5"/>
                      </a:moveTo>
                      <a:cubicBezTo>
                        <a:pt x="45" y="3"/>
                        <a:pt x="57" y="2"/>
                        <a:pt x="68" y="1"/>
                      </a:cubicBezTo>
                      <a:cubicBezTo>
                        <a:pt x="85" y="0"/>
                        <a:pt x="101" y="11"/>
                        <a:pt x="105" y="28"/>
                      </a:cubicBezTo>
                      <a:cubicBezTo>
                        <a:pt x="105" y="29"/>
                        <a:pt x="108" y="118"/>
                        <a:pt x="108" y="118"/>
                      </a:cubicBezTo>
                      <a:cubicBezTo>
                        <a:pt x="16" y="122"/>
                        <a:pt x="16" y="122"/>
                        <a:pt x="16" y="122"/>
                      </a:cubicBezTo>
                      <a:cubicBezTo>
                        <a:pt x="16" y="122"/>
                        <a:pt x="14" y="72"/>
                        <a:pt x="6" y="46"/>
                      </a:cubicBezTo>
                      <a:cubicBezTo>
                        <a:pt x="0" y="27"/>
                        <a:pt x="13" y="7"/>
                        <a:pt x="33" y="5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95">
                  <a:extLst>
                    <a:ext uri="{FF2B5EF4-FFF2-40B4-BE49-F238E27FC236}">
                      <a16:creationId xmlns:a16="http://schemas.microsoft.com/office/drawing/2014/main" id="{B5BF5D4D-3809-862B-7837-A05EA5D200EE}"/>
                    </a:ext>
                  </a:extLst>
                </p:cNvPr>
                <p:cNvSpPr/>
                <p:nvPr/>
              </p:nvSpPr>
              <p:spPr bwMode="auto">
                <a:xfrm>
                  <a:off x="6989274" y="4953563"/>
                  <a:ext cx="535611" cy="333583"/>
                </a:xfrm>
                <a:custGeom>
                  <a:avLst/>
                  <a:gdLst>
                    <a:gd name="T0" fmla="*/ 205 w 209"/>
                    <a:gd name="T1" fmla="*/ 13 h 130"/>
                    <a:gd name="T2" fmla="*/ 194 w 209"/>
                    <a:gd name="T3" fmla="*/ 21 h 130"/>
                    <a:gd name="T4" fmla="*/ 206 w 209"/>
                    <a:gd name="T5" fmla="*/ 21 h 130"/>
                    <a:gd name="T6" fmla="*/ 207 w 209"/>
                    <a:gd name="T7" fmla="*/ 26 h 130"/>
                    <a:gd name="T8" fmla="*/ 200 w 209"/>
                    <a:gd name="T9" fmla="*/ 29 h 130"/>
                    <a:gd name="T10" fmla="*/ 12 w 209"/>
                    <a:gd name="T11" fmla="*/ 94 h 130"/>
                    <a:gd name="T12" fmla="*/ 6 w 209"/>
                    <a:gd name="T13" fmla="*/ 69 h 130"/>
                    <a:gd name="T14" fmla="*/ 23 w 209"/>
                    <a:gd name="T15" fmla="*/ 63 h 130"/>
                    <a:gd name="T16" fmla="*/ 61 w 209"/>
                    <a:gd name="T17" fmla="*/ 67 h 130"/>
                    <a:gd name="T18" fmla="*/ 160 w 209"/>
                    <a:gd name="T19" fmla="*/ 29 h 130"/>
                    <a:gd name="T20" fmla="*/ 163 w 209"/>
                    <a:gd name="T21" fmla="*/ 26 h 130"/>
                    <a:gd name="T22" fmla="*/ 160 w 209"/>
                    <a:gd name="T23" fmla="*/ 15 h 130"/>
                    <a:gd name="T24" fmla="*/ 161 w 209"/>
                    <a:gd name="T25" fmla="*/ 11 h 130"/>
                    <a:gd name="T26" fmla="*/ 165 w 209"/>
                    <a:gd name="T27" fmla="*/ 8 h 130"/>
                    <a:gd name="T28" fmla="*/ 167 w 209"/>
                    <a:gd name="T29" fmla="*/ 9 h 130"/>
                    <a:gd name="T30" fmla="*/ 171 w 209"/>
                    <a:gd name="T31" fmla="*/ 12 h 130"/>
                    <a:gd name="T32" fmla="*/ 175 w 209"/>
                    <a:gd name="T33" fmla="*/ 13 h 130"/>
                    <a:gd name="T34" fmla="*/ 177 w 209"/>
                    <a:gd name="T35" fmla="*/ 12 h 130"/>
                    <a:gd name="T36" fmla="*/ 188 w 209"/>
                    <a:gd name="T37" fmla="*/ 3 h 130"/>
                    <a:gd name="T38" fmla="*/ 193 w 209"/>
                    <a:gd name="T39" fmla="*/ 2 h 130"/>
                    <a:gd name="T40" fmla="*/ 192 w 209"/>
                    <a:gd name="T41" fmla="*/ 7 h 130"/>
                    <a:gd name="T42" fmla="*/ 186 w 209"/>
                    <a:gd name="T43" fmla="*/ 13 h 130"/>
                    <a:gd name="T44" fmla="*/ 199 w 209"/>
                    <a:gd name="T45" fmla="*/ 9 h 130"/>
                    <a:gd name="T46" fmla="*/ 203 w 209"/>
                    <a:gd name="T47" fmla="*/ 8 h 130"/>
                    <a:gd name="T48" fmla="*/ 205 w 209"/>
                    <a:gd name="T49" fmla="*/ 13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9" h="130">
                      <a:moveTo>
                        <a:pt x="205" y="13"/>
                      </a:moveTo>
                      <a:cubicBezTo>
                        <a:pt x="202" y="16"/>
                        <a:pt x="197" y="18"/>
                        <a:pt x="194" y="21"/>
                      </a:cubicBezTo>
                      <a:cubicBezTo>
                        <a:pt x="198" y="20"/>
                        <a:pt x="202" y="20"/>
                        <a:pt x="206" y="21"/>
                      </a:cubicBezTo>
                      <a:cubicBezTo>
                        <a:pt x="209" y="21"/>
                        <a:pt x="209" y="25"/>
                        <a:pt x="207" y="26"/>
                      </a:cubicBezTo>
                      <a:cubicBezTo>
                        <a:pt x="205" y="27"/>
                        <a:pt x="202" y="28"/>
                        <a:pt x="200" y="29"/>
                      </a:cubicBezTo>
                      <a:cubicBezTo>
                        <a:pt x="196" y="32"/>
                        <a:pt x="95" y="130"/>
                        <a:pt x="12" y="94"/>
                      </a:cubicBezTo>
                      <a:cubicBezTo>
                        <a:pt x="3" y="90"/>
                        <a:pt x="0" y="78"/>
                        <a:pt x="6" y="69"/>
                      </a:cubicBezTo>
                      <a:cubicBezTo>
                        <a:pt x="9" y="64"/>
                        <a:pt x="16" y="61"/>
                        <a:pt x="23" y="63"/>
                      </a:cubicBezTo>
                      <a:cubicBezTo>
                        <a:pt x="32" y="65"/>
                        <a:pt x="45" y="67"/>
                        <a:pt x="61" y="67"/>
                      </a:cubicBezTo>
                      <a:cubicBezTo>
                        <a:pt x="89" y="67"/>
                        <a:pt x="126" y="59"/>
                        <a:pt x="160" y="29"/>
                      </a:cubicBezTo>
                      <a:cubicBezTo>
                        <a:pt x="161" y="28"/>
                        <a:pt x="162" y="27"/>
                        <a:pt x="163" y="26"/>
                      </a:cubicBezTo>
                      <a:cubicBezTo>
                        <a:pt x="162" y="22"/>
                        <a:pt x="161" y="18"/>
                        <a:pt x="160" y="15"/>
                      </a:cubicBezTo>
                      <a:cubicBezTo>
                        <a:pt x="160" y="14"/>
                        <a:pt x="160" y="12"/>
                        <a:pt x="161" y="11"/>
                      </a:cubicBezTo>
                      <a:cubicBezTo>
                        <a:pt x="162" y="9"/>
                        <a:pt x="163" y="8"/>
                        <a:pt x="165" y="8"/>
                      </a:cubicBezTo>
                      <a:cubicBezTo>
                        <a:pt x="165" y="8"/>
                        <a:pt x="166" y="9"/>
                        <a:pt x="167" y="9"/>
                      </a:cubicBezTo>
                      <a:cubicBezTo>
                        <a:pt x="168" y="10"/>
                        <a:pt x="169" y="11"/>
                        <a:pt x="171" y="12"/>
                      </a:cubicBezTo>
                      <a:cubicBezTo>
                        <a:pt x="172" y="13"/>
                        <a:pt x="174" y="14"/>
                        <a:pt x="175" y="13"/>
                      </a:cubicBezTo>
                      <a:cubicBezTo>
                        <a:pt x="176" y="13"/>
                        <a:pt x="177" y="12"/>
                        <a:pt x="177" y="12"/>
                      </a:cubicBezTo>
                      <a:cubicBezTo>
                        <a:pt x="181" y="9"/>
                        <a:pt x="184" y="6"/>
                        <a:pt x="188" y="3"/>
                      </a:cubicBezTo>
                      <a:cubicBezTo>
                        <a:pt x="190" y="1"/>
                        <a:pt x="192" y="0"/>
                        <a:pt x="193" y="2"/>
                      </a:cubicBezTo>
                      <a:cubicBezTo>
                        <a:pt x="194" y="3"/>
                        <a:pt x="193" y="5"/>
                        <a:pt x="192" y="7"/>
                      </a:cubicBezTo>
                      <a:cubicBezTo>
                        <a:pt x="190" y="9"/>
                        <a:pt x="188" y="11"/>
                        <a:pt x="186" y="13"/>
                      </a:cubicBezTo>
                      <a:cubicBezTo>
                        <a:pt x="191" y="12"/>
                        <a:pt x="195" y="10"/>
                        <a:pt x="199" y="9"/>
                      </a:cubicBezTo>
                      <a:cubicBezTo>
                        <a:pt x="200" y="9"/>
                        <a:pt x="202" y="8"/>
                        <a:pt x="203" y="8"/>
                      </a:cubicBezTo>
                      <a:cubicBezTo>
                        <a:pt x="205" y="9"/>
                        <a:pt x="206" y="11"/>
                        <a:pt x="205" y="1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96">
                  <a:extLst>
                    <a:ext uri="{FF2B5EF4-FFF2-40B4-BE49-F238E27FC236}">
                      <a16:creationId xmlns:a16="http://schemas.microsoft.com/office/drawing/2014/main" id="{F5A452C5-CC14-5B49-3AB9-E1E8B1777F6C}"/>
                    </a:ext>
                  </a:extLst>
                </p:cNvPr>
                <p:cNvSpPr/>
                <p:nvPr/>
              </p:nvSpPr>
              <p:spPr bwMode="auto">
                <a:xfrm>
                  <a:off x="6981444" y="5105476"/>
                  <a:ext cx="131554" cy="115893"/>
                </a:xfrm>
                <a:custGeom>
                  <a:avLst/>
                  <a:gdLst>
                    <a:gd name="T0" fmla="*/ 7 w 51"/>
                    <a:gd name="T1" fmla="*/ 8 h 45"/>
                    <a:gd name="T2" fmla="*/ 14 w 51"/>
                    <a:gd name="T3" fmla="*/ 36 h 45"/>
                    <a:gd name="T4" fmla="*/ 14 w 51"/>
                    <a:gd name="T5" fmla="*/ 37 h 45"/>
                    <a:gd name="T6" fmla="*/ 44 w 51"/>
                    <a:gd name="T7" fmla="*/ 45 h 45"/>
                    <a:gd name="T8" fmla="*/ 51 w 51"/>
                    <a:gd name="T9" fmla="*/ 5 h 45"/>
                    <a:gd name="T10" fmla="*/ 14 w 51"/>
                    <a:gd name="T11" fmla="*/ 1 h 45"/>
                    <a:gd name="T12" fmla="*/ 7 w 51"/>
                    <a:gd name="T13" fmla="*/ 8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1" h="45">
                      <a:moveTo>
                        <a:pt x="7" y="8"/>
                      </a:moveTo>
                      <a:cubicBezTo>
                        <a:pt x="0" y="18"/>
                        <a:pt x="3" y="31"/>
                        <a:pt x="14" y="36"/>
                      </a:cubicBezTo>
                      <a:cubicBezTo>
                        <a:pt x="14" y="36"/>
                        <a:pt x="14" y="37"/>
                        <a:pt x="14" y="37"/>
                      </a:cubicBezTo>
                      <a:cubicBezTo>
                        <a:pt x="28" y="42"/>
                        <a:pt x="44" y="45"/>
                        <a:pt x="44" y="4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1" y="5"/>
                        <a:pt x="21" y="0"/>
                        <a:pt x="14" y="1"/>
                      </a:cubicBezTo>
                      <a:cubicBezTo>
                        <a:pt x="12" y="2"/>
                        <a:pt x="9" y="5"/>
                        <a:pt x="7" y="8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97">
                  <a:extLst>
                    <a:ext uri="{FF2B5EF4-FFF2-40B4-BE49-F238E27FC236}">
                      <a16:creationId xmlns:a16="http://schemas.microsoft.com/office/drawing/2014/main" id="{A7EA2DC8-A543-F92D-C37F-589344CC1A68}"/>
                    </a:ext>
                  </a:extLst>
                </p:cNvPr>
                <p:cNvSpPr/>
                <p:nvPr/>
              </p:nvSpPr>
              <p:spPr bwMode="auto">
                <a:xfrm>
                  <a:off x="7145888" y="5028738"/>
                  <a:ext cx="266240" cy="145649"/>
                </a:xfrm>
                <a:custGeom>
                  <a:avLst/>
                  <a:gdLst>
                    <a:gd name="T0" fmla="*/ 103 w 104"/>
                    <a:gd name="T1" fmla="*/ 7 h 57"/>
                    <a:gd name="T2" fmla="*/ 24 w 104"/>
                    <a:gd name="T3" fmla="*/ 55 h 57"/>
                    <a:gd name="T4" fmla="*/ 0 w 104"/>
                    <a:gd name="T5" fmla="*/ 38 h 57"/>
                    <a:gd name="T6" fmla="*/ 99 w 104"/>
                    <a:gd name="T7" fmla="*/ 0 h 57"/>
                    <a:gd name="T8" fmla="*/ 103 w 104"/>
                    <a:gd name="T9" fmla="*/ 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4" h="57">
                      <a:moveTo>
                        <a:pt x="103" y="7"/>
                      </a:moveTo>
                      <a:cubicBezTo>
                        <a:pt x="102" y="24"/>
                        <a:pt x="45" y="54"/>
                        <a:pt x="24" y="55"/>
                      </a:cubicBezTo>
                      <a:cubicBezTo>
                        <a:pt x="9" y="57"/>
                        <a:pt x="2" y="45"/>
                        <a:pt x="0" y="38"/>
                      </a:cubicBezTo>
                      <a:cubicBezTo>
                        <a:pt x="28" y="38"/>
                        <a:pt x="65" y="30"/>
                        <a:pt x="99" y="0"/>
                      </a:cubicBezTo>
                      <a:cubicBezTo>
                        <a:pt x="102" y="1"/>
                        <a:pt x="104" y="4"/>
                        <a:pt x="103" y="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98">
                  <a:extLst>
                    <a:ext uri="{FF2B5EF4-FFF2-40B4-BE49-F238E27FC236}">
                      <a16:creationId xmlns:a16="http://schemas.microsoft.com/office/drawing/2014/main" id="{F2B1244D-9BAB-80B7-030E-92F39FDBD0B8}"/>
                    </a:ext>
                  </a:extLst>
                </p:cNvPr>
                <p:cNvSpPr/>
                <p:nvPr/>
              </p:nvSpPr>
              <p:spPr bwMode="auto">
                <a:xfrm>
                  <a:off x="7004936" y="5190048"/>
                  <a:ext cx="238050" cy="101798"/>
                </a:xfrm>
                <a:custGeom>
                  <a:avLst/>
                  <a:gdLst>
                    <a:gd name="T0" fmla="*/ 0 w 93"/>
                    <a:gd name="T1" fmla="*/ 0 h 40"/>
                    <a:gd name="T2" fmla="*/ 35 w 93"/>
                    <a:gd name="T3" fmla="*/ 12 h 40"/>
                    <a:gd name="T4" fmla="*/ 36 w 93"/>
                    <a:gd name="T5" fmla="*/ 9 h 40"/>
                    <a:gd name="T6" fmla="*/ 93 w 93"/>
                    <a:gd name="T7" fmla="*/ 1 h 40"/>
                    <a:gd name="T8" fmla="*/ 0 w 93"/>
                    <a:gd name="T9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3" h="40">
                      <a:moveTo>
                        <a:pt x="0" y="0"/>
                      </a:moveTo>
                      <a:cubicBezTo>
                        <a:pt x="0" y="0"/>
                        <a:pt x="10" y="8"/>
                        <a:pt x="35" y="12"/>
                      </a:cubicBezTo>
                      <a:cubicBezTo>
                        <a:pt x="36" y="9"/>
                        <a:pt x="36" y="9"/>
                        <a:pt x="36" y="9"/>
                      </a:cubicBezTo>
                      <a:cubicBezTo>
                        <a:pt x="36" y="9"/>
                        <a:pt x="57" y="13"/>
                        <a:pt x="93" y="1"/>
                      </a:cubicBezTo>
                      <a:cubicBezTo>
                        <a:pt x="93" y="1"/>
                        <a:pt x="49" y="4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99">
                  <a:extLst>
                    <a:ext uri="{FF2B5EF4-FFF2-40B4-BE49-F238E27FC236}">
                      <a16:creationId xmlns:a16="http://schemas.microsoft.com/office/drawing/2014/main" id="{7A205D21-6C39-9B76-B7FF-78CA7C4A336C}"/>
                    </a:ext>
                  </a:extLst>
                </p:cNvPr>
                <p:cNvSpPr/>
                <p:nvPr/>
              </p:nvSpPr>
              <p:spPr bwMode="auto">
                <a:xfrm>
                  <a:off x="7036258" y="5108610"/>
                  <a:ext cx="173838" cy="20360"/>
                </a:xfrm>
                <a:custGeom>
                  <a:avLst/>
                  <a:gdLst>
                    <a:gd name="T0" fmla="*/ 0 w 68"/>
                    <a:gd name="T1" fmla="*/ 0 h 8"/>
                    <a:gd name="T2" fmla="*/ 30 w 68"/>
                    <a:gd name="T3" fmla="*/ 4 h 8"/>
                    <a:gd name="T4" fmla="*/ 30 w 68"/>
                    <a:gd name="T5" fmla="*/ 7 h 8"/>
                    <a:gd name="T6" fmla="*/ 68 w 68"/>
                    <a:gd name="T7" fmla="*/ 5 h 8"/>
                    <a:gd name="T8" fmla="*/ 0 w 68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8">
                      <a:moveTo>
                        <a:pt x="0" y="0"/>
                      </a:moveTo>
                      <a:cubicBezTo>
                        <a:pt x="30" y="4"/>
                        <a:pt x="30" y="4"/>
                        <a:pt x="30" y="4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7"/>
                        <a:pt x="48" y="8"/>
                        <a:pt x="68" y="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0" name="Graphic 343">
                <a:extLst>
                  <a:ext uri="{FF2B5EF4-FFF2-40B4-BE49-F238E27FC236}">
                    <a16:creationId xmlns:a16="http://schemas.microsoft.com/office/drawing/2014/main" id="{DD36988F-EA3F-C873-FE56-CAF62B1D350C}"/>
                  </a:ext>
                </a:extLst>
              </p:cNvPr>
              <p:cNvGrpSpPr/>
              <p:nvPr/>
            </p:nvGrpSpPr>
            <p:grpSpPr>
              <a:xfrm>
                <a:off x="7338685" y="2952314"/>
                <a:ext cx="393831" cy="290063"/>
                <a:chOff x="3796454" y="2551305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37" name="Freeform: Shape 187">
                  <a:extLst>
                    <a:ext uri="{FF2B5EF4-FFF2-40B4-BE49-F238E27FC236}">
                      <a16:creationId xmlns:a16="http://schemas.microsoft.com/office/drawing/2014/main" id="{1BD91E78-1E15-EFAE-EEB8-424764F50A40}"/>
                    </a:ext>
                  </a:extLst>
                </p:cNvPr>
                <p:cNvSpPr/>
                <p:nvPr/>
              </p:nvSpPr>
              <p:spPr>
                <a:xfrm>
                  <a:off x="3936645" y="2551305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188">
                  <a:extLst>
                    <a:ext uri="{FF2B5EF4-FFF2-40B4-BE49-F238E27FC236}">
                      <a16:creationId xmlns:a16="http://schemas.microsoft.com/office/drawing/2014/main" id="{BEBAFE73-FD6B-4D4D-37FA-C267D8A63DA9}"/>
                    </a:ext>
                  </a:extLst>
                </p:cNvPr>
                <p:cNvSpPr/>
                <p:nvPr/>
              </p:nvSpPr>
              <p:spPr>
                <a:xfrm>
                  <a:off x="3866568" y="2569535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89">
                  <a:extLst>
                    <a:ext uri="{FF2B5EF4-FFF2-40B4-BE49-F238E27FC236}">
                      <a16:creationId xmlns:a16="http://schemas.microsoft.com/office/drawing/2014/main" id="{4D9825B6-94CF-593B-13D9-7B30E09507A5}"/>
                    </a:ext>
                  </a:extLst>
                </p:cNvPr>
                <p:cNvSpPr/>
                <p:nvPr/>
              </p:nvSpPr>
              <p:spPr>
                <a:xfrm>
                  <a:off x="3815266" y="2619247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: Shape 190">
                  <a:extLst>
                    <a:ext uri="{FF2B5EF4-FFF2-40B4-BE49-F238E27FC236}">
                      <a16:creationId xmlns:a16="http://schemas.microsoft.com/office/drawing/2014/main" id="{790D8631-BC35-A9A0-8402-9296A0B7A87A}"/>
                    </a:ext>
                  </a:extLst>
                </p:cNvPr>
                <p:cNvSpPr/>
                <p:nvPr/>
              </p:nvSpPr>
              <p:spPr>
                <a:xfrm>
                  <a:off x="3796454" y="2687152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257">
                  <a:extLst>
                    <a:ext uri="{FF2B5EF4-FFF2-40B4-BE49-F238E27FC236}">
                      <a16:creationId xmlns:a16="http://schemas.microsoft.com/office/drawing/2014/main" id="{A4D6E5EE-670A-4F68-242B-A0326443DF12}"/>
                    </a:ext>
                  </a:extLst>
                </p:cNvPr>
                <p:cNvSpPr/>
                <p:nvPr/>
              </p:nvSpPr>
              <p:spPr>
                <a:xfrm>
                  <a:off x="3815199" y="2743735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: Shape 258">
                  <a:extLst>
                    <a:ext uri="{FF2B5EF4-FFF2-40B4-BE49-F238E27FC236}">
                      <a16:creationId xmlns:a16="http://schemas.microsoft.com/office/drawing/2014/main" id="{2F0761B9-EAC0-245D-9311-64BC4ABF3E93}"/>
                    </a:ext>
                  </a:extLst>
                </p:cNvPr>
                <p:cNvSpPr/>
                <p:nvPr/>
              </p:nvSpPr>
              <p:spPr>
                <a:xfrm>
                  <a:off x="4037782" y="2743735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: Shape 259">
                  <a:extLst>
                    <a:ext uri="{FF2B5EF4-FFF2-40B4-BE49-F238E27FC236}">
                      <a16:creationId xmlns:a16="http://schemas.microsoft.com/office/drawing/2014/main" id="{7F87B917-3611-9F40-1101-5259B0C5FC48}"/>
                    </a:ext>
                  </a:extLst>
                </p:cNvPr>
                <p:cNvSpPr/>
                <p:nvPr/>
              </p:nvSpPr>
              <p:spPr>
                <a:xfrm>
                  <a:off x="4053471" y="2687152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: Shape 260">
                  <a:extLst>
                    <a:ext uri="{FF2B5EF4-FFF2-40B4-BE49-F238E27FC236}">
                      <a16:creationId xmlns:a16="http://schemas.microsoft.com/office/drawing/2014/main" id="{438E37DA-3EA9-BAE1-351C-18C0313DEAA4}"/>
                    </a:ext>
                  </a:extLst>
                </p:cNvPr>
                <p:cNvSpPr/>
                <p:nvPr/>
              </p:nvSpPr>
              <p:spPr>
                <a:xfrm>
                  <a:off x="4037822" y="2619209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: Shape 261">
                  <a:extLst>
                    <a:ext uri="{FF2B5EF4-FFF2-40B4-BE49-F238E27FC236}">
                      <a16:creationId xmlns:a16="http://schemas.microsoft.com/office/drawing/2014/main" id="{8B3FE447-B0A8-2F9C-AE4E-B719BCCC0948}"/>
                    </a:ext>
                  </a:extLst>
                </p:cNvPr>
                <p:cNvSpPr/>
                <p:nvPr/>
              </p:nvSpPr>
              <p:spPr>
                <a:xfrm>
                  <a:off x="3995058" y="2569535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1" name="Graphic 344">
                <a:extLst>
                  <a:ext uri="{FF2B5EF4-FFF2-40B4-BE49-F238E27FC236}">
                    <a16:creationId xmlns:a16="http://schemas.microsoft.com/office/drawing/2014/main" id="{8C5E4BAC-1E2A-DE58-9D83-9E6AB71DE4A0}"/>
                  </a:ext>
                </a:extLst>
              </p:cNvPr>
              <p:cNvGrpSpPr/>
              <p:nvPr/>
            </p:nvGrpSpPr>
            <p:grpSpPr>
              <a:xfrm>
                <a:off x="8900100" y="3167441"/>
                <a:ext cx="393831" cy="290063"/>
                <a:chOff x="4954395" y="2710843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28" name="Freeform: Shape 176">
                  <a:extLst>
                    <a:ext uri="{FF2B5EF4-FFF2-40B4-BE49-F238E27FC236}">
                      <a16:creationId xmlns:a16="http://schemas.microsoft.com/office/drawing/2014/main" id="{F3998474-AD24-3216-4197-B088DFE20B6C}"/>
                    </a:ext>
                  </a:extLst>
                </p:cNvPr>
                <p:cNvSpPr/>
                <p:nvPr/>
              </p:nvSpPr>
              <p:spPr>
                <a:xfrm>
                  <a:off x="5094586" y="2710843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: Shape 177">
                  <a:extLst>
                    <a:ext uri="{FF2B5EF4-FFF2-40B4-BE49-F238E27FC236}">
                      <a16:creationId xmlns:a16="http://schemas.microsoft.com/office/drawing/2014/main" id="{464CC7BE-15FC-826B-F912-BC0D0F479975}"/>
                    </a:ext>
                  </a:extLst>
                </p:cNvPr>
                <p:cNvSpPr/>
                <p:nvPr/>
              </p:nvSpPr>
              <p:spPr>
                <a:xfrm>
                  <a:off x="5024509" y="2729073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: Shape 178">
                  <a:extLst>
                    <a:ext uri="{FF2B5EF4-FFF2-40B4-BE49-F238E27FC236}">
                      <a16:creationId xmlns:a16="http://schemas.microsoft.com/office/drawing/2014/main" id="{C2F667C6-FAB9-315B-0B91-D779F9B99689}"/>
                    </a:ext>
                  </a:extLst>
                </p:cNvPr>
                <p:cNvSpPr/>
                <p:nvPr/>
              </p:nvSpPr>
              <p:spPr>
                <a:xfrm>
                  <a:off x="4973207" y="2778785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: Shape 179">
                  <a:extLst>
                    <a:ext uri="{FF2B5EF4-FFF2-40B4-BE49-F238E27FC236}">
                      <a16:creationId xmlns:a16="http://schemas.microsoft.com/office/drawing/2014/main" id="{FE355F4D-E3C1-D95A-B28C-6AF3B3261242}"/>
                    </a:ext>
                  </a:extLst>
                </p:cNvPr>
                <p:cNvSpPr/>
                <p:nvPr/>
              </p:nvSpPr>
              <p:spPr>
                <a:xfrm>
                  <a:off x="4954395" y="2846690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80">
                  <a:extLst>
                    <a:ext uri="{FF2B5EF4-FFF2-40B4-BE49-F238E27FC236}">
                      <a16:creationId xmlns:a16="http://schemas.microsoft.com/office/drawing/2014/main" id="{09DA8BF2-A295-8BB3-54E7-E374348F314A}"/>
                    </a:ext>
                  </a:extLst>
                </p:cNvPr>
                <p:cNvSpPr/>
                <p:nvPr/>
              </p:nvSpPr>
              <p:spPr>
                <a:xfrm>
                  <a:off x="4973140" y="2903273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81">
                  <a:extLst>
                    <a:ext uri="{FF2B5EF4-FFF2-40B4-BE49-F238E27FC236}">
                      <a16:creationId xmlns:a16="http://schemas.microsoft.com/office/drawing/2014/main" id="{B7BDE9C3-7AE1-9BD7-C7DA-5D6BFFC17A78}"/>
                    </a:ext>
                  </a:extLst>
                </p:cNvPr>
                <p:cNvSpPr/>
                <p:nvPr/>
              </p:nvSpPr>
              <p:spPr>
                <a:xfrm>
                  <a:off x="5195723" y="2903273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182">
                  <a:extLst>
                    <a:ext uri="{FF2B5EF4-FFF2-40B4-BE49-F238E27FC236}">
                      <a16:creationId xmlns:a16="http://schemas.microsoft.com/office/drawing/2014/main" id="{2AF5E206-0A90-93E6-90AA-80C731BD05F2}"/>
                    </a:ext>
                  </a:extLst>
                </p:cNvPr>
                <p:cNvSpPr/>
                <p:nvPr/>
              </p:nvSpPr>
              <p:spPr>
                <a:xfrm>
                  <a:off x="5211412" y="2846690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83">
                  <a:extLst>
                    <a:ext uri="{FF2B5EF4-FFF2-40B4-BE49-F238E27FC236}">
                      <a16:creationId xmlns:a16="http://schemas.microsoft.com/office/drawing/2014/main" id="{7AFB857B-E1E6-14EF-E8DA-B8BBD4CF9167}"/>
                    </a:ext>
                  </a:extLst>
                </p:cNvPr>
                <p:cNvSpPr/>
                <p:nvPr/>
              </p:nvSpPr>
              <p:spPr>
                <a:xfrm>
                  <a:off x="5195763" y="2778747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84">
                  <a:extLst>
                    <a:ext uri="{FF2B5EF4-FFF2-40B4-BE49-F238E27FC236}">
                      <a16:creationId xmlns:a16="http://schemas.microsoft.com/office/drawing/2014/main" id="{7875B5E5-35B3-B1E5-21F0-FB9AE929E8E8}"/>
                    </a:ext>
                  </a:extLst>
                </p:cNvPr>
                <p:cNvSpPr/>
                <p:nvPr/>
              </p:nvSpPr>
              <p:spPr>
                <a:xfrm>
                  <a:off x="5152999" y="2729073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2" name="Graphic 345">
                <a:extLst>
                  <a:ext uri="{FF2B5EF4-FFF2-40B4-BE49-F238E27FC236}">
                    <a16:creationId xmlns:a16="http://schemas.microsoft.com/office/drawing/2014/main" id="{D64EB046-0906-C7BD-24B5-22ABA56BA6E2}"/>
                  </a:ext>
                </a:extLst>
              </p:cNvPr>
              <p:cNvGrpSpPr/>
              <p:nvPr/>
            </p:nvGrpSpPr>
            <p:grpSpPr>
              <a:xfrm>
                <a:off x="8729383" y="4590064"/>
                <a:ext cx="393831" cy="290063"/>
                <a:chOff x="4827793" y="3765855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19" name="Freeform: Shape 165">
                  <a:extLst>
                    <a:ext uri="{FF2B5EF4-FFF2-40B4-BE49-F238E27FC236}">
                      <a16:creationId xmlns:a16="http://schemas.microsoft.com/office/drawing/2014/main" id="{57C7D53D-3867-529D-557A-BF1C43A75BFE}"/>
                    </a:ext>
                  </a:extLst>
                </p:cNvPr>
                <p:cNvSpPr/>
                <p:nvPr/>
              </p:nvSpPr>
              <p:spPr>
                <a:xfrm>
                  <a:off x="4967984" y="3765855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66">
                  <a:extLst>
                    <a:ext uri="{FF2B5EF4-FFF2-40B4-BE49-F238E27FC236}">
                      <a16:creationId xmlns:a16="http://schemas.microsoft.com/office/drawing/2014/main" id="{0A6F6F51-8D5E-EF45-4EA7-C32F246405C4}"/>
                    </a:ext>
                  </a:extLst>
                </p:cNvPr>
                <p:cNvSpPr/>
                <p:nvPr/>
              </p:nvSpPr>
              <p:spPr>
                <a:xfrm>
                  <a:off x="4897907" y="3784085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67">
                  <a:extLst>
                    <a:ext uri="{FF2B5EF4-FFF2-40B4-BE49-F238E27FC236}">
                      <a16:creationId xmlns:a16="http://schemas.microsoft.com/office/drawing/2014/main" id="{A0C583E8-03D3-B5A5-9935-A7DACDE2DB23}"/>
                    </a:ext>
                  </a:extLst>
                </p:cNvPr>
                <p:cNvSpPr/>
                <p:nvPr/>
              </p:nvSpPr>
              <p:spPr>
                <a:xfrm>
                  <a:off x="4846605" y="3833797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68">
                  <a:extLst>
                    <a:ext uri="{FF2B5EF4-FFF2-40B4-BE49-F238E27FC236}">
                      <a16:creationId xmlns:a16="http://schemas.microsoft.com/office/drawing/2014/main" id="{7C64A007-1BDA-498D-E2AD-6406D0E8E886}"/>
                    </a:ext>
                  </a:extLst>
                </p:cNvPr>
                <p:cNvSpPr/>
                <p:nvPr/>
              </p:nvSpPr>
              <p:spPr>
                <a:xfrm>
                  <a:off x="4827793" y="3901702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69">
                  <a:extLst>
                    <a:ext uri="{FF2B5EF4-FFF2-40B4-BE49-F238E27FC236}">
                      <a16:creationId xmlns:a16="http://schemas.microsoft.com/office/drawing/2014/main" id="{74195A50-469B-FB79-2ECE-DDB14154CDAA}"/>
                    </a:ext>
                  </a:extLst>
                </p:cNvPr>
                <p:cNvSpPr/>
                <p:nvPr/>
              </p:nvSpPr>
              <p:spPr>
                <a:xfrm>
                  <a:off x="4846538" y="3958285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: Shape 170">
                  <a:extLst>
                    <a:ext uri="{FF2B5EF4-FFF2-40B4-BE49-F238E27FC236}">
                      <a16:creationId xmlns:a16="http://schemas.microsoft.com/office/drawing/2014/main" id="{1F647D1D-479D-F2B3-3836-DA3B49F3C2F7}"/>
                    </a:ext>
                  </a:extLst>
                </p:cNvPr>
                <p:cNvSpPr/>
                <p:nvPr/>
              </p:nvSpPr>
              <p:spPr>
                <a:xfrm>
                  <a:off x="5069121" y="3958285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: Shape 171">
                  <a:extLst>
                    <a:ext uri="{FF2B5EF4-FFF2-40B4-BE49-F238E27FC236}">
                      <a16:creationId xmlns:a16="http://schemas.microsoft.com/office/drawing/2014/main" id="{2398287E-E583-D404-6362-694ED6173837}"/>
                    </a:ext>
                  </a:extLst>
                </p:cNvPr>
                <p:cNvSpPr/>
                <p:nvPr/>
              </p:nvSpPr>
              <p:spPr>
                <a:xfrm>
                  <a:off x="5084810" y="3901702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: Shape 172">
                  <a:extLst>
                    <a:ext uri="{FF2B5EF4-FFF2-40B4-BE49-F238E27FC236}">
                      <a16:creationId xmlns:a16="http://schemas.microsoft.com/office/drawing/2014/main" id="{E9FBD470-58F4-BB6F-7022-E39A140C0267}"/>
                    </a:ext>
                  </a:extLst>
                </p:cNvPr>
                <p:cNvSpPr/>
                <p:nvPr/>
              </p:nvSpPr>
              <p:spPr>
                <a:xfrm>
                  <a:off x="5069161" y="3833759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: Shape 173">
                  <a:extLst>
                    <a:ext uri="{FF2B5EF4-FFF2-40B4-BE49-F238E27FC236}">
                      <a16:creationId xmlns:a16="http://schemas.microsoft.com/office/drawing/2014/main" id="{97B9DC6F-307A-CE2A-5723-040CDF5A21D3}"/>
                    </a:ext>
                  </a:extLst>
                </p:cNvPr>
                <p:cNvSpPr/>
                <p:nvPr/>
              </p:nvSpPr>
              <p:spPr>
                <a:xfrm>
                  <a:off x="5026397" y="3784085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346">
                <a:extLst>
                  <a:ext uri="{FF2B5EF4-FFF2-40B4-BE49-F238E27FC236}">
                    <a16:creationId xmlns:a16="http://schemas.microsoft.com/office/drawing/2014/main" id="{8B291F5B-AD01-6FF9-3516-08C79D140BDE}"/>
                  </a:ext>
                </a:extLst>
              </p:cNvPr>
              <p:cNvGrpSpPr/>
              <p:nvPr/>
            </p:nvGrpSpPr>
            <p:grpSpPr>
              <a:xfrm>
                <a:off x="7334817" y="4488346"/>
                <a:ext cx="368554" cy="265481"/>
                <a:chOff x="3793585" y="3690421"/>
                <a:chExt cx="273319" cy="196880"/>
              </a:xfrm>
              <a:solidFill>
                <a:sysClr val="window" lastClr="FFFFFF"/>
              </a:solidFill>
            </p:grpSpPr>
            <p:sp>
              <p:nvSpPr>
                <p:cNvPr id="114" name="Freeform: Shape 158">
                  <a:extLst>
                    <a:ext uri="{FF2B5EF4-FFF2-40B4-BE49-F238E27FC236}">
                      <a16:creationId xmlns:a16="http://schemas.microsoft.com/office/drawing/2014/main" id="{E430F5FF-9CF0-D994-6F30-FFCB92142775}"/>
                    </a:ext>
                  </a:extLst>
                </p:cNvPr>
                <p:cNvSpPr/>
                <p:nvPr/>
              </p:nvSpPr>
              <p:spPr>
                <a:xfrm>
                  <a:off x="3793585" y="3864621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: Shape 159">
                  <a:extLst>
                    <a:ext uri="{FF2B5EF4-FFF2-40B4-BE49-F238E27FC236}">
                      <a16:creationId xmlns:a16="http://schemas.microsoft.com/office/drawing/2014/main" id="{E74B38E9-CC7F-9B07-72D3-6F040D00DA3A}"/>
                    </a:ext>
                  </a:extLst>
                </p:cNvPr>
                <p:cNvSpPr/>
                <p:nvPr/>
              </p:nvSpPr>
              <p:spPr>
                <a:xfrm>
                  <a:off x="4016168" y="3864621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60">
                  <a:extLst>
                    <a:ext uri="{FF2B5EF4-FFF2-40B4-BE49-F238E27FC236}">
                      <a16:creationId xmlns:a16="http://schemas.microsoft.com/office/drawing/2014/main" id="{501F4EA6-B05E-AADE-0337-5F5266F72FAE}"/>
                    </a:ext>
                  </a:extLst>
                </p:cNvPr>
                <p:cNvSpPr/>
                <p:nvPr/>
              </p:nvSpPr>
              <p:spPr>
                <a:xfrm>
                  <a:off x="4031857" y="3808038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61">
                  <a:extLst>
                    <a:ext uri="{FF2B5EF4-FFF2-40B4-BE49-F238E27FC236}">
                      <a16:creationId xmlns:a16="http://schemas.microsoft.com/office/drawing/2014/main" id="{B51663CD-5FD6-1760-61E0-FDBB7C764BA2}"/>
                    </a:ext>
                  </a:extLst>
                </p:cNvPr>
                <p:cNvSpPr/>
                <p:nvPr/>
              </p:nvSpPr>
              <p:spPr>
                <a:xfrm>
                  <a:off x="4016208" y="3740095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62">
                  <a:extLst>
                    <a:ext uri="{FF2B5EF4-FFF2-40B4-BE49-F238E27FC236}">
                      <a16:creationId xmlns:a16="http://schemas.microsoft.com/office/drawing/2014/main" id="{5191D356-2AEB-E25A-32A9-4DAE79A16494}"/>
                    </a:ext>
                  </a:extLst>
                </p:cNvPr>
                <p:cNvSpPr/>
                <p:nvPr/>
              </p:nvSpPr>
              <p:spPr>
                <a:xfrm>
                  <a:off x="3973444" y="3690421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62" name="Group 1061">
                <a:extLst>
                  <a:ext uri="{FF2B5EF4-FFF2-40B4-BE49-F238E27FC236}">
                    <a16:creationId xmlns:a16="http://schemas.microsoft.com/office/drawing/2014/main" id="{F421CFCE-DB21-CEB1-FAE0-031BBBFF40B1}"/>
                  </a:ext>
                </a:extLst>
              </p:cNvPr>
              <p:cNvGrpSpPr/>
              <p:nvPr/>
            </p:nvGrpSpPr>
            <p:grpSpPr>
              <a:xfrm>
                <a:off x="6310925" y="2757867"/>
                <a:ext cx="808117" cy="1448658"/>
                <a:chOff x="6566423" y="2757867"/>
                <a:chExt cx="808117" cy="1448658"/>
              </a:xfrm>
            </p:grpSpPr>
            <p:sp>
              <p:nvSpPr>
                <p:cNvPr id="36" name="Freeform 29">
                  <a:extLst>
                    <a:ext uri="{FF2B5EF4-FFF2-40B4-BE49-F238E27FC236}">
                      <a16:creationId xmlns:a16="http://schemas.microsoft.com/office/drawing/2014/main" id="{8EF92C2D-5FAF-15CA-25E3-D2F72BE68C9C}"/>
                    </a:ext>
                  </a:extLst>
                </p:cNvPr>
                <p:cNvSpPr/>
                <p:nvPr/>
              </p:nvSpPr>
              <p:spPr bwMode="auto">
                <a:xfrm>
                  <a:off x="6826399" y="3135301"/>
                  <a:ext cx="548141" cy="261541"/>
                </a:xfrm>
                <a:custGeom>
                  <a:avLst/>
                  <a:gdLst>
                    <a:gd name="T0" fmla="*/ 211 w 214"/>
                    <a:gd name="T1" fmla="*/ 63 h 102"/>
                    <a:gd name="T2" fmla="*/ 198 w 214"/>
                    <a:gd name="T3" fmla="*/ 65 h 102"/>
                    <a:gd name="T4" fmla="*/ 208 w 214"/>
                    <a:gd name="T5" fmla="*/ 71 h 102"/>
                    <a:gd name="T6" fmla="*/ 206 w 214"/>
                    <a:gd name="T7" fmla="*/ 76 h 102"/>
                    <a:gd name="T8" fmla="*/ 198 w 214"/>
                    <a:gd name="T9" fmla="*/ 75 h 102"/>
                    <a:gd name="T10" fmla="*/ 183 w 214"/>
                    <a:gd name="T11" fmla="*/ 78 h 102"/>
                    <a:gd name="T12" fmla="*/ 183 w 214"/>
                    <a:gd name="T13" fmla="*/ 78 h 102"/>
                    <a:gd name="T14" fmla="*/ 5 w 214"/>
                    <a:gd name="T15" fmla="*/ 27 h 102"/>
                    <a:gd name="T16" fmla="*/ 13 w 214"/>
                    <a:gd name="T17" fmla="*/ 3 h 102"/>
                    <a:gd name="T18" fmla="*/ 31 w 214"/>
                    <a:gd name="T19" fmla="*/ 7 h 102"/>
                    <a:gd name="T20" fmla="*/ 60 w 214"/>
                    <a:gd name="T21" fmla="*/ 31 h 102"/>
                    <a:gd name="T22" fmla="*/ 164 w 214"/>
                    <a:gd name="T23" fmla="*/ 53 h 102"/>
                    <a:gd name="T24" fmla="*/ 169 w 214"/>
                    <a:gd name="T25" fmla="*/ 52 h 102"/>
                    <a:gd name="T26" fmla="*/ 172 w 214"/>
                    <a:gd name="T27" fmla="*/ 41 h 102"/>
                    <a:gd name="T28" fmla="*/ 175 w 214"/>
                    <a:gd name="T29" fmla="*/ 38 h 102"/>
                    <a:gd name="T30" fmla="*/ 180 w 214"/>
                    <a:gd name="T31" fmla="*/ 38 h 102"/>
                    <a:gd name="T32" fmla="*/ 181 w 214"/>
                    <a:gd name="T33" fmla="*/ 40 h 102"/>
                    <a:gd name="T34" fmla="*/ 183 w 214"/>
                    <a:gd name="T35" fmla="*/ 44 h 102"/>
                    <a:gd name="T36" fmla="*/ 186 w 214"/>
                    <a:gd name="T37" fmla="*/ 48 h 102"/>
                    <a:gd name="T38" fmla="*/ 188 w 214"/>
                    <a:gd name="T39" fmla="*/ 48 h 102"/>
                    <a:gd name="T40" fmla="*/ 202 w 214"/>
                    <a:gd name="T41" fmla="*/ 46 h 102"/>
                    <a:gd name="T42" fmla="*/ 207 w 214"/>
                    <a:gd name="T43" fmla="*/ 48 h 102"/>
                    <a:gd name="T44" fmla="*/ 203 w 214"/>
                    <a:gd name="T45" fmla="*/ 51 h 102"/>
                    <a:gd name="T46" fmla="*/ 195 w 214"/>
                    <a:gd name="T47" fmla="*/ 54 h 102"/>
                    <a:gd name="T48" fmla="*/ 208 w 214"/>
                    <a:gd name="T49" fmla="*/ 57 h 102"/>
                    <a:gd name="T50" fmla="*/ 212 w 214"/>
                    <a:gd name="T51" fmla="*/ 59 h 102"/>
                    <a:gd name="T52" fmla="*/ 211 w 214"/>
                    <a:gd name="T53" fmla="*/ 63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4" h="102">
                      <a:moveTo>
                        <a:pt x="211" y="63"/>
                      </a:moveTo>
                      <a:cubicBezTo>
                        <a:pt x="207" y="65"/>
                        <a:pt x="202" y="63"/>
                        <a:pt x="198" y="65"/>
                      </a:cubicBezTo>
                      <a:cubicBezTo>
                        <a:pt x="201" y="66"/>
                        <a:pt x="205" y="68"/>
                        <a:pt x="208" y="71"/>
                      </a:cubicBezTo>
                      <a:cubicBezTo>
                        <a:pt x="210" y="73"/>
                        <a:pt x="208" y="76"/>
                        <a:pt x="206" y="76"/>
                      </a:cubicBezTo>
                      <a:cubicBezTo>
                        <a:pt x="203" y="76"/>
                        <a:pt x="200" y="75"/>
                        <a:pt x="198" y="75"/>
                      </a:cubicBezTo>
                      <a:cubicBezTo>
                        <a:pt x="193" y="75"/>
                        <a:pt x="188" y="77"/>
                        <a:pt x="183" y="78"/>
                      </a:cubicBezTo>
                      <a:cubicBezTo>
                        <a:pt x="183" y="78"/>
                        <a:pt x="183" y="78"/>
                        <a:pt x="183" y="78"/>
                      </a:cubicBezTo>
                      <a:cubicBezTo>
                        <a:pt x="165" y="90"/>
                        <a:pt x="55" y="102"/>
                        <a:pt x="5" y="27"/>
                      </a:cubicBezTo>
                      <a:cubicBezTo>
                        <a:pt x="0" y="19"/>
                        <a:pt x="3" y="7"/>
                        <a:pt x="13" y="3"/>
                      </a:cubicBezTo>
                      <a:cubicBezTo>
                        <a:pt x="19" y="0"/>
                        <a:pt x="26" y="2"/>
                        <a:pt x="31" y="7"/>
                      </a:cubicBezTo>
                      <a:cubicBezTo>
                        <a:pt x="37" y="13"/>
                        <a:pt x="47" y="22"/>
                        <a:pt x="60" y="31"/>
                      </a:cubicBezTo>
                      <a:cubicBezTo>
                        <a:pt x="84" y="46"/>
                        <a:pt x="119" y="60"/>
                        <a:pt x="164" y="53"/>
                      </a:cubicBezTo>
                      <a:cubicBezTo>
                        <a:pt x="166" y="52"/>
                        <a:pt x="167" y="52"/>
                        <a:pt x="169" y="52"/>
                      </a:cubicBezTo>
                      <a:cubicBezTo>
                        <a:pt x="170" y="48"/>
                        <a:pt x="171" y="44"/>
                        <a:pt x="172" y="41"/>
                      </a:cubicBezTo>
                      <a:cubicBezTo>
                        <a:pt x="173" y="40"/>
                        <a:pt x="174" y="39"/>
                        <a:pt x="175" y="38"/>
                      </a:cubicBezTo>
                      <a:cubicBezTo>
                        <a:pt x="177" y="37"/>
                        <a:pt x="178" y="37"/>
                        <a:pt x="180" y="38"/>
                      </a:cubicBezTo>
                      <a:cubicBezTo>
                        <a:pt x="180" y="38"/>
                        <a:pt x="181" y="39"/>
                        <a:pt x="181" y="40"/>
                      </a:cubicBezTo>
                      <a:cubicBezTo>
                        <a:pt x="182" y="41"/>
                        <a:pt x="182" y="43"/>
                        <a:pt x="183" y="44"/>
                      </a:cubicBezTo>
                      <a:cubicBezTo>
                        <a:pt x="183" y="46"/>
                        <a:pt x="184" y="48"/>
                        <a:pt x="186" y="48"/>
                      </a:cubicBezTo>
                      <a:cubicBezTo>
                        <a:pt x="187" y="48"/>
                        <a:pt x="188" y="48"/>
                        <a:pt x="188" y="48"/>
                      </a:cubicBezTo>
                      <a:cubicBezTo>
                        <a:pt x="193" y="47"/>
                        <a:pt x="198" y="46"/>
                        <a:pt x="202" y="46"/>
                      </a:cubicBezTo>
                      <a:cubicBezTo>
                        <a:pt x="204" y="46"/>
                        <a:pt x="207" y="46"/>
                        <a:pt x="207" y="48"/>
                      </a:cubicBezTo>
                      <a:cubicBezTo>
                        <a:pt x="208" y="50"/>
                        <a:pt x="205" y="51"/>
                        <a:pt x="203" y="51"/>
                      </a:cubicBezTo>
                      <a:cubicBezTo>
                        <a:pt x="201" y="52"/>
                        <a:pt x="198" y="53"/>
                        <a:pt x="195" y="54"/>
                      </a:cubicBezTo>
                      <a:cubicBezTo>
                        <a:pt x="200" y="55"/>
                        <a:pt x="204" y="56"/>
                        <a:pt x="208" y="57"/>
                      </a:cubicBezTo>
                      <a:cubicBezTo>
                        <a:pt x="209" y="58"/>
                        <a:pt x="211" y="58"/>
                        <a:pt x="212" y="59"/>
                      </a:cubicBezTo>
                      <a:cubicBezTo>
                        <a:pt x="214" y="60"/>
                        <a:pt x="213" y="63"/>
                        <a:pt x="211" y="63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30">
                  <a:extLst>
                    <a:ext uri="{FF2B5EF4-FFF2-40B4-BE49-F238E27FC236}">
                      <a16:creationId xmlns:a16="http://schemas.microsoft.com/office/drawing/2014/main" id="{577C4902-68C4-9E48-FFA2-9A42CCD985F9}"/>
                    </a:ext>
                  </a:extLst>
                </p:cNvPr>
                <p:cNvSpPr/>
                <p:nvPr/>
              </p:nvSpPr>
              <p:spPr bwMode="auto">
                <a:xfrm>
                  <a:off x="6818568" y="3127471"/>
                  <a:ext cx="140950" cy="137819"/>
                </a:xfrm>
                <a:custGeom>
                  <a:avLst/>
                  <a:gdLst>
                    <a:gd name="T0" fmla="*/ 16 w 55"/>
                    <a:gd name="T1" fmla="*/ 3 h 54"/>
                    <a:gd name="T2" fmla="*/ 6 w 55"/>
                    <a:gd name="T3" fmla="*/ 31 h 54"/>
                    <a:gd name="T4" fmla="*/ 7 w 55"/>
                    <a:gd name="T5" fmla="*/ 31 h 54"/>
                    <a:gd name="T6" fmla="*/ 27 w 55"/>
                    <a:gd name="T7" fmla="*/ 54 h 54"/>
                    <a:gd name="T8" fmla="*/ 55 w 55"/>
                    <a:gd name="T9" fmla="*/ 25 h 54"/>
                    <a:gd name="T10" fmla="*/ 26 w 55"/>
                    <a:gd name="T11" fmla="*/ 1 h 54"/>
                    <a:gd name="T12" fmla="*/ 16 w 55"/>
                    <a:gd name="T13" fmla="*/ 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5" h="54">
                      <a:moveTo>
                        <a:pt x="16" y="3"/>
                      </a:moveTo>
                      <a:cubicBezTo>
                        <a:pt x="5" y="7"/>
                        <a:pt x="0" y="21"/>
                        <a:pt x="6" y="31"/>
                      </a:cubicBezTo>
                      <a:cubicBezTo>
                        <a:pt x="6" y="31"/>
                        <a:pt x="6" y="31"/>
                        <a:pt x="7" y="31"/>
                      </a:cubicBezTo>
                      <a:cubicBezTo>
                        <a:pt x="15" y="43"/>
                        <a:pt x="27" y="54"/>
                        <a:pt x="27" y="54"/>
                      </a:cubicBezTo>
                      <a:cubicBezTo>
                        <a:pt x="55" y="25"/>
                        <a:pt x="55" y="25"/>
                        <a:pt x="55" y="25"/>
                      </a:cubicBezTo>
                      <a:cubicBezTo>
                        <a:pt x="55" y="25"/>
                        <a:pt x="32" y="3"/>
                        <a:pt x="26" y="1"/>
                      </a:cubicBezTo>
                      <a:cubicBezTo>
                        <a:pt x="23" y="0"/>
                        <a:pt x="19" y="1"/>
                        <a:pt x="16" y="3"/>
                      </a:cubicBezTo>
                      <a:close/>
                    </a:path>
                  </a:pathLst>
                </a:custGeom>
                <a:solidFill>
                  <a:srgbClr val="4472C4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33">
                  <a:extLst>
                    <a:ext uri="{FF2B5EF4-FFF2-40B4-BE49-F238E27FC236}">
                      <a16:creationId xmlns:a16="http://schemas.microsoft.com/office/drawing/2014/main" id="{5F25CB95-04B5-64D4-34FF-464FF9256360}"/>
                    </a:ext>
                  </a:extLst>
                </p:cNvPr>
                <p:cNvSpPr/>
                <p:nvPr/>
              </p:nvSpPr>
              <p:spPr bwMode="auto">
                <a:xfrm>
                  <a:off x="6832664" y="3431298"/>
                  <a:ext cx="244315" cy="728245"/>
                </a:xfrm>
                <a:custGeom>
                  <a:avLst/>
                  <a:gdLst>
                    <a:gd name="T0" fmla="*/ 50 w 95"/>
                    <a:gd name="T1" fmla="*/ 4 h 284"/>
                    <a:gd name="T2" fmla="*/ 76 w 95"/>
                    <a:gd name="T3" fmla="*/ 195 h 284"/>
                    <a:gd name="T4" fmla="*/ 65 w 95"/>
                    <a:gd name="T5" fmla="*/ 284 h 284"/>
                    <a:gd name="T6" fmla="*/ 34 w 95"/>
                    <a:gd name="T7" fmla="*/ 284 h 284"/>
                    <a:gd name="T8" fmla="*/ 3 w 95"/>
                    <a:gd name="T9" fmla="*/ 55 h 284"/>
                    <a:gd name="T10" fmla="*/ 50 w 95"/>
                    <a:gd name="T11" fmla="*/ 4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5" h="284">
                      <a:moveTo>
                        <a:pt x="50" y="4"/>
                      </a:moveTo>
                      <a:cubicBezTo>
                        <a:pt x="50" y="4"/>
                        <a:pt x="95" y="107"/>
                        <a:pt x="76" y="195"/>
                      </a:cubicBezTo>
                      <a:cubicBezTo>
                        <a:pt x="65" y="284"/>
                        <a:pt x="65" y="284"/>
                        <a:pt x="65" y="284"/>
                      </a:cubicBezTo>
                      <a:cubicBezTo>
                        <a:pt x="34" y="284"/>
                        <a:pt x="34" y="284"/>
                        <a:pt x="34" y="284"/>
                      </a:cubicBezTo>
                      <a:cubicBezTo>
                        <a:pt x="34" y="284"/>
                        <a:pt x="33" y="130"/>
                        <a:pt x="3" y="55"/>
                      </a:cubicBezTo>
                      <a:cubicBezTo>
                        <a:pt x="3" y="55"/>
                        <a:pt x="0" y="0"/>
                        <a:pt x="50" y="4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35">
                  <a:extLst>
                    <a:ext uri="{FF2B5EF4-FFF2-40B4-BE49-F238E27FC236}">
                      <a16:creationId xmlns:a16="http://schemas.microsoft.com/office/drawing/2014/main" id="{D2E7D8C1-C0B2-0EE6-D28A-3B89B1539C47}"/>
                    </a:ext>
                  </a:extLst>
                </p:cNvPr>
                <p:cNvSpPr/>
                <p:nvPr/>
              </p:nvSpPr>
              <p:spPr bwMode="auto">
                <a:xfrm>
                  <a:off x="6915668" y="4156409"/>
                  <a:ext cx="133119" cy="50116"/>
                </a:xfrm>
                <a:custGeom>
                  <a:avLst/>
                  <a:gdLst>
                    <a:gd name="T0" fmla="*/ 3 w 52"/>
                    <a:gd name="T1" fmla="*/ 0 h 19"/>
                    <a:gd name="T2" fmla="*/ 1 w 52"/>
                    <a:gd name="T3" fmla="*/ 17 h 19"/>
                    <a:gd name="T4" fmla="*/ 3 w 52"/>
                    <a:gd name="T5" fmla="*/ 19 h 19"/>
                    <a:gd name="T6" fmla="*/ 50 w 52"/>
                    <a:gd name="T7" fmla="*/ 19 h 19"/>
                    <a:gd name="T8" fmla="*/ 51 w 52"/>
                    <a:gd name="T9" fmla="*/ 16 h 19"/>
                    <a:gd name="T10" fmla="*/ 32 w 52"/>
                    <a:gd name="T11" fmla="*/ 0 h 19"/>
                    <a:gd name="T12" fmla="*/ 3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3" y="0"/>
                      </a:moveTo>
                      <a:cubicBezTo>
                        <a:pt x="3" y="0"/>
                        <a:pt x="0" y="7"/>
                        <a:pt x="1" y="17"/>
                      </a:cubicBezTo>
                      <a:cubicBezTo>
                        <a:pt x="1" y="18"/>
                        <a:pt x="2" y="19"/>
                        <a:pt x="3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2" y="17"/>
                        <a:pt x="51" y="16"/>
                      </a:cubicBezTo>
                      <a:cubicBezTo>
                        <a:pt x="46" y="12"/>
                        <a:pt x="36" y="3"/>
                        <a:pt x="32" y="0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36">
                  <a:extLst>
                    <a:ext uri="{FF2B5EF4-FFF2-40B4-BE49-F238E27FC236}">
                      <a16:creationId xmlns:a16="http://schemas.microsoft.com/office/drawing/2014/main" id="{249409A3-F590-1FDD-95A5-7AADF1230BC1}"/>
                    </a:ext>
                  </a:extLst>
                </p:cNvPr>
                <p:cNvSpPr/>
                <p:nvPr/>
              </p:nvSpPr>
              <p:spPr bwMode="auto">
                <a:xfrm>
                  <a:off x="6810738" y="4156409"/>
                  <a:ext cx="133119" cy="50116"/>
                </a:xfrm>
                <a:custGeom>
                  <a:avLst/>
                  <a:gdLst>
                    <a:gd name="T0" fmla="*/ 4 w 52"/>
                    <a:gd name="T1" fmla="*/ 0 h 19"/>
                    <a:gd name="T2" fmla="*/ 2 w 52"/>
                    <a:gd name="T3" fmla="*/ 17 h 19"/>
                    <a:gd name="T4" fmla="*/ 4 w 52"/>
                    <a:gd name="T5" fmla="*/ 19 h 19"/>
                    <a:gd name="T6" fmla="*/ 50 w 52"/>
                    <a:gd name="T7" fmla="*/ 19 h 19"/>
                    <a:gd name="T8" fmla="*/ 51 w 52"/>
                    <a:gd name="T9" fmla="*/ 16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2" y="17"/>
                      </a:cubicBezTo>
                      <a:cubicBezTo>
                        <a:pt x="2" y="18"/>
                        <a:pt x="3" y="19"/>
                        <a:pt x="4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2" y="19"/>
                        <a:pt x="52" y="17"/>
                        <a:pt x="51" y="16"/>
                      </a:cubicBezTo>
                      <a:cubicBezTo>
                        <a:pt x="47" y="12"/>
                        <a:pt x="37" y="3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37">
                  <a:extLst>
                    <a:ext uri="{FF2B5EF4-FFF2-40B4-BE49-F238E27FC236}">
                      <a16:creationId xmlns:a16="http://schemas.microsoft.com/office/drawing/2014/main" id="{E232ACD5-9E1A-9642-ECF3-AE4E95FCEC91}"/>
                    </a:ext>
                  </a:extLst>
                </p:cNvPr>
                <p:cNvSpPr/>
                <p:nvPr/>
              </p:nvSpPr>
              <p:spPr bwMode="auto">
                <a:xfrm>
                  <a:off x="6705808" y="3370220"/>
                  <a:ext cx="278769" cy="789323"/>
                </a:xfrm>
                <a:custGeom>
                  <a:avLst/>
                  <a:gdLst>
                    <a:gd name="T0" fmla="*/ 91 w 109"/>
                    <a:gd name="T1" fmla="*/ 1 h 308"/>
                    <a:gd name="T2" fmla="*/ 91 w 109"/>
                    <a:gd name="T3" fmla="*/ 0 h 308"/>
                    <a:gd name="T4" fmla="*/ 23 w 109"/>
                    <a:gd name="T5" fmla="*/ 5 h 308"/>
                    <a:gd name="T6" fmla="*/ 10 w 109"/>
                    <a:gd name="T7" fmla="*/ 81 h 308"/>
                    <a:gd name="T8" fmla="*/ 11 w 109"/>
                    <a:gd name="T9" fmla="*/ 83 h 308"/>
                    <a:gd name="T10" fmla="*/ 43 w 109"/>
                    <a:gd name="T11" fmla="*/ 308 h 308"/>
                    <a:gd name="T12" fmla="*/ 74 w 109"/>
                    <a:gd name="T13" fmla="*/ 308 h 308"/>
                    <a:gd name="T14" fmla="*/ 84 w 109"/>
                    <a:gd name="T15" fmla="*/ 219 h 308"/>
                    <a:gd name="T16" fmla="*/ 71 w 109"/>
                    <a:gd name="T17" fmla="*/ 70 h 308"/>
                    <a:gd name="T18" fmla="*/ 91 w 109"/>
                    <a:gd name="T19" fmla="*/ 1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308">
                      <a:moveTo>
                        <a:pt x="91" y="1"/>
                      </a:moveTo>
                      <a:cubicBezTo>
                        <a:pt x="91" y="1"/>
                        <a:pt x="91" y="0"/>
                        <a:pt x="91" y="0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3" y="5"/>
                        <a:pt x="0" y="38"/>
                        <a:pt x="10" y="81"/>
                      </a:cubicBezTo>
                      <a:cubicBezTo>
                        <a:pt x="10" y="82"/>
                        <a:pt x="11" y="82"/>
                        <a:pt x="11" y="83"/>
                      </a:cubicBezTo>
                      <a:cubicBezTo>
                        <a:pt x="38" y="161"/>
                        <a:pt x="43" y="308"/>
                        <a:pt x="43" y="308"/>
                      </a:cubicBezTo>
                      <a:cubicBezTo>
                        <a:pt x="74" y="308"/>
                        <a:pt x="74" y="308"/>
                        <a:pt x="74" y="308"/>
                      </a:cubicBezTo>
                      <a:cubicBezTo>
                        <a:pt x="84" y="219"/>
                        <a:pt x="84" y="219"/>
                        <a:pt x="84" y="219"/>
                      </a:cubicBezTo>
                      <a:cubicBezTo>
                        <a:pt x="100" y="148"/>
                        <a:pt x="79" y="89"/>
                        <a:pt x="71" y="70"/>
                      </a:cubicBezTo>
                      <a:cubicBezTo>
                        <a:pt x="98" y="59"/>
                        <a:pt x="109" y="25"/>
                        <a:pt x="91" y="1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0">
                  <a:extLst>
                    <a:ext uri="{FF2B5EF4-FFF2-40B4-BE49-F238E27FC236}">
                      <a16:creationId xmlns:a16="http://schemas.microsoft.com/office/drawing/2014/main" id="{AE788CD3-1B5A-B50F-9425-64111C70BA11}"/>
                    </a:ext>
                  </a:extLst>
                </p:cNvPr>
                <p:cNvSpPr/>
                <p:nvPr/>
              </p:nvSpPr>
              <p:spPr bwMode="auto">
                <a:xfrm>
                  <a:off x="6643165" y="2793888"/>
                  <a:ext cx="308525" cy="377434"/>
                </a:xfrm>
                <a:custGeom>
                  <a:avLst/>
                  <a:gdLst>
                    <a:gd name="T0" fmla="*/ 106 w 120"/>
                    <a:gd name="T1" fmla="*/ 36 h 147"/>
                    <a:gd name="T2" fmla="*/ 36 w 120"/>
                    <a:gd name="T3" fmla="*/ 13 h 147"/>
                    <a:gd name="T4" fmla="*/ 15 w 120"/>
                    <a:gd name="T5" fmla="*/ 77 h 147"/>
                    <a:gd name="T6" fmla="*/ 2 w 120"/>
                    <a:gd name="T7" fmla="*/ 85 h 147"/>
                    <a:gd name="T8" fmla="*/ 33 w 120"/>
                    <a:gd name="T9" fmla="*/ 101 h 147"/>
                    <a:gd name="T10" fmla="*/ 43 w 120"/>
                    <a:gd name="T11" fmla="*/ 107 h 147"/>
                    <a:gd name="T12" fmla="*/ 44 w 120"/>
                    <a:gd name="T13" fmla="*/ 147 h 147"/>
                    <a:gd name="T14" fmla="*/ 76 w 120"/>
                    <a:gd name="T15" fmla="*/ 146 h 147"/>
                    <a:gd name="T16" fmla="*/ 75 w 120"/>
                    <a:gd name="T17" fmla="*/ 112 h 147"/>
                    <a:gd name="T18" fmla="*/ 93 w 120"/>
                    <a:gd name="T19" fmla="*/ 107 h 147"/>
                    <a:gd name="T20" fmla="*/ 106 w 120"/>
                    <a:gd name="T21" fmla="*/ 36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7">
                      <a:moveTo>
                        <a:pt x="106" y="36"/>
                      </a:moveTo>
                      <a:cubicBezTo>
                        <a:pt x="91" y="10"/>
                        <a:pt x="60" y="0"/>
                        <a:pt x="36" y="13"/>
                      </a:cubicBezTo>
                      <a:cubicBezTo>
                        <a:pt x="14" y="25"/>
                        <a:pt x="6" y="52"/>
                        <a:pt x="15" y="77"/>
                      </a:cubicBezTo>
                      <a:cubicBezTo>
                        <a:pt x="10" y="76"/>
                        <a:pt x="3" y="77"/>
                        <a:pt x="2" y="85"/>
                      </a:cubicBezTo>
                      <a:cubicBezTo>
                        <a:pt x="0" y="96"/>
                        <a:pt x="19" y="105"/>
                        <a:pt x="33" y="101"/>
                      </a:cubicBezTo>
                      <a:cubicBezTo>
                        <a:pt x="36" y="103"/>
                        <a:pt x="39" y="105"/>
                        <a:pt x="43" y="107"/>
                      </a:cubicBezTo>
                      <a:cubicBezTo>
                        <a:pt x="44" y="147"/>
                        <a:pt x="44" y="147"/>
                        <a:pt x="44" y="147"/>
                      </a:cubicBezTo>
                      <a:cubicBezTo>
                        <a:pt x="76" y="146"/>
                        <a:pt x="76" y="146"/>
                        <a:pt x="76" y="146"/>
                      </a:cubicBezTo>
                      <a:cubicBezTo>
                        <a:pt x="75" y="112"/>
                        <a:pt x="75" y="112"/>
                        <a:pt x="75" y="112"/>
                      </a:cubicBezTo>
                      <a:cubicBezTo>
                        <a:pt x="81" y="111"/>
                        <a:pt x="87" y="110"/>
                        <a:pt x="93" y="107"/>
                      </a:cubicBezTo>
                      <a:cubicBezTo>
                        <a:pt x="117" y="93"/>
                        <a:pt x="120" y="62"/>
                        <a:pt x="106" y="3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1">
                  <a:extLst>
                    <a:ext uri="{FF2B5EF4-FFF2-40B4-BE49-F238E27FC236}">
                      <a16:creationId xmlns:a16="http://schemas.microsoft.com/office/drawing/2014/main" id="{7CA53853-E485-31F3-3CCC-A2DBBAC90697}"/>
                    </a:ext>
                  </a:extLst>
                </p:cNvPr>
                <p:cNvSpPr/>
                <p:nvPr/>
              </p:nvSpPr>
              <p:spPr bwMode="auto">
                <a:xfrm>
                  <a:off x="6771586" y="3067959"/>
                  <a:ext cx="67342" cy="51682"/>
                </a:xfrm>
                <a:custGeom>
                  <a:avLst/>
                  <a:gdLst>
                    <a:gd name="T0" fmla="*/ 25 w 26"/>
                    <a:gd name="T1" fmla="*/ 5 h 20"/>
                    <a:gd name="T2" fmla="*/ 0 w 26"/>
                    <a:gd name="T3" fmla="*/ 0 h 20"/>
                    <a:gd name="T4" fmla="*/ 26 w 26"/>
                    <a:gd name="T5" fmla="*/ 19 h 20"/>
                    <a:gd name="T6" fmla="*/ 25 w 26"/>
                    <a:gd name="T7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20">
                      <a:moveTo>
                        <a:pt x="25" y="5"/>
                      </a:moveTo>
                      <a:cubicBezTo>
                        <a:pt x="25" y="5"/>
                        <a:pt x="14" y="7"/>
                        <a:pt x="0" y="0"/>
                      </a:cubicBezTo>
                      <a:cubicBezTo>
                        <a:pt x="0" y="0"/>
                        <a:pt x="9" y="20"/>
                        <a:pt x="26" y="19"/>
                      </a:cubicBezTo>
                      <a:lnTo>
                        <a:pt x="25" y="5"/>
                      </a:ln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42">
                  <a:extLst>
                    <a:ext uri="{FF2B5EF4-FFF2-40B4-BE49-F238E27FC236}">
                      <a16:creationId xmlns:a16="http://schemas.microsoft.com/office/drawing/2014/main" id="{1E55556A-3612-A2D5-EEA9-6D79CF8B418A}"/>
                    </a:ext>
                  </a:extLst>
                </p:cNvPr>
                <p:cNvSpPr/>
                <p:nvPr/>
              </p:nvSpPr>
              <p:spPr bwMode="auto">
                <a:xfrm>
                  <a:off x="6663523" y="3008447"/>
                  <a:ext cx="46984" cy="31323"/>
                </a:xfrm>
                <a:custGeom>
                  <a:avLst/>
                  <a:gdLst>
                    <a:gd name="T0" fmla="*/ 0 w 18"/>
                    <a:gd name="T1" fmla="*/ 0 h 12"/>
                    <a:gd name="T2" fmla="*/ 11 w 18"/>
                    <a:gd name="T3" fmla="*/ 8 h 12"/>
                    <a:gd name="T4" fmla="*/ 9 w 18"/>
                    <a:gd name="T5" fmla="*/ 12 h 12"/>
                    <a:gd name="T6" fmla="*/ 6 w 18"/>
                    <a:gd name="T7" fmla="*/ 7 h 12"/>
                    <a:gd name="T8" fmla="*/ 8 w 18"/>
                    <a:gd name="T9" fmla="*/ 1 h 12"/>
                    <a:gd name="T10" fmla="*/ 14 w 18"/>
                    <a:gd name="T11" fmla="*/ 1 h 12"/>
                    <a:gd name="T12" fmla="*/ 18 w 18"/>
                    <a:gd name="T13" fmla="*/ 4 h 12"/>
                    <a:gd name="T14" fmla="*/ 13 w 18"/>
                    <a:gd name="T15" fmla="*/ 3 h 12"/>
                    <a:gd name="T16" fmla="*/ 10 w 18"/>
                    <a:gd name="T17" fmla="*/ 4 h 12"/>
                    <a:gd name="T18" fmla="*/ 10 w 18"/>
                    <a:gd name="T19" fmla="*/ 6 h 12"/>
                    <a:gd name="T20" fmla="*/ 11 w 18"/>
                    <a:gd name="T21" fmla="*/ 9 h 12"/>
                    <a:gd name="T22" fmla="*/ 12 w 18"/>
                    <a:gd name="T23" fmla="*/ 9 h 12"/>
                    <a:gd name="T24" fmla="*/ 12 w 18"/>
                    <a:gd name="T25" fmla="*/ 11 h 12"/>
                    <a:gd name="T26" fmla="*/ 10 w 18"/>
                    <a:gd name="T27" fmla="*/ 12 h 12"/>
                    <a:gd name="T28" fmla="*/ 0 w 18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2">
                      <a:moveTo>
                        <a:pt x="0" y="0"/>
                      </a:moveTo>
                      <a:cubicBezTo>
                        <a:pt x="3" y="4"/>
                        <a:pt x="7" y="7"/>
                        <a:pt x="11" y="8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8" y="11"/>
                        <a:pt x="6" y="9"/>
                        <a:pt x="6" y="7"/>
                      </a:cubicBezTo>
                      <a:cubicBezTo>
                        <a:pt x="6" y="5"/>
                        <a:pt x="6" y="2"/>
                        <a:pt x="8" y="1"/>
                      </a:cubicBezTo>
                      <a:cubicBezTo>
                        <a:pt x="10" y="0"/>
                        <a:pt x="12" y="0"/>
                        <a:pt x="14" y="1"/>
                      </a:cubicBezTo>
                      <a:cubicBezTo>
                        <a:pt x="15" y="2"/>
                        <a:pt x="17" y="3"/>
                        <a:pt x="18" y="4"/>
                      </a:cubicBezTo>
                      <a:cubicBezTo>
                        <a:pt x="16" y="3"/>
                        <a:pt x="15" y="3"/>
                        <a:pt x="13" y="3"/>
                      </a:cubicBezTo>
                      <a:cubicBezTo>
                        <a:pt x="12" y="3"/>
                        <a:pt x="11" y="3"/>
                        <a:pt x="10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7"/>
                        <a:pt x="11" y="8"/>
                        <a:pt x="11" y="9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9"/>
                        <a:pt x="12" y="11"/>
                        <a:pt x="12" y="11"/>
                      </a:cubicBezTo>
                      <a:cubicBezTo>
                        <a:pt x="11" y="12"/>
                        <a:pt x="10" y="12"/>
                        <a:pt x="10" y="12"/>
                      </a:cubicBezTo>
                      <a:cubicBezTo>
                        <a:pt x="4" y="10"/>
                        <a:pt x="0" y="5"/>
                        <a:pt x="0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43">
                  <a:extLst>
                    <a:ext uri="{FF2B5EF4-FFF2-40B4-BE49-F238E27FC236}">
                      <a16:creationId xmlns:a16="http://schemas.microsoft.com/office/drawing/2014/main" id="{026D3A20-E907-7B3C-0A10-BFF36756D26D}"/>
                    </a:ext>
                  </a:extLst>
                </p:cNvPr>
                <p:cNvSpPr/>
                <p:nvPr/>
              </p:nvSpPr>
              <p:spPr bwMode="auto">
                <a:xfrm>
                  <a:off x="6566423" y="2757867"/>
                  <a:ext cx="366471" cy="656203"/>
                </a:xfrm>
                <a:custGeom>
                  <a:avLst/>
                  <a:gdLst>
                    <a:gd name="T0" fmla="*/ 142 w 143"/>
                    <a:gd name="T1" fmla="*/ 50 h 256"/>
                    <a:gd name="T2" fmla="*/ 142 w 143"/>
                    <a:gd name="T3" fmla="*/ 50 h 256"/>
                    <a:gd name="T4" fmla="*/ 142 w 143"/>
                    <a:gd name="T5" fmla="*/ 64 h 256"/>
                    <a:gd name="T6" fmla="*/ 134 w 143"/>
                    <a:gd name="T7" fmla="*/ 55 h 256"/>
                    <a:gd name="T8" fmla="*/ 120 w 143"/>
                    <a:gd name="T9" fmla="*/ 41 h 256"/>
                    <a:gd name="T10" fmla="*/ 116 w 143"/>
                    <a:gd name="T11" fmla="*/ 39 h 256"/>
                    <a:gd name="T12" fmla="*/ 112 w 143"/>
                    <a:gd name="T13" fmla="*/ 42 h 256"/>
                    <a:gd name="T14" fmla="*/ 75 w 143"/>
                    <a:gd name="T15" fmla="*/ 80 h 256"/>
                    <a:gd name="T16" fmla="*/ 65 w 143"/>
                    <a:gd name="T17" fmla="*/ 84 h 256"/>
                    <a:gd name="T18" fmla="*/ 64 w 143"/>
                    <a:gd name="T19" fmla="*/ 97 h 256"/>
                    <a:gd name="T20" fmla="*/ 62 w 143"/>
                    <a:gd name="T21" fmla="*/ 97 h 256"/>
                    <a:gd name="T22" fmla="*/ 45 w 143"/>
                    <a:gd name="T23" fmla="*/ 91 h 256"/>
                    <a:gd name="T24" fmla="*/ 32 w 143"/>
                    <a:gd name="T25" fmla="*/ 100 h 256"/>
                    <a:gd name="T26" fmla="*/ 63 w 143"/>
                    <a:gd name="T27" fmla="*/ 115 h 256"/>
                    <a:gd name="T28" fmla="*/ 73 w 143"/>
                    <a:gd name="T29" fmla="*/ 121 h 256"/>
                    <a:gd name="T30" fmla="*/ 74 w 143"/>
                    <a:gd name="T31" fmla="*/ 152 h 256"/>
                    <a:gd name="T32" fmla="*/ 57 w 143"/>
                    <a:gd name="T33" fmla="*/ 177 h 256"/>
                    <a:gd name="T34" fmla="*/ 65 w 143"/>
                    <a:gd name="T35" fmla="*/ 210 h 256"/>
                    <a:gd name="T36" fmla="*/ 77 w 143"/>
                    <a:gd name="T37" fmla="*/ 244 h 256"/>
                    <a:gd name="T38" fmla="*/ 75 w 143"/>
                    <a:gd name="T39" fmla="*/ 246 h 256"/>
                    <a:gd name="T40" fmla="*/ 21 w 143"/>
                    <a:gd name="T41" fmla="*/ 250 h 256"/>
                    <a:gd name="T42" fmla="*/ 16 w 143"/>
                    <a:gd name="T43" fmla="*/ 248 h 256"/>
                    <a:gd name="T44" fmla="*/ 7 w 143"/>
                    <a:gd name="T45" fmla="*/ 241 h 256"/>
                    <a:gd name="T46" fmla="*/ 3 w 143"/>
                    <a:gd name="T47" fmla="*/ 233 h 256"/>
                    <a:gd name="T48" fmla="*/ 11 w 143"/>
                    <a:gd name="T49" fmla="*/ 191 h 256"/>
                    <a:gd name="T50" fmla="*/ 23 w 143"/>
                    <a:gd name="T51" fmla="*/ 113 h 256"/>
                    <a:gd name="T52" fmla="*/ 22 w 143"/>
                    <a:gd name="T53" fmla="*/ 82 h 256"/>
                    <a:gd name="T54" fmla="*/ 22 w 143"/>
                    <a:gd name="T55" fmla="*/ 74 h 256"/>
                    <a:gd name="T56" fmla="*/ 44 w 143"/>
                    <a:gd name="T57" fmla="*/ 26 h 256"/>
                    <a:gd name="T58" fmla="*/ 47 w 143"/>
                    <a:gd name="T59" fmla="*/ 22 h 256"/>
                    <a:gd name="T60" fmla="*/ 84 w 143"/>
                    <a:gd name="T61" fmla="*/ 3 h 256"/>
                    <a:gd name="T62" fmla="*/ 126 w 143"/>
                    <a:gd name="T63" fmla="*/ 15 h 256"/>
                    <a:gd name="T64" fmla="*/ 136 w 143"/>
                    <a:gd name="T65" fmla="*/ 29 h 256"/>
                    <a:gd name="T66" fmla="*/ 140 w 143"/>
                    <a:gd name="T67" fmla="*/ 38 h 256"/>
                    <a:gd name="T68" fmla="*/ 142 w 143"/>
                    <a:gd name="T69" fmla="*/ 50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256">
                      <a:moveTo>
                        <a:pt x="142" y="50"/>
                      </a:moveTo>
                      <a:cubicBezTo>
                        <a:pt x="142" y="50"/>
                        <a:pt x="142" y="50"/>
                        <a:pt x="142" y="50"/>
                      </a:cubicBezTo>
                      <a:cubicBezTo>
                        <a:pt x="143" y="55"/>
                        <a:pt x="142" y="60"/>
                        <a:pt x="142" y="64"/>
                      </a:cubicBezTo>
                      <a:cubicBezTo>
                        <a:pt x="142" y="64"/>
                        <a:pt x="139" y="60"/>
                        <a:pt x="134" y="55"/>
                      </a:cubicBezTo>
                      <a:cubicBezTo>
                        <a:pt x="130" y="50"/>
                        <a:pt x="125" y="44"/>
                        <a:pt x="120" y="41"/>
                      </a:cubicBezTo>
                      <a:cubicBezTo>
                        <a:pt x="118" y="40"/>
                        <a:pt x="117" y="39"/>
                        <a:pt x="116" y="39"/>
                      </a:cubicBezTo>
                      <a:cubicBezTo>
                        <a:pt x="114" y="39"/>
                        <a:pt x="113" y="40"/>
                        <a:pt x="112" y="42"/>
                      </a:cubicBezTo>
                      <a:cubicBezTo>
                        <a:pt x="106" y="49"/>
                        <a:pt x="98" y="70"/>
                        <a:pt x="75" y="80"/>
                      </a:cubicBezTo>
                      <a:cubicBezTo>
                        <a:pt x="72" y="81"/>
                        <a:pt x="69" y="83"/>
                        <a:pt x="65" y="84"/>
                      </a:cubicBezTo>
                      <a:cubicBezTo>
                        <a:pt x="65" y="84"/>
                        <a:pt x="71" y="93"/>
                        <a:pt x="64" y="97"/>
                      </a:cubicBezTo>
                      <a:cubicBezTo>
                        <a:pt x="64" y="98"/>
                        <a:pt x="63" y="98"/>
                        <a:pt x="62" y="97"/>
                      </a:cubicBezTo>
                      <a:cubicBezTo>
                        <a:pt x="59" y="96"/>
                        <a:pt x="48" y="91"/>
                        <a:pt x="45" y="91"/>
                      </a:cubicBezTo>
                      <a:cubicBezTo>
                        <a:pt x="41" y="91"/>
                        <a:pt x="33" y="90"/>
                        <a:pt x="32" y="100"/>
                      </a:cubicBezTo>
                      <a:cubicBezTo>
                        <a:pt x="32" y="100"/>
                        <a:pt x="32" y="118"/>
                        <a:pt x="63" y="115"/>
                      </a:cubicBezTo>
                      <a:cubicBezTo>
                        <a:pt x="73" y="121"/>
                        <a:pt x="73" y="121"/>
                        <a:pt x="73" y="121"/>
                      </a:cubicBezTo>
                      <a:cubicBezTo>
                        <a:pt x="74" y="152"/>
                        <a:pt x="74" y="152"/>
                        <a:pt x="74" y="152"/>
                      </a:cubicBezTo>
                      <a:cubicBezTo>
                        <a:pt x="74" y="152"/>
                        <a:pt x="58" y="160"/>
                        <a:pt x="57" y="177"/>
                      </a:cubicBezTo>
                      <a:cubicBezTo>
                        <a:pt x="57" y="177"/>
                        <a:pt x="56" y="185"/>
                        <a:pt x="65" y="210"/>
                      </a:cubicBezTo>
                      <a:cubicBezTo>
                        <a:pt x="77" y="244"/>
                        <a:pt x="77" y="244"/>
                        <a:pt x="77" y="244"/>
                      </a:cubicBezTo>
                      <a:cubicBezTo>
                        <a:pt x="75" y="246"/>
                        <a:pt x="75" y="246"/>
                        <a:pt x="75" y="246"/>
                      </a:cubicBezTo>
                      <a:cubicBezTo>
                        <a:pt x="58" y="255"/>
                        <a:pt x="39" y="256"/>
                        <a:pt x="21" y="250"/>
                      </a:cubicBezTo>
                      <a:cubicBezTo>
                        <a:pt x="19" y="249"/>
                        <a:pt x="17" y="249"/>
                        <a:pt x="16" y="248"/>
                      </a:cubicBezTo>
                      <a:cubicBezTo>
                        <a:pt x="12" y="246"/>
                        <a:pt x="9" y="244"/>
                        <a:pt x="7" y="241"/>
                      </a:cubicBezTo>
                      <a:cubicBezTo>
                        <a:pt x="5" y="239"/>
                        <a:pt x="3" y="236"/>
                        <a:pt x="3" y="233"/>
                      </a:cubicBezTo>
                      <a:cubicBezTo>
                        <a:pt x="0" y="219"/>
                        <a:pt x="6" y="205"/>
                        <a:pt x="11" y="191"/>
                      </a:cubicBezTo>
                      <a:cubicBezTo>
                        <a:pt x="20" y="166"/>
                        <a:pt x="22" y="140"/>
                        <a:pt x="23" y="113"/>
                      </a:cubicBezTo>
                      <a:cubicBezTo>
                        <a:pt x="23" y="103"/>
                        <a:pt x="22" y="92"/>
                        <a:pt x="22" y="82"/>
                      </a:cubicBezTo>
                      <a:cubicBezTo>
                        <a:pt x="22" y="79"/>
                        <a:pt x="22" y="76"/>
                        <a:pt x="22" y="74"/>
                      </a:cubicBezTo>
                      <a:cubicBezTo>
                        <a:pt x="24" y="57"/>
                        <a:pt x="33" y="37"/>
                        <a:pt x="44" y="26"/>
                      </a:cubicBezTo>
                      <a:cubicBezTo>
                        <a:pt x="45" y="25"/>
                        <a:pt x="46" y="23"/>
                        <a:pt x="47" y="22"/>
                      </a:cubicBezTo>
                      <a:cubicBezTo>
                        <a:pt x="58" y="13"/>
                        <a:pt x="70" y="6"/>
                        <a:pt x="84" y="3"/>
                      </a:cubicBezTo>
                      <a:cubicBezTo>
                        <a:pt x="99" y="0"/>
                        <a:pt x="115" y="4"/>
                        <a:pt x="126" y="15"/>
                      </a:cubicBezTo>
                      <a:cubicBezTo>
                        <a:pt x="131" y="19"/>
                        <a:pt x="134" y="24"/>
                        <a:pt x="136" y="29"/>
                      </a:cubicBezTo>
                      <a:cubicBezTo>
                        <a:pt x="138" y="32"/>
                        <a:pt x="139" y="35"/>
                        <a:pt x="140" y="38"/>
                      </a:cubicBezTo>
                      <a:cubicBezTo>
                        <a:pt x="142" y="42"/>
                        <a:pt x="142" y="46"/>
                        <a:pt x="142" y="5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4">
                  <a:extLst>
                    <a:ext uri="{FF2B5EF4-FFF2-40B4-BE49-F238E27FC236}">
                      <a16:creationId xmlns:a16="http://schemas.microsoft.com/office/drawing/2014/main" id="{152B493B-39CF-852C-31B0-CC20184F2155}"/>
                    </a:ext>
                  </a:extLst>
                </p:cNvPr>
                <p:cNvSpPr/>
                <p:nvPr/>
              </p:nvSpPr>
              <p:spPr bwMode="auto">
                <a:xfrm>
                  <a:off x="6622804" y="2814247"/>
                  <a:ext cx="231785" cy="148782"/>
                </a:xfrm>
                <a:custGeom>
                  <a:avLst/>
                  <a:gdLst>
                    <a:gd name="T0" fmla="*/ 90 w 90"/>
                    <a:gd name="T1" fmla="*/ 20 h 58"/>
                    <a:gd name="T2" fmla="*/ 53 w 90"/>
                    <a:gd name="T3" fmla="*/ 58 h 58"/>
                    <a:gd name="T4" fmla="*/ 44 w 90"/>
                    <a:gd name="T5" fmla="*/ 50 h 58"/>
                    <a:gd name="T6" fmla="*/ 32 w 90"/>
                    <a:gd name="T7" fmla="*/ 55 h 58"/>
                    <a:gd name="T8" fmla="*/ 20 w 90"/>
                    <a:gd name="T9" fmla="*/ 55 h 58"/>
                    <a:gd name="T10" fmla="*/ 17 w 90"/>
                    <a:gd name="T11" fmla="*/ 48 h 58"/>
                    <a:gd name="T12" fmla="*/ 13 w 90"/>
                    <a:gd name="T13" fmla="*/ 42 h 58"/>
                    <a:gd name="T14" fmla="*/ 8 w 90"/>
                    <a:gd name="T15" fmla="*/ 44 h 58"/>
                    <a:gd name="T16" fmla="*/ 0 w 90"/>
                    <a:gd name="T17" fmla="*/ 52 h 58"/>
                    <a:gd name="T18" fmla="*/ 22 w 90"/>
                    <a:gd name="T19" fmla="*/ 4 h 58"/>
                    <a:gd name="T20" fmla="*/ 25 w 90"/>
                    <a:gd name="T21" fmla="*/ 0 h 58"/>
                    <a:gd name="T22" fmla="*/ 39 w 90"/>
                    <a:gd name="T23" fmla="*/ 5 h 58"/>
                    <a:gd name="T24" fmla="*/ 44 w 90"/>
                    <a:gd name="T25" fmla="*/ 9 h 58"/>
                    <a:gd name="T26" fmla="*/ 66 w 90"/>
                    <a:gd name="T27" fmla="*/ 11 h 58"/>
                    <a:gd name="T28" fmla="*/ 71 w 90"/>
                    <a:gd name="T29" fmla="*/ 19 h 58"/>
                    <a:gd name="T30" fmla="*/ 87 w 90"/>
                    <a:gd name="T31" fmla="*/ 18 h 58"/>
                    <a:gd name="T32" fmla="*/ 90 w 90"/>
                    <a:gd name="T33" fmla="*/ 2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57">
                      <a:moveTo>
                        <a:pt x="90" y="20"/>
                      </a:moveTo>
                      <a:cubicBezTo>
                        <a:pt x="84" y="27"/>
                        <a:pt x="76" y="48"/>
                        <a:pt x="53" y="58"/>
                      </a:cubicBezTo>
                      <a:cubicBezTo>
                        <a:pt x="50" y="55"/>
                        <a:pt x="48" y="51"/>
                        <a:pt x="44" y="50"/>
                      </a:cubicBezTo>
                      <a:cubicBezTo>
                        <a:pt x="40" y="49"/>
                        <a:pt x="36" y="52"/>
                        <a:pt x="32" y="55"/>
                      </a:cubicBezTo>
                      <a:cubicBezTo>
                        <a:pt x="28" y="57"/>
                        <a:pt x="23" y="58"/>
                        <a:pt x="20" y="55"/>
                      </a:cubicBezTo>
                      <a:cubicBezTo>
                        <a:pt x="18" y="53"/>
                        <a:pt x="18" y="50"/>
                        <a:pt x="17" y="48"/>
                      </a:cubicBezTo>
                      <a:cubicBezTo>
                        <a:pt x="17" y="45"/>
                        <a:pt x="16" y="42"/>
                        <a:pt x="13" y="42"/>
                      </a:cubicBezTo>
                      <a:cubicBezTo>
                        <a:pt x="11" y="41"/>
                        <a:pt x="9" y="43"/>
                        <a:pt x="8" y="44"/>
                      </a:cubicBezTo>
                      <a:cubicBezTo>
                        <a:pt x="5" y="47"/>
                        <a:pt x="3" y="49"/>
                        <a:pt x="0" y="52"/>
                      </a:cubicBezTo>
                      <a:cubicBezTo>
                        <a:pt x="2" y="35"/>
                        <a:pt x="11" y="15"/>
                        <a:pt x="22" y="4"/>
                      </a:cubicBezTo>
                      <a:cubicBezTo>
                        <a:pt x="23" y="3"/>
                        <a:pt x="24" y="1"/>
                        <a:pt x="25" y="0"/>
                      </a:cubicBezTo>
                      <a:cubicBezTo>
                        <a:pt x="30" y="0"/>
                        <a:pt x="34" y="2"/>
                        <a:pt x="39" y="5"/>
                      </a:cubicBezTo>
                      <a:cubicBezTo>
                        <a:pt x="41" y="7"/>
                        <a:pt x="43" y="8"/>
                        <a:pt x="44" y="9"/>
                      </a:cubicBezTo>
                      <a:cubicBezTo>
                        <a:pt x="51" y="12"/>
                        <a:pt x="61" y="5"/>
                        <a:pt x="66" y="11"/>
                      </a:cubicBezTo>
                      <a:cubicBezTo>
                        <a:pt x="68" y="13"/>
                        <a:pt x="68" y="17"/>
                        <a:pt x="71" y="19"/>
                      </a:cubicBezTo>
                      <a:cubicBezTo>
                        <a:pt x="75" y="23"/>
                        <a:pt x="81" y="18"/>
                        <a:pt x="87" y="18"/>
                      </a:cubicBezTo>
                      <a:cubicBezTo>
                        <a:pt x="88" y="19"/>
                        <a:pt x="89" y="19"/>
                        <a:pt x="90" y="2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5">
                  <a:extLst>
                    <a:ext uri="{FF2B5EF4-FFF2-40B4-BE49-F238E27FC236}">
                      <a16:creationId xmlns:a16="http://schemas.microsoft.com/office/drawing/2014/main" id="{19453736-0644-E268-8B3D-FB9C7F4B08E3}"/>
                    </a:ext>
                  </a:extLst>
                </p:cNvPr>
                <p:cNvSpPr/>
                <p:nvPr/>
              </p:nvSpPr>
              <p:spPr bwMode="auto">
                <a:xfrm>
                  <a:off x="6874949" y="2833040"/>
                  <a:ext cx="56380" cy="65777"/>
                </a:xfrm>
                <a:custGeom>
                  <a:avLst/>
                  <a:gdLst>
                    <a:gd name="T0" fmla="*/ 22 w 22"/>
                    <a:gd name="T1" fmla="*/ 21 h 26"/>
                    <a:gd name="T2" fmla="*/ 21 w 22"/>
                    <a:gd name="T3" fmla="*/ 21 h 26"/>
                    <a:gd name="T4" fmla="*/ 15 w 22"/>
                    <a:gd name="T5" fmla="*/ 24 h 26"/>
                    <a:gd name="T6" fmla="*/ 14 w 22"/>
                    <a:gd name="T7" fmla="*/ 26 h 26"/>
                    <a:gd name="T8" fmla="*/ 0 w 22"/>
                    <a:gd name="T9" fmla="*/ 12 h 26"/>
                    <a:gd name="T10" fmla="*/ 5 w 22"/>
                    <a:gd name="T11" fmla="*/ 9 h 26"/>
                    <a:gd name="T12" fmla="*/ 14 w 22"/>
                    <a:gd name="T13" fmla="*/ 6 h 26"/>
                    <a:gd name="T14" fmla="*/ 16 w 22"/>
                    <a:gd name="T15" fmla="*/ 0 h 26"/>
                    <a:gd name="T16" fmla="*/ 16 w 22"/>
                    <a:gd name="T17" fmla="*/ 0 h 26"/>
                    <a:gd name="T18" fmla="*/ 20 w 22"/>
                    <a:gd name="T19" fmla="*/ 9 h 26"/>
                    <a:gd name="T20" fmla="*/ 22 w 22"/>
                    <a:gd name="T21" fmla="*/ 2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" h="26">
                      <a:moveTo>
                        <a:pt x="22" y="21"/>
                      </a:moveTo>
                      <a:cubicBezTo>
                        <a:pt x="22" y="21"/>
                        <a:pt x="22" y="21"/>
                        <a:pt x="21" y="21"/>
                      </a:cubicBezTo>
                      <a:cubicBezTo>
                        <a:pt x="19" y="20"/>
                        <a:pt x="16" y="22"/>
                        <a:pt x="15" y="24"/>
                      </a:cubicBezTo>
                      <a:cubicBezTo>
                        <a:pt x="15" y="24"/>
                        <a:pt x="15" y="25"/>
                        <a:pt x="14" y="26"/>
                      </a:cubicBezTo>
                      <a:cubicBezTo>
                        <a:pt x="10" y="21"/>
                        <a:pt x="5" y="15"/>
                        <a:pt x="0" y="12"/>
                      </a:cubicBezTo>
                      <a:cubicBezTo>
                        <a:pt x="1" y="10"/>
                        <a:pt x="2" y="9"/>
                        <a:pt x="5" y="9"/>
                      </a:cubicBezTo>
                      <a:cubicBezTo>
                        <a:pt x="8" y="8"/>
                        <a:pt x="12" y="8"/>
                        <a:pt x="14" y="6"/>
                      </a:cubicBezTo>
                      <a:cubicBezTo>
                        <a:pt x="15" y="5"/>
                        <a:pt x="15" y="2"/>
                        <a:pt x="1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3"/>
                        <a:pt x="19" y="6"/>
                        <a:pt x="20" y="9"/>
                      </a:cubicBezTo>
                      <a:cubicBezTo>
                        <a:pt x="22" y="13"/>
                        <a:pt x="22" y="17"/>
                        <a:pt x="22" y="21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6">
                  <a:extLst>
                    <a:ext uri="{FF2B5EF4-FFF2-40B4-BE49-F238E27FC236}">
                      <a16:creationId xmlns:a16="http://schemas.microsoft.com/office/drawing/2014/main" id="{0BA40705-8C66-716C-5830-D27D31E86C8F}"/>
                    </a:ext>
                  </a:extLst>
                </p:cNvPr>
                <p:cNvSpPr/>
                <p:nvPr/>
              </p:nvSpPr>
              <p:spPr bwMode="auto">
                <a:xfrm>
                  <a:off x="6702675" y="3127472"/>
                  <a:ext cx="269373" cy="255278"/>
                </a:xfrm>
                <a:custGeom>
                  <a:avLst/>
                  <a:gdLst>
                    <a:gd name="T0" fmla="*/ 33 w 105"/>
                    <a:gd name="T1" fmla="*/ 4 h 100"/>
                    <a:gd name="T2" fmla="*/ 68 w 105"/>
                    <a:gd name="T3" fmla="*/ 1 h 100"/>
                    <a:gd name="T4" fmla="*/ 104 w 105"/>
                    <a:gd name="T5" fmla="*/ 40 h 100"/>
                    <a:gd name="T6" fmla="*/ 105 w 105"/>
                    <a:gd name="T7" fmla="*/ 46 h 100"/>
                    <a:gd name="T8" fmla="*/ 92 w 105"/>
                    <a:gd name="T9" fmla="*/ 95 h 100"/>
                    <a:gd name="T10" fmla="*/ 24 w 105"/>
                    <a:gd name="T11" fmla="*/ 100 h 100"/>
                    <a:gd name="T12" fmla="*/ 6 w 105"/>
                    <a:gd name="T13" fmla="*/ 45 h 100"/>
                    <a:gd name="T14" fmla="*/ 33 w 105"/>
                    <a:gd name="T15" fmla="*/ 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5" h="100">
                      <a:moveTo>
                        <a:pt x="33" y="4"/>
                      </a:moveTo>
                      <a:cubicBezTo>
                        <a:pt x="45" y="3"/>
                        <a:pt x="57" y="2"/>
                        <a:pt x="68" y="1"/>
                      </a:cubicBezTo>
                      <a:cubicBezTo>
                        <a:pt x="82" y="0"/>
                        <a:pt x="99" y="30"/>
                        <a:pt x="104" y="40"/>
                      </a:cubicBezTo>
                      <a:cubicBezTo>
                        <a:pt x="105" y="42"/>
                        <a:pt x="105" y="44"/>
                        <a:pt x="105" y="46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24" y="100"/>
                        <a:pt x="24" y="100"/>
                        <a:pt x="24" y="100"/>
                      </a:cubicBezTo>
                      <a:cubicBezTo>
                        <a:pt x="24" y="100"/>
                        <a:pt x="13" y="70"/>
                        <a:pt x="6" y="45"/>
                      </a:cubicBezTo>
                      <a:cubicBezTo>
                        <a:pt x="0" y="25"/>
                        <a:pt x="13" y="6"/>
                        <a:pt x="33" y="4"/>
                      </a:cubicBezTo>
                      <a:close/>
                    </a:path>
                  </a:pathLst>
                </a:custGeom>
                <a:solidFill>
                  <a:srgbClr val="00595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50">
                  <a:extLst>
                    <a:ext uri="{FF2B5EF4-FFF2-40B4-BE49-F238E27FC236}">
                      <a16:creationId xmlns:a16="http://schemas.microsoft.com/office/drawing/2014/main" id="{15DB8E35-D9D9-0554-96C2-7C15E7C2F343}"/>
                    </a:ext>
                  </a:extLst>
                </p:cNvPr>
                <p:cNvSpPr/>
                <p:nvPr/>
              </p:nvSpPr>
              <p:spPr bwMode="auto">
                <a:xfrm>
                  <a:off x="6710506" y="3149397"/>
                  <a:ext cx="140950" cy="136252"/>
                </a:xfrm>
                <a:custGeom>
                  <a:avLst/>
                  <a:gdLst>
                    <a:gd name="T0" fmla="*/ 16 w 55"/>
                    <a:gd name="T1" fmla="*/ 2 h 53"/>
                    <a:gd name="T2" fmla="*/ 6 w 55"/>
                    <a:gd name="T3" fmla="*/ 30 h 53"/>
                    <a:gd name="T4" fmla="*/ 7 w 55"/>
                    <a:gd name="T5" fmla="*/ 30 h 53"/>
                    <a:gd name="T6" fmla="*/ 27 w 55"/>
                    <a:gd name="T7" fmla="*/ 53 h 53"/>
                    <a:gd name="T8" fmla="*/ 55 w 55"/>
                    <a:gd name="T9" fmla="*/ 24 h 53"/>
                    <a:gd name="T10" fmla="*/ 26 w 55"/>
                    <a:gd name="T11" fmla="*/ 0 h 53"/>
                    <a:gd name="T12" fmla="*/ 16 w 55"/>
                    <a:gd name="T13" fmla="*/ 2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5" h="52">
                      <a:moveTo>
                        <a:pt x="16" y="2"/>
                      </a:moveTo>
                      <a:cubicBezTo>
                        <a:pt x="5" y="6"/>
                        <a:pt x="0" y="20"/>
                        <a:pt x="6" y="30"/>
                      </a:cubicBezTo>
                      <a:cubicBezTo>
                        <a:pt x="6" y="30"/>
                        <a:pt x="6" y="30"/>
                        <a:pt x="7" y="30"/>
                      </a:cubicBezTo>
                      <a:cubicBezTo>
                        <a:pt x="15" y="42"/>
                        <a:pt x="27" y="53"/>
                        <a:pt x="27" y="53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5" y="24"/>
                        <a:pt x="32" y="2"/>
                        <a:pt x="26" y="0"/>
                      </a:cubicBezTo>
                      <a:cubicBezTo>
                        <a:pt x="23" y="0"/>
                        <a:pt x="19" y="1"/>
                        <a:pt x="16" y="2"/>
                      </a:cubicBezTo>
                      <a:close/>
                    </a:path>
                  </a:pathLst>
                </a:custGeom>
                <a:solidFill>
                  <a:srgbClr val="4472C4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49">
                  <a:extLst>
                    <a:ext uri="{FF2B5EF4-FFF2-40B4-BE49-F238E27FC236}">
                      <a16:creationId xmlns:a16="http://schemas.microsoft.com/office/drawing/2014/main" id="{D97F0B85-080C-ABB2-24DA-3E7E62E40DAA}"/>
                    </a:ext>
                  </a:extLst>
                </p:cNvPr>
                <p:cNvSpPr/>
                <p:nvPr/>
              </p:nvSpPr>
              <p:spPr bwMode="auto">
                <a:xfrm>
                  <a:off x="6715205" y="3157227"/>
                  <a:ext cx="551274" cy="252145"/>
                </a:xfrm>
                <a:custGeom>
                  <a:avLst/>
                  <a:gdLst>
                    <a:gd name="T0" fmla="*/ 212 w 215"/>
                    <a:gd name="T1" fmla="*/ 62 h 98"/>
                    <a:gd name="T2" fmla="*/ 199 w 215"/>
                    <a:gd name="T3" fmla="*/ 64 h 98"/>
                    <a:gd name="T4" fmla="*/ 209 w 215"/>
                    <a:gd name="T5" fmla="*/ 70 h 98"/>
                    <a:gd name="T6" fmla="*/ 206 w 215"/>
                    <a:gd name="T7" fmla="*/ 75 h 98"/>
                    <a:gd name="T8" fmla="*/ 199 w 215"/>
                    <a:gd name="T9" fmla="*/ 74 h 98"/>
                    <a:gd name="T10" fmla="*/ 193 w 215"/>
                    <a:gd name="T11" fmla="*/ 75 h 98"/>
                    <a:gd name="T12" fmla="*/ 181 w 215"/>
                    <a:gd name="T13" fmla="*/ 78 h 98"/>
                    <a:gd name="T14" fmla="*/ 6 w 215"/>
                    <a:gd name="T15" fmla="*/ 26 h 98"/>
                    <a:gd name="T16" fmla="*/ 16 w 215"/>
                    <a:gd name="T17" fmla="*/ 1 h 98"/>
                    <a:gd name="T18" fmla="*/ 33 w 215"/>
                    <a:gd name="T19" fmla="*/ 6 h 98"/>
                    <a:gd name="T20" fmla="*/ 61 w 215"/>
                    <a:gd name="T21" fmla="*/ 30 h 98"/>
                    <a:gd name="T22" fmla="*/ 165 w 215"/>
                    <a:gd name="T23" fmla="*/ 52 h 98"/>
                    <a:gd name="T24" fmla="*/ 170 w 215"/>
                    <a:gd name="T25" fmla="*/ 51 h 98"/>
                    <a:gd name="T26" fmla="*/ 173 w 215"/>
                    <a:gd name="T27" fmla="*/ 40 h 98"/>
                    <a:gd name="T28" fmla="*/ 176 w 215"/>
                    <a:gd name="T29" fmla="*/ 37 h 98"/>
                    <a:gd name="T30" fmla="*/ 181 w 215"/>
                    <a:gd name="T31" fmla="*/ 37 h 98"/>
                    <a:gd name="T32" fmla="*/ 182 w 215"/>
                    <a:gd name="T33" fmla="*/ 39 h 98"/>
                    <a:gd name="T34" fmla="*/ 184 w 215"/>
                    <a:gd name="T35" fmla="*/ 44 h 98"/>
                    <a:gd name="T36" fmla="*/ 187 w 215"/>
                    <a:gd name="T37" fmla="*/ 47 h 98"/>
                    <a:gd name="T38" fmla="*/ 189 w 215"/>
                    <a:gd name="T39" fmla="*/ 47 h 98"/>
                    <a:gd name="T40" fmla="*/ 203 w 215"/>
                    <a:gd name="T41" fmla="*/ 45 h 98"/>
                    <a:gd name="T42" fmla="*/ 208 w 215"/>
                    <a:gd name="T43" fmla="*/ 47 h 98"/>
                    <a:gd name="T44" fmla="*/ 204 w 215"/>
                    <a:gd name="T45" fmla="*/ 51 h 98"/>
                    <a:gd name="T46" fmla="*/ 196 w 215"/>
                    <a:gd name="T47" fmla="*/ 53 h 98"/>
                    <a:gd name="T48" fmla="*/ 209 w 215"/>
                    <a:gd name="T49" fmla="*/ 56 h 98"/>
                    <a:gd name="T50" fmla="*/ 213 w 215"/>
                    <a:gd name="T51" fmla="*/ 58 h 98"/>
                    <a:gd name="T52" fmla="*/ 212 w 215"/>
                    <a:gd name="T53" fmla="*/ 6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5" h="98">
                      <a:moveTo>
                        <a:pt x="212" y="62"/>
                      </a:moveTo>
                      <a:cubicBezTo>
                        <a:pt x="208" y="64"/>
                        <a:pt x="203" y="62"/>
                        <a:pt x="199" y="64"/>
                      </a:cubicBezTo>
                      <a:cubicBezTo>
                        <a:pt x="202" y="65"/>
                        <a:pt x="206" y="67"/>
                        <a:pt x="209" y="70"/>
                      </a:cubicBezTo>
                      <a:cubicBezTo>
                        <a:pt x="211" y="72"/>
                        <a:pt x="209" y="75"/>
                        <a:pt x="206" y="75"/>
                      </a:cubicBezTo>
                      <a:cubicBezTo>
                        <a:pt x="204" y="75"/>
                        <a:pt x="201" y="74"/>
                        <a:pt x="199" y="74"/>
                      </a:cubicBezTo>
                      <a:cubicBezTo>
                        <a:pt x="197" y="74"/>
                        <a:pt x="195" y="74"/>
                        <a:pt x="193" y="75"/>
                      </a:cubicBezTo>
                      <a:cubicBezTo>
                        <a:pt x="189" y="76"/>
                        <a:pt x="185" y="77"/>
                        <a:pt x="181" y="78"/>
                      </a:cubicBezTo>
                      <a:cubicBezTo>
                        <a:pt x="157" y="90"/>
                        <a:pt x="54" y="98"/>
                        <a:pt x="6" y="26"/>
                      </a:cubicBezTo>
                      <a:cubicBezTo>
                        <a:pt x="0" y="17"/>
                        <a:pt x="5" y="4"/>
                        <a:pt x="16" y="1"/>
                      </a:cubicBezTo>
                      <a:cubicBezTo>
                        <a:pt x="22" y="0"/>
                        <a:pt x="28" y="2"/>
                        <a:pt x="33" y="6"/>
                      </a:cubicBezTo>
                      <a:cubicBezTo>
                        <a:pt x="39" y="13"/>
                        <a:pt x="48" y="22"/>
                        <a:pt x="61" y="30"/>
                      </a:cubicBezTo>
                      <a:cubicBezTo>
                        <a:pt x="85" y="45"/>
                        <a:pt x="120" y="59"/>
                        <a:pt x="165" y="52"/>
                      </a:cubicBezTo>
                      <a:cubicBezTo>
                        <a:pt x="167" y="52"/>
                        <a:pt x="168" y="51"/>
                        <a:pt x="170" y="51"/>
                      </a:cubicBezTo>
                      <a:cubicBezTo>
                        <a:pt x="171" y="47"/>
                        <a:pt x="172" y="43"/>
                        <a:pt x="173" y="40"/>
                      </a:cubicBezTo>
                      <a:cubicBezTo>
                        <a:pt x="174" y="39"/>
                        <a:pt x="175" y="38"/>
                        <a:pt x="176" y="37"/>
                      </a:cubicBezTo>
                      <a:cubicBezTo>
                        <a:pt x="178" y="36"/>
                        <a:pt x="179" y="36"/>
                        <a:pt x="181" y="37"/>
                      </a:cubicBezTo>
                      <a:cubicBezTo>
                        <a:pt x="181" y="37"/>
                        <a:pt x="182" y="38"/>
                        <a:pt x="182" y="39"/>
                      </a:cubicBezTo>
                      <a:cubicBezTo>
                        <a:pt x="183" y="40"/>
                        <a:pt x="183" y="42"/>
                        <a:pt x="184" y="44"/>
                      </a:cubicBezTo>
                      <a:cubicBezTo>
                        <a:pt x="184" y="45"/>
                        <a:pt x="185" y="47"/>
                        <a:pt x="187" y="47"/>
                      </a:cubicBezTo>
                      <a:cubicBezTo>
                        <a:pt x="188" y="47"/>
                        <a:pt x="189" y="47"/>
                        <a:pt x="189" y="47"/>
                      </a:cubicBezTo>
                      <a:cubicBezTo>
                        <a:pt x="194" y="46"/>
                        <a:pt x="199" y="45"/>
                        <a:pt x="203" y="45"/>
                      </a:cubicBezTo>
                      <a:cubicBezTo>
                        <a:pt x="205" y="45"/>
                        <a:pt x="208" y="45"/>
                        <a:pt x="208" y="47"/>
                      </a:cubicBezTo>
                      <a:cubicBezTo>
                        <a:pt x="209" y="49"/>
                        <a:pt x="206" y="50"/>
                        <a:pt x="204" y="51"/>
                      </a:cubicBezTo>
                      <a:cubicBezTo>
                        <a:pt x="202" y="51"/>
                        <a:pt x="199" y="52"/>
                        <a:pt x="196" y="53"/>
                      </a:cubicBezTo>
                      <a:cubicBezTo>
                        <a:pt x="201" y="54"/>
                        <a:pt x="205" y="55"/>
                        <a:pt x="209" y="56"/>
                      </a:cubicBezTo>
                      <a:cubicBezTo>
                        <a:pt x="210" y="57"/>
                        <a:pt x="212" y="57"/>
                        <a:pt x="213" y="58"/>
                      </a:cubicBezTo>
                      <a:cubicBezTo>
                        <a:pt x="215" y="59"/>
                        <a:pt x="214" y="62"/>
                        <a:pt x="212" y="62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1" name="Group 1040">
                <a:extLst>
                  <a:ext uri="{FF2B5EF4-FFF2-40B4-BE49-F238E27FC236}">
                    <a16:creationId xmlns:a16="http://schemas.microsoft.com/office/drawing/2014/main" id="{A9049B46-845A-3EBA-5B52-367D96B3D0D6}"/>
                  </a:ext>
                </a:extLst>
              </p:cNvPr>
              <p:cNvGrpSpPr/>
              <p:nvPr/>
            </p:nvGrpSpPr>
            <p:grpSpPr>
              <a:xfrm>
                <a:off x="9626394" y="2847135"/>
                <a:ext cx="628012" cy="1359390"/>
                <a:chOff x="9881892" y="2847135"/>
                <a:chExt cx="628012" cy="1359390"/>
              </a:xfrm>
            </p:grpSpPr>
            <p:sp>
              <p:nvSpPr>
                <p:cNvPr id="50" name="Freeform 53">
                  <a:extLst>
                    <a:ext uri="{FF2B5EF4-FFF2-40B4-BE49-F238E27FC236}">
                      <a16:creationId xmlns:a16="http://schemas.microsoft.com/office/drawing/2014/main" id="{925D53D3-F3BD-795D-B4F2-3F837E5374B7}"/>
                    </a:ext>
                  </a:extLst>
                </p:cNvPr>
                <p:cNvSpPr/>
                <p:nvPr/>
              </p:nvSpPr>
              <p:spPr bwMode="auto">
                <a:xfrm>
                  <a:off x="9881892" y="3233967"/>
                  <a:ext cx="341413" cy="377434"/>
                </a:xfrm>
                <a:custGeom>
                  <a:avLst/>
                  <a:gdLst>
                    <a:gd name="T0" fmla="*/ 111 w 133"/>
                    <a:gd name="T1" fmla="*/ 2 h 147"/>
                    <a:gd name="T2" fmla="*/ 99 w 133"/>
                    <a:gd name="T3" fmla="*/ 15 h 147"/>
                    <a:gd name="T4" fmla="*/ 84 w 133"/>
                    <a:gd name="T5" fmla="*/ 49 h 147"/>
                    <a:gd name="T6" fmla="*/ 3 w 133"/>
                    <a:gd name="T7" fmla="*/ 117 h 147"/>
                    <a:gd name="T8" fmla="*/ 0 w 133"/>
                    <a:gd name="T9" fmla="*/ 118 h 147"/>
                    <a:gd name="T10" fmla="*/ 6 w 133"/>
                    <a:gd name="T11" fmla="*/ 141 h 147"/>
                    <a:gd name="T12" fmla="*/ 6 w 133"/>
                    <a:gd name="T13" fmla="*/ 146 h 147"/>
                    <a:gd name="T14" fmla="*/ 8 w 133"/>
                    <a:gd name="T15" fmla="*/ 147 h 147"/>
                    <a:gd name="T16" fmla="*/ 131 w 133"/>
                    <a:gd name="T17" fmla="*/ 20 h 147"/>
                    <a:gd name="T18" fmla="*/ 111 w 133"/>
                    <a:gd name="T19" fmla="*/ 2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" h="147">
                      <a:moveTo>
                        <a:pt x="111" y="2"/>
                      </a:moveTo>
                      <a:cubicBezTo>
                        <a:pt x="105" y="4"/>
                        <a:pt x="101" y="9"/>
                        <a:pt x="99" y="15"/>
                      </a:cubicBezTo>
                      <a:cubicBezTo>
                        <a:pt x="96" y="23"/>
                        <a:pt x="92" y="35"/>
                        <a:pt x="84" y="49"/>
                      </a:cubicBezTo>
                      <a:cubicBezTo>
                        <a:pt x="71" y="73"/>
                        <a:pt x="46" y="102"/>
                        <a:pt x="3" y="117"/>
                      </a:cubicBezTo>
                      <a:cubicBezTo>
                        <a:pt x="2" y="117"/>
                        <a:pt x="1" y="117"/>
                        <a:pt x="0" y="118"/>
                      </a:cubicBezTo>
                      <a:cubicBezTo>
                        <a:pt x="2" y="125"/>
                        <a:pt x="4" y="133"/>
                        <a:pt x="6" y="141"/>
                      </a:cubicBezTo>
                      <a:cubicBezTo>
                        <a:pt x="6" y="143"/>
                        <a:pt x="6" y="144"/>
                        <a:pt x="6" y="146"/>
                      </a:cubicBezTo>
                      <a:cubicBezTo>
                        <a:pt x="6" y="146"/>
                        <a:pt x="7" y="147"/>
                        <a:pt x="8" y="147"/>
                      </a:cubicBezTo>
                      <a:cubicBezTo>
                        <a:pt x="41" y="140"/>
                        <a:pt x="123" y="99"/>
                        <a:pt x="131" y="20"/>
                      </a:cubicBezTo>
                      <a:cubicBezTo>
                        <a:pt x="133" y="9"/>
                        <a:pt x="122" y="0"/>
                        <a:pt x="111" y="2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54">
                  <a:extLst>
                    <a:ext uri="{FF2B5EF4-FFF2-40B4-BE49-F238E27FC236}">
                      <a16:creationId xmlns:a16="http://schemas.microsoft.com/office/drawing/2014/main" id="{474A1C37-E1BD-7317-0BB2-CB986DDC69B6}"/>
                    </a:ext>
                  </a:extLst>
                </p:cNvPr>
                <p:cNvSpPr/>
                <p:nvPr/>
              </p:nvSpPr>
              <p:spPr bwMode="auto">
                <a:xfrm>
                  <a:off x="9888156" y="3360823"/>
                  <a:ext cx="241182" cy="209859"/>
                </a:xfrm>
                <a:custGeom>
                  <a:avLst/>
                  <a:gdLst>
                    <a:gd name="T0" fmla="*/ 5 w 94"/>
                    <a:gd name="T1" fmla="*/ 75 h 82"/>
                    <a:gd name="T2" fmla="*/ 86 w 94"/>
                    <a:gd name="T3" fmla="*/ 29 h 82"/>
                    <a:gd name="T4" fmla="*/ 82 w 94"/>
                    <a:gd name="T5" fmla="*/ 0 h 82"/>
                    <a:gd name="T6" fmla="*/ 1 w 94"/>
                    <a:gd name="T7" fmla="*/ 68 h 82"/>
                    <a:gd name="T8" fmla="*/ 5 w 94"/>
                    <a:gd name="T9" fmla="*/ 75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82">
                      <a:moveTo>
                        <a:pt x="5" y="75"/>
                      </a:moveTo>
                      <a:cubicBezTo>
                        <a:pt x="20" y="82"/>
                        <a:pt x="74" y="47"/>
                        <a:pt x="86" y="29"/>
                      </a:cubicBezTo>
                      <a:cubicBezTo>
                        <a:pt x="94" y="17"/>
                        <a:pt x="87" y="6"/>
                        <a:pt x="82" y="0"/>
                      </a:cubicBezTo>
                      <a:cubicBezTo>
                        <a:pt x="69" y="24"/>
                        <a:pt x="44" y="53"/>
                        <a:pt x="1" y="68"/>
                      </a:cubicBezTo>
                      <a:cubicBezTo>
                        <a:pt x="0" y="71"/>
                        <a:pt x="1" y="74"/>
                        <a:pt x="5" y="75"/>
                      </a:cubicBezTo>
                      <a:close/>
                    </a:path>
                  </a:pathLst>
                </a:custGeom>
                <a:solidFill>
                  <a:srgbClr val="4472C4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56">
                  <a:extLst>
                    <a:ext uri="{FF2B5EF4-FFF2-40B4-BE49-F238E27FC236}">
                      <a16:creationId xmlns:a16="http://schemas.microsoft.com/office/drawing/2014/main" id="{52956E28-E76F-40EE-01E1-34BD392D5B63}"/>
                    </a:ext>
                  </a:extLst>
                </p:cNvPr>
                <p:cNvSpPr/>
                <p:nvPr/>
              </p:nvSpPr>
              <p:spPr bwMode="auto">
                <a:xfrm>
                  <a:off x="10018144" y="2895685"/>
                  <a:ext cx="314789" cy="349244"/>
                </a:xfrm>
                <a:custGeom>
                  <a:avLst/>
                  <a:gdLst>
                    <a:gd name="T0" fmla="*/ 115 w 123"/>
                    <a:gd name="T1" fmla="*/ 47 h 136"/>
                    <a:gd name="T2" fmla="*/ 100 w 123"/>
                    <a:gd name="T3" fmla="*/ 46 h 136"/>
                    <a:gd name="T4" fmla="*/ 51 w 123"/>
                    <a:gd name="T5" fmla="*/ 0 h 136"/>
                    <a:gd name="T6" fmla="*/ 1 w 123"/>
                    <a:gd name="T7" fmla="*/ 54 h 136"/>
                    <a:gd name="T8" fmla="*/ 46 w 123"/>
                    <a:gd name="T9" fmla="*/ 110 h 136"/>
                    <a:gd name="T10" fmla="*/ 64 w 123"/>
                    <a:gd name="T11" fmla="*/ 106 h 136"/>
                    <a:gd name="T12" fmla="*/ 79 w 123"/>
                    <a:gd name="T13" fmla="*/ 136 h 136"/>
                    <a:gd name="T14" fmla="*/ 108 w 123"/>
                    <a:gd name="T15" fmla="*/ 122 h 136"/>
                    <a:gd name="T16" fmla="*/ 90 w 123"/>
                    <a:gd name="T17" fmla="*/ 86 h 136"/>
                    <a:gd name="T18" fmla="*/ 96 w 123"/>
                    <a:gd name="T19" fmla="*/ 76 h 136"/>
                    <a:gd name="T20" fmla="*/ 115 w 123"/>
                    <a:gd name="T21" fmla="*/ 47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3" h="136">
                      <a:moveTo>
                        <a:pt x="115" y="47"/>
                      </a:moveTo>
                      <a:cubicBezTo>
                        <a:pt x="110" y="41"/>
                        <a:pt x="104" y="43"/>
                        <a:pt x="100" y="46"/>
                      </a:cubicBezTo>
                      <a:cubicBezTo>
                        <a:pt x="96" y="21"/>
                        <a:pt x="76" y="1"/>
                        <a:pt x="51" y="0"/>
                      </a:cubicBezTo>
                      <a:cubicBezTo>
                        <a:pt x="24" y="0"/>
                        <a:pt x="1" y="24"/>
                        <a:pt x="1" y="54"/>
                      </a:cubicBezTo>
                      <a:cubicBezTo>
                        <a:pt x="0" y="84"/>
                        <a:pt x="18" y="109"/>
                        <a:pt x="46" y="110"/>
                      </a:cubicBezTo>
                      <a:cubicBezTo>
                        <a:pt x="52" y="110"/>
                        <a:pt x="58" y="109"/>
                        <a:pt x="64" y="106"/>
                      </a:cubicBezTo>
                      <a:cubicBezTo>
                        <a:pt x="79" y="136"/>
                        <a:pt x="79" y="136"/>
                        <a:pt x="79" y="136"/>
                      </a:cubicBezTo>
                      <a:cubicBezTo>
                        <a:pt x="108" y="122"/>
                        <a:pt x="108" y="122"/>
                        <a:pt x="108" y="122"/>
                      </a:cubicBezTo>
                      <a:cubicBezTo>
                        <a:pt x="90" y="86"/>
                        <a:pt x="90" y="86"/>
                        <a:pt x="90" y="86"/>
                      </a:cubicBezTo>
                      <a:cubicBezTo>
                        <a:pt x="92" y="83"/>
                        <a:pt x="94" y="80"/>
                        <a:pt x="96" y="76"/>
                      </a:cubicBezTo>
                      <a:cubicBezTo>
                        <a:pt x="110" y="73"/>
                        <a:pt x="123" y="56"/>
                        <a:pt x="115" y="4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57">
                  <a:extLst>
                    <a:ext uri="{FF2B5EF4-FFF2-40B4-BE49-F238E27FC236}">
                      <a16:creationId xmlns:a16="http://schemas.microsoft.com/office/drawing/2014/main" id="{9110B28E-CD4D-813C-6BFC-5E934061DAE8}"/>
                    </a:ext>
                  </a:extLst>
                </p:cNvPr>
                <p:cNvSpPr/>
                <p:nvPr/>
              </p:nvSpPr>
              <p:spPr bwMode="auto">
                <a:xfrm>
                  <a:off x="10264024" y="3031938"/>
                  <a:ext cx="43851" cy="32888"/>
                </a:xfrm>
                <a:custGeom>
                  <a:avLst/>
                  <a:gdLst>
                    <a:gd name="T0" fmla="*/ 17 w 17"/>
                    <a:gd name="T1" fmla="*/ 0 h 13"/>
                    <a:gd name="T2" fmla="*/ 8 w 17"/>
                    <a:gd name="T3" fmla="*/ 13 h 13"/>
                    <a:gd name="T4" fmla="*/ 5 w 17"/>
                    <a:gd name="T5" fmla="*/ 12 h 13"/>
                    <a:gd name="T6" fmla="*/ 6 w 17"/>
                    <a:gd name="T7" fmla="*/ 9 h 13"/>
                    <a:gd name="T8" fmla="*/ 6 w 17"/>
                    <a:gd name="T9" fmla="*/ 9 h 13"/>
                    <a:gd name="T10" fmla="*/ 8 w 17"/>
                    <a:gd name="T11" fmla="*/ 7 h 13"/>
                    <a:gd name="T12" fmla="*/ 7 w 17"/>
                    <a:gd name="T13" fmla="*/ 5 h 13"/>
                    <a:gd name="T14" fmla="*/ 4 w 17"/>
                    <a:gd name="T15" fmla="*/ 4 h 13"/>
                    <a:gd name="T16" fmla="*/ 0 w 17"/>
                    <a:gd name="T17" fmla="*/ 4 h 13"/>
                    <a:gd name="T18" fmla="*/ 3 w 17"/>
                    <a:gd name="T19" fmla="*/ 2 h 13"/>
                    <a:gd name="T20" fmla="*/ 9 w 17"/>
                    <a:gd name="T21" fmla="*/ 2 h 13"/>
                    <a:gd name="T22" fmla="*/ 11 w 17"/>
                    <a:gd name="T23" fmla="*/ 7 h 13"/>
                    <a:gd name="T24" fmla="*/ 8 w 17"/>
                    <a:gd name="T25" fmla="*/ 12 h 13"/>
                    <a:gd name="T26" fmla="*/ 6 w 17"/>
                    <a:gd name="T27" fmla="*/ 9 h 13"/>
                    <a:gd name="T28" fmla="*/ 17 w 17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3">
                      <a:moveTo>
                        <a:pt x="17" y="0"/>
                      </a:moveTo>
                      <a:cubicBezTo>
                        <a:pt x="17" y="6"/>
                        <a:pt x="13" y="11"/>
                        <a:pt x="8" y="13"/>
                      </a:cubicBezTo>
                      <a:cubicBezTo>
                        <a:pt x="7" y="13"/>
                        <a:pt x="6" y="13"/>
                        <a:pt x="5" y="12"/>
                      </a:cubicBezTo>
                      <a:cubicBezTo>
                        <a:pt x="5" y="11"/>
                        <a:pt x="5" y="10"/>
                        <a:pt x="6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7" y="9"/>
                        <a:pt x="7" y="8"/>
                        <a:pt x="8" y="7"/>
                      </a:cubicBezTo>
                      <a:cubicBezTo>
                        <a:pt x="8" y="6"/>
                        <a:pt x="8" y="5"/>
                        <a:pt x="7" y="5"/>
                      </a:cubicBezTo>
                      <a:cubicBezTo>
                        <a:pt x="6" y="4"/>
                        <a:pt x="5" y="4"/>
                        <a:pt x="4" y="4"/>
                      </a:cubicBezTo>
                      <a:cubicBezTo>
                        <a:pt x="3" y="4"/>
                        <a:pt x="1" y="4"/>
                        <a:pt x="0" y="4"/>
                      </a:cubicBezTo>
                      <a:cubicBezTo>
                        <a:pt x="1" y="3"/>
                        <a:pt x="2" y="2"/>
                        <a:pt x="3" y="2"/>
                      </a:cubicBezTo>
                      <a:cubicBezTo>
                        <a:pt x="5" y="1"/>
                        <a:pt x="7" y="1"/>
                        <a:pt x="9" y="2"/>
                      </a:cubicBezTo>
                      <a:cubicBezTo>
                        <a:pt x="11" y="3"/>
                        <a:pt x="12" y="5"/>
                        <a:pt x="11" y="7"/>
                      </a:cubicBezTo>
                      <a:cubicBezTo>
                        <a:pt x="11" y="10"/>
                        <a:pt x="10" y="11"/>
                        <a:pt x="8" y="12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10" y="8"/>
                        <a:pt x="14" y="5"/>
                        <a:pt x="17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58">
                  <a:extLst>
                    <a:ext uri="{FF2B5EF4-FFF2-40B4-BE49-F238E27FC236}">
                      <a16:creationId xmlns:a16="http://schemas.microsoft.com/office/drawing/2014/main" id="{C09CE4DC-397D-915B-7496-36AA4489E07F}"/>
                    </a:ext>
                  </a:extLst>
                </p:cNvPr>
                <p:cNvSpPr/>
                <p:nvPr/>
              </p:nvSpPr>
              <p:spPr bwMode="auto">
                <a:xfrm>
                  <a:off x="10182586" y="3132170"/>
                  <a:ext cx="64211" cy="67343"/>
                </a:xfrm>
                <a:custGeom>
                  <a:avLst/>
                  <a:gdLst>
                    <a:gd name="T0" fmla="*/ 0 w 25"/>
                    <a:gd name="T1" fmla="*/ 14 h 26"/>
                    <a:gd name="T2" fmla="*/ 6 w 25"/>
                    <a:gd name="T3" fmla="*/ 26 h 26"/>
                    <a:gd name="T4" fmla="*/ 19 w 25"/>
                    <a:gd name="T5" fmla="*/ 0 h 26"/>
                    <a:gd name="T6" fmla="*/ 0 w 25"/>
                    <a:gd name="T7" fmla="*/ 1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" h="26">
                      <a:moveTo>
                        <a:pt x="0" y="14"/>
                      </a:move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6"/>
                        <a:pt x="25" y="16"/>
                        <a:pt x="19" y="0"/>
                      </a:cubicBezTo>
                      <a:cubicBezTo>
                        <a:pt x="19" y="0"/>
                        <a:pt x="13" y="10"/>
                        <a:pt x="0" y="14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59">
                  <a:extLst>
                    <a:ext uri="{FF2B5EF4-FFF2-40B4-BE49-F238E27FC236}">
                      <a16:creationId xmlns:a16="http://schemas.microsoft.com/office/drawing/2014/main" id="{45036604-DCEC-CB44-032C-ED217ABB8E60}"/>
                    </a:ext>
                  </a:extLst>
                </p:cNvPr>
                <p:cNvSpPr/>
                <p:nvPr/>
              </p:nvSpPr>
              <p:spPr bwMode="auto">
                <a:xfrm>
                  <a:off x="9946104" y="2847135"/>
                  <a:ext cx="397794" cy="300694"/>
                </a:xfrm>
                <a:custGeom>
                  <a:avLst/>
                  <a:gdLst>
                    <a:gd name="T0" fmla="*/ 124 w 155"/>
                    <a:gd name="T1" fmla="*/ 117 h 117"/>
                    <a:gd name="T2" fmla="*/ 118 w 155"/>
                    <a:gd name="T3" fmla="*/ 105 h 117"/>
                    <a:gd name="T4" fmla="*/ 124 w 155"/>
                    <a:gd name="T5" fmla="*/ 95 h 117"/>
                    <a:gd name="T6" fmla="*/ 145 w 155"/>
                    <a:gd name="T7" fmla="*/ 75 h 117"/>
                    <a:gd name="T8" fmla="*/ 139 w 155"/>
                    <a:gd name="T9" fmla="*/ 63 h 117"/>
                    <a:gd name="T10" fmla="*/ 128 w 155"/>
                    <a:gd name="T11" fmla="*/ 66 h 117"/>
                    <a:gd name="T12" fmla="*/ 107 w 155"/>
                    <a:gd name="T13" fmla="*/ 74 h 117"/>
                    <a:gd name="T14" fmla="*/ 95 w 155"/>
                    <a:gd name="T15" fmla="*/ 50 h 117"/>
                    <a:gd name="T16" fmla="*/ 58 w 155"/>
                    <a:gd name="T17" fmla="*/ 65 h 117"/>
                    <a:gd name="T18" fmla="*/ 44 w 155"/>
                    <a:gd name="T19" fmla="*/ 52 h 117"/>
                    <a:gd name="T20" fmla="*/ 10 w 155"/>
                    <a:gd name="T21" fmla="*/ 56 h 117"/>
                    <a:gd name="T22" fmla="*/ 10 w 155"/>
                    <a:gd name="T23" fmla="*/ 56 h 117"/>
                    <a:gd name="T24" fmla="*/ 18 w 155"/>
                    <a:gd name="T25" fmla="*/ 24 h 117"/>
                    <a:gd name="T26" fmla="*/ 34 w 155"/>
                    <a:gd name="T27" fmla="*/ 22 h 117"/>
                    <a:gd name="T28" fmla="*/ 65 w 155"/>
                    <a:gd name="T29" fmla="*/ 4 h 117"/>
                    <a:gd name="T30" fmla="*/ 100 w 155"/>
                    <a:gd name="T31" fmla="*/ 15 h 117"/>
                    <a:gd name="T32" fmla="*/ 129 w 155"/>
                    <a:gd name="T33" fmla="*/ 22 h 117"/>
                    <a:gd name="T34" fmla="*/ 140 w 155"/>
                    <a:gd name="T35" fmla="*/ 33 h 117"/>
                    <a:gd name="T36" fmla="*/ 148 w 155"/>
                    <a:gd name="T37" fmla="*/ 48 h 117"/>
                    <a:gd name="T38" fmla="*/ 124 w 155"/>
                    <a:gd name="T39" fmla="*/ 117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55" h="117">
                      <a:moveTo>
                        <a:pt x="124" y="117"/>
                      </a:move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8" y="105"/>
                        <a:pt x="122" y="99"/>
                        <a:pt x="124" y="95"/>
                      </a:cubicBezTo>
                      <a:cubicBezTo>
                        <a:pt x="124" y="95"/>
                        <a:pt x="140" y="91"/>
                        <a:pt x="145" y="75"/>
                      </a:cubicBezTo>
                      <a:cubicBezTo>
                        <a:pt x="145" y="75"/>
                        <a:pt x="147" y="67"/>
                        <a:pt x="139" y="63"/>
                      </a:cubicBezTo>
                      <a:cubicBezTo>
                        <a:pt x="139" y="63"/>
                        <a:pt x="134" y="61"/>
                        <a:pt x="128" y="66"/>
                      </a:cubicBezTo>
                      <a:cubicBezTo>
                        <a:pt x="128" y="66"/>
                        <a:pt x="120" y="80"/>
                        <a:pt x="107" y="74"/>
                      </a:cubicBezTo>
                      <a:cubicBezTo>
                        <a:pt x="107" y="74"/>
                        <a:pt x="94" y="72"/>
                        <a:pt x="95" y="50"/>
                      </a:cubicBezTo>
                      <a:cubicBezTo>
                        <a:pt x="95" y="50"/>
                        <a:pt x="81" y="70"/>
                        <a:pt x="58" y="65"/>
                      </a:cubicBezTo>
                      <a:cubicBezTo>
                        <a:pt x="57" y="65"/>
                        <a:pt x="44" y="65"/>
                        <a:pt x="44" y="52"/>
                      </a:cubicBezTo>
                      <a:cubicBezTo>
                        <a:pt x="44" y="52"/>
                        <a:pt x="25" y="75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0" y="43"/>
                        <a:pt x="8" y="29"/>
                        <a:pt x="18" y="24"/>
                      </a:cubicBezTo>
                      <a:cubicBezTo>
                        <a:pt x="23" y="21"/>
                        <a:pt x="29" y="20"/>
                        <a:pt x="34" y="22"/>
                      </a:cubicBezTo>
                      <a:cubicBezTo>
                        <a:pt x="34" y="22"/>
                        <a:pt x="38" y="7"/>
                        <a:pt x="65" y="4"/>
                      </a:cubicBezTo>
                      <a:cubicBezTo>
                        <a:pt x="93" y="0"/>
                        <a:pt x="100" y="15"/>
                        <a:pt x="100" y="15"/>
                      </a:cubicBezTo>
                      <a:cubicBezTo>
                        <a:pt x="100" y="15"/>
                        <a:pt x="115" y="12"/>
                        <a:pt x="129" y="22"/>
                      </a:cubicBezTo>
                      <a:cubicBezTo>
                        <a:pt x="133" y="24"/>
                        <a:pt x="137" y="28"/>
                        <a:pt x="140" y="33"/>
                      </a:cubicBezTo>
                      <a:cubicBezTo>
                        <a:pt x="144" y="37"/>
                        <a:pt x="146" y="42"/>
                        <a:pt x="148" y="48"/>
                      </a:cubicBezTo>
                      <a:cubicBezTo>
                        <a:pt x="155" y="69"/>
                        <a:pt x="147" y="95"/>
                        <a:pt x="124" y="117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60">
                  <a:extLst>
                    <a:ext uri="{FF2B5EF4-FFF2-40B4-BE49-F238E27FC236}">
                      <a16:creationId xmlns:a16="http://schemas.microsoft.com/office/drawing/2014/main" id="{3983635B-6575-D890-138B-BF9776604906}"/>
                    </a:ext>
                  </a:extLst>
                </p:cNvPr>
                <p:cNvSpPr/>
                <p:nvPr/>
              </p:nvSpPr>
              <p:spPr bwMode="auto">
                <a:xfrm>
                  <a:off x="9946104" y="2894119"/>
                  <a:ext cx="380566" cy="97099"/>
                </a:xfrm>
                <a:custGeom>
                  <a:avLst/>
                  <a:gdLst>
                    <a:gd name="T0" fmla="*/ 148 w 148"/>
                    <a:gd name="T1" fmla="*/ 30 h 38"/>
                    <a:gd name="T2" fmla="*/ 147 w 148"/>
                    <a:gd name="T3" fmla="*/ 31 h 38"/>
                    <a:gd name="T4" fmla="*/ 137 w 148"/>
                    <a:gd name="T5" fmla="*/ 32 h 38"/>
                    <a:gd name="T6" fmla="*/ 127 w 148"/>
                    <a:gd name="T7" fmla="*/ 29 h 38"/>
                    <a:gd name="T8" fmla="*/ 124 w 148"/>
                    <a:gd name="T9" fmla="*/ 31 h 38"/>
                    <a:gd name="T10" fmla="*/ 102 w 148"/>
                    <a:gd name="T11" fmla="*/ 29 h 38"/>
                    <a:gd name="T12" fmla="*/ 99 w 148"/>
                    <a:gd name="T13" fmla="*/ 26 h 38"/>
                    <a:gd name="T14" fmla="*/ 88 w 148"/>
                    <a:gd name="T15" fmla="*/ 27 h 38"/>
                    <a:gd name="T16" fmla="*/ 78 w 148"/>
                    <a:gd name="T17" fmla="*/ 31 h 38"/>
                    <a:gd name="T18" fmla="*/ 51 w 148"/>
                    <a:gd name="T19" fmla="*/ 26 h 38"/>
                    <a:gd name="T20" fmla="*/ 36 w 148"/>
                    <a:gd name="T21" fmla="*/ 34 h 38"/>
                    <a:gd name="T22" fmla="*/ 23 w 148"/>
                    <a:gd name="T23" fmla="*/ 30 h 38"/>
                    <a:gd name="T24" fmla="*/ 10 w 148"/>
                    <a:gd name="T25" fmla="*/ 38 h 38"/>
                    <a:gd name="T26" fmla="*/ 10 w 148"/>
                    <a:gd name="T27" fmla="*/ 38 h 38"/>
                    <a:gd name="T28" fmla="*/ 18 w 148"/>
                    <a:gd name="T29" fmla="*/ 6 h 38"/>
                    <a:gd name="T30" fmla="*/ 21 w 148"/>
                    <a:gd name="T31" fmla="*/ 8 h 38"/>
                    <a:gd name="T32" fmla="*/ 42 w 148"/>
                    <a:gd name="T33" fmla="*/ 9 h 38"/>
                    <a:gd name="T34" fmla="*/ 55 w 148"/>
                    <a:gd name="T35" fmla="*/ 15 h 38"/>
                    <a:gd name="T36" fmla="*/ 73 w 148"/>
                    <a:gd name="T37" fmla="*/ 8 h 38"/>
                    <a:gd name="T38" fmla="*/ 92 w 148"/>
                    <a:gd name="T39" fmla="*/ 2 h 38"/>
                    <a:gd name="T40" fmla="*/ 103 w 148"/>
                    <a:gd name="T41" fmla="*/ 8 h 38"/>
                    <a:gd name="T42" fmla="*/ 122 w 148"/>
                    <a:gd name="T43" fmla="*/ 6 h 38"/>
                    <a:gd name="T44" fmla="*/ 129 w 148"/>
                    <a:gd name="T45" fmla="*/ 4 h 38"/>
                    <a:gd name="T46" fmla="*/ 140 w 148"/>
                    <a:gd name="T47" fmla="*/ 15 h 38"/>
                    <a:gd name="T48" fmla="*/ 148 w 148"/>
                    <a:gd name="T49" fmla="*/ 3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48" h="38">
                      <a:moveTo>
                        <a:pt x="148" y="30"/>
                      </a:moveTo>
                      <a:cubicBezTo>
                        <a:pt x="148" y="30"/>
                        <a:pt x="148" y="30"/>
                        <a:pt x="147" y="31"/>
                      </a:cubicBezTo>
                      <a:cubicBezTo>
                        <a:pt x="145" y="33"/>
                        <a:pt x="141" y="33"/>
                        <a:pt x="137" y="32"/>
                      </a:cubicBezTo>
                      <a:cubicBezTo>
                        <a:pt x="134" y="31"/>
                        <a:pt x="130" y="28"/>
                        <a:pt x="127" y="29"/>
                      </a:cubicBezTo>
                      <a:cubicBezTo>
                        <a:pt x="126" y="30"/>
                        <a:pt x="125" y="31"/>
                        <a:pt x="124" y="31"/>
                      </a:cubicBezTo>
                      <a:cubicBezTo>
                        <a:pt x="117" y="36"/>
                        <a:pt x="108" y="34"/>
                        <a:pt x="102" y="29"/>
                      </a:cubicBezTo>
                      <a:cubicBezTo>
                        <a:pt x="101" y="28"/>
                        <a:pt x="100" y="27"/>
                        <a:pt x="99" y="26"/>
                      </a:cubicBezTo>
                      <a:cubicBezTo>
                        <a:pt x="96" y="24"/>
                        <a:pt x="91" y="25"/>
                        <a:pt x="88" y="27"/>
                      </a:cubicBezTo>
                      <a:cubicBezTo>
                        <a:pt x="85" y="29"/>
                        <a:pt x="82" y="31"/>
                        <a:pt x="78" y="31"/>
                      </a:cubicBezTo>
                      <a:cubicBezTo>
                        <a:pt x="69" y="33"/>
                        <a:pt x="60" y="23"/>
                        <a:pt x="51" y="26"/>
                      </a:cubicBezTo>
                      <a:cubicBezTo>
                        <a:pt x="45" y="28"/>
                        <a:pt x="41" y="34"/>
                        <a:pt x="36" y="34"/>
                      </a:cubicBezTo>
                      <a:cubicBezTo>
                        <a:pt x="31" y="34"/>
                        <a:pt x="28" y="30"/>
                        <a:pt x="23" y="30"/>
                      </a:cubicBezTo>
                      <a:cubicBezTo>
                        <a:pt x="18" y="31"/>
                        <a:pt x="15" y="37"/>
                        <a:pt x="10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0" y="25"/>
                        <a:pt x="8" y="11"/>
                        <a:pt x="18" y="6"/>
                      </a:cubicBezTo>
                      <a:cubicBezTo>
                        <a:pt x="19" y="7"/>
                        <a:pt x="20" y="8"/>
                        <a:pt x="21" y="8"/>
                      </a:cubicBezTo>
                      <a:cubicBezTo>
                        <a:pt x="27" y="12"/>
                        <a:pt x="35" y="8"/>
                        <a:pt x="42" y="9"/>
                      </a:cubicBezTo>
                      <a:cubicBezTo>
                        <a:pt x="46" y="10"/>
                        <a:pt x="50" y="14"/>
                        <a:pt x="55" y="15"/>
                      </a:cubicBezTo>
                      <a:cubicBezTo>
                        <a:pt x="61" y="16"/>
                        <a:pt x="68" y="12"/>
                        <a:pt x="73" y="8"/>
                      </a:cubicBezTo>
                      <a:cubicBezTo>
                        <a:pt x="79" y="4"/>
                        <a:pt x="85" y="0"/>
                        <a:pt x="92" y="2"/>
                      </a:cubicBezTo>
                      <a:cubicBezTo>
                        <a:pt x="96" y="3"/>
                        <a:pt x="99" y="6"/>
                        <a:pt x="103" y="8"/>
                      </a:cubicBezTo>
                      <a:cubicBezTo>
                        <a:pt x="109" y="10"/>
                        <a:pt x="116" y="9"/>
                        <a:pt x="122" y="6"/>
                      </a:cubicBezTo>
                      <a:cubicBezTo>
                        <a:pt x="124" y="5"/>
                        <a:pt x="127" y="4"/>
                        <a:pt x="129" y="4"/>
                      </a:cubicBezTo>
                      <a:cubicBezTo>
                        <a:pt x="133" y="6"/>
                        <a:pt x="137" y="10"/>
                        <a:pt x="140" y="15"/>
                      </a:cubicBezTo>
                      <a:cubicBezTo>
                        <a:pt x="144" y="19"/>
                        <a:pt x="146" y="24"/>
                        <a:pt x="148" y="3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61">
                  <a:extLst>
                    <a:ext uri="{FF2B5EF4-FFF2-40B4-BE49-F238E27FC236}">
                      <a16:creationId xmlns:a16="http://schemas.microsoft.com/office/drawing/2014/main" id="{CDD17147-FEB6-417C-AC0D-1E7C03224F68}"/>
                    </a:ext>
                  </a:extLst>
                </p:cNvPr>
                <p:cNvSpPr/>
                <p:nvPr/>
              </p:nvSpPr>
              <p:spPr bwMode="auto">
                <a:xfrm>
                  <a:off x="10170057" y="3522132"/>
                  <a:ext cx="234917" cy="634277"/>
                </a:xfrm>
                <a:custGeom>
                  <a:avLst/>
                  <a:gdLst>
                    <a:gd name="T0" fmla="*/ 92 w 92"/>
                    <a:gd name="T1" fmla="*/ 20 h 248"/>
                    <a:gd name="T2" fmla="*/ 83 w 92"/>
                    <a:gd name="T3" fmla="*/ 49 h 248"/>
                    <a:gd name="T4" fmla="*/ 64 w 92"/>
                    <a:gd name="T5" fmla="*/ 175 h 248"/>
                    <a:gd name="T6" fmla="*/ 60 w 92"/>
                    <a:gd name="T7" fmla="*/ 248 h 248"/>
                    <a:gd name="T8" fmla="*/ 32 w 92"/>
                    <a:gd name="T9" fmla="*/ 248 h 248"/>
                    <a:gd name="T10" fmla="*/ 32 w 92"/>
                    <a:gd name="T11" fmla="*/ 246 h 248"/>
                    <a:gd name="T12" fmla="*/ 25 w 92"/>
                    <a:gd name="T13" fmla="*/ 199 h 248"/>
                    <a:gd name="T14" fmla="*/ 19 w 92"/>
                    <a:gd name="T15" fmla="*/ 160 h 248"/>
                    <a:gd name="T16" fmla="*/ 36 w 92"/>
                    <a:gd name="T17" fmla="*/ 3 h 248"/>
                    <a:gd name="T18" fmla="*/ 92 w 92"/>
                    <a:gd name="T19" fmla="*/ 20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2" h="248">
                      <a:moveTo>
                        <a:pt x="92" y="20"/>
                      </a:moveTo>
                      <a:cubicBezTo>
                        <a:pt x="89" y="29"/>
                        <a:pt x="86" y="38"/>
                        <a:pt x="83" y="49"/>
                      </a:cubicBezTo>
                      <a:cubicBezTo>
                        <a:pt x="73" y="87"/>
                        <a:pt x="67" y="135"/>
                        <a:pt x="64" y="175"/>
                      </a:cubicBezTo>
                      <a:cubicBezTo>
                        <a:pt x="61" y="216"/>
                        <a:pt x="60" y="248"/>
                        <a:pt x="60" y="248"/>
                      </a:cubicBezTo>
                      <a:cubicBezTo>
                        <a:pt x="32" y="248"/>
                        <a:pt x="32" y="248"/>
                        <a:pt x="32" y="248"/>
                      </a:cubicBezTo>
                      <a:cubicBezTo>
                        <a:pt x="32" y="246"/>
                        <a:pt x="32" y="246"/>
                        <a:pt x="32" y="246"/>
                      </a:cubicBezTo>
                      <a:cubicBezTo>
                        <a:pt x="25" y="199"/>
                        <a:pt x="25" y="199"/>
                        <a:pt x="25" y="199"/>
                      </a:cubicBezTo>
                      <a:cubicBezTo>
                        <a:pt x="19" y="160"/>
                        <a:pt x="19" y="160"/>
                        <a:pt x="19" y="160"/>
                      </a:cubicBezTo>
                      <a:cubicBezTo>
                        <a:pt x="0" y="72"/>
                        <a:pt x="36" y="3"/>
                        <a:pt x="36" y="3"/>
                      </a:cubicBezTo>
                      <a:cubicBezTo>
                        <a:pt x="85" y="0"/>
                        <a:pt x="92" y="20"/>
                        <a:pt x="92" y="2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62">
                  <a:extLst>
                    <a:ext uri="{FF2B5EF4-FFF2-40B4-BE49-F238E27FC236}">
                      <a16:creationId xmlns:a16="http://schemas.microsoft.com/office/drawing/2014/main" id="{75759717-0C32-A14C-56BD-D1F561F9731F}"/>
                    </a:ext>
                  </a:extLst>
                </p:cNvPr>
                <p:cNvSpPr/>
                <p:nvPr/>
              </p:nvSpPr>
              <p:spPr bwMode="auto">
                <a:xfrm>
                  <a:off x="10234267" y="4031120"/>
                  <a:ext cx="32888" cy="120591"/>
                </a:xfrm>
                <a:custGeom>
                  <a:avLst/>
                  <a:gdLst>
                    <a:gd name="T0" fmla="*/ 12 w 13"/>
                    <a:gd name="T1" fmla="*/ 37 h 47"/>
                    <a:gd name="T2" fmla="*/ 9 w 13"/>
                    <a:gd name="T3" fmla="*/ 46 h 47"/>
                    <a:gd name="T4" fmla="*/ 7 w 13"/>
                    <a:gd name="T5" fmla="*/ 47 h 47"/>
                    <a:gd name="T6" fmla="*/ 0 w 13"/>
                    <a:gd name="T7" fmla="*/ 0 h 47"/>
                    <a:gd name="T8" fmla="*/ 9 w 13"/>
                    <a:gd name="T9" fmla="*/ 10 h 47"/>
                    <a:gd name="T10" fmla="*/ 12 w 13"/>
                    <a:gd name="T11" fmla="*/ 28 h 47"/>
                    <a:gd name="T12" fmla="*/ 12 w 13"/>
                    <a:gd name="T13" fmla="*/ 3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47">
                      <a:moveTo>
                        <a:pt x="12" y="37"/>
                      </a:moveTo>
                      <a:cubicBezTo>
                        <a:pt x="12" y="40"/>
                        <a:pt x="11" y="44"/>
                        <a:pt x="9" y="46"/>
                      </a:cubicBezTo>
                      <a:cubicBezTo>
                        <a:pt x="8" y="46"/>
                        <a:pt x="8" y="47"/>
                        <a:pt x="7" y="47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8" y="7"/>
                        <a:pt x="9" y="10"/>
                      </a:cubicBezTo>
                      <a:cubicBezTo>
                        <a:pt x="11" y="16"/>
                        <a:pt x="12" y="22"/>
                        <a:pt x="12" y="28"/>
                      </a:cubicBezTo>
                      <a:cubicBezTo>
                        <a:pt x="12" y="31"/>
                        <a:pt x="13" y="34"/>
                        <a:pt x="12" y="3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66">
                  <a:extLst>
                    <a:ext uri="{FF2B5EF4-FFF2-40B4-BE49-F238E27FC236}">
                      <a16:creationId xmlns:a16="http://schemas.microsoft.com/office/drawing/2014/main" id="{630334AF-EBE9-DC91-63B9-F34B96888E7D}"/>
                    </a:ext>
                  </a:extLst>
                </p:cNvPr>
                <p:cNvSpPr/>
                <p:nvPr/>
              </p:nvSpPr>
              <p:spPr bwMode="auto">
                <a:xfrm>
                  <a:off x="10199814" y="4156409"/>
                  <a:ext cx="133119" cy="50116"/>
                </a:xfrm>
                <a:custGeom>
                  <a:avLst/>
                  <a:gdLst>
                    <a:gd name="T0" fmla="*/ 48 w 52"/>
                    <a:gd name="T1" fmla="*/ 0 h 19"/>
                    <a:gd name="T2" fmla="*/ 51 w 52"/>
                    <a:gd name="T3" fmla="*/ 17 h 19"/>
                    <a:gd name="T4" fmla="*/ 49 w 52"/>
                    <a:gd name="T5" fmla="*/ 19 h 19"/>
                    <a:gd name="T6" fmla="*/ 2 w 52"/>
                    <a:gd name="T7" fmla="*/ 19 h 19"/>
                    <a:gd name="T8" fmla="*/ 1 w 52"/>
                    <a:gd name="T9" fmla="*/ 16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1" y="17"/>
                      </a:cubicBezTo>
                      <a:cubicBezTo>
                        <a:pt x="51" y="18"/>
                        <a:pt x="50" y="19"/>
                        <a:pt x="49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1" y="19"/>
                        <a:pt x="0" y="17"/>
                        <a:pt x="1" y="16"/>
                      </a:cubicBezTo>
                      <a:cubicBezTo>
                        <a:pt x="6" y="12"/>
                        <a:pt x="15" y="3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67">
                  <a:extLst>
                    <a:ext uri="{FF2B5EF4-FFF2-40B4-BE49-F238E27FC236}">
                      <a16:creationId xmlns:a16="http://schemas.microsoft.com/office/drawing/2014/main" id="{45386732-A337-6E1A-7E4F-98A805AF6D2A}"/>
                    </a:ext>
                  </a:extLst>
                </p:cNvPr>
                <p:cNvSpPr/>
                <p:nvPr/>
              </p:nvSpPr>
              <p:spPr bwMode="auto">
                <a:xfrm>
                  <a:off x="10303176" y="3647421"/>
                  <a:ext cx="186368" cy="508988"/>
                </a:xfrm>
                <a:custGeom>
                  <a:avLst/>
                  <a:gdLst>
                    <a:gd name="T0" fmla="*/ 73 w 73"/>
                    <a:gd name="T1" fmla="*/ 0 h 199"/>
                    <a:gd name="T2" fmla="*/ 51 w 73"/>
                    <a:gd name="T3" fmla="*/ 199 h 199"/>
                    <a:gd name="T4" fmla="*/ 23 w 73"/>
                    <a:gd name="T5" fmla="*/ 199 h 199"/>
                    <a:gd name="T6" fmla="*/ 22 w 73"/>
                    <a:gd name="T7" fmla="*/ 194 h 199"/>
                    <a:gd name="T8" fmla="*/ 16 w 73"/>
                    <a:gd name="T9" fmla="*/ 155 h 199"/>
                    <a:gd name="T10" fmla="*/ 12 w 73"/>
                    <a:gd name="T11" fmla="*/ 126 h 199"/>
                    <a:gd name="T12" fmla="*/ 12 w 73"/>
                    <a:gd name="T13" fmla="*/ 126 h 199"/>
                    <a:gd name="T14" fmla="*/ 10 w 73"/>
                    <a:gd name="T15" fmla="*/ 110 h 199"/>
                    <a:gd name="T16" fmla="*/ 10 w 73"/>
                    <a:gd name="T17" fmla="*/ 0 h 199"/>
                    <a:gd name="T18" fmla="*/ 73 w 73"/>
                    <a:gd name="T19" fmla="*/ 0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199">
                      <a:moveTo>
                        <a:pt x="73" y="0"/>
                      </a:moveTo>
                      <a:cubicBezTo>
                        <a:pt x="52" y="79"/>
                        <a:pt x="51" y="199"/>
                        <a:pt x="51" y="199"/>
                      </a:cubicBezTo>
                      <a:cubicBezTo>
                        <a:pt x="23" y="199"/>
                        <a:pt x="23" y="199"/>
                        <a:pt x="23" y="199"/>
                      </a:cubicBezTo>
                      <a:cubicBezTo>
                        <a:pt x="22" y="194"/>
                        <a:pt x="22" y="194"/>
                        <a:pt x="22" y="194"/>
                      </a:cubicBezTo>
                      <a:cubicBezTo>
                        <a:pt x="16" y="155"/>
                        <a:pt x="16" y="155"/>
                        <a:pt x="16" y="155"/>
                      </a:cubicBezTo>
                      <a:cubicBezTo>
                        <a:pt x="12" y="126"/>
                        <a:pt x="12" y="126"/>
                        <a:pt x="12" y="126"/>
                      </a:cubicBezTo>
                      <a:cubicBezTo>
                        <a:pt x="12" y="126"/>
                        <a:pt x="12" y="126"/>
                        <a:pt x="12" y="126"/>
                      </a:cubicBezTo>
                      <a:cubicBezTo>
                        <a:pt x="10" y="110"/>
                        <a:pt x="10" y="110"/>
                        <a:pt x="10" y="110"/>
                      </a:cubicBezTo>
                      <a:cubicBezTo>
                        <a:pt x="0" y="67"/>
                        <a:pt x="4" y="28"/>
                        <a:pt x="10" y="0"/>
                      </a:cubicBezTo>
                      <a:lnTo>
                        <a:pt x="73" y="0"/>
                      </a:ln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68">
                  <a:extLst>
                    <a:ext uri="{FF2B5EF4-FFF2-40B4-BE49-F238E27FC236}">
                      <a16:creationId xmlns:a16="http://schemas.microsoft.com/office/drawing/2014/main" id="{0DEE418B-7A13-276D-F485-F538D5C71898}"/>
                    </a:ext>
                  </a:extLst>
                </p:cNvPr>
                <p:cNvSpPr/>
                <p:nvPr/>
              </p:nvSpPr>
              <p:spPr bwMode="auto">
                <a:xfrm>
                  <a:off x="10343895" y="4018593"/>
                  <a:ext cx="43851" cy="133120"/>
                </a:xfrm>
                <a:custGeom>
                  <a:avLst/>
                  <a:gdLst>
                    <a:gd name="T0" fmla="*/ 17 w 17"/>
                    <a:gd name="T1" fmla="*/ 42 h 52"/>
                    <a:gd name="T2" fmla="*/ 13 w 17"/>
                    <a:gd name="T3" fmla="*/ 51 h 52"/>
                    <a:gd name="T4" fmla="*/ 11 w 17"/>
                    <a:gd name="T5" fmla="*/ 52 h 52"/>
                    <a:gd name="T6" fmla="*/ 8 w 17"/>
                    <a:gd name="T7" fmla="*/ 51 h 52"/>
                    <a:gd name="T8" fmla="*/ 6 w 17"/>
                    <a:gd name="T9" fmla="*/ 49 h 52"/>
                    <a:gd name="T10" fmla="*/ 0 w 17"/>
                    <a:gd name="T11" fmla="*/ 10 h 52"/>
                    <a:gd name="T12" fmla="*/ 1 w 17"/>
                    <a:gd name="T13" fmla="*/ 8 h 52"/>
                    <a:gd name="T14" fmla="*/ 14 w 17"/>
                    <a:gd name="T15" fmla="*/ 15 h 52"/>
                    <a:gd name="T16" fmla="*/ 16 w 17"/>
                    <a:gd name="T17" fmla="*/ 33 h 52"/>
                    <a:gd name="T18" fmla="*/ 17 w 17"/>
                    <a:gd name="T19" fmla="*/ 4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" h="52">
                      <a:moveTo>
                        <a:pt x="17" y="42"/>
                      </a:moveTo>
                      <a:cubicBezTo>
                        <a:pt x="16" y="45"/>
                        <a:pt x="15" y="49"/>
                        <a:pt x="13" y="51"/>
                      </a:cubicBezTo>
                      <a:cubicBezTo>
                        <a:pt x="12" y="51"/>
                        <a:pt x="12" y="52"/>
                        <a:pt x="11" y="52"/>
                      </a:cubicBezTo>
                      <a:cubicBezTo>
                        <a:pt x="10" y="52"/>
                        <a:pt x="9" y="51"/>
                        <a:pt x="8" y="51"/>
                      </a:cubicBezTo>
                      <a:cubicBezTo>
                        <a:pt x="8" y="50"/>
                        <a:pt x="7" y="50"/>
                        <a:pt x="6" y="4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0"/>
                        <a:pt x="1" y="9"/>
                        <a:pt x="1" y="8"/>
                      </a:cubicBezTo>
                      <a:cubicBezTo>
                        <a:pt x="6" y="0"/>
                        <a:pt x="12" y="11"/>
                        <a:pt x="14" y="15"/>
                      </a:cubicBezTo>
                      <a:cubicBezTo>
                        <a:pt x="16" y="21"/>
                        <a:pt x="16" y="27"/>
                        <a:pt x="16" y="33"/>
                      </a:cubicBezTo>
                      <a:cubicBezTo>
                        <a:pt x="17" y="36"/>
                        <a:pt x="17" y="39"/>
                        <a:pt x="17" y="42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69">
                  <a:extLst>
                    <a:ext uri="{FF2B5EF4-FFF2-40B4-BE49-F238E27FC236}">
                      <a16:creationId xmlns:a16="http://schemas.microsoft.com/office/drawing/2014/main" id="{358A96E6-A29A-508E-EDF3-3342712040A5}"/>
                    </a:ext>
                  </a:extLst>
                </p:cNvPr>
                <p:cNvSpPr/>
                <p:nvPr/>
              </p:nvSpPr>
              <p:spPr bwMode="auto">
                <a:xfrm>
                  <a:off x="10311008" y="4156409"/>
                  <a:ext cx="133119" cy="50116"/>
                </a:xfrm>
                <a:custGeom>
                  <a:avLst/>
                  <a:gdLst>
                    <a:gd name="T0" fmla="*/ 48 w 52"/>
                    <a:gd name="T1" fmla="*/ 0 h 19"/>
                    <a:gd name="T2" fmla="*/ 50 w 52"/>
                    <a:gd name="T3" fmla="*/ 17 h 19"/>
                    <a:gd name="T4" fmla="*/ 48 w 52"/>
                    <a:gd name="T5" fmla="*/ 19 h 19"/>
                    <a:gd name="T6" fmla="*/ 2 w 52"/>
                    <a:gd name="T7" fmla="*/ 19 h 19"/>
                    <a:gd name="T8" fmla="*/ 1 w 52"/>
                    <a:gd name="T9" fmla="*/ 16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0" y="17"/>
                      </a:cubicBezTo>
                      <a:cubicBezTo>
                        <a:pt x="50" y="18"/>
                        <a:pt x="49" y="19"/>
                        <a:pt x="48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0" y="19"/>
                        <a:pt x="0" y="17"/>
                        <a:pt x="1" y="16"/>
                      </a:cubicBezTo>
                      <a:cubicBezTo>
                        <a:pt x="5" y="12"/>
                        <a:pt x="15" y="3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 75">
                  <a:extLst>
                    <a:ext uri="{FF2B5EF4-FFF2-40B4-BE49-F238E27FC236}">
                      <a16:creationId xmlns:a16="http://schemas.microsoft.com/office/drawing/2014/main" id="{79595E1E-52B9-4BD9-B9D3-BCFFCD605B8D}"/>
                    </a:ext>
                  </a:extLst>
                </p:cNvPr>
                <p:cNvSpPr/>
                <p:nvPr/>
              </p:nvSpPr>
              <p:spPr bwMode="auto">
                <a:xfrm>
                  <a:off x="10008747" y="3199513"/>
                  <a:ext cx="339847" cy="375869"/>
                </a:xfrm>
                <a:custGeom>
                  <a:avLst/>
                  <a:gdLst>
                    <a:gd name="T0" fmla="*/ 112 w 133"/>
                    <a:gd name="T1" fmla="*/ 2 h 147"/>
                    <a:gd name="T2" fmla="*/ 100 w 133"/>
                    <a:gd name="T3" fmla="*/ 14 h 147"/>
                    <a:gd name="T4" fmla="*/ 85 w 133"/>
                    <a:gd name="T5" fmla="*/ 49 h 147"/>
                    <a:gd name="T6" fmla="*/ 4 w 133"/>
                    <a:gd name="T7" fmla="*/ 116 h 147"/>
                    <a:gd name="T8" fmla="*/ 0 w 133"/>
                    <a:gd name="T9" fmla="*/ 117 h 147"/>
                    <a:gd name="T10" fmla="*/ 6 w 133"/>
                    <a:gd name="T11" fmla="*/ 141 h 147"/>
                    <a:gd name="T12" fmla="*/ 7 w 133"/>
                    <a:gd name="T13" fmla="*/ 145 h 147"/>
                    <a:gd name="T14" fmla="*/ 9 w 133"/>
                    <a:gd name="T15" fmla="*/ 147 h 147"/>
                    <a:gd name="T16" fmla="*/ 132 w 133"/>
                    <a:gd name="T17" fmla="*/ 20 h 147"/>
                    <a:gd name="T18" fmla="*/ 112 w 133"/>
                    <a:gd name="T19" fmla="*/ 2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" h="147">
                      <a:moveTo>
                        <a:pt x="112" y="2"/>
                      </a:moveTo>
                      <a:cubicBezTo>
                        <a:pt x="106" y="4"/>
                        <a:pt x="101" y="8"/>
                        <a:pt x="100" y="14"/>
                      </a:cubicBezTo>
                      <a:cubicBezTo>
                        <a:pt x="97" y="23"/>
                        <a:pt x="93" y="35"/>
                        <a:pt x="85" y="49"/>
                      </a:cubicBezTo>
                      <a:cubicBezTo>
                        <a:pt x="71" y="73"/>
                        <a:pt x="47" y="102"/>
                        <a:pt x="4" y="116"/>
                      </a:cubicBezTo>
                      <a:cubicBezTo>
                        <a:pt x="3" y="117"/>
                        <a:pt x="2" y="117"/>
                        <a:pt x="0" y="117"/>
                      </a:cubicBezTo>
                      <a:cubicBezTo>
                        <a:pt x="3" y="125"/>
                        <a:pt x="5" y="133"/>
                        <a:pt x="6" y="141"/>
                      </a:cubicBezTo>
                      <a:cubicBezTo>
                        <a:pt x="7" y="143"/>
                        <a:pt x="7" y="144"/>
                        <a:pt x="7" y="145"/>
                      </a:cubicBezTo>
                      <a:cubicBezTo>
                        <a:pt x="7" y="146"/>
                        <a:pt x="8" y="147"/>
                        <a:pt x="9" y="147"/>
                      </a:cubicBezTo>
                      <a:cubicBezTo>
                        <a:pt x="42" y="140"/>
                        <a:pt x="124" y="99"/>
                        <a:pt x="132" y="20"/>
                      </a:cubicBezTo>
                      <a:cubicBezTo>
                        <a:pt x="133" y="9"/>
                        <a:pt x="123" y="0"/>
                        <a:pt x="112" y="2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76">
                  <a:extLst>
                    <a:ext uri="{FF2B5EF4-FFF2-40B4-BE49-F238E27FC236}">
                      <a16:creationId xmlns:a16="http://schemas.microsoft.com/office/drawing/2014/main" id="{6EE01E76-B3E5-B8F1-3E3B-90BCA93BDF56}"/>
                    </a:ext>
                  </a:extLst>
                </p:cNvPr>
                <p:cNvSpPr/>
                <p:nvPr/>
              </p:nvSpPr>
              <p:spPr bwMode="auto">
                <a:xfrm>
                  <a:off x="10016577" y="3324802"/>
                  <a:ext cx="239615" cy="209859"/>
                </a:xfrm>
                <a:custGeom>
                  <a:avLst/>
                  <a:gdLst>
                    <a:gd name="T0" fmla="*/ 4 w 94"/>
                    <a:gd name="T1" fmla="*/ 75 h 82"/>
                    <a:gd name="T2" fmla="*/ 85 w 94"/>
                    <a:gd name="T3" fmla="*/ 29 h 82"/>
                    <a:gd name="T4" fmla="*/ 82 w 94"/>
                    <a:gd name="T5" fmla="*/ 0 h 82"/>
                    <a:gd name="T6" fmla="*/ 1 w 94"/>
                    <a:gd name="T7" fmla="*/ 67 h 82"/>
                    <a:gd name="T8" fmla="*/ 4 w 94"/>
                    <a:gd name="T9" fmla="*/ 75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82">
                      <a:moveTo>
                        <a:pt x="4" y="75"/>
                      </a:moveTo>
                      <a:cubicBezTo>
                        <a:pt x="20" y="82"/>
                        <a:pt x="73" y="47"/>
                        <a:pt x="85" y="29"/>
                      </a:cubicBezTo>
                      <a:cubicBezTo>
                        <a:pt x="94" y="17"/>
                        <a:pt x="87" y="6"/>
                        <a:pt x="82" y="0"/>
                      </a:cubicBezTo>
                      <a:cubicBezTo>
                        <a:pt x="68" y="24"/>
                        <a:pt x="44" y="53"/>
                        <a:pt x="1" y="67"/>
                      </a:cubicBezTo>
                      <a:cubicBezTo>
                        <a:pt x="0" y="71"/>
                        <a:pt x="1" y="74"/>
                        <a:pt x="4" y="75"/>
                      </a:cubicBezTo>
                      <a:close/>
                    </a:path>
                  </a:pathLst>
                </a:custGeom>
                <a:solidFill>
                  <a:srgbClr val="4472C4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63">
                  <a:extLst>
                    <a:ext uri="{FF2B5EF4-FFF2-40B4-BE49-F238E27FC236}">
                      <a16:creationId xmlns:a16="http://schemas.microsoft.com/office/drawing/2014/main" id="{2DD37239-B30B-C0ED-EB25-5B2899B9E9EF}"/>
                    </a:ext>
                  </a:extLst>
                </p:cNvPr>
                <p:cNvSpPr/>
                <p:nvPr/>
              </p:nvSpPr>
              <p:spPr bwMode="auto">
                <a:xfrm>
                  <a:off x="10162228" y="3442259"/>
                  <a:ext cx="255277" cy="596691"/>
                </a:xfrm>
                <a:custGeom>
                  <a:avLst/>
                  <a:gdLst>
                    <a:gd name="T0" fmla="*/ 26 w 100"/>
                    <a:gd name="T1" fmla="*/ 26 h 233"/>
                    <a:gd name="T2" fmla="*/ 26 w 100"/>
                    <a:gd name="T3" fmla="*/ 233 h 233"/>
                    <a:gd name="T4" fmla="*/ 66 w 100"/>
                    <a:gd name="T5" fmla="*/ 233 h 233"/>
                    <a:gd name="T6" fmla="*/ 100 w 100"/>
                    <a:gd name="T7" fmla="*/ 56 h 233"/>
                    <a:gd name="T8" fmla="*/ 26 w 100"/>
                    <a:gd name="T9" fmla="*/ 2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0" h="233">
                      <a:moveTo>
                        <a:pt x="26" y="26"/>
                      </a:moveTo>
                      <a:cubicBezTo>
                        <a:pt x="26" y="26"/>
                        <a:pt x="0" y="151"/>
                        <a:pt x="26" y="233"/>
                      </a:cubicBezTo>
                      <a:cubicBezTo>
                        <a:pt x="66" y="233"/>
                        <a:pt x="66" y="233"/>
                        <a:pt x="66" y="233"/>
                      </a:cubicBezTo>
                      <a:cubicBezTo>
                        <a:pt x="66" y="233"/>
                        <a:pt x="73" y="81"/>
                        <a:pt x="100" y="56"/>
                      </a:cubicBezTo>
                      <a:cubicBezTo>
                        <a:pt x="100" y="56"/>
                        <a:pt x="86" y="0"/>
                        <a:pt x="26" y="26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70">
                  <a:extLst>
                    <a:ext uri="{FF2B5EF4-FFF2-40B4-BE49-F238E27FC236}">
                      <a16:creationId xmlns:a16="http://schemas.microsoft.com/office/drawing/2014/main" id="{BEB1C9F3-9D46-B38E-85E9-8172A32ABF18}"/>
                    </a:ext>
                  </a:extLst>
                </p:cNvPr>
                <p:cNvSpPr/>
                <p:nvPr/>
              </p:nvSpPr>
              <p:spPr bwMode="auto">
                <a:xfrm>
                  <a:off x="10213908" y="3406241"/>
                  <a:ext cx="295996" cy="632712"/>
                </a:xfrm>
                <a:custGeom>
                  <a:avLst/>
                  <a:gdLst>
                    <a:gd name="T0" fmla="*/ 82 w 116"/>
                    <a:gd name="T1" fmla="*/ 12 h 247"/>
                    <a:gd name="T2" fmla="*/ 93 w 116"/>
                    <a:gd name="T3" fmla="*/ 25 h 247"/>
                    <a:gd name="T4" fmla="*/ 111 w 116"/>
                    <a:gd name="T5" fmla="*/ 95 h 247"/>
                    <a:gd name="T6" fmla="*/ 93 w 116"/>
                    <a:gd name="T7" fmla="*/ 223 h 247"/>
                    <a:gd name="T8" fmla="*/ 67 w 116"/>
                    <a:gd name="T9" fmla="*/ 247 h 247"/>
                    <a:gd name="T10" fmla="*/ 67 w 116"/>
                    <a:gd name="T11" fmla="*/ 247 h 247"/>
                    <a:gd name="T12" fmla="*/ 42 w 116"/>
                    <a:gd name="T13" fmla="*/ 225 h 247"/>
                    <a:gd name="T14" fmla="*/ 48 w 116"/>
                    <a:gd name="T15" fmla="*/ 77 h 247"/>
                    <a:gd name="T16" fmla="*/ 46 w 116"/>
                    <a:gd name="T17" fmla="*/ 77 h 247"/>
                    <a:gd name="T18" fmla="*/ 11 w 116"/>
                    <a:gd name="T19" fmla="*/ 80 h 247"/>
                    <a:gd name="T20" fmla="*/ 7 w 116"/>
                    <a:gd name="T21" fmla="*/ 26 h 247"/>
                    <a:gd name="T22" fmla="*/ 7 w 116"/>
                    <a:gd name="T23" fmla="*/ 25 h 247"/>
                    <a:gd name="T24" fmla="*/ 51 w 116"/>
                    <a:gd name="T25" fmla="*/ 5 h 247"/>
                    <a:gd name="T26" fmla="*/ 82 w 116"/>
                    <a:gd name="T27" fmla="*/ 12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246">
                      <a:moveTo>
                        <a:pt x="82" y="12"/>
                      </a:moveTo>
                      <a:cubicBezTo>
                        <a:pt x="93" y="25"/>
                        <a:pt x="93" y="25"/>
                        <a:pt x="93" y="25"/>
                      </a:cubicBezTo>
                      <a:cubicBezTo>
                        <a:pt x="109" y="44"/>
                        <a:pt x="116" y="70"/>
                        <a:pt x="111" y="95"/>
                      </a:cubicBezTo>
                      <a:cubicBezTo>
                        <a:pt x="104" y="126"/>
                        <a:pt x="97" y="173"/>
                        <a:pt x="93" y="223"/>
                      </a:cubicBezTo>
                      <a:cubicBezTo>
                        <a:pt x="92" y="236"/>
                        <a:pt x="81" y="247"/>
                        <a:pt x="67" y="247"/>
                      </a:cubicBezTo>
                      <a:cubicBezTo>
                        <a:pt x="67" y="247"/>
                        <a:pt x="67" y="247"/>
                        <a:pt x="67" y="247"/>
                      </a:cubicBezTo>
                      <a:cubicBezTo>
                        <a:pt x="55" y="247"/>
                        <a:pt x="44" y="238"/>
                        <a:pt x="42" y="225"/>
                      </a:cubicBezTo>
                      <a:cubicBezTo>
                        <a:pt x="37" y="189"/>
                        <a:pt x="29" y="118"/>
                        <a:pt x="48" y="77"/>
                      </a:cubicBezTo>
                      <a:cubicBezTo>
                        <a:pt x="46" y="77"/>
                        <a:pt x="46" y="77"/>
                        <a:pt x="46" y="77"/>
                      </a:cubicBezTo>
                      <a:cubicBezTo>
                        <a:pt x="36" y="77"/>
                        <a:pt x="18" y="86"/>
                        <a:pt x="11" y="80"/>
                      </a:cubicBezTo>
                      <a:cubicBezTo>
                        <a:pt x="0" y="70"/>
                        <a:pt x="3" y="42"/>
                        <a:pt x="7" y="26"/>
                      </a:cubicBezTo>
                      <a:cubicBezTo>
                        <a:pt x="7" y="26"/>
                        <a:pt x="7" y="25"/>
                        <a:pt x="7" y="2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62" y="0"/>
                        <a:pt x="74" y="3"/>
                        <a:pt x="82" y="12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5">
                  <a:extLst>
                    <a:ext uri="{FF2B5EF4-FFF2-40B4-BE49-F238E27FC236}">
                      <a16:creationId xmlns:a16="http://schemas.microsoft.com/office/drawing/2014/main" id="{582613C3-CD1A-BADF-EE0D-CFB54F409FF8}"/>
                    </a:ext>
                  </a:extLst>
                </p:cNvPr>
                <p:cNvSpPr/>
                <p:nvPr/>
              </p:nvSpPr>
              <p:spPr bwMode="auto">
                <a:xfrm>
                  <a:off x="10215474" y="4015460"/>
                  <a:ext cx="131554" cy="31323"/>
                </a:xfrm>
                <a:custGeom>
                  <a:avLst/>
                  <a:gdLst>
                    <a:gd name="T0" fmla="*/ 49 w 51"/>
                    <a:gd name="T1" fmla="*/ 12 h 12"/>
                    <a:gd name="T2" fmla="*/ 3 w 51"/>
                    <a:gd name="T3" fmla="*/ 12 h 12"/>
                    <a:gd name="T4" fmla="*/ 0 w 51"/>
                    <a:gd name="T5" fmla="*/ 10 h 12"/>
                    <a:gd name="T6" fmla="*/ 0 w 51"/>
                    <a:gd name="T7" fmla="*/ 3 h 12"/>
                    <a:gd name="T8" fmla="*/ 3 w 51"/>
                    <a:gd name="T9" fmla="*/ 0 h 12"/>
                    <a:gd name="T10" fmla="*/ 49 w 51"/>
                    <a:gd name="T11" fmla="*/ 0 h 12"/>
                    <a:gd name="T12" fmla="*/ 51 w 51"/>
                    <a:gd name="T13" fmla="*/ 3 h 12"/>
                    <a:gd name="T14" fmla="*/ 51 w 51"/>
                    <a:gd name="T15" fmla="*/ 10 h 12"/>
                    <a:gd name="T16" fmla="*/ 49 w 51"/>
                    <a:gd name="T1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" h="12">
                      <a:moveTo>
                        <a:pt x="49" y="12"/>
                      </a:move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50" y="0"/>
                        <a:pt x="51" y="1"/>
                        <a:pt x="51" y="3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1"/>
                        <a:pt x="50" y="12"/>
                        <a:pt x="49" y="12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71">
                  <a:extLst>
                    <a:ext uri="{FF2B5EF4-FFF2-40B4-BE49-F238E27FC236}">
                      <a16:creationId xmlns:a16="http://schemas.microsoft.com/office/drawing/2014/main" id="{2F3187D5-2E32-5BE3-CD20-D2251EF7579E}"/>
                    </a:ext>
                  </a:extLst>
                </p:cNvPr>
                <p:cNvSpPr/>
                <p:nvPr/>
              </p:nvSpPr>
              <p:spPr bwMode="auto">
                <a:xfrm>
                  <a:off x="10323538" y="4015460"/>
                  <a:ext cx="128421" cy="31323"/>
                </a:xfrm>
                <a:custGeom>
                  <a:avLst/>
                  <a:gdLst>
                    <a:gd name="T0" fmla="*/ 48 w 50"/>
                    <a:gd name="T1" fmla="*/ 12 h 12"/>
                    <a:gd name="T2" fmla="*/ 2 w 50"/>
                    <a:gd name="T3" fmla="*/ 12 h 12"/>
                    <a:gd name="T4" fmla="*/ 0 w 50"/>
                    <a:gd name="T5" fmla="*/ 10 h 12"/>
                    <a:gd name="T6" fmla="*/ 0 w 50"/>
                    <a:gd name="T7" fmla="*/ 3 h 12"/>
                    <a:gd name="T8" fmla="*/ 2 w 50"/>
                    <a:gd name="T9" fmla="*/ 0 h 12"/>
                    <a:gd name="T10" fmla="*/ 48 w 50"/>
                    <a:gd name="T11" fmla="*/ 0 h 12"/>
                    <a:gd name="T12" fmla="*/ 50 w 50"/>
                    <a:gd name="T13" fmla="*/ 3 h 12"/>
                    <a:gd name="T14" fmla="*/ 50 w 50"/>
                    <a:gd name="T15" fmla="*/ 10 h 12"/>
                    <a:gd name="T16" fmla="*/ 48 w 50"/>
                    <a:gd name="T1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0" h="12">
                      <a:moveTo>
                        <a:pt x="48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9" y="0"/>
                        <a:pt x="50" y="1"/>
                        <a:pt x="50" y="3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50" y="11"/>
                        <a:pt x="49" y="12"/>
                        <a:pt x="48" y="12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73">
                  <a:extLst>
                    <a:ext uri="{FF2B5EF4-FFF2-40B4-BE49-F238E27FC236}">
                      <a16:creationId xmlns:a16="http://schemas.microsoft.com/office/drawing/2014/main" id="{C216432D-7E3E-A2C9-3106-0D298660D99A}"/>
                    </a:ext>
                  </a:extLst>
                </p:cNvPr>
                <p:cNvSpPr/>
                <p:nvPr/>
              </p:nvSpPr>
              <p:spPr bwMode="auto">
                <a:xfrm>
                  <a:off x="10121507" y="3172889"/>
                  <a:ext cx="306959" cy="369604"/>
                </a:xfrm>
                <a:custGeom>
                  <a:avLst/>
                  <a:gdLst>
                    <a:gd name="T0" fmla="*/ 51 w 120"/>
                    <a:gd name="T1" fmla="*/ 8 h 144"/>
                    <a:gd name="T2" fmla="*/ 23 w 120"/>
                    <a:gd name="T3" fmla="*/ 21 h 144"/>
                    <a:gd name="T4" fmla="*/ 5 w 120"/>
                    <a:gd name="T5" fmla="*/ 61 h 144"/>
                    <a:gd name="T6" fmla="*/ 39 w 120"/>
                    <a:gd name="T7" fmla="*/ 144 h 144"/>
                    <a:gd name="T8" fmla="*/ 120 w 120"/>
                    <a:gd name="T9" fmla="*/ 105 h 144"/>
                    <a:gd name="T10" fmla="*/ 95 w 120"/>
                    <a:gd name="T11" fmla="*/ 31 h 144"/>
                    <a:gd name="T12" fmla="*/ 51 w 120"/>
                    <a:gd name="T13" fmla="*/ 8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0" h="144">
                      <a:moveTo>
                        <a:pt x="51" y="8"/>
                      </a:moveTo>
                      <a:cubicBezTo>
                        <a:pt x="40" y="13"/>
                        <a:pt x="32" y="16"/>
                        <a:pt x="23" y="21"/>
                      </a:cubicBezTo>
                      <a:cubicBezTo>
                        <a:pt x="7" y="28"/>
                        <a:pt x="0" y="45"/>
                        <a:pt x="5" y="61"/>
                      </a:cubicBezTo>
                      <a:cubicBezTo>
                        <a:pt x="5" y="62"/>
                        <a:pt x="39" y="144"/>
                        <a:pt x="39" y="144"/>
                      </a:cubicBezTo>
                      <a:cubicBezTo>
                        <a:pt x="120" y="105"/>
                        <a:pt x="120" y="105"/>
                        <a:pt x="120" y="105"/>
                      </a:cubicBezTo>
                      <a:cubicBezTo>
                        <a:pt x="120" y="105"/>
                        <a:pt x="100" y="57"/>
                        <a:pt x="95" y="31"/>
                      </a:cubicBezTo>
                      <a:cubicBezTo>
                        <a:pt x="91" y="11"/>
                        <a:pt x="69" y="0"/>
                        <a:pt x="51" y="8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B69608C7-0C10-110F-D44E-4C57F496B0CF}"/>
                  </a:ext>
                </a:extLst>
              </p:cNvPr>
              <p:cNvGrpSpPr/>
              <p:nvPr/>
            </p:nvGrpSpPr>
            <p:grpSpPr>
              <a:xfrm rot="1806722">
                <a:off x="7333946" y="2249376"/>
                <a:ext cx="1544969" cy="1547813"/>
                <a:chOff x="9104626" y="2828925"/>
                <a:chExt cx="1544969" cy="1547813"/>
              </a:xfrm>
            </p:grpSpPr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30C38073-431E-8A8C-4849-8B246C44E467}"/>
                    </a:ext>
                  </a:extLst>
                </p:cNvPr>
                <p:cNvSpPr/>
                <p:nvPr/>
              </p:nvSpPr>
              <p:spPr>
                <a:xfrm>
                  <a:off x="9757088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1DDB7CEF-199D-F891-9805-CCD780E3AC52}"/>
                    </a:ext>
                  </a:extLst>
                </p:cNvPr>
                <p:cNvSpPr/>
                <p:nvPr/>
              </p:nvSpPr>
              <p:spPr>
                <a:xfrm>
                  <a:off x="9104626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E856929F-D326-D12A-FC36-84AD4370B023}"/>
                    </a:ext>
                  </a:extLst>
                </p:cNvPr>
                <p:cNvSpPr/>
                <p:nvPr/>
              </p:nvSpPr>
              <p:spPr>
                <a:xfrm>
                  <a:off x="9757088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6E32C41D-0A01-31DD-E5A2-1D0F5136F768}"/>
                    </a:ext>
                  </a:extLst>
                </p:cNvPr>
                <p:cNvSpPr/>
                <p:nvPr/>
              </p:nvSpPr>
              <p:spPr>
                <a:xfrm>
                  <a:off x="9104626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FAF9E17-CCB8-B355-AD9C-F4D9B4DC8115}"/>
                    </a:ext>
                  </a:extLst>
                </p:cNvPr>
                <p:cNvSpPr/>
                <p:nvPr/>
              </p:nvSpPr>
              <p:spPr>
                <a:xfrm>
                  <a:off x="9757088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4D40FB81-0237-C46F-03AD-66B8EBB0408F}"/>
                    </a:ext>
                  </a:extLst>
                </p:cNvPr>
                <p:cNvSpPr/>
                <p:nvPr/>
              </p:nvSpPr>
              <p:spPr>
                <a:xfrm>
                  <a:off x="9757088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DE4A94F6-297C-221D-6B61-0DFCADE46C7C}"/>
                    </a:ext>
                  </a:extLst>
                </p:cNvPr>
                <p:cNvSpPr/>
                <p:nvPr/>
              </p:nvSpPr>
              <p:spPr>
                <a:xfrm>
                  <a:off x="9104626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06FD2FCB-DA82-C2B1-9C0E-C93FD23D3AA2}"/>
                    </a:ext>
                  </a:extLst>
                </p:cNvPr>
                <p:cNvSpPr/>
                <p:nvPr/>
              </p:nvSpPr>
              <p:spPr>
                <a:xfrm>
                  <a:off x="9104626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AA85156E-AF90-97C9-6797-565F5F4B3AF8}"/>
                  </a:ext>
                </a:extLst>
              </p:cNvPr>
              <p:cNvGrpSpPr/>
              <p:nvPr/>
            </p:nvGrpSpPr>
            <p:grpSpPr>
              <a:xfrm rot="21071440">
                <a:off x="8192093" y="3058245"/>
                <a:ext cx="1621666" cy="1978529"/>
                <a:chOff x="5349701" y="2784078"/>
                <a:chExt cx="1990979" cy="2429113"/>
              </a:xfrm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46A53ADC-9E2B-3B6D-A9D0-915A9E197E72}"/>
                    </a:ext>
                  </a:extLst>
                </p:cNvPr>
                <p:cNvSpPr/>
                <p:nvPr/>
              </p:nvSpPr>
              <p:spPr>
                <a:xfrm>
                  <a:off x="5349701" y="2784078"/>
                  <a:ext cx="1990979" cy="2429113"/>
                </a:xfrm>
                <a:custGeom>
                  <a:avLst/>
                  <a:gdLst>
                    <a:gd name="connsiteX0" fmla="*/ 101536 w 2019316"/>
                    <a:gd name="connsiteY0" fmla="*/ 12411 h 2425252"/>
                    <a:gd name="connsiteX1" fmla="*/ 1422336 w 2019316"/>
                    <a:gd name="connsiteY1" fmla="*/ 6061 h 2425252"/>
                    <a:gd name="connsiteX2" fmla="*/ 1498536 w 2019316"/>
                    <a:gd name="connsiteY2" fmla="*/ 31461 h 2425252"/>
                    <a:gd name="connsiteX3" fmla="*/ 1523936 w 2019316"/>
                    <a:gd name="connsiteY3" fmla="*/ 63211 h 2425252"/>
                    <a:gd name="connsiteX4" fmla="*/ 1530286 w 2019316"/>
                    <a:gd name="connsiteY4" fmla="*/ 82261 h 2425252"/>
                    <a:gd name="connsiteX5" fmla="*/ 1549336 w 2019316"/>
                    <a:gd name="connsiteY5" fmla="*/ 101311 h 2425252"/>
                    <a:gd name="connsiteX6" fmla="*/ 1562036 w 2019316"/>
                    <a:gd name="connsiteY6" fmla="*/ 120361 h 2425252"/>
                    <a:gd name="connsiteX7" fmla="*/ 1581086 w 2019316"/>
                    <a:gd name="connsiteY7" fmla="*/ 145761 h 2425252"/>
                    <a:gd name="connsiteX8" fmla="*/ 1593786 w 2019316"/>
                    <a:gd name="connsiteY8" fmla="*/ 164811 h 2425252"/>
                    <a:gd name="connsiteX9" fmla="*/ 1625536 w 2019316"/>
                    <a:gd name="connsiteY9" fmla="*/ 196561 h 2425252"/>
                    <a:gd name="connsiteX10" fmla="*/ 1644586 w 2019316"/>
                    <a:gd name="connsiteY10" fmla="*/ 221961 h 2425252"/>
                    <a:gd name="connsiteX11" fmla="*/ 1669986 w 2019316"/>
                    <a:gd name="connsiteY11" fmla="*/ 247361 h 2425252"/>
                    <a:gd name="connsiteX12" fmla="*/ 1682686 w 2019316"/>
                    <a:gd name="connsiteY12" fmla="*/ 272761 h 2425252"/>
                    <a:gd name="connsiteX13" fmla="*/ 1720786 w 2019316"/>
                    <a:gd name="connsiteY13" fmla="*/ 317211 h 2425252"/>
                    <a:gd name="connsiteX14" fmla="*/ 1796986 w 2019316"/>
                    <a:gd name="connsiteY14" fmla="*/ 374361 h 2425252"/>
                    <a:gd name="connsiteX15" fmla="*/ 1816036 w 2019316"/>
                    <a:gd name="connsiteY15" fmla="*/ 393411 h 2425252"/>
                    <a:gd name="connsiteX16" fmla="*/ 1885886 w 2019316"/>
                    <a:gd name="connsiteY16" fmla="*/ 437861 h 2425252"/>
                    <a:gd name="connsiteX17" fmla="*/ 1911286 w 2019316"/>
                    <a:gd name="connsiteY17" fmla="*/ 463261 h 2425252"/>
                    <a:gd name="connsiteX18" fmla="*/ 1943036 w 2019316"/>
                    <a:gd name="connsiteY18" fmla="*/ 475961 h 2425252"/>
                    <a:gd name="connsiteX19" fmla="*/ 1974786 w 2019316"/>
                    <a:gd name="connsiteY19" fmla="*/ 501361 h 2425252"/>
                    <a:gd name="connsiteX20" fmla="*/ 1974786 w 2019316"/>
                    <a:gd name="connsiteY20" fmla="*/ 1968211 h 2425252"/>
                    <a:gd name="connsiteX21" fmla="*/ 1968436 w 2019316"/>
                    <a:gd name="connsiteY21" fmla="*/ 2374611 h 2425252"/>
                    <a:gd name="connsiteX22" fmla="*/ 1390586 w 2019316"/>
                    <a:gd name="connsiteY22" fmla="*/ 2380961 h 2425252"/>
                    <a:gd name="connsiteX23" fmla="*/ 730186 w 2019316"/>
                    <a:gd name="connsiteY23" fmla="*/ 2387311 h 2425252"/>
                    <a:gd name="connsiteX24" fmla="*/ 101536 w 2019316"/>
                    <a:gd name="connsiteY24" fmla="*/ 2387311 h 2425252"/>
                    <a:gd name="connsiteX25" fmla="*/ 95186 w 2019316"/>
                    <a:gd name="connsiteY25" fmla="*/ 2342861 h 2425252"/>
                    <a:gd name="connsiteX26" fmla="*/ 88836 w 2019316"/>
                    <a:gd name="connsiteY26" fmla="*/ 2323811 h 2425252"/>
                    <a:gd name="connsiteX27" fmla="*/ 95186 w 2019316"/>
                    <a:gd name="connsiteY27" fmla="*/ 2234911 h 2425252"/>
                    <a:gd name="connsiteX28" fmla="*/ 107886 w 2019316"/>
                    <a:gd name="connsiteY28" fmla="*/ 2133311 h 2425252"/>
                    <a:gd name="connsiteX29" fmla="*/ 101536 w 2019316"/>
                    <a:gd name="connsiteY29" fmla="*/ 1930111 h 2425252"/>
                    <a:gd name="connsiteX30" fmla="*/ 88836 w 2019316"/>
                    <a:gd name="connsiteY30" fmla="*/ 1174461 h 2425252"/>
                    <a:gd name="connsiteX31" fmla="*/ 82486 w 2019316"/>
                    <a:gd name="connsiteY31" fmla="*/ 1104611 h 2425252"/>
                    <a:gd name="connsiteX32" fmla="*/ 76136 w 2019316"/>
                    <a:gd name="connsiteY32" fmla="*/ 1072861 h 2425252"/>
                    <a:gd name="connsiteX33" fmla="*/ 63436 w 2019316"/>
                    <a:gd name="connsiteY33" fmla="*/ 926811 h 2425252"/>
                    <a:gd name="connsiteX34" fmla="*/ 44386 w 2019316"/>
                    <a:gd name="connsiteY34" fmla="*/ 361661 h 2425252"/>
                    <a:gd name="connsiteX35" fmla="*/ 88836 w 2019316"/>
                    <a:gd name="connsiteY35" fmla="*/ 6061 h 2425252"/>
                    <a:gd name="connsiteX36" fmla="*/ 101536 w 2019316"/>
                    <a:gd name="connsiteY36" fmla="*/ 12411 h 2425252"/>
                    <a:gd name="connsiteX0" fmla="*/ 76535 w 2007015"/>
                    <a:gd name="connsiteY0" fmla="*/ 27307 h 2446498"/>
                    <a:gd name="connsiteX1" fmla="*/ 1410035 w 2007015"/>
                    <a:gd name="connsiteY1" fmla="*/ 27307 h 2446498"/>
                    <a:gd name="connsiteX2" fmla="*/ 1486235 w 2007015"/>
                    <a:gd name="connsiteY2" fmla="*/ 52707 h 2446498"/>
                    <a:gd name="connsiteX3" fmla="*/ 1511635 w 2007015"/>
                    <a:gd name="connsiteY3" fmla="*/ 84457 h 2446498"/>
                    <a:gd name="connsiteX4" fmla="*/ 1517985 w 2007015"/>
                    <a:gd name="connsiteY4" fmla="*/ 103507 h 2446498"/>
                    <a:gd name="connsiteX5" fmla="*/ 1537035 w 2007015"/>
                    <a:gd name="connsiteY5" fmla="*/ 122557 h 2446498"/>
                    <a:gd name="connsiteX6" fmla="*/ 1549735 w 2007015"/>
                    <a:gd name="connsiteY6" fmla="*/ 141607 h 2446498"/>
                    <a:gd name="connsiteX7" fmla="*/ 1568785 w 2007015"/>
                    <a:gd name="connsiteY7" fmla="*/ 167007 h 2446498"/>
                    <a:gd name="connsiteX8" fmla="*/ 1581485 w 2007015"/>
                    <a:gd name="connsiteY8" fmla="*/ 186057 h 2446498"/>
                    <a:gd name="connsiteX9" fmla="*/ 1613235 w 2007015"/>
                    <a:gd name="connsiteY9" fmla="*/ 217807 h 2446498"/>
                    <a:gd name="connsiteX10" fmla="*/ 1632285 w 2007015"/>
                    <a:gd name="connsiteY10" fmla="*/ 243207 h 2446498"/>
                    <a:gd name="connsiteX11" fmla="*/ 1657685 w 2007015"/>
                    <a:gd name="connsiteY11" fmla="*/ 268607 h 2446498"/>
                    <a:gd name="connsiteX12" fmla="*/ 1670385 w 2007015"/>
                    <a:gd name="connsiteY12" fmla="*/ 294007 h 2446498"/>
                    <a:gd name="connsiteX13" fmla="*/ 1708485 w 2007015"/>
                    <a:gd name="connsiteY13" fmla="*/ 338457 h 2446498"/>
                    <a:gd name="connsiteX14" fmla="*/ 1784685 w 2007015"/>
                    <a:gd name="connsiteY14" fmla="*/ 395607 h 2446498"/>
                    <a:gd name="connsiteX15" fmla="*/ 1803735 w 2007015"/>
                    <a:gd name="connsiteY15" fmla="*/ 414657 h 2446498"/>
                    <a:gd name="connsiteX16" fmla="*/ 1873585 w 2007015"/>
                    <a:gd name="connsiteY16" fmla="*/ 459107 h 2446498"/>
                    <a:gd name="connsiteX17" fmla="*/ 1898985 w 2007015"/>
                    <a:gd name="connsiteY17" fmla="*/ 484507 h 2446498"/>
                    <a:gd name="connsiteX18" fmla="*/ 1930735 w 2007015"/>
                    <a:gd name="connsiteY18" fmla="*/ 497207 h 2446498"/>
                    <a:gd name="connsiteX19" fmla="*/ 1962485 w 2007015"/>
                    <a:gd name="connsiteY19" fmla="*/ 522607 h 2446498"/>
                    <a:gd name="connsiteX20" fmla="*/ 1962485 w 2007015"/>
                    <a:gd name="connsiteY20" fmla="*/ 1989457 h 2446498"/>
                    <a:gd name="connsiteX21" fmla="*/ 1956135 w 2007015"/>
                    <a:gd name="connsiteY21" fmla="*/ 2395857 h 2446498"/>
                    <a:gd name="connsiteX22" fmla="*/ 1378285 w 2007015"/>
                    <a:gd name="connsiteY22" fmla="*/ 2402207 h 2446498"/>
                    <a:gd name="connsiteX23" fmla="*/ 717885 w 2007015"/>
                    <a:gd name="connsiteY23" fmla="*/ 2408557 h 2446498"/>
                    <a:gd name="connsiteX24" fmla="*/ 89235 w 2007015"/>
                    <a:gd name="connsiteY24" fmla="*/ 2408557 h 2446498"/>
                    <a:gd name="connsiteX25" fmla="*/ 82885 w 2007015"/>
                    <a:gd name="connsiteY25" fmla="*/ 2364107 h 2446498"/>
                    <a:gd name="connsiteX26" fmla="*/ 76535 w 2007015"/>
                    <a:gd name="connsiteY26" fmla="*/ 2345057 h 2446498"/>
                    <a:gd name="connsiteX27" fmla="*/ 82885 w 2007015"/>
                    <a:gd name="connsiteY27" fmla="*/ 2256157 h 2446498"/>
                    <a:gd name="connsiteX28" fmla="*/ 95585 w 2007015"/>
                    <a:gd name="connsiteY28" fmla="*/ 2154557 h 2446498"/>
                    <a:gd name="connsiteX29" fmla="*/ 89235 w 2007015"/>
                    <a:gd name="connsiteY29" fmla="*/ 1951357 h 2446498"/>
                    <a:gd name="connsiteX30" fmla="*/ 76535 w 2007015"/>
                    <a:gd name="connsiteY30" fmla="*/ 1195707 h 2446498"/>
                    <a:gd name="connsiteX31" fmla="*/ 70185 w 2007015"/>
                    <a:gd name="connsiteY31" fmla="*/ 1125857 h 2446498"/>
                    <a:gd name="connsiteX32" fmla="*/ 63835 w 2007015"/>
                    <a:gd name="connsiteY32" fmla="*/ 1094107 h 2446498"/>
                    <a:gd name="connsiteX33" fmla="*/ 51135 w 2007015"/>
                    <a:gd name="connsiteY33" fmla="*/ 948057 h 2446498"/>
                    <a:gd name="connsiteX34" fmla="*/ 32085 w 2007015"/>
                    <a:gd name="connsiteY34" fmla="*/ 382907 h 2446498"/>
                    <a:gd name="connsiteX35" fmla="*/ 76535 w 2007015"/>
                    <a:gd name="connsiteY35" fmla="*/ 27307 h 2446498"/>
                    <a:gd name="connsiteX0" fmla="*/ 109872 w 2040352"/>
                    <a:gd name="connsiteY0" fmla="*/ 18388 h 2437579"/>
                    <a:gd name="connsiteX1" fmla="*/ 1443372 w 2040352"/>
                    <a:gd name="connsiteY1" fmla="*/ 18388 h 2437579"/>
                    <a:gd name="connsiteX2" fmla="*/ 1519572 w 2040352"/>
                    <a:gd name="connsiteY2" fmla="*/ 43788 h 2437579"/>
                    <a:gd name="connsiteX3" fmla="*/ 1544972 w 2040352"/>
                    <a:gd name="connsiteY3" fmla="*/ 75538 h 2437579"/>
                    <a:gd name="connsiteX4" fmla="*/ 1551322 w 2040352"/>
                    <a:gd name="connsiteY4" fmla="*/ 94588 h 2437579"/>
                    <a:gd name="connsiteX5" fmla="*/ 1570372 w 2040352"/>
                    <a:gd name="connsiteY5" fmla="*/ 113638 h 2437579"/>
                    <a:gd name="connsiteX6" fmla="*/ 1583072 w 2040352"/>
                    <a:gd name="connsiteY6" fmla="*/ 132688 h 2437579"/>
                    <a:gd name="connsiteX7" fmla="*/ 1602122 w 2040352"/>
                    <a:gd name="connsiteY7" fmla="*/ 158088 h 2437579"/>
                    <a:gd name="connsiteX8" fmla="*/ 1614822 w 2040352"/>
                    <a:gd name="connsiteY8" fmla="*/ 177138 h 2437579"/>
                    <a:gd name="connsiteX9" fmla="*/ 1646572 w 2040352"/>
                    <a:gd name="connsiteY9" fmla="*/ 208888 h 2437579"/>
                    <a:gd name="connsiteX10" fmla="*/ 1665622 w 2040352"/>
                    <a:gd name="connsiteY10" fmla="*/ 234288 h 2437579"/>
                    <a:gd name="connsiteX11" fmla="*/ 1691022 w 2040352"/>
                    <a:gd name="connsiteY11" fmla="*/ 259688 h 2437579"/>
                    <a:gd name="connsiteX12" fmla="*/ 1703722 w 2040352"/>
                    <a:gd name="connsiteY12" fmla="*/ 285088 h 2437579"/>
                    <a:gd name="connsiteX13" fmla="*/ 1741822 w 2040352"/>
                    <a:gd name="connsiteY13" fmla="*/ 329538 h 2437579"/>
                    <a:gd name="connsiteX14" fmla="*/ 1818022 w 2040352"/>
                    <a:gd name="connsiteY14" fmla="*/ 386688 h 2437579"/>
                    <a:gd name="connsiteX15" fmla="*/ 1837072 w 2040352"/>
                    <a:gd name="connsiteY15" fmla="*/ 405738 h 2437579"/>
                    <a:gd name="connsiteX16" fmla="*/ 1906922 w 2040352"/>
                    <a:gd name="connsiteY16" fmla="*/ 450188 h 2437579"/>
                    <a:gd name="connsiteX17" fmla="*/ 1932322 w 2040352"/>
                    <a:gd name="connsiteY17" fmla="*/ 475588 h 2437579"/>
                    <a:gd name="connsiteX18" fmla="*/ 1964072 w 2040352"/>
                    <a:gd name="connsiteY18" fmla="*/ 488288 h 2437579"/>
                    <a:gd name="connsiteX19" fmla="*/ 1995822 w 2040352"/>
                    <a:gd name="connsiteY19" fmla="*/ 513688 h 2437579"/>
                    <a:gd name="connsiteX20" fmla="*/ 1995822 w 2040352"/>
                    <a:gd name="connsiteY20" fmla="*/ 1980538 h 2437579"/>
                    <a:gd name="connsiteX21" fmla="*/ 1989472 w 2040352"/>
                    <a:gd name="connsiteY21" fmla="*/ 2386938 h 2437579"/>
                    <a:gd name="connsiteX22" fmla="*/ 1411622 w 2040352"/>
                    <a:gd name="connsiteY22" fmla="*/ 2393288 h 2437579"/>
                    <a:gd name="connsiteX23" fmla="*/ 751222 w 2040352"/>
                    <a:gd name="connsiteY23" fmla="*/ 2399638 h 2437579"/>
                    <a:gd name="connsiteX24" fmla="*/ 122572 w 2040352"/>
                    <a:gd name="connsiteY24" fmla="*/ 2399638 h 2437579"/>
                    <a:gd name="connsiteX25" fmla="*/ 116222 w 2040352"/>
                    <a:gd name="connsiteY25" fmla="*/ 2355188 h 2437579"/>
                    <a:gd name="connsiteX26" fmla="*/ 109872 w 2040352"/>
                    <a:gd name="connsiteY26" fmla="*/ 2336138 h 2437579"/>
                    <a:gd name="connsiteX27" fmla="*/ 116222 w 2040352"/>
                    <a:gd name="connsiteY27" fmla="*/ 2247238 h 2437579"/>
                    <a:gd name="connsiteX28" fmla="*/ 128922 w 2040352"/>
                    <a:gd name="connsiteY28" fmla="*/ 2145638 h 2437579"/>
                    <a:gd name="connsiteX29" fmla="*/ 122572 w 2040352"/>
                    <a:gd name="connsiteY29" fmla="*/ 1942438 h 2437579"/>
                    <a:gd name="connsiteX30" fmla="*/ 109872 w 2040352"/>
                    <a:gd name="connsiteY30" fmla="*/ 1186788 h 2437579"/>
                    <a:gd name="connsiteX31" fmla="*/ 103522 w 2040352"/>
                    <a:gd name="connsiteY31" fmla="*/ 1116938 h 2437579"/>
                    <a:gd name="connsiteX32" fmla="*/ 97172 w 2040352"/>
                    <a:gd name="connsiteY32" fmla="*/ 1085188 h 2437579"/>
                    <a:gd name="connsiteX33" fmla="*/ 84472 w 2040352"/>
                    <a:gd name="connsiteY33" fmla="*/ 939138 h 2437579"/>
                    <a:gd name="connsiteX34" fmla="*/ 65422 w 2040352"/>
                    <a:gd name="connsiteY34" fmla="*/ 373988 h 2437579"/>
                    <a:gd name="connsiteX35" fmla="*/ 109872 w 2040352"/>
                    <a:gd name="connsiteY35" fmla="*/ 18388 h 2437579"/>
                    <a:gd name="connsiteX0" fmla="*/ 60499 w 1990979"/>
                    <a:gd name="connsiteY0" fmla="*/ 9922 h 2429113"/>
                    <a:gd name="connsiteX1" fmla="*/ 1393999 w 1990979"/>
                    <a:gd name="connsiteY1" fmla="*/ 9922 h 2429113"/>
                    <a:gd name="connsiteX2" fmla="*/ 1470199 w 1990979"/>
                    <a:gd name="connsiteY2" fmla="*/ 35322 h 2429113"/>
                    <a:gd name="connsiteX3" fmla="*/ 1495599 w 1990979"/>
                    <a:gd name="connsiteY3" fmla="*/ 67072 h 2429113"/>
                    <a:gd name="connsiteX4" fmla="*/ 1501949 w 1990979"/>
                    <a:gd name="connsiteY4" fmla="*/ 86122 h 2429113"/>
                    <a:gd name="connsiteX5" fmla="*/ 1520999 w 1990979"/>
                    <a:gd name="connsiteY5" fmla="*/ 105172 h 2429113"/>
                    <a:gd name="connsiteX6" fmla="*/ 1533699 w 1990979"/>
                    <a:gd name="connsiteY6" fmla="*/ 124222 h 2429113"/>
                    <a:gd name="connsiteX7" fmla="*/ 1552749 w 1990979"/>
                    <a:gd name="connsiteY7" fmla="*/ 149622 h 2429113"/>
                    <a:gd name="connsiteX8" fmla="*/ 1565449 w 1990979"/>
                    <a:gd name="connsiteY8" fmla="*/ 168672 h 2429113"/>
                    <a:gd name="connsiteX9" fmla="*/ 1597199 w 1990979"/>
                    <a:gd name="connsiteY9" fmla="*/ 200422 h 2429113"/>
                    <a:gd name="connsiteX10" fmla="*/ 1616249 w 1990979"/>
                    <a:gd name="connsiteY10" fmla="*/ 225822 h 2429113"/>
                    <a:gd name="connsiteX11" fmla="*/ 1641649 w 1990979"/>
                    <a:gd name="connsiteY11" fmla="*/ 251222 h 2429113"/>
                    <a:gd name="connsiteX12" fmla="*/ 1654349 w 1990979"/>
                    <a:gd name="connsiteY12" fmla="*/ 276622 h 2429113"/>
                    <a:gd name="connsiteX13" fmla="*/ 1692449 w 1990979"/>
                    <a:gd name="connsiteY13" fmla="*/ 321072 h 2429113"/>
                    <a:gd name="connsiteX14" fmla="*/ 1768649 w 1990979"/>
                    <a:gd name="connsiteY14" fmla="*/ 378222 h 2429113"/>
                    <a:gd name="connsiteX15" fmla="*/ 1787699 w 1990979"/>
                    <a:gd name="connsiteY15" fmla="*/ 397272 h 2429113"/>
                    <a:gd name="connsiteX16" fmla="*/ 1857549 w 1990979"/>
                    <a:gd name="connsiteY16" fmla="*/ 441722 h 2429113"/>
                    <a:gd name="connsiteX17" fmla="*/ 1882949 w 1990979"/>
                    <a:gd name="connsiteY17" fmla="*/ 467122 h 2429113"/>
                    <a:gd name="connsiteX18" fmla="*/ 1914699 w 1990979"/>
                    <a:gd name="connsiteY18" fmla="*/ 479822 h 2429113"/>
                    <a:gd name="connsiteX19" fmla="*/ 1946449 w 1990979"/>
                    <a:gd name="connsiteY19" fmla="*/ 505222 h 2429113"/>
                    <a:gd name="connsiteX20" fmla="*/ 1946449 w 1990979"/>
                    <a:gd name="connsiteY20" fmla="*/ 1972072 h 2429113"/>
                    <a:gd name="connsiteX21" fmla="*/ 1940099 w 1990979"/>
                    <a:gd name="connsiteY21" fmla="*/ 2378472 h 2429113"/>
                    <a:gd name="connsiteX22" fmla="*/ 1362249 w 1990979"/>
                    <a:gd name="connsiteY22" fmla="*/ 2384822 h 2429113"/>
                    <a:gd name="connsiteX23" fmla="*/ 701849 w 1990979"/>
                    <a:gd name="connsiteY23" fmla="*/ 2391172 h 2429113"/>
                    <a:gd name="connsiteX24" fmla="*/ 73199 w 1990979"/>
                    <a:gd name="connsiteY24" fmla="*/ 2391172 h 2429113"/>
                    <a:gd name="connsiteX25" fmla="*/ 66849 w 1990979"/>
                    <a:gd name="connsiteY25" fmla="*/ 2346722 h 2429113"/>
                    <a:gd name="connsiteX26" fmla="*/ 60499 w 1990979"/>
                    <a:gd name="connsiteY26" fmla="*/ 2327672 h 2429113"/>
                    <a:gd name="connsiteX27" fmla="*/ 66849 w 1990979"/>
                    <a:gd name="connsiteY27" fmla="*/ 2238772 h 2429113"/>
                    <a:gd name="connsiteX28" fmla="*/ 79549 w 1990979"/>
                    <a:gd name="connsiteY28" fmla="*/ 2137172 h 2429113"/>
                    <a:gd name="connsiteX29" fmla="*/ 73199 w 1990979"/>
                    <a:gd name="connsiteY29" fmla="*/ 1933972 h 2429113"/>
                    <a:gd name="connsiteX30" fmla="*/ 60499 w 1990979"/>
                    <a:gd name="connsiteY30" fmla="*/ 1178322 h 2429113"/>
                    <a:gd name="connsiteX31" fmla="*/ 54149 w 1990979"/>
                    <a:gd name="connsiteY31" fmla="*/ 1108472 h 2429113"/>
                    <a:gd name="connsiteX32" fmla="*/ 47799 w 1990979"/>
                    <a:gd name="connsiteY32" fmla="*/ 1076722 h 2429113"/>
                    <a:gd name="connsiteX33" fmla="*/ 35099 w 1990979"/>
                    <a:gd name="connsiteY33" fmla="*/ 930672 h 2429113"/>
                    <a:gd name="connsiteX34" fmla="*/ 16049 w 1990979"/>
                    <a:gd name="connsiteY34" fmla="*/ 365522 h 2429113"/>
                    <a:gd name="connsiteX35" fmla="*/ 60499 w 1990979"/>
                    <a:gd name="connsiteY35" fmla="*/ 9922 h 2429113"/>
                    <a:gd name="connsiteX0" fmla="*/ 60499 w 1990979"/>
                    <a:gd name="connsiteY0" fmla="*/ 9922 h 2429113"/>
                    <a:gd name="connsiteX1" fmla="*/ 1393999 w 1990979"/>
                    <a:gd name="connsiteY1" fmla="*/ 9922 h 2429113"/>
                    <a:gd name="connsiteX2" fmla="*/ 1470199 w 1990979"/>
                    <a:gd name="connsiteY2" fmla="*/ 35322 h 2429113"/>
                    <a:gd name="connsiteX3" fmla="*/ 1495599 w 1990979"/>
                    <a:gd name="connsiteY3" fmla="*/ 67072 h 2429113"/>
                    <a:gd name="connsiteX4" fmla="*/ 1501949 w 1990979"/>
                    <a:gd name="connsiteY4" fmla="*/ 86122 h 2429113"/>
                    <a:gd name="connsiteX5" fmla="*/ 1520999 w 1990979"/>
                    <a:gd name="connsiteY5" fmla="*/ 105172 h 2429113"/>
                    <a:gd name="connsiteX6" fmla="*/ 1533699 w 1990979"/>
                    <a:gd name="connsiteY6" fmla="*/ 124222 h 2429113"/>
                    <a:gd name="connsiteX7" fmla="*/ 1552749 w 1990979"/>
                    <a:gd name="connsiteY7" fmla="*/ 149622 h 2429113"/>
                    <a:gd name="connsiteX8" fmla="*/ 1565449 w 1990979"/>
                    <a:gd name="connsiteY8" fmla="*/ 168672 h 2429113"/>
                    <a:gd name="connsiteX9" fmla="*/ 1597199 w 1990979"/>
                    <a:gd name="connsiteY9" fmla="*/ 200422 h 2429113"/>
                    <a:gd name="connsiteX10" fmla="*/ 1616249 w 1990979"/>
                    <a:gd name="connsiteY10" fmla="*/ 225822 h 2429113"/>
                    <a:gd name="connsiteX11" fmla="*/ 1641649 w 1990979"/>
                    <a:gd name="connsiteY11" fmla="*/ 251222 h 2429113"/>
                    <a:gd name="connsiteX12" fmla="*/ 1654349 w 1990979"/>
                    <a:gd name="connsiteY12" fmla="*/ 276622 h 2429113"/>
                    <a:gd name="connsiteX13" fmla="*/ 1692449 w 1990979"/>
                    <a:gd name="connsiteY13" fmla="*/ 321072 h 2429113"/>
                    <a:gd name="connsiteX14" fmla="*/ 1768649 w 1990979"/>
                    <a:gd name="connsiteY14" fmla="*/ 378222 h 2429113"/>
                    <a:gd name="connsiteX15" fmla="*/ 1787699 w 1990979"/>
                    <a:gd name="connsiteY15" fmla="*/ 397272 h 2429113"/>
                    <a:gd name="connsiteX16" fmla="*/ 1857549 w 1990979"/>
                    <a:gd name="connsiteY16" fmla="*/ 441722 h 2429113"/>
                    <a:gd name="connsiteX17" fmla="*/ 1882949 w 1990979"/>
                    <a:gd name="connsiteY17" fmla="*/ 467122 h 2429113"/>
                    <a:gd name="connsiteX18" fmla="*/ 1914699 w 1990979"/>
                    <a:gd name="connsiteY18" fmla="*/ 479822 h 2429113"/>
                    <a:gd name="connsiteX19" fmla="*/ 1946449 w 1990979"/>
                    <a:gd name="connsiteY19" fmla="*/ 505222 h 2429113"/>
                    <a:gd name="connsiteX20" fmla="*/ 1946449 w 1990979"/>
                    <a:gd name="connsiteY20" fmla="*/ 1972072 h 2429113"/>
                    <a:gd name="connsiteX21" fmla="*/ 1940099 w 1990979"/>
                    <a:gd name="connsiteY21" fmla="*/ 2378472 h 2429113"/>
                    <a:gd name="connsiteX22" fmla="*/ 1362249 w 1990979"/>
                    <a:gd name="connsiteY22" fmla="*/ 2384822 h 2429113"/>
                    <a:gd name="connsiteX23" fmla="*/ 701849 w 1990979"/>
                    <a:gd name="connsiteY23" fmla="*/ 2391172 h 2429113"/>
                    <a:gd name="connsiteX24" fmla="*/ 73199 w 1990979"/>
                    <a:gd name="connsiteY24" fmla="*/ 2391172 h 2429113"/>
                    <a:gd name="connsiteX25" fmla="*/ 66849 w 1990979"/>
                    <a:gd name="connsiteY25" fmla="*/ 2346722 h 2429113"/>
                    <a:gd name="connsiteX26" fmla="*/ 60499 w 1990979"/>
                    <a:gd name="connsiteY26" fmla="*/ 2327672 h 2429113"/>
                    <a:gd name="connsiteX27" fmla="*/ 66849 w 1990979"/>
                    <a:gd name="connsiteY27" fmla="*/ 2238772 h 2429113"/>
                    <a:gd name="connsiteX28" fmla="*/ 79549 w 1990979"/>
                    <a:gd name="connsiteY28" fmla="*/ 2137172 h 2429113"/>
                    <a:gd name="connsiteX29" fmla="*/ 73199 w 1990979"/>
                    <a:gd name="connsiteY29" fmla="*/ 1933972 h 2429113"/>
                    <a:gd name="connsiteX30" fmla="*/ 60499 w 1990979"/>
                    <a:gd name="connsiteY30" fmla="*/ 1178322 h 2429113"/>
                    <a:gd name="connsiteX31" fmla="*/ 54149 w 1990979"/>
                    <a:gd name="connsiteY31" fmla="*/ 1108472 h 2429113"/>
                    <a:gd name="connsiteX32" fmla="*/ 47799 w 1990979"/>
                    <a:gd name="connsiteY32" fmla="*/ 1076722 h 2429113"/>
                    <a:gd name="connsiteX33" fmla="*/ 16049 w 1990979"/>
                    <a:gd name="connsiteY33" fmla="*/ 365522 h 2429113"/>
                    <a:gd name="connsiteX34" fmla="*/ 60499 w 1990979"/>
                    <a:gd name="connsiteY34" fmla="*/ 9922 h 2429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990979" h="2429113">
                      <a:moveTo>
                        <a:pt x="60499" y="9922"/>
                      </a:moveTo>
                      <a:cubicBezTo>
                        <a:pt x="283807" y="20505"/>
                        <a:pt x="1159049" y="5689"/>
                        <a:pt x="1393999" y="9922"/>
                      </a:cubicBezTo>
                      <a:cubicBezTo>
                        <a:pt x="1628949" y="14155"/>
                        <a:pt x="1444901" y="22673"/>
                        <a:pt x="1470199" y="35322"/>
                      </a:cubicBezTo>
                      <a:cubicBezTo>
                        <a:pt x="1478666" y="45905"/>
                        <a:pt x="1488416" y="55579"/>
                        <a:pt x="1495599" y="67072"/>
                      </a:cubicBezTo>
                      <a:cubicBezTo>
                        <a:pt x="1499147" y="72748"/>
                        <a:pt x="1498236" y="80553"/>
                        <a:pt x="1501949" y="86122"/>
                      </a:cubicBezTo>
                      <a:cubicBezTo>
                        <a:pt x="1506930" y="93594"/>
                        <a:pt x="1515250" y="98273"/>
                        <a:pt x="1520999" y="105172"/>
                      </a:cubicBezTo>
                      <a:cubicBezTo>
                        <a:pt x="1525885" y="111035"/>
                        <a:pt x="1529263" y="118012"/>
                        <a:pt x="1533699" y="124222"/>
                      </a:cubicBezTo>
                      <a:cubicBezTo>
                        <a:pt x="1539850" y="132834"/>
                        <a:pt x="1546598" y="141010"/>
                        <a:pt x="1552749" y="149622"/>
                      </a:cubicBezTo>
                      <a:cubicBezTo>
                        <a:pt x="1557185" y="155832"/>
                        <a:pt x="1560423" y="162929"/>
                        <a:pt x="1565449" y="168672"/>
                      </a:cubicBezTo>
                      <a:cubicBezTo>
                        <a:pt x="1575305" y="179936"/>
                        <a:pt x="1587255" y="189235"/>
                        <a:pt x="1597199" y="200422"/>
                      </a:cubicBezTo>
                      <a:cubicBezTo>
                        <a:pt x="1604230" y="208332"/>
                        <a:pt x="1609280" y="217857"/>
                        <a:pt x="1616249" y="225822"/>
                      </a:cubicBezTo>
                      <a:cubicBezTo>
                        <a:pt x="1624134" y="234833"/>
                        <a:pt x="1634465" y="241643"/>
                        <a:pt x="1641649" y="251222"/>
                      </a:cubicBezTo>
                      <a:cubicBezTo>
                        <a:pt x="1647329" y="258795"/>
                        <a:pt x="1649332" y="268595"/>
                        <a:pt x="1654349" y="276622"/>
                      </a:cubicBezTo>
                      <a:cubicBezTo>
                        <a:pt x="1664737" y="293243"/>
                        <a:pt x="1677837" y="308084"/>
                        <a:pt x="1692449" y="321072"/>
                      </a:cubicBezTo>
                      <a:cubicBezTo>
                        <a:pt x="1773526" y="393140"/>
                        <a:pt x="1687940" y="315449"/>
                        <a:pt x="1768649" y="378222"/>
                      </a:cubicBezTo>
                      <a:cubicBezTo>
                        <a:pt x="1775738" y="383735"/>
                        <a:pt x="1780515" y="391884"/>
                        <a:pt x="1787699" y="397272"/>
                      </a:cubicBezTo>
                      <a:cubicBezTo>
                        <a:pt x="1862754" y="453563"/>
                        <a:pt x="1771811" y="373131"/>
                        <a:pt x="1857549" y="441722"/>
                      </a:cubicBezTo>
                      <a:cubicBezTo>
                        <a:pt x="1866899" y="449202"/>
                        <a:pt x="1872986" y="460480"/>
                        <a:pt x="1882949" y="467122"/>
                      </a:cubicBezTo>
                      <a:cubicBezTo>
                        <a:pt x="1892433" y="473445"/>
                        <a:pt x="1904925" y="473957"/>
                        <a:pt x="1914699" y="479822"/>
                      </a:cubicBezTo>
                      <a:cubicBezTo>
                        <a:pt x="1926321" y="486795"/>
                        <a:pt x="1935866" y="496755"/>
                        <a:pt x="1946449" y="505222"/>
                      </a:cubicBezTo>
                      <a:cubicBezTo>
                        <a:pt x="1929588" y="2444199"/>
                        <a:pt x="1946449" y="20487"/>
                        <a:pt x="1946449" y="1972072"/>
                      </a:cubicBezTo>
                      <a:cubicBezTo>
                        <a:pt x="1946449" y="2107555"/>
                        <a:pt x="2050751" y="2300294"/>
                        <a:pt x="1940099" y="2378472"/>
                      </a:cubicBezTo>
                      <a:cubicBezTo>
                        <a:pt x="1782775" y="2489625"/>
                        <a:pt x="1554867" y="2382846"/>
                        <a:pt x="1362249" y="2384822"/>
                      </a:cubicBezTo>
                      <a:lnTo>
                        <a:pt x="701849" y="2391172"/>
                      </a:lnTo>
                      <a:cubicBezTo>
                        <a:pt x="467186" y="2411577"/>
                        <a:pt x="368522" y="2425690"/>
                        <a:pt x="73199" y="2391172"/>
                      </a:cubicBezTo>
                      <a:cubicBezTo>
                        <a:pt x="58333" y="2389434"/>
                        <a:pt x="69784" y="2361398"/>
                        <a:pt x="66849" y="2346722"/>
                      </a:cubicBezTo>
                      <a:cubicBezTo>
                        <a:pt x="65536" y="2340158"/>
                        <a:pt x="62616" y="2334022"/>
                        <a:pt x="60499" y="2327672"/>
                      </a:cubicBezTo>
                      <a:cubicBezTo>
                        <a:pt x="62616" y="2298039"/>
                        <a:pt x="64275" y="2268369"/>
                        <a:pt x="66849" y="2238772"/>
                      </a:cubicBezTo>
                      <a:cubicBezTo>
                        <a:pt x="70406" y="2197869"/>
                        <a:pt x="73960" y="2176294"/>
                        <a:pt x="79549" y="2137172"/>
                      </a:cubicBezTo>
                      <a:cubicBezTo>
                        <a:pt x="77432" y="2069439"/>
                        <a:pt x="74121" y="2001732"/>
                        <a:pt x="73199" y="1933972"/>
                      </a:cubicBezTo>
                      <a:cubicBezTo>
                        <a:pt x="62936" y="1179647"/>
                        <a:pt x="126026" y="1440430"/>
                        <a:pt x="60499" y="1178322"/>
                      </a:cubicBezTo>
                      <a:cubicBezTo>
                        <a:pt x="58382" y="1155039"/>
                        <a:pt x="57049" y="1131671"/>
                        <a:pt x="54149" y="1108472"/>
                      </a:cubicBezTo>
                      <a:cubicBezTo>
                        <a:pt x="52810" y="1097762"/>
                        <a:pt x="54149" y="1200547"/>
                        <a:pt x="47799" y="1076722"/>
                      </a:cubicBezTo>
                      <a:cubicBezTo>
                        <a:pt x="41449" y="952897"/>
                        <a:pt x="13932" y="543322"/>
                        <a:pt x="16049" y="365522"/>
                      </a:cubicBezTo>
                      <a:cubicBezTo>
                        <a:pt x="24872" y="-110907"/>
                        <a:pt x="-48509" y="18389"/>
                        <a:pt x="60499" y="9922"/>
                      </a:cubicBezTo>
                      <a:close/>
                    </a:path>
                  </a:pathLst>
                </a:custGeom>
                <a:solidFill>
                  <a:srgbClr val="F2F6F6"/>
                </a:solidFill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70DA2F41-0218-22EA-835F-757F1768421E}"/>
                    </a:ext>
                  </a:extLst>
                </p:cNvPr>
                <p:cNvSpPr/>
                <p:nvPr/>
              </p:nvSpPr>
              <p:spPr>
                <a:xfrm>
                  <a:off x="5642810" y="3019250"/>
                  <a:ext cx="747294" cy="169725"/>
                </a:xfrm>
                <a:custGeom>
                  <a:avLst/>
                  <a:gdLst>
                    <a:gd name="connsiteX0" fmla="*/ 27740 w 747294"/>
                    <a:gd name="connsiteY0" fmla="*/ 3350 h 169725"/>
                    <a:gd name="connsiteX1" fmla="*/ 40440 w 747294"/>
                    <a:gd name="connsiteY1" fmla="*/ 155750 h 169725"/>
                    <a:gd name="connsiteX2" fmla="*/ 199190 w 747294"/>
                    <a:gd name="connsiteY2" fmla="*/ 149400 h 169725"/>
                    <a:gd name="connsiteX3" fmla="*/ 669090 w 747294"/>
                    <a:gd name="connsiteY3" fmla="*/ 143050 h 169725"/>
                    <a:gd name="connsiteX4" fmla="*/ 726240 w 747294"/>
                    <a:gd name="connsiteY4" fmla="*/ 130350 h 169725"/>
                    <a:gd name="connsiteX5" fmla="*/ 700840 w 747294"/>
                    <a:gd name="connsiteY5" fmla="*/ 22400 h 169725"/>
                    <a:gd name="connsiteX6" fmla="*/ 542090 w 747294"/>
                    <a:gd name="connsiteY6" fmla="*/ 28750 h 169725"/>
                    <a:gd name="connsiteX7" fmla="*/ 332540 w 747294"/>
                    <a:gd name="connsiteY7" fmla="*/ 47800 h 169725"/>
                    <a:gd name="connsiteX8" fmla="*/ 27740 w 747294"/>
                    <a:gd name="connsiteY8" fmla="*/ 3350 h 169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47294" h="169725">
                      <a:moveTo>
                        <a:pt x="27740" y="3350"/>
                      </a:moveTo>
                      <a:cubicBezTo>
                        <a:pt x="-20943" y="21342"/>
                        <a:pt x="1635" y="122694"/>
                        <a:pt x="40440" y="155750"/>
                      </a:cubicBezTo>
                      <a:cubicBezTo>
                        <a:pt x="80755" y="190092"/>
                        <a:pt x="146242" y="150470"/>
                        <a:pt x="199190" y="149400"/>
                      </a:cubicBezTo>
                      <a:lnTo>
                        <a:pt x="669090" y="143050"/>
                      </a:lnTo>
                      <a:cubicBezTo>
                        <a:pt x="688140" y="138817"/>
                        <a:pt x="718314" y="148183"/>
                        <a:pt x="726240" y="130350"/>
                      </a:cubicBezTo>
                      <a:cubicBezTo>
                        <a:pt x="767282" y="38006"/>
                        <a:pt x="742651" y="36337"/>
                        <a:pt x="700840" y="22400"/>
                      </a:cubicBezTo>
                      <a:cubicBezTo>
                        <a:pt x="647923" y="24517"/>
                        <a:pt x="594946" y="25447"/>
                        <a:pt x="542090" y="28750"/>
                      </a:cubicBezTo>
                      <a:cubicBezTo>
                        <a:pt x="483919" y="32386"/>
                        <a:pt x="397185" y="41336"/>
                        <a:pt x="332540" y="47800"/>
                      </a:cubicBezTo>
                      <a:cubicBezTo>
                        <a:pt x="230942" y="45591"/>
                        <a:pt x="76423" y="-14642"/>
                        <a:pt x="27740" y="3350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 w="5406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5E346EB0-9112-87D0-4A98-61F37B719003}"/>
                    </a:ext>
                  </a:extLst>
                </p:cNvPr>
                <p:cNvSpPr/>
                <p:nvPr/>
              </p:nvSpPr>
              <p:spPr>
                <a:xfrm>
                  <a:off x="5650976" y="3314535"/>
                  <a:ext cx="738129" cy="127165"/>
                </a:xfrm>
                <a:custGeom>
                  <a:avLst/>
                  <a:gdLst>
                    <a:gd name="connsiteX0" fmla="*/ 55264 w 786519"/>
                    <a:gd name="connsiteY0" fmla="*/ 11245 h 131895"/>
                    <a:gd name="connsiteX1" fmla="*/ 766464 w 786519"/>
                    <a:gd name="connsiteY1" fmla="*/ 23945 h 131895"/>
                    <a:gd name="connsiteX2" fmla="*/ 779164 w 786519"/>
                    <a:gd name="connsiteY2" fmla="*/ 112845 h 131895"/>
                    <a:gd name="connsiteX3" fmla="*/ 741064 w 786519"/>
                    <a:gd name="connsiteY3" fmla="*/ 131895 h 131895"/>
                    <a:gd name="connsiteX4" fmla="*/ 55264 w 786519"/>
                    <a:gd name="connsiteY4" fmla="*/ 125545 h 131895"/>
                    <a:gd name="connsiteX5" fmla="*/ 48914 w 786519"/>
                    <a:gd name="connsiteY5" fmla="*/ 106495 h 131895"/>
                    <a:gd name="connsiteX6" fmla="*/ 55264 w 786519"/>
                    <a:gd name="connsiteY6" fmla="*/ 11245 h 131895"/>
                    <a:gd name="connsiteX0" fmla="*/ 6874 w 738129"/>
                    <a:gd name="connsiteY0" fmla="*/ 33041 h 153691"/>
                    <a:gd name="connsiteX1" fmla="*/ 718074 w 738129"/>
                    <a:gd name="connsiteY1" fmla="*/ 45741 h 153691"/>
                    <a:gd name="connsiteX2" fmla="*/ 730774 w 738129"/>
                    <a:gd name="connsiteY2" fmla="*/ 134641 h 153691"/>
                    <a:gd name="connsiteX3" fmla="*/ 692674 w 738129"/>
                    <a:gd name="connsiteY3" fmla="*/ 153691 h 153691"/>
                    <a:gd name="connsiteX4" fmla="*/ 6874 w 738129"/>
                    <a:gd name="connsiteY4" fmla="*/ 147341 h 153691"/>
                    <a:gd name="connsiteX5" fmla="*/ 524 w 738129"/>
                    <a:gd name="connsiteY5" fmla="*/ 128291 h 153691"/>
                    <a:gd name="connsiteX6" fmla="*/ 6874 w 738129"/>
                    <a:gd name="connsiteY6" fmla="*/ 33041 h 153691"/>
                    <a:gd name="connsiteX0" fmla="*/ 6874 w 738129"/>
                    <a:gd name="connsiteY0" fmla="*/ 6515 h 127165"/>
                    <a:gd name="connsiteX1" fmla="*/ 718074 w 738129"/>
                    <a:gd name="connsiteY1" fmla="*/ 19215 h 127165"/>
                    <a:gd name="connsiteX2" fmla="*/ 730774 w 738129"/>
                    <a:gd name="connsiteY2" fmla="*/ 108115 h 127165"/>
                    <a:gd name="connsiteX3" fmla="*/ 692674 w 738129"/>
                    <a:gd name="connsiteY3" fmla="*/ 127165 h 127165"/>
                    <a:gd name="connsiteX4" fmla="*/ 6874 w 738129"/>
                    <a:gd name="connsiteY4" fmla="*/ 120815 h 127165"/>
                    <a:gd name="connsiteX5" fmla="*/ 524 w 738129"/>
                    <a:gd name="connsiteY5" fmla="*/ 101765 h 127165"/>
                    <a:gd name="connsiteX6" fmla="*/ 6874 w 738129"/>
                    <a:gd name="connsiteY6" fmla="*/ 6515 h 127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8129" h="127165">
                      <a:moveTo>
                        <a:pt x="6874" y="6515"/>
                      </a:moveTo>
                      <a:cubicBezTo>
                        <a:pt x="12166" y="5457"/>
                        <a:pt x="483271" y="-13740"/>
                        <a:pt x="718074" y="19215"/>
                      </a:cubicBezTo>
                      <a:cubicBezTo>
                        <a:pt x="747718" y="23376"/>
                        <a:pt x="737630" y="78977"/>
                        <a:pt x="730774" y="108115"/>
                      </a:cubicBezTo>
                      <a:cubicBezTo>
                        <a:pt x="727522" y="121937"/>
                        <a:pt x="705374" y="120815"/>
                        <a:pt x="692674" y="127165"/>
                      </a:cubicBezTo>
                      <a:lnTo>
                        <a:pt x="6874" y="120815"/>
                      </a:lnTo>
                      <a:cubicBezTo>
                        <a:pt x="185" y="120570"/>
                        <a:pt x="895" y="108448"/>
                        <a:pt x="524" y="101765"/>
                      </a:cubicBezTo>
                      <a:cubicBezTo>
                        <a:pt x="-1237" y="70064"/>
                        <a:pt x="1582" y="7573"/>
                        <a:pt x="6874" y="651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A82BCA10-BE1E-BE43-36E7-86834F799B11}"/>
                    </a:ext>
                  </a:extLst>
                </p:cNvPr>
                <p:cNvSpPr/>
                <p:nvPr/>
              </p:nvSpPr>
              <p:spPr>
                <a:xfrm>
                  <a:off x="5670550" y="3594100"/>
                  <a:ext cx="1464321" cy="136453"/>
                </a:xfrm>
                <a:custGeom>
                  <a:avLst/>
                  <a:gdLst>
                    <a:gd name="connsiteX0" fmla="*/ 0 w 1448126"/>
                    <a:gd name="connsiteY0" fmla="*/ 6350 h 186423"/>
                    <a:gd name="connsiteX1" fmla="*/ 6350 w 1448126"/>
                    <a:gd name="connsiteY1" fmla="*/ 38100 h 186423"/>
                    <a:gd name="connsiteX2" fmla="*/ 558800 w 1448126"/>
                    <a:gd name="connsiteY2" fmla="*/ 120650 h 186423"/>
                    <a:gd name="connsiteX3" fmla="*/ 723900 w 1448126"/>
                    <a:gd name="connsiteY3" fmla="*/ 107950 h 186423"/>
                    <a:gd name="connsiteX4" fmla="*/ 768350 w 1448126"/>
                    <a:gd name="connsiteY4" fmla="*/ 101600 h 186423"/>
                    <a:gd name="connsiteX5" fmla="*/ 1079500 w 1448126"/>
                    <a:gd name="connsiteY5" fmla="*/ 107950 h 186423"/>
                    <a:gd name="connsiteX6" fmla="*/ 1111250 w 1448126"/>
                    <a:gd name="connsiteY6" fmla="*/ 114300 h 186423"/>
                    <a:gd name="connsiteX7" fmla="*/ 1168400 w 1448126"/>
                    <a:gd name="connsiteY7" fmla="*/ 120650 h 186423"/>
                    <a:gd name="connsiteX8" fmla="*/ 1352550 w 1448126"/>
                    <a:gd name="connsiteY8" fmla="*/ 127000 h 186423"/>
                    <a:gd name="connsiteX9" fmla="*/ 1441450 w 1448126"/>
                    <a:gd name="connsiteY9" fmla="*/ 120650 h 186423"/>
                    <a:gd name="connsiteX10" fmla="*/ 1447800 w 1448126"/>
                    <a:gd name="connsiteY10" fmla="*/ 101600 h 186423"/>
                    <a:gd name="connsiteX11" fmla="*/ 1435100 w 1448126"/>
                    <a:gd name="connsiteY11" fmla="*/ 76200 h 186423"/>
                    <a:gd name="connsiteX12" fmla="*/ 1428750 w 1448126"/>
                    <a:gd name="connsiteY12" fmla="*/ 57150 h 186423"/>
                    <a:gd name="connsiteX13" fmla="*/ 1422400 w 1448126"/>
                    <a:gd name="connsiteY13" fmla="*/ 12700 h 186423"/>
                    <a:gd name="connsiteX14" fmla="*/ 1238250 w 1448126"/>
                    <a:gd name="connsiteY14" fmla="*/ 6350 h 186423"/>
                    <a:gd name="connsiteX15" fmla="*/ 1212850 w 1448126"/>
                    <a:gd name="connsiteY15" fmla="*/ 0 h 186423"/>
                    <a:gd name="connsiteX16" fmla="*/ 965200 w 1448126"/>
                    <a:gd name="connsiteY16" fmla="*/ 6350 h 186423"/>
                    <a:gd name="connsiteX17" fmla="*/ 908050 w 1448126"/>
                    <a:gd name="connsiteY17" fmla="*/ 12700 h 186423"/>
                    <a:gd name="connsiteX18" fmla="*/ 0 w 1448126"/>
                    <a:gd name="connsiteY18" fmla="*/ 6350 h 186423"/>
                    <a:gd name="connsiteX0" fmla="*/ 0 w 1448126"/>
                    <a:gd name="connsiteY0" fmla="*/ 6350 h 136453"/>
                    <a:gd name="connsiteX1" fmla="*/ 6350 w 1448126"/>
                    <a:gd name="connsiteY1" fmla="*/ 38100 h 136453"/>
                    <a:gd name="connsiteX2" fmla="*/ 558800 w 1448126"/>
                    <a:gd name="connsiteY2" fmla="*/ 120650 h 136453"/>
                    <a:gd name="connsiteX3" fmla="*/ 723900 w 1448126"/>
                    <a:gd name="connsiteY3" fmla="*/ 107950 h 136453"/>
                    <a:gd name="connsiteX4" fmla="*/ 768350 w 1448126"/>
                    <a:gd name="connsiteY4" fmla="*/ 101600 h 136453"/>
                    <a:gd name="connsiteX5" fmla="*/ 1079500 w 1448126"/>
                    <a:gd name="connsiteY5" fmla="*/ 107950 h 136453"/>
                    <a:gd name="connsiteX6" fmla="*/ 1111250 w 1448126"/>
                    <a:gd name="connsiteY6" fmla="*/ 114300 h 136453"/>
                    <a:gd name="connsiteX7" fmla="*/ 1168400 w 1448126"/>
                    <a:gd name="connsiteY7" fmla="*/ 120650 h 136453"/>
                    <a:gd name="connsiteX8" fmla="*/ 1352550 w 1448126"/>
                    <a:gd name="connsiteY8" fmla="*/ 127000 h 136453"/>
                    <a:gd name="connsiteX9" fmla="*/ 1441450 w 1448126"/>
                    <a:gd name="connsiteY9" fmla="*/ 120650 h 136453"/>
                    <a:gd name="connsiteX10" fmla="*/ 1447800 w 1448126"/>
                    <a:gd name="connsiteY10" fmla="*/ 101600 h 136453"/>
                    <a:gd name="connsiteX11" fmla="*/ 1435100 w 1448126"/>
                    <a:gd name="connsiteY11" fmla="*/ 76200 h 136453"/>
                    <a:gd name="connsiteX12" fmla="*/ 1428750 w 1448126"/>
                    <a:gd name="connsiteY12" fmla="*/ 57150 h 136453"/>
                    <a:gd name="connsiteX13" fmla="*/ 1422400 w 1448126"/>
                    <a:gd name="connsiteY13" fmla="*/ 12700 h 136453"/>
                    <a:gd name="connsiteX14" fmla="*/ 1238250 w 1448126"/>
                    <a:gd name="connsiteY14" fmla="*/ 6350 h 136453"/>
                    <a:gd name="connsiteX15" fmla="*/ 1212850 w 1448126"/>
                    <a:gd name="connsiteY15" fmla="*/ 0 h 136453"/>
                    <a:gd name="connsiteX16" fmla="*/ 965200 w 1448126"/>
                    <a:gd name="connsiteY16" fmla="*/ 6350 h 136453"/>
                    <a:gd name="connsiteX17" fmla="*/ 908050 w 1448126"/>
                    <a:gd name="connsiteY17" fmla="*/ 12700 h 136453"/>
                    <a:gd name="connsiteX18" fmla="*/ 0 w 1448126"/>
                    <a:gd name="connsiteY18" fmla="*/ 6350 h 136453"/>
                    <a:gd name="connsiteX0" fmla="*/ 0 w 1446588"/>
                    <a:gd name="connsiteY0" fmla="*/ 6350 h 136453"/>
                    <a:gd name="connsiteX1" fmla="*/ 6350 w 1446588"/>
                    <a:gd name="connsiteY1" fmla="*/ 38100 h 136453"/>
                    <a:gd name="connsiteX2" fmla="*/ 558800 w 1446588"/>
                    <a:gd name="connsiteY2" fmla="*/ 120650 h 136453"/>
                    <a:gd name="connsiteX3" fmla="*/ 723900 w 1446588"/>
                    <a:gd name="connsiteY3" fmla="*/ 107950 h 136453"/>
                    <a:gd name="connsiteX4" fmla="*/ 768350 w 1446588"/>
                    <a:gd name="connsiteY4" fmla="*/ 101600 h 136453"/>
                    <a:gd name="connsiteX5" fmla="*/ 1079500 w 1446588"/>
                    <a:gd name="connsiteY5" fmla="*/ 107950 h 136453"/>
                    <a:gd name="connsiteX6" fmla="*/ 1111250 w 1446588"/>
                    <a:gd name="connsiteY6" fmla="*/ 114300 h 136453"/>
                    <a:gd name="connsiteX7" fmla="*/ 1168400 w 1446588"/>
                    <a:gd name="connsiteY7" fmla="*/ 120650 h 136453"/>
                    <a:gd name="connsiteX8" fmla="*/ 1352550 w 1446588"/>
                    <a:gd name="connsiteY8" fmla="*/ 127000 h 136453"/>
                    <a:gd name="connsiteX9" fmla="*/ 1441450 w 1446588"/>
                    <a:gd name="connsiteY9" fmla="*/ 120650 h 136453"/>
                    <a:gd name="connsiteX10" fmla="*/ 1435100 w 1446588"/>
                    <a:gd name="connsiteY10" fmla="*/ 76200 h 136453"/>
                    <a:gd name="connsiteX11" fmla="*/ 1428750 w 1446588"/>
                    <a:gd name="connsiteY11" fmla="*/ 57150 h 136453"/>
                    <a:gd name="connsiteX12" fmla="*/ 1422400 w 1446588"/>
                    <a:gd name="connsiteY12" fmla="*/ 12700 h 136453"/>
                    <a:gd name="connsiteX13" fmla="*/ 1238250 w 1446588"/>
                    <a:gd name="connsiteY13" fmla="*/ 6350 h 136453"/>
                    <a:gd name="connsiteX14" fmla="*/ 1212850 w 1446588"/>
                    <a:gd name="connsiteY14" fmla="*/ 0 h 136453"/>
                    <a:gd name="connsiteX15" fmla="*/ 965200 w 1446588"/>
                    <a:gd name="connsiteY15" fmla="*/ 6350 h 136453"/>
                    <a:gd name="connsiteX16" fmla="*/ 908050 w 1446588"/>
                    <a:gd name="connsiteY16" fmla="*/ 12700 h 136453"/>
                    <a:gd name="connsiteX17" fmla="*/ 0 w 1446588"/>
                    <a:gd name="connsiteY17" fmla="*/ 6350 h 136453"/>
                    <a:gd name="connsiteX0" fmla="*/ 0 w 1460100"/>
                    <a:gd name="connsiteY0" fmla="*/ 6350 h 136453"/>
                    <a:gd name="connsiteX1" fmla="*/ 6350 w 1460100"/>
                    <a:gd name="connsiteY1" fmla="*/ 38100 h 136453"/>
                    <a:gd name="connsiteX2" fmla="*/ 558800 w 1460100"/>
                    <a:gd name="connsiteY2" fmla="*/ 120650 h 136453"/>
                    <a:gd name="connsiteX3" fmla="*/ 723900 w 1460100"/>
                    <a:gd name="connsiteY3" fmla="*/ 107950 h 136453"/>
                    <a:gd name="connsiteX4" fmla="*/ 768350 w 1460100"/>
                    <a:gd name="connsiteY4" fmla="*/ 101600 h 136453"/>
                    <a:gd name="connsiteX5" fmla="*/ 1079500 w 1460100"/>
                    <a:gd name="connsiteY5" fmla="*/ 107950 h 136453"/>
                    <a:gd name="connsiteX6" fmla="*/ 1111250 w 1460100"/>
                    <a:gd name="connsiteY6" fmla="*/ 114300 h 136453"/>
                    <a:gd name="connsiteX7" fmla="*/ 1168400 w 1460100"/>
                    <a:gd name="connsiteY7" fmla="*/ 120650 h 136453"/>
                    <a:gd name="connsiteX8" fmla="*/ 1441450 w 1460100"/>
                    <a:gd name="connsiteY8" fmla="*/ 120650 h 136453"/>
                    <a:gd name="connsiteX9" fmla="*/ 1435100 w 1460100"/>
                    <a:gd name="connsiteY9" fmla="*/ 76200 h 136453"/>
                    <a:gd name="connsiteX10" fmla="*/ 1428750 w 1460100"/>
                    <a:gd name="connsiteY10" fmla="*/ 57150 h 136453"/>
                    <a:gd name="connsiteX11" fmla="*/ 1422400 w 1460100"/>
                    <a:gd name="connsiteY11" fmla="*/ 12700 h 136453"/>
                    <a:gd name="connsiteX12" fmla="*/ 1238250 w 1460100"/>
                    <a:gd name="connsiteY12" fmla="*/ 6350 h 136453"/>
                    <a:gd name="connsiteX13" fmla="*/ 1212850 w 1460100"/>
                    <a:gd name="connsiteY13" fmla="*/ 0 h 136453"/>
                    <a:gd name="connsiteX14" fmla="*/ 965200 w 1460100"/>
                    <a:gd name="connsiteY14" fmla="*/ 6350 h 136453"/>
                    <a:gd name="connsiteX15" fmla="*/ 908050 w 1460100"/>
                    <a:gd name="connsiteY15" fmla="*/ 12700 h 136453"/>
                    <a:gd name="connsiteX16" fmla="*/ 0 w 1460100"/>
                    <a:gd name="connsiteY16" fmla="*/ 6350 h 136453"/>
                    <a:gd name="connsiteX0" fmla="*/ 0 w 1464321"/>
                    <a:gd name="connsiteY0" fmla="*/ 6350 h 136453"/>
                    <a:gd name="connsiteX1" fmla="*/ 6350 w 1464321"/>
                    <a:gd name="connsiteY1" fmla="*/ 38100 h 136453"/>
                    <a:gd name="connsiteX2" fmla="*/ 558800 w 1464321"/>
                    <a:gd name="connsiteY2" fmla="*/ 120650 h 136453"/>
                    <a:gd name="connsiteX3" fmla="*/ 723900 w 1464321"/>
                    <a:gd name="connsiteY3" fmla="*/ 107950 h 136453"/>
                    <a:gd name="connsiteX4" fmla="*/ 768350 w 1464321"/>
                    <a:gd name="connsiteY4" fmla="*/ 101600 h 136453"/>
                    <a:gd name="connsiteX5" fmla="*/ 1079500 w 1464321"/>
                    <a:gd name="connsiteY5" fmla="*/ 107950 h 136453"/>
                    <a:gd name="connsiteX6" fmla="*/ 1111250 w 1464321"/>
                    <a:gd name="connsiteY6" fmla="*/ 114300 h 136453"/>
                    <a:gd name="connsiteX7" fmla="*/ 1441450 w 1464321"/>
                    <a:gd name="connsiteY7" fmla="*/ 120650 h 136453"/>
                    <a:gd name="connsiteX8" fmla="*/ 1435100 w 1464321"/>
                    <a:gd name="connsiteY8" fmla="*/ 76200 h 136453"/>
                    <a:gd name="connsiteX9" fmla="*/ 1428750 w 1464321"/>
                    <a:gd name="connsiteY9" fmla="*/ 57150 h 136453"/>
                    <a:gd name="connsiteX10" fmla="*/ 1422400 w 1464321"/>
                    <a:gd name="connsiteY10" fmla="*/ 12700 h 136453"/>
                    <a:gd name="connsiteX11" fmla="*/ 1238250 w 1464321"/>
                    <a:gd name="connsiteY11" fmla="*/ 6350 h 136453"/>
                    <a:gd name="connsiteX12" fmla="*/ 1212850 w 1464321"/>
                    <a:gd name="connsiteY12" fmla="*/ 0 h 136453"/>
                    <a:gd name="connsiteX13" fmla="*/ 965200 w 1464321"/>
                    <a:gd name="connsiteY13" fmla="*/ 6350 h 136453"/>
                    <a:gd name="connsiteX14" fmla="*/ 908050 w 1464321"/>
                    <a:gd name="connsiteY14" fmla="*/ 12700 h 136453"/>
                    <a:gd name="connsiteX15" fmla="*/ 0 w 1464321"/>
                    <a:gd name="connsiteY15" fmla="*/ 6350 h 13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64321" h="136453">
                      <a:moveTo>
                        <a:pt x="0" y="6350"/>
                      </a:moveTo>
                      <a:cubicBezTo>
                        <a:pt x="2117" y="16933"/>
                        <a:pt x="4248" y="27513"/>
                        <a:pt x="6350" y="38100"/>
                      </a:cubicBezTo>
                      <a:cubicBezTo>
                        <a:pt x="34811" y="181477"/>
                        <a:pt x="-73017" y="127997"/>
                        <a:pt x="558800" y="120650"/>
                      </a:cubicBezTo>
                      <a:cubicBezTo>
                        <a:pt x="614559" y="116933"/>
                        <a:pt x="668515" y="114104"/>
                        <a:pt x="723900" y="107950"/>
                      </a:cubicBezTo>
                      <a:cubicBezTo>
                        <a:pt x="738776" y="106297"/>
                        <a:pt x="753533" y="103717"/>
                        <a:pt x="768350" y="101600"/>
                      </a:cubicBezTo>
                      <a:lnTo>
                        <a:pt x="1079500" y="107950"/>
                      </a:lnTo>
                      <a:cubicBezTo>
                        <a:pt x="1090286" y="108349"/>
                        <a:pt x="1050925" y="112183"/>
                        <a:pt x="1111250" y="114300"/>
                      </a:cubicBezTo>
                      <a:cubicBezTo>
                        <a:pt x="1171575" y="116417"/>
                        <a:pt x="1387475" y="127000"/>
                        <a:pt x="1441450" y="120650"/>
                      </a:cubicBezTo>
                      <a:cubicBezTo>
                        <a:pt x="1495425" y="114300"/>
                        <a:pt x="1437217" y="86783"/>
                        <a:pt x="1435100" y="76200"/>
                      </a:cubicBezTo>
                      <a:cubicBezTo>
                        <a:pt x="1432983" y="65617"/>
                        <a:pt x="1430867" y="63500"/>
                        <a:pt x="1428750" y="57150"/>
                      </a:cubicBezTo>
                      <a:cubicBezTo>
                        <a:pt x="1426633" y="42333"/>
                        <a:pt x="1436862" y="16556"/>
                        <a:pt x="1422400" y="12700"/>
                      </a:cubicBezTo>
                      <a:cubicBezTo>
                        <a:pt x="1363054" y="-3126"/>
                        <a:pt x="1299557" y="10066"/>
                        <a:pt x="1238250" y="6350"/>
                      </a:cubicBezTo>
                      <a:cubicBezTo>
                        <a:pt x="1229539" y="5822"/>
                        <a:pt x="1221317" y="2117"/>
                        <a:pt x="1212850" y="0"/>
                      </a:cubicBezTo>
                      <a:lnTo>
                        <a:pt x="965200" y="6350"/>
                      </a:lnTo>
                      <a:cubicBezTo>
                        <a:pt x="946049" y="7148"/>
                        <a:pt x="927215" y="12432"/>
                        <a:pt x="908050" y="12700"/>
                      </a:cubicBezTo>
                      <a:lnTo>
                        <a:pt x="0" y="635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F6C64795-53B0-B230-32A3-C445154B211C}"/>
                    </a:ext>
                  </a:extLst>
                </p:cNvPr>
                <p:cNvSpPr/>
                <p:nvPr/>
              </p:nvSpPr>
              <p:spPr>
                <a:xfrm>
                  <a:off x="5675926" y="3866466"/>
                  <a:ext cx="1401123" cy="137356"/>
                </a:xfrm>
                <a:custGeom>
                  <a:avLst/>
                  <a:gdLst>
                    <a:gd name="connsiteX0" fmla="*/ 12734 w 1400184"/>
                    <a:gd name="connsiteY0" fmla="*/ 685 h 152083"/>
                    <a:gd name="connsiteX1" fmla="*/ 34 w 1400184"/>
                    <a:gd name="connsiteY1" fmla="*/ 38785 h 152083"/>
                    <a:gd name="connsiteX2" fmla="*/ 19084 w 1400184"/>
                    <a:gd name="connsiteY2" fmla="*/ 146735 h 152083"/>
                    <a:gd name="connsiteX3" fmla="*/ 69884 w 1400184"/>
                    <a:gd name="connsiteY3" fmla="*/ 140385 h 152083"/>
                    <a:gd name="connsiteX4" fmla="*/ 101634 w 1400184"/>
                    <a:gd name="connsiteY4" fmla="*/ 134035 h 152083"/>
                    <a:gd name="connsiteX5" fmla="*/ 177834 w 1400184"/>
                    <a:gd name="connsiteY5" fmla="*/ 114985 h 152083"/>
                    <a:gd name="connsiteX6" fmla="*/ 1339884 w 1400184"/>
                    <a:gd name="connsiteY6" fmla="*/ 108635 h 152083"/>
                    <a:gd name="connsiteX7" fmla="*/ 1397034 w 1400184"/>
                    <a:gd name="connsiteY7" fmla="*/ 102285 h 152083"/>
                    <a:gd name="connsiteX8" fmla="*/ 1384334 w 1400184"/>
                    <a:gd name="connsiteY8" fmla="*/ 51485 h 152083"/>
                    <a:gd name="connsiteX9" fmla="*/ 1377984 w 1400184"/>
                    <a:gd name="connsiteY9" fmla="*/ 13385 h 152083"/>
                    <a:gd name="connsiteX10" fmla="*/ 1352584 w 1400184"/>
                    <a:gd name="connsiteY10" fmla="*/ 7035 h 152083"/>
                    <a:gd name="connsiteX11" fmla="*/ 1314484 w 1400184"/>
                    <a:gd name="connsiteY11" fmla="*/ 685 h 152083"/>
                    <a:gd name="connsiteX12" fmla="*/ 1187484 w 1400184"/>
                    <a:gd name="connsiteY12" fmla="*/ 7035 h 152083"/>
                    <a:gd name="connsiteX13" fmla="*/ 1092234 w 1400184"/>
                    <a:gd name="connsiteY13" fmla="*/ 19735 h 152083"/>
                    <a:gd name="connsiteX14" fmla="*/ 38134 w 1400184"/>
                    <a:gd name="connsiteY14" fmla="*/ 13385 h 152083"/>
                    <a:gd name="connsiteX15" fmla="*/ 12734 w 1400184"/>
                    <a:gd name="connsiteY15" fmla="*/ 685 h 152083"/>
                    <a:gd name="connsiteX0" fmla="*/ 12734 w 1400184"/>
                    <a:gd name="connsiteY0" fmla="*/ 685 h 152192"/>
                    <a:gd name="connsiteX1" fmla="*/ 34 w 1400184"/>
                    <a:gd name="connsiteY1" fmla="*/ 38785 h 152192"/>
                    <a:gd name="connsiteX2" fmla="*/ 19084 w 1400184"/>
                    <a:gd name="connsiteY2" fmla="*/ 146735 h 152192"/>
                    <a:gd name="connsiteX3" fmla="*/ 101634 w 1400184"/>
                    <a:gd name="connsiteY3" fmla="*/ 134035 h 152192"/>
                    <a:gd name="connsiteX4" fmla="*/ 177834 w 1400184"/>
                    <a:gd name="connsiteY4" fmla="*/ 114985 h 152192"/>
                    <a:gd name="connsiteX5" fmla="*/ 1339884 w 1400184"/>
                    <a:gd name="connsiteY5" fmla="*/ 108635 h 152192"/>
                    <a:gd name="connsiteX6" fmla="*/ 1397034 w 1400184"/>
                    <a:gd name="connsiteY6" fmla="*/ 102285 h 152192"/>
                    <a:gd name="connsiteX7" fmla="*/ 1384334 w 1400184"/>
                    <a:gd name="connsiteY7" fmla="*/ 51485 h 152192"/>
                    <a:gd name="connsiteX8" fmla="*/ 1377984 w 1400184"/>
                    <a:gd name="connsiteY8" fmla="*/ 13385 h 152192"/>
                    <a:gd name="connsiteX9" fmla="*/ 1352584 w 1400184"/>
                    <a:gd name="connsiteY9" fmla="*/ 7035 h 152192"/>
                    <a:gd name="connsiteX10" fmla="*/ 1314484 w 1400184"/>
                    <a:gd name="connsiteY10" fmla="*/ 685 h 152192"/>
                    <a:gd name="connsiteX11" fmla="*/ 1187484 w 1400184"/>
                    <a:gd name="connsiteY11" fmla="*/ 7035 h 152192"/>
                    <a:gd name="connsiteX12" fmla="*/ 1092234 w 1400184"/>
                    <a:gd name="connsiteY12" fmla="*/ 19735 h 152192"/>
                    <a:gd name="connsiteX13" fmla="*/ 38134 w 1400184"/>
                    <a:gd name="connsiteY13" fmla="*/ 13385 h 152192"/>
                    <a:gd name="connsiteX14" fmla="*/ 12734 w 1400184"/>
                    <a:gd name="connsiteY14" fmla="*/ 685 h 152192"/>
                    <a:gd name="connsiteX0" fmla="*/ 17859 w 1405309"/>
                    <a:gd name="connsiteY0" fmla="*/ 685 h 137084"/>
                    <a:gd name="connsiteX1" fmla="*/ 5159 w 1405309"/>
                    <a:gd name="connsiteY1" fmla="*/ 38785 h 137084"/>
                    <a:gd name="connsiteX2" fmla="*/ 106759 w 1405309"/>
                    <a:gd name="connsiteY2" fmla="*/ 134035 h 137084"/>
                    <a:gd name="connsiteX3" fmla="*/ 182959 w 1405309"/>
                    <a:gd name="connsiteY3" fmla="*/ 114985 h 137084"/>
                    <a:gd name="connsiteX4" fmla="*/ 1345009 w 1405309"/>
                    <a:gd name="connsiteY4" fmla="*/ 108635 h 137084"/>
                    <a:gd name="connsiteX5" fmla="*/ 1402159 w 1405309"/>
                    <a:gd name="connsiteY5" fmla="*/ 102285 h 137084"/>
                    <a:gd name="connsiteX6" fmla="*/ 1389459 w 1405309"/>
                    <a:gd name="connsiteY6" fmla="*/ 51485 h 137084"/>
                    <a:gd name="connsiteX7" fmla="*/ 1383109 w 1405309"/>
                    <a:gd name="connsiteY7" fmla="*/ 13385 h 137084"/>
                    <a:gd name="connsiteX8" fmla="*/ 1357709 w 1405309"/>
                    <a:gd name="connsiteY8" fmla="*/ 7035 h 137084"/>
                    <a:gd name="connsiteX9" fmla="*/ 1319609 w 1405309"/>
                    <a:gd name="connsiteY9" fmla="*/ 685 h 137084"/>
                    <a:gd name="connsiteX10" fmla="*/ 1192609 w 1405309"/>
                    <a:gd name="connsiteY10" fmla="*/ 7035 h 137084"/>
                    <a:gd name="connsiteX11" fmla="*/ 1097359 w 1405309"/>
                    <a:gd name="connsiteY11" fmla="*/ 19735 h 137084"/>
                    <a:gd name="connsiteX12" fmla="*/ 43259 w 1405309"/>
                    <a:gd name="connsiteY12" fmla="*/ 13385 h 137084"/>
                    <a:gd name="connsiteX13" fmla="*/ 17859 w 1405309"/>
                    <a:gd name="connsiteY13" fmla="*/ 685 h 137084"/>
                    <a:gd name="connsiteX0" fmla="*/ 13673 w 1401123"/>
                    <a:gd name="connsiteY0" fmla="*/ 685 h 137356"/>
                    <a:gd name="connsiteX1" fmla="*/ 973 w 1401123"/>
                    <a:gd name="connsiteY1" fmla="*/ 38785 h 137356"/>
                    <a:gd name="connsiteX2" fmla="*/ 39073 w 1401123"/>
                    <a:gd name="connsiteY2" fmla="*/ 134035 h 137356"/>
                    <a:gd name="connsiteX3" fmla="*/ 178773 w 1401123"/>
                    <a:gd name="connsiteY3" fmla="*/ 114985 h 137356"/>
                    <a:gd name="connsiteX4" fmla="*/ 1340823 w 1401123"/>
                    <a:gd name="connsiteY4" fmla="*/ 108635 h 137356"/>
                    <a:gd name="connsiteX5" fmla="*/ 1397973 w 1401123"/>
                    <a:gd name="connsiteY5" fmla="*/ 102285 h 137356"/>
                    <a:gd name="connsiteX6" fmla="*/ 1385273 w 1401123"/>
                    <a:gd name="connsiteY6" fmla="*/ 51485 h 137356"/>
                    <a:gd name="connsiteX7" fmla="*/ 1378923 w 1401123"/>
                    <a:gd name="connsiteY7" fmla="*/ 13385 h 137356"/>
                    <a:gd name="connsiteX8" fmla="*/ 1353523 w 1401123"/>
                    <a:gd name="connsiteY8" fmla="*/ 7035 h 137356"/>
                    <a:gd name="connsiteX9" fmla="*/ 1315423 w 1401123"/>
                    <a:gd name="connsiteY9" fmla="*/ 685 h 137356"/>
                    <a:gd name="connsiteX10" fmla="*/ 1188423 w 1401123"/>
                    <a:gd name="connsiteY10" fmla="*/ 7035 h 137356"/>
                    <a:gd name="connsiteX11" fmla="*/ 1093173 w 1401123"/>
                    <a:gd name="connsiteY11" fmla="*/ 19735 h 137356"/>
                    <a:gd name="connsiteX12" fmla="*/ 39073 w 1401123"/>
                    <a:gd name="connsiteY12" fmla="*/ 13385 h 137356"/>
                    <a:gd name="connsiteX13" fmla="*/ 13673 w 1401123"/>
                    <a:gd name="connsiteY13" fmla="*/ 685 h 137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401123" h="137356">
                      <a:moveTo>
                        <a:pt x="13673" y="685"/>
                      </a:moveTo>
                      <a:cubicBezTo>
                        <a:pt x="7323" y="4918"/>
                        <a:pt x="-3260" y="16560"/>
                        <a:pt x="973" y="38785"/>
                      </a:cubicBezTo>
                      <a:cubicBezTo>
                        <a:pt x="5206" y="61010"/>
                        <a:pt x="9440" y="121335"/>
                        <a:pt x="39073" y="134035"/>
                      </a:cubicBezTo>
                      <a:cubicBezTo>
                        <a:pt x="68706" y="146735"/>
                        <a:pt x="-38185" y="119218"/>
                        <a:pt x="178773" y="114985"/>
                      </a:cubicBezTo>
                      <a:cubicBezTo>
                        <a:pt x="395731" y="110752"/>
                        <a:pt x="953473" y="110752"/>
                        <a:pt x="1340823" y="108635"/>
                      </a:cubicBezTo>
                      <a:cubicBezTo>
                        <a:pt x="1359873" y="106518"/>
                        <a:pt x="1386205" y="117415"/>
                        <a:pt x="1397973" y="102285"/>
                      </a:cubicBezTo>
                      <a:cubicBezTo>
                        <a:pt x="1408689" y="88507"/>
                        <a:pt x="1388930" y="68552"/>
                        <a:pt x="1385273" y="51485"/>
                      </a:cubicBezTo>
                      <a:cubicBezTo>
                        <a:pt x="1382575" y="38896"/>
                        <a:pt x="1386407" y="23862"/>
                        <a:pt x="1378923" y="13385"/>
                      </a:cubicBezTo>
                      <a:cubicBezTo>
                        <a:pt x="1373850" y="6283"/>
                        <a:pt x="1362081" y="8747"/>
                        <a:pt x="1353523" y="7035"/>
                      </a:cubicBezTo>
                      <a:cubicBezTo>
                        <a:pt x="1340898" y="4510"/>
                        <a:pt x="1328123" y="2802"/>
                        <a:pt x="1315423" y="685"/>
                      </a:cubicBezTo>
                      <a:lnTo>
                        <a:pt x="1188423" y="7035"/>
                      </a:lnTo>
                      <a:cubicBezTo>
                        <a:pt x="1148650" y="9778"/>
                        <a:pt x="1129911" y="13612"/>
                        <a:pt x="1093173" y="19735"/>
                      </a:cubicBezTo>
                      <a:lnTo>
                        <a:pt x="39073" y="13385"/>
                      </a:lnTo>
                      <a:cubicBezTo>
                        <a:pt x="22009" y="13189"/>
                        <a:pt x="20023" y="-3548"/>
                        <a:pt x="13673" y="68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4933BEA1-2731-8A78-31BB-9F4A55CF1FF2}"/>
                    </a:ext>
                  </a:extLst>
                </p:cNvPr>
                <p:cNvSpPr/>
                <p:nvPr/>
              </p:nvSpPr>
              <p:spPr>
                <a:xfrm>
                  <a:off x="5644818" y="4152900"/>
                  <a:ext cx="1549796" cy="127000"/>
                </a:xfrm>
                <a:custGeom>
                  <a:avLst/>
                  <a:gdLst>
                    <a:gd name="connsiteX0" fmla="*/ 19382 w 1549796"/>
                    <a:gd name="connsiteY0" fmla="*/ 25400 h 127000"/>
                    <a:gd name="connsiteX1" fmla="*/ 57482 w 1549796"/>
                    <a:gd name="connsiteY1" fmla="*/ 31750 h 127000"/>
                    <a:gd name="connsiteX2" fmla="*/ 209882 w 1549796"/>
                    <a:gd name="connsiteY2" fmla="*/ 12700 h 127000"/>
                    <a:gd name="connsiteX3" fmla="*/ 1206832 w 1549796"/>
                    <a:gd name="connsiteY3" fmla="*/ 0 h 127000"/>
                    <a:gd name="connsiteX4" fmla="*/ 1517982 w 1549796"/>
                    <a:gd name="connsiteY4" fmla="*/ 25400 h 127000"/>
                    <a:gd name="connsiteX5" fmla="*/ 1537032 w 1549796"/>
                    <a:gd name="connsiteY5" fmla="*/ 50800 h 127000"/>
                    <a:gd name="connsiteX6" fmla="*/ 1530682 w 1549796"/>
                    <a:gd name="connsiteY6" fmla="*/ 88900 h 127000"/>
                    <a:gd name="connsiteX7" fmla="*/ 1492582 w 1549796"/>
                    <a:gd name="connsiteY7" fmla="*/ 101600 h 127000"/>
                    <a:gd name="connsiteX8" fmla="*/ 1352882 w 1549796"/>
                    <a:gd name="connsiteY8" fmla="*/ 107950 h 127000"/>
                    <a:gd name="connsiteX9" fmla="*/ 1213182 w 1549796"/>
                    <a:gd name="connsiteY9" fmla="*/ 120650 h 127000"/>
                    <a:gd name="connsiteX10" fmla="*/ 1168732 w 1549796"/>
                    <a:gd name="connsiteY10" fmla="*/ 127000 h 127000"/>
                    <a:gd name="connsiteX11" fmla="*/ 13032 w 1549796"/>
                    <a:gd name="connsiteY11" fmla="*/ 114300 h 127000"/>
                    <a:gd name="connsiteX12" fmla="*/ 332 w 1549796"/>
                    <a:gd name="connsiteY12" fmla="*/ 88900 h 127000"/>
                    <a:gd name="connsiteX13" fmla="*/ 19382 w 1549796"/>
                    <a:gd name="connsiteY13" fmla="*/ 25400 h 12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549796" h="127000">
                      <a:moveTo>
                        <a:pt x="19382" y="25400"/>
                      </a:moveTo>
                      <a:cubicBezTo>
                        <a:pt x="28907" y="15875"/>
                        <a:pt x="44623" y="32393"/>
                        <a:pt x="57482" y="31750"/>
                      </a:cubicBezTo>
                      <a:cubicBezTo>
                        <a:pt x="150006" y="27124"/>
                        <a:pt x="128986" y="14153"/>
                        <a:pt x="209882" y="12700"/>
                      </a:cubicBezTo>
                      <a:lnTo>
                        <a:pt x="1206832" y="0"/>
                      </a:lnTo>
                      <a:lnTo>
                        <a:pt x="1517982" y="25400"/>
                      </a:lnTo>
                      <a:cubicBezTo>
                        <a:pt x="1559862" y="29278"/>
                        <a:pt x="1553848" y="25576"/>
                        <a:pt x="1537032" y="50800"/>
                      </a:cubicBezTo>
                      <a:cubicBezTo>
                        <a:pt x="1534915" y="63500"/>
                        <a:pt x="1539160" y="79210"/>
                        <a:pt x="1530682" y="88900"/>
                      </a:cubicBezTo>
                      <a:cubicBezTo>
                        <a:pt x="1521867" y="98975"/>
                        <a:pt x="1505893" y="100174"/>
                        <a:pt x="1492582" y="101600"/>
                      </a:cubicBezTo>
                      <a:cubicBezTo>
                        <a:pt x="1446233" y="106566"/>
                        <a:pt x="1399449" y="105833"/>
                        <a:pt x="1352882" y="107950"/>
                      </a:cubicBezTo>
                      <a:cubicBezTo>
                        <a:pt x="1223928" y="124069"/>
                        <a:pt x="1403841" y="102492"/>
                        <a:pt x="1213182" y="120650"/>
                      </a:cubicBezTo>
                      <a:cubicBezTo>
                        <a:pt x="1198282" y="122069"/>
                        <a:pt x="1183549" y="124883"/>
                        <a:pt x="1168732" y="127000"/>
                      </a:cubicBezTo>
                      <a:cubicBezTo>
                        <a:pt x="783499" y="122767"/>
                        <a:pt x="398084" y="126856"/>
                        <a:pt x="13032" y="114300"/>
                      </a:cubicBezTo>
                      <a:cubicBezTo>
                        <a:pt x="3571" y="113991"/>
                        <a:pt x="2188" y="98182"/>
                        <a:pt x="332" y="88900"/>
                      </a:cubicBezTo>
                      <a:cubicBezTo>
                        <a:pt x="-2159" y="76447"/>
                        <a:pt x="9857" y="34925"/>
                        <a:pt x="19382" y="25400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CFFDFAD3-E229-6DF1-B6A8-7C788EA4A3D7}"/>
                    </a:ext>
                  </a:extLst>
                </p:cNvPr>
                <p:cNvSpPr/>
                <p:nvPr/>
              </p:nvSpPr>
              <p:spPr>
                <a:xfrm>
                  <a:off x="5641057" y="4399226"/>
                  <a:ext cx="721643" cy="168281"/>
                </a:xfrm>
                <a:custGeom>
                  <a:avLst/>
                  <a:gdLst>
                    <a:gd name="connsiteX0" fmla="*/ 35843 w 721643"/>
                    <a:gd name="connsiteY0" fmla="*/ 31750 h 166958"/>
                    <a:gd name="connsiteX1" fmla="*/ 42193 w 721643"/>
                    <a:gd name="connsiteY1" fmla="*/ 158750 h 166958"/>
                    <a:gd name="connsiteX2" fmla="*/ 131093 w 721643"/>
                    <a:gd name="connsiteY2" fmla="*/ 146050 h 166958"/>
                    <a:gd name="connsiteX3" fmla="*/ 207293 w 721643"/>
                    <a:gd name="connsiteY3" fmla="*/ 139700 h 166958"/>
                    <a:gd name="connsiteX4" fmla="*/ 550193 w 721643"/>
                    <a:gd name="connsiteY4" fmla="*/ 133350 h 166958"/>
                    <a:gd name="connsiteX5" fmla="*/ 588293 w 721643"/>
                    <a:gd name="connsiteY5" fmla="*/ 127000 h 166958"/>
                    <a:gd name="connsiteX6" fmla="*/ 632743 w 721643"/>
                    <a:gd name="connsiteY6" fmla="*/ 120650 h 166958"/>
                    <a:gd name="connsiteX7" fmla="*/ 721643 w 721643"/>
                    <a:gd name="connsiteY7" fmla="*/ 95250 h 166958"/>
                    <a:gd name="connsiteX8" fmla="*/ 715293 w 721643"/>
                    <a:gd name="connsiteY8" fmla="*/ 63500 h 166958"/>
                    <a:gd name="connsiteX9" fmla="*/ 696243 w 721643"/>
                    <a:gd name="connsiteY9" fmla="*/ 0 h 166958"/>
                    <a:gd name="connsiteX10" fmla="*/ 569243 w 721643"/>
                    <a:gd name="connsiteY10" fmla="*/ 19050 h 166958"/>
                    <a:gd name="connsiteX11" fmla="*/ 461293 w 721643"/>
                    <a:gd name="connsiteY11" fmla="*/ 38100 h 166958"/>
                    <a:gd name="connsiteX12" fmla="*/ 35843 w 721643"/>
                    <a:gd name="connsiteY12" fmla="*/ 31750 h 166958"/>
                    <a:gd name="connsiteX0" fmla="*/ 35843 w 721643"/>
                    <a:gd name="connsiteY0" fmla="*/ 32086 h 167294"/>
                    <a:gd name="connsiteX1" fmla="*/ 42193 w 721643"/>
                    <a:gd name="connsiteY1" fmla="*/ 159086 h 167294"/>
                    <a:gd name="connsiteX2" fmla="*/ 131093 w 721643"/>
                    <a:gd name="connsiteY2" fmla="*/ 146386 h 167294"/>
                    <a:gd name="connsiteX3" fmla="*/ 207293 w 721643"/>
                    <a:gd name="connsiteY3" fmla="*/ 140036 h 167294"/>
                    <a:gd name="connsiteX4" fmla="*/ 550193 w 721643"/>
                    <a:gd name="connsiteY4" fmla="*/ 133686 h 167294"/>
                    <a:gd name="connsiteX5" fmla="*/ 588293 w 721643"/>
                    <a:gd name="connsiteY5" fmla="*/ 127336 h 167294"/>
                    <a:gd name="connsiteX6" fmla="*/ 632743 w 721643"/>
                    <a:gd name="connsiteY6" fmla="*/ 120986 h 167294"/>
                    <a:gd name="connsiteX7" fmla="*/ 721643 w 721643"/>
                    <a:gd name="connsiteY7" fmla="*/ 95586 h 167294"/>
                    <a:gd name="connsiteX8" fmla="*/ 715293 w 721643"/>
                    <a:gd name="connsiteY8" fmla="*/ 63836 h 167294"/>
                    <a:gd name="connsiteX9" fmla="*/ 696243 w 721643"/>
                    <a:gd name="connsiteY9" fmla="*/ 336 h 167294"/>
                    <a:gd name="connsiteX10" fmla="*/ 461293 w 721643"/>
                    <a:gd name="connsiteY10" fmla="*/ 38436 h 167294"/>
                    <a:gd name="connsiteX11" fmla="*/ 35843 w 721643"/>
                    <a:gd name="connsiteY11" fmla="*/ 32086 h 167294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550193 w 721643"/>
                    <a:gd name="connsiteY4" fmla="*/ 134673 h 168281"/>
                    <a:gd name="connsiteX5" fmla="*/ 588293 w 721643"/>
                    <a:gd name="connsiteY5" fmla="*/ 128323 h 168281"/>
                    <a:gd name="connsiteX6" fmla="*/ 632743 w 721643"/>
                    <a:gd name="connsiteY6" fmla="*/ 121973 h 168281"/>
                    <a:gd name="connsiteX7" fmla="*/ 721643 w 721643"/>
                    <a:gd name="connsiteY7" fmla="*/ 96573 h 168281"/>
                    <a:gd name="connsiteX8" fmla="*/ 715293 w 721643"/>
                    <a:gd name="connsiteY8" fmla="*/ 64823 h 168281"/>
                    <a:gd name="connsiteX9" fmla="*/ 696243 w 721643"/>
                    <a:gd name="connsiteY9" fmla="*/ 1323 h 168281"/>
                    <a:gd name="connsiteX10" fmla="*/ 35843 w 721643"/>
                    <a:gd name="connsiteY10" fmla="*/ 33073 h 168281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550193 w 721643"/>
                    <a:gd name="connsiteY4" fmla="*/ 134673 h 168281"/>
                    <a:gd name="connsiteX5" fmla="*/ 632743 w 721643"/>
                    <a:gd name="connsiteY5" fmla="*/ 121973 h 168281"/>
                    <a:gd name="connsiteX6" fmla="*/ 721643 w 721643"/>
                    <a:gd name="connsiteY6" fmla="*/ 96573 h 168281"/>
                    <a:gd name="connsiteX7" fmla="*/ 715293 w 721643"/>
                    <a:gd name="connsiteY7" fmla="*/ 64823 h 168281"/>
                    <a:gd name="connsiteX8" fmla="*/ 696243 w 721643"/>
                    <a:gd name="connsiteY8" fmla="*/ 1323 h 168281"/>
                    <a:gd name="connsiteX9" fmla="*/ 35843 w 721643"/>
                    <a:gd name="connsiteY9" fmla="*/ 33073 h 168281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632743 w 721643"/>
                    <a:gd name="connsiteY4" fmla="*/ 121973 h 168281"/>
                    <a:gd name="connsiteX5" fmla="*/ 721643 w 721643"/>
                    <a:gd name="connsiteY5" fmla="*/ 96573 h 168281"/>
                    <a:gd name="connsiteX6" fmla="*/ 715293 w 721643"/>
                    <a:gd name="connsiteY6" fmla="*/ 64823 h 168281"/>
                    <a:gd name="connsiteX7" fmla="*/ 696243 w 721643"/>
                    <a:gd name="connsiteY7" fmla="*/ 1323 h 168281"/>
                    <a:gd name="connsiteX8" fmla="*/ 35843 w 721643"/>
                    <a:gd name="connsiteY8" fmla="*/ 33073 h 168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21643" h="168281">
                      <a:moveTo>
                        <a:pt x="35843" y="33073"/>
                      </a:moveTo>
                      <a:cubicBezTo>
                        <a:pt x="-34007" y="53181"/>
                        <a:pt x="15058" y="127511"/>
                        <a:pt x="42193" y="160073"/>
                      </a:cubicBezTo>
                      <a:cubicBezTo>
                        <a:pt x="61356" y="183069"/>
                        <a:pt x="101356" y="150804"/>
                        <a:pt x="131093" y="147373"/>
                      </a:cubicBezTo>
                      <a:cubicBezTo>
                        <a:pt x="156413" y="144451"/>
                        <a:pt x="123685" y="145256"/>
                        <a:pt x="207293" y="141023"/>
                      </a:cubicBezTo>
                      <a:cubicBezTo>
                        <a:pt x="290901" y="136790"/>
                        <a:pt x="547018" y="129381"/>
                        <a:pt x="632743" y="121973"/>
                      </a:cubicBezTo>
                      <a:cubicBezTo>
                        <a:pt x="718468" y="114565"/>
                        <a:pt x="692010" y="105040"/>
                        <a:pt x="721643" y="96573"/>
                      </a:cubicBezTo>
                      <a:cubicBezTo>
                        <a:pt x="719526" y="85990"/>
                        <a:pt x="718394" y="75161"/>
                        <a:pt x="715293" y="64823"/>
                      </a:cubicBezTo>
                      <a:cubicBezTo>
                        <a:pt x="690230" y="-18719"/>
                        <a:pt x="712739" y="83802"/>
                        <a:pt x="696243" y="1323"/>
                      </a:cubicBezTo>
                      <a:cubicBezTo>
                        <a:pt x="583001" y="-3969"/>
                        <a:pt x="144851" y="6615"/>
                        <a:pt x="35843" y="33073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E5D984C8-7BB6-A7DE-C4A3-D0A067CFBC28}"/>
                    </a:ext>
                  </a:extLst>
                </p:cNvPr>
                <p:cNvSpPr/>
                <p:nvPr/>
              </p:nvSpPr>
              <p:spPr>
                <a:xfrm>
                  <a:off x="5624700" y="4693033"/>
                  <a:ext cx="773097" cy="183360"/>
                </a:xfrm>
                <a:custGeom>
                  <a:avLst/>
                  <a:gdLst>
                    <a:gd name="connsiteX0" fmla="*/ 33150 w 773097"/>
                    <a:gd name="connsiteY0" fmla="*/ 18667 h 183360"/>
                    <a:gd name="connsiteX1" fmla="*/ 45850 w 773097"/>
                    <a:gd name="connsiteY1" fmla="*/ 56767 h 183360"/>
                    <a:gd name="connsiteX2" fmla="*/ 58550 w 773097"/>
                    <a:gd name="connsiteY2" fmla="*/ 88517 h 183360"/>
                    <a:gd name="connsiteX3" fmla="*/ 64900 w 773097"/>
                    <a:gd name="connsiteY3" fmla="*/ 152017 h 183360"/>
                    <a:gd name="connsiteX4" fmla="*/ 204600 w 773097"/>
                    <a:gd name="connsiteY4" fmla="*/ 139317 h 183360"/>
                    <a:gd name="connsiteX5" fmla="*/ 738000 w 773097"/>
                    <a:gd name="connsiteY5" fmla="*/ 75817 h 183360"/>
                    <a:gd name="connsiteX6" fmla="*/ 731650 w 773097"/>
                    <a:gd name="connsiteY6" fmla="*/ 44067 h 183360"/>
                    <a:gd name="connsiteX7" fmla="*/ 522100 w 773097"/>
                    <a:gd name="connsiteY7" fmla="*/ 25017 h 183360"/>
                    <a:gd name="connsiteX8" fmla="*/ 33150 w 773097"/>
                    <a:gd name="connsiteY8" fmla="*/ 18667 h 183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3097" h="183360">
                      <a:moveTo>
                        <a:pt x="33150" y="18667"/>
                      </a:moveTo>
                      <a:cubicBezTo>
                        <a:pt x="-46225" y="23959"/>
                        <a:pt x="41275" y="44186"/>
                        <a:pt x="45850" y="56767"/>
                      </a:cubicBezTo>
                      <a:cubicBezTo>
                        <a:pt x="49745" y="67479"/>
                        <a:pt x="56315" y="77340"/>
                        <a:pt x="58550" y="88517"/>
                      </a:cubicBezTo>
                      <a:cubicBezTo>
                        <a:pt x="62722" y="109376"/>
                        <a:pt x="62783" y="130850"/>
                        <a:pt x="64900" y="152017"/>
                      </a:cubicBezTo>
                      <a:cubicBezTo>
                        <a:pt x="111467" y="147784"/>
                        <a:pt x="157890" y="141460"/>
                        <a:pt x="204600" y="139317"/>
                      </a:cubicBezTo>
                      <a:cubicBezTo>
                        <a:pt x="770439" y="113361"/>
                        <a:pt x="829871" y="290184"/>
                        <a:pt x="738000" y="75817"/>
                      </a:cubicBezTo>
                      <a:cubicBezTo>
                        <a:pt x="735883" y="65234"/>
                        <a:pt x="735063" y="54306"/>
                        <a:pt x="731650" y="44067"/>
                      </a:cubicBezTo>
                      <a:cubicBezTo>
                        <a:pt x="703420" y="-40624"/>
                        <a:pt x="632498" y="22324"/>
                        <a:pt x="522100" y="25017"/>
                      </a:cubicBezTo>
                      <a:cubicBezTo>
                        <a:pt x="212412" y="32570"/>
                        <a:pt x="112525" y="13375"/>
                        <a:pt x="33150" y="18667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CD0D1D94-D50D-5301-8097-3021D548025B}"/>
                    </a:ext>
                  </a:extLst>
                </p:cNvPr>
                <p:cNvSpPr/>
                <p:nvPr/>
              </p:nvSpPr>
              <p:spPr>
                <a:xfrm>
                  <a:off x="6825364" y="2813069"/>
                  <a:ext cx="464436" cy="475383"/>
                </a:xfrm>
                <a:custGeom>
                  <a:avLst/>
                  <a:gdLst>
                    <a:gd name="connsiteX0" fmla="*/ 7236 w 464436"/>
                    <a:gd name="connsiteY0" fmla="*/ 8 h 475383"/>
                    <a:gd name="connsiteX1" fmla="*/ 19936 w 464436"/>
                    <a:gd name="connsiteY1" fmla="*/ 152408 h 475383"/>
                    <a:gd name="connsiteX2" fmla="*/ 26286 w 464436"/>
                    <a:gd name="connsiteY2" fmla="*/ 469908 h 475383"/>
                    <a:gd name="connsiteX3" fmla="*/ 70736 w 464436"/>
                    <a:gd name="connsiteY3" fmla="*/ 463558 h 475383"/>
                    <a:gd name="connsiteX4" fmla="*/ 153286 w 464436"/>
                    <a:gd name="connsiteY4" fmla="*/ 457208 h 475383"/>
                    <a:gd name="connsiteX5" fmla="*/ 204086 w 464436"/>
                    <a:gd name="connsiteY5" fmla="*/ 450858 h 475383"/>
                    <a:gd name="connsiteX6" fmla="*/ 464436 w 464436"/>
                    <a:gd name="connsiteY6" fmla="*/ 444508 h 475383"/>
                    <a:gd name="connsiteX7" fmla="*/ 439036 w 464436"/>
                    <a:gd name="connsiteY7" fmla="*/ 419108 h 475383"/>
                    <a:gd name="connsiteX8" fmla="*/ 394586 w 464436"/>
                    <a:gd name="connsiteY8" fmla="*/ 400058 h 475383"/>
                    <a:gd name="connsiteX9" fmla="*/ 375536 w 464436"/>
                    <a:gd name="connsiteY9" fmla="*/ 387358 h 475383"/>
                    <a:gd name="connsiteX10" fmla="*/ 356486 w 464436"/>
                    <a:gd name="connsiteY10" fmla="*/ 381008 h 475383"/>
                    <a:gd name="connsiteX11" fmla="*/ 318386 w 464436"/>
                    <a:gd name="connsiteY11" fmla="*/ 361958 h 475383"/>
                    <a:gd name="connsiteX12" fmla="*/ 280286 w 464436"/>
                    <a:gd name="connsiteY12" fmla="*/ 317508 h 475383"/>
                    <a:gd name="connsiteX13" fmla="*/ 242186 w 464436"/>
                    <a:gd name="connsiteY13" fmla="*/ 285758 h 475383"/>
                    <a:gd name="connsiteX14" fmla="*/ 216786 w 464436"/>
                    <a:gd name="connsiteY14" fmla="*/ 266708 h 475383"/>
                    <a:gd name="connsiteX15" fmla="*/ 153286 w 464436"/>
                    <a:gd name="connsiteY15" fmla="*/ 184158 h 475383"/>
                    <a:gd name="connsiteX16" fmla="*/ 146936 w 464436"/>
                    <a:gd name="connsiteY16" fmla="*/ 158758 h 475383"/>
                    <a:gd name="connsiteX17" fmla="*/ 7236 w 464436"/>
                    <a:gd name="connsiteY17" fmla="*/ 8 h 475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64436" h="475383">
                      <a:moveTo>
                        <a:pt x="7236" y="8"/>
                      </a:moveTo>
                      <a:cubicBezTo>
                        <a:pt x="-13931" y="-1050"/>
                        <a:pt x="17871" y="101474"/>
                        <a:pt x="19936" y="152408"/>
                      </a:cubicBezTo>
                      <a:cubicBezTo>
                        <a:pt x="24224" y="258176"/>
                        <a:pt x="9229" y="365437"/>
                        <a:pt x="26286" y="469908"/>
                      </a:cubicBezTo>
                      <a:cubicBezTo>
                        <a:pt x="28698" y="484680"/>
                        <a:pt x="55843" y="465047"/>
                        <a:pt x="70736" y="463558"/>
                      </a:cubicBezTo>
                      <a:cubicBezTo>
                        <a:pt x="98197" y="460812"/>
                        <a:pt x="125812" y="459825"/>
                        <a:pt x="153286" y="457208"/>
                      </a:cubicBezTo>
                      <a:cubicBezTo>
                        <a:pt x="170274" y="455590"/>
                        <a:pt x="187035" y="451554"/>
                        <a:pt x="204086" y="450858"/>
                      </a:cubicBezTo>
                      <a:cubicBezTo>
                        <a:pt x="290823" y="447318"/>
                        <a:pt x="377653" y="446625"/>
                        <a:pt x="464436" y="444508"/>
                      </a:cubicBezTo>
                      <a:cubicBezTo>
                        <a:pt x="455969" y="436041"/>
                        <a:pt x="449138" y="425536"/>
                        <a:pt x="439036" y="419108"/>
                      </a:cubicBezTo>
                      <a:cubicBezTo>
                        <a:pt x="425436" y="410454"/>
                        <a:pt x="409004" y="407267"/>
                        <a:pt x="394586" y="400058"/>
                      </a:cubicBezTo>
                      <a:cubicBezTo>
                        <a:pt x="387760" y="396645"/>
                        <a:pt x="382362" y="390771"/>
                        <a:pt x="375536" y="387358"/>
                      </a:cubicBezTo>
                      <a:cubicBezTo>
                        <a:pt x="369549" y="384365"/>
                        <a:pt x="362603" y="383726"/>
                        <a:pt x="356486" y="381008"/>
                      </a:cubicBezTo>
                      <a:cubicBezTo>
                        <a:pt x="343511" y="375241"/>
                        <a:pt x="331086" y="368308"/>
                        <a:pt x="318386" y="361958"/>
                      </a:cubicBezTo>
                      <a:cubicBezTo>
                        <a:pt x="301765" y="339797"/>
                        <a:pt x="300186" y="335197"/>
                        <a:pt x="280286" y="317508"/>
                      </a:cubicBezTo>
                      <a:cubicBezTo>
                        <a:pt x="267930" y="306525"/>
                        <a:pt x="255095" y="296085"/>
                        <a:pt x="242186" y="285758"/>
                      </a:cubicBezTo>
                      <a:cubicBezTo>
                        <a:pt x="233922" y="279147"/>
                        <a:pt x="224270" y="274192"/>
                        <a:pt x="216786" y="266708"/>
                      </a:cubicBezTo>
                      <a:cubicBezTo>
                        <a:pt x="195083" y="245005"/>
                        <a:pt x="170740" y="208594"/>
                        <a:pt x="153286" y="184158"/>
                      </a:cubicBezTo>
                      <a:cubicBezTo>
                        <a:pt x="151169" y="175691"/>
                        <a:pt x="151880" y="165950"/>
                        <a:pt x="146936" y="158758"/>
                      </a:cubicBezTo>
                      <a:cubicBezTo>
                        <a:pt x="109307" y="104024"/>
                        <a:pt x="28403" y="1066"/>
                        <a:pt x="7236" y="8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 w="5406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80DBE718-9B86-B350-9C87-579A32F7AA2A}"/>
                    </a:ext>
                  </a:extLst>
                </p:cNvPr>
                <p:cNvSpPr/>
                <p:nvPr/>
              </p:nvSpPr>
              <p:spPr>
                <a:xfrm>
                  <a:off x="6825364" y="2819392"/>
                  <a:ext cx="464436" cy="475383"/>
                </a:xfrm>
                <a:custGeom>
                  <a:avLst/>
                  <a:gdLst>
                    <a:gd name="connsiteX0" fmla="*/ 7236 w 464436"/>
                    <a:gd name="connsiteY0" fmla="*/ 8 h 475383"/>
                    <a:gd name="connsiteX1" fmla="*/ 19936 w 464436"/>
                    <a:gd name="connsiteY1" fmla="*/ 152408 h 475383"/>
                    <a:gd name="connsiteX2" fmla="*/ 26286 w 464436"/>
                    <a:gd name="connsiteY2" fmla="*/ 469908 h 475383"/>
                    <a:gd name="connsiteX3" fmla="*/ 70736 w 464436"/>
                    <a:gd name="connsiteY3" fmla="*/ 463558 h 475383"/>
                    <a:gd name="connsiteX4" fmla="*/ 153286 w 464436"/>
                    <a:gd name="connsiteY4" fmla="*/ 457208 h 475383"/>
                    <a:gd name="connsiteX5" fmla="*/ 204086 w 464436"/>
                    <a:gd name="connsiteY5" fmla="*/ 450858 h 475383"/>
                    <a:gd name="connsiteX6" fmla="*/ 464436 w 464436"/>
                    <a:gd name="connsiteY6" fmla="*/ 444508 h 475383"/>
                    <a:gd name="connsiteX7" fmla="*/ 439036 w 464436"/>
                    <a:gd name="connsiteY7" fmla="*/ 419108 h 475383"/>
                    <a:gd name="connsiteX8" fmla="*/ 394586 w 464436"/>
                    <a:gd name="connsiteY8" fmla="*/ 400058 h 475383"/>
                    <a:gd name="connsiteX9" fmla="*/ 375536 w 464436"/>
                    <a:gd name="connsiteY9" fmla="*/ 387358 h 475383"/>
                    <a:gd name="connsiteX10" fmla="*/ 356486 w 464436"/>
                    <a:gd name="connsiteY10" fmla="*/ 381008 h 475383"/>
                    <a:gd name="connsiteX11" fmla="*/ 318386 w 464436"/>
                    <a:gd name="connsiteY11" fmla="*/ 361958 h 475383"/>
                    <a:gd name="connsiteX12" fmla="*/ 280286 w 464436"/>
                    <a:gd name="connsiteY12" fmla="*/ 317508 h 475383"/>
                    <a:gd name="connsiteX13" fmla="*/ 242186 w 464436"/>
                    <a:gd name="connsiteY13" fmla="*/ 285758 h 475383"/>
                    <a:gd name="connsiteX14" fmla="*/ 216786 w 464436"/>
                    <a:gd name="connsiteY14" fmla="*/ 266708 h 475383"/>
                    <a:gd name="connsiteX15" fmla="*/ 153286 w 464436"/>
                    <a:gd name="connsiteY15" fmla="*/ 184158 h 475383"/>
                    <a:gd name="connsiteX16" fmla="*/ 146936 w 464436"/>
                    <a:gd name="connsiteY16" fmla="*/ 158758 h 475383"/>
                    <a:gd name="connsiteX17" fmla="*/ 7236 w 464436"/>
                    <a:gd name="connsiteY17" fmla="*/ 8 h 475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64436" h="475383">
                      <a:moveTo>
                        <a:pt x="7236" y="8"/>
                      </a:moveTo>
                      <a:cubicBezTo>
                        <a:pt x="-13931" y="-1050"/>
                        <a:pt x="17871" y="101474"/>
                        <a:pt x="19936" y="152408"/>
                      </a:cubicBezTo>
                      <a:cubicBezTo>
                        <a:pt x="24224" y="258176"/>
                        <a:pt x="9229" y="365437"/>
                        <a:pt x="26286" y="469908"/>
                      </a:cubicBezTo>
                      <a:cubicBezTo>
                        <a:pt x="28698" y="484680"/>
                        <a:pt x="55843" y="465047"/>
                        <a:pt x="70736" y="463558"/>
                      </a:cubicBezTo>
                      <a:cubicBezTo>
                        <a:pt x="98197" y="460812"/>
                        <a:pt x="125812" y="459825"/>
                        <a:pt x="153286" y="457208"/>
                      </a:cubicBezTo>
                      <a:cubicBezTo>
                        <a:pt x="170274" y="455590"/>
                        <a:pt x="187035" y="451554"/>
                        <a:pt x="204086" y="450858"/>
                      </a:cubicBezTo>
                      <a:cubicBezTo>
                        <a:pt x="290823" y="447318"/>
                        <a:pt x="377653" y="446625"/>
                        <a:pt x="464436" y="444508"/>
                      </a:cubicBezTo>
                      <a:cubicBezTo>
                        <a:pt x="455969" y="436041"/>
                        <a:pt x="449138" y="425536"/>
                        <a:pt x="439036" y="419108"/>
                      </a:cubicBezTo>
                      <a:cubicBezTo>
                        <a:pt x="425436" y="410454"/>
                        <a:pt x="409004" y="407267"/>
                        <a:pt x="394586" y="400058"/>
                      </a:cubicBezTo>
                      <a:cubicBezTo>
                        <a:pt x="387760" y="396645"/>
                        <a:pt x="382362" y="390771"/>
                        <a:pt x="375536" y="387358"/>
                      </a:cubicBezTo>
                      <a:cubicBezTo>
                        <a:pt x="369549" y="384365"/>
                        <a:pt x="362603" y="383726"/>
                        <a:pt x="356486" y="381008"/>
                      </a:cubicBezTo>
                      <a:cubicBezTo>
                        <a:pt x="343511" y="375241"/>
                        <a:pt x="331086" y="368308"/>
                        <a:pt x="318386" y="361958"/>
                      </a:cubicBezTo>
                      <a:cubicBezTo>
                        <a:pt x="301765" y="339797"/>
                        <a:pt x="300186" y="335197"/>
                        <a:pt x="280286" y="317508"/>
                      </a:cubicBezTo>
                      <a:cubicBezTo>
                        <a:pt x="267930" y="306525"/>
                        <a:pt x="255095" y="296085"/>
                        <a:pt x="242186" y="285758"/>
                      </a:cubicBezTo>
                      <a:cubicBezTo>
                        <a:pt x="233922" y="279147"/>
                        <a:pt x="224270" y="274192"/>
                        <a:pt x="216786" y="266708"/>
                      </a:cubicBezTo>
                      <a:cubicBezTo>
                        <a:pt x="195083" y="245005"/>
                        <a:pt x="170740" y="208594"/>
                        <a:pt x="153286" y="184158"/>
                      </a:cubicBezTo>
                      <a:cubicBezTo>
                        <a:pt x="151169" y="175691"/>
                        <a:pt x="151880" y="165950"/>
                        <a:pt x="146936" y="158758"/>
                      </a:cubicBezTo>
                      <a:cubicBezTo>
                        <a:pt x="109307" y="104024"/>
                        <a:pt x="28403" y="1066"/>
                        <a:pt x="7236" y="8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226F24A5-362B-421C-35ED-C1E14C04260F}"/>
                  </a:ext>
                </a:extLst>
              </p:cNvPr>
              <p:cNvGrpSpPr/>
              <p:nvPr/>
            </p:nvGrpSpPr>
            <p:grpSpPr>
              <a:xfrm>
                <a:off x="6977923" y="3670829"/>
                <a:ext cx="1503209" cy="1492593"/>
                <a:chOff x="4657836" y="1695450"/>
                <a:chExt cx="4460800" cy="4429294"/>
              </a:xfrm>
            </p:grpSpPr>
            <p:grpSp>
              <p:nvGrpSpPr>
                <p:cNvPr id="173" name="Group 172">
                  <a:extLst>
                    <a:ext uri="{FF2B5EF4-FFF2-40B4-BE49-F238E27FC236}">
                      <a16:creationId xmlns:a16="http://schemas.microsoft.com/office/drawing/2014/main" id="{48594995-62F6-CF15-D89B-92D162B812D4}"/>
                    </a:ext>
                  </a:extLst>
                </p:cNvPr>
                <p:cNvGrpSpPr/>
                <p:nvPr/>
              </p:nvGrpSpPr>
              <p:grpSpPr>
                <a:xfrm>
                  <a:off x="4657836" y="1695450"/>
                  <a:ext cx="4460800" cy="4429294"/>
                  <a:chOff x="7665981" y="1827213"/>
                  <a:chExt cx="4460800" cy="4429294"/>
                </a:xfrm>
              </p:grpSpPr>
              <p:sp>
                <p:nvSpPr>
                  <p:cNvPr id="180" name="Freeform: Shape 179">
                    <a:extLst>
                      <a:ext uri="{FF2B5EF4-FFF2-40B4-BE49-F238E27FC236}">
                        <a16:creationId xmlns:a16="http://schemas.microsoft.com/office/drawing/2014/main" id="{90254441-4276-2F88-7842-7593A7A0A67C}"/>
                      </a:ext>
                    </a:extLst>
                  </p:cNvPr>
                  <p:cNvSpPr/>
                  <p:nvPr/>
                </p:nvSpPr>
                <p:spPr>
                  <a:xfrm>
                    <a:off x="7665981" y="1827213"/>
                    <a:ext cx="4460800" cy="4429294"/>
                  </a:xfrm>
                  <a:custGeom>
                    <a:avLst/>
                    <a:gdLst>
                      <a:gd name="connsiteX0" fmla="*/ 2238265 w 4460800"/>
                      <a:gd name="connsiteY0" fmla="*/ 0 h 4429294"/>
                      <a:gd name="connsiteX1" fmla="*/ 2562115 w 4460800"/>
                      <a:gd name="connsiteY1" fmla="*/ 15875 h 4429294"/>
                      <a:gd name="connsiteX2" fmla="*/ 2857390 w 4460800"/>
                      <a:gd name="connsiteY2" fmla="*/ 85725 h 4429294"/>
                      <a:gd name="connsiteX3" fmla="*/ 3076465 w 4460800"/>
                      <a:gd name="connsiteY3" fmla="*/ 171450 h 4429294"/>
                      <a:gd name="connsiteX4" fmla="*/ 3181240 w 4460800"/>
                      <a:gd name="connsiteY4" fmla="*/ 228600 h 4429294"/>
                      <a:gd name="connsiteX5" fmla="*/ 3362215 w 4460800"/>
                      <a:gd name="connsiteY5" fmla="*/ 323850 h 4429294"/>
                      <a:gd name="connsiteX6" fmla="*/ 3752740 w 4460800"/>
                      <a:gd name="connsiteY6" fmla="*/ 581025 h 4429294"/>
                      <a:gd name="connsiteX7" fmla="*/ 3968640 w 4460800"/>
                      <a:gd name="connsiteY7" fmla="*/ 819150 h 4429294"/>
                      <a:gd name="connsiteX8" fmla="*/ 4105165 w 4460800"/>
                      <a:gd name="connsiteY8" fmla="*/ 990600 h 4429294"/>
                      <a:gd name="connsiteX9" fmla="*/ 4190890 w 4460800"/>
                      <a:gd name="connsiteY9" fmla="*/ 1143000 h 4429294"/>
                      <a:gd name="connsiteX10" fmla="*/ 4248040 w 4460800"/>
                      <a:gd name="connsiteY10" fmla="*/ 1266825 h 4429294"/>
                      <a:gd name="connsiteX11" fmla="*/ 4286140 w 4460800"/>
                      <a:gd name="connsiteY11" fmla="*/ 1362075 h 4429294"/>
                      <a:gd name="connsiteX12" fmla="*/ 4333765 w 4460800"/>
                      <a:gd name="connsiteY12" fmla="*/ 1552575 h 4429294"/>
                      <a:gd name="connsiteX13" fmla="*/ 4371865 w 4460800"/>
                      <a:gd name="connsiteY13" fmla="*/ 1685925 h 4429294"/>
                      <a:gd name="connsiteX14" fmla="*/ 4460765 w 4460800"/>
                      <a:gd name="connsiteY14" fmla="*/ 2181225 h 4429294"/>
                      <a:gd name="connsiteX15" fmla="*/ 4387740 w 4460800"/>
                      <a:gd name="connsiteY15" fmla="*/ 2768600 h 4429294"/>
                      <a:gd name="connsiteX16" fmla="*/ 4324240 w 4460800"/>
                      <a:gd name="connsiteY16" fmla="*/ 2990850 h 4429294"/>
                      <a:gd name="connsiteX17" fmla="*/ 4219465 w 4460800"/>
                      <a:gd name="connsiteY17" fmla="*/ 3248025 h 4429294"/>
                      <a:gd name="connsiteX18" fmla="*/ 4124215 w 4460800"/>
                      <a:gd name="connsiteY18" fmla="*/ 3400425 h 4429294"/>
                      <a:gd name="connsiteX19" fmla="*/ 4000390 w 4460800"/>
                      <a:gd name="connsiteY19" fmla="*/ 3533775 h 4429294"/>
                      <a:gd name="connsiteX20" fmla="*/ 3895615 w 4460800"/>
                      <a:gd name="connsiteY20" fmla="*/ 3648075 h 4429294"/>
                      <a:gd name="connsiteX21" fmla="*/ 3600340 w 4460800"/>
                      <a:gd name="connsiteY21" fmla="*/ 3971925 h 4429294"/>
                      <a:gd name="connsiteX22" fmla="*/ 3457465 w 4460800"/>
                      <a:gd name="connsiteY22" fmla="*/ 4083050 h 4429294"/>
                      <a:gd name="connsiteX23" fmla="*/ 3162190 w 4460800"/>
                      <a:gd name="connsiteY23" fmla="*/ 4222750 h 4429294"/>
                      <a:gd name="connsiteX24" fmla="*/ 3009790 w 4460800"/>
                      <a:gd name="connsiteY24" fmla="*/ 4286250 h 4429294"/>
                      <a:gd name="connsiteX25" fmla="*/ 2876440 w 4460800"/>
                      <a:gd name="connsiteY25" fmla="*/ 4333875 h 4429294"/>
                      <a:gd name="connsiteX26" fmla="*/ 2752615 w 4460800"/>
                      <a:gd name="connsiteY26" fmla="*/ 4371975 h 4429294"/>
                      <a:gd name="connsiteX27" fmla="*/ 2520840 w 4460800"/>
                      <a:gd name="connsiteY27" fmla="*/ 4391025 h 4429294"/>
                      <a:gd name="connsiteX28" fmla="*/ 2066815 w 4460800"/>
                      <a:gd name="connsiteY28" fmla="*/ 4429125 h 4429294"/>
                      <a:gd name="connsiteX29" fmla="*/ 1876315 w 4460800"/>
                      <a:gd name="connsiteY29" fmla="*/ 4400550 h 4429294"/>
                      <a:gd name="connsiteX30" fmla="*/ 1514365 w 4460800"/>
                      <a:gd name="connsiteY30" fmla="*/ 4305300 h 4429294"/>
                      <a:gd name="connsiteX31" fmla="*/ 1273065 w 4460800"/>
                      <a:gd name="connsiteY31" fmla="*/ 4216400 h 4429294"/>
                      <a:gd name="connsiteX32" fmla="*/ 1104790 w 4460800"/>
                      <a:gd name="connsiteY32" fmla="*/ 4111625 h 4429294"/>
                      <a:gd name="connsiteX33" fmla="*/ 885715 w 4460800"/>
                      <a:gd name="connsiteY33" fmla="*/ 3968750 h 4429294"/>
                      <a:gd name="connsiteX34" fmla="*/ 552340 w 4460800"/>
                      <a:gd name="connsiteY34" fmla="*/ 3657600 h 4429294"/>
                      <a:gd name="connsiteX35" fmla="*/ 406290 w 4460800"/>
                      <a:gd name="connsiteY35" fmla="*/ 3470275 h 4429294"/>
                      <a:gd name="connsiteX36" fmla="*/ 276115 w 4460800"/>
                      <a:gd name="connsiteY36" fmla="*/ 3244850 h 4429294"/>
                      <a:gd name="connsiteX37" fmla="*/ 123715 w 4460800"/>
                      <a:gd name="connsiteY37" fmla="*/ 2892425 h 4429294"/>
                      <a:gd name="connsiteX38" fmla="*/ 15765 w 4460800"/>
                      <a:gd name="connsiteY38" fmla="*/ 2368550 h 4429294"/>
                      <a:gd name="connsiteX39" fmla="*/ 22115 w 4460800"/>
                      <a:gd name="connsiteY39" fmla="*/ 1870075 h 4429294"/>
                      <a:gd name="connsiteX40" fmla="*/ 184040 w 4460800"/>
                      <a:gd name="connsiteY40" fmla="*/ 1320800 h 4429294"/>
                      <a:gd name="connsiteX41" fmla="*/ 288815 w 4460800"/>
                      <a:gd name="connsiteY41" fmla="*/ 1114425 h 4429294"/>
                      <a:gd name="connsiteX42" fmla="*/ 609490 w 4460800"/>
                      <a:gd name="connsiteY42" fmla="*/ 676275 h 4429294"/>
                      <a:gd name="connsiteX43" fmla="*/ 828565 w 4460800"/>
                      <a:gd name="connsiteY43" fmla="*/ 504825 h 4429294"/>
                      <a:gd name="connsiteX44" fmla="*/ 1107965 w 4460800"/>
                      <a:gd name="connsiteY44" fmla="*/ 311150 h 4429294"/>
                      <a:gd name="connsiteX45" fmla="*/ 1466740 w 4460800"/>
                      <a:gd name="connsiteY45" fmla="*/ 152400 h 4429294"/>
                      <a:gd name="connsiteX46" fmla="*/ 1581040 w 4460800"/>
                      <a:gd name="connsiteY46" fmla="*/ 111125 h 4429294"/>
                      <a:gd name="connsiteX47" fmla="*/ 2212865 w 4460800"/>
                      <a:gd name="connsiteY47" fmla="*/ 12700 h 4429294"/>
                      <a:gd name="connsiteX48" fmla="*/ 2238265 w 4460800"/>
                      <a:gd name="connsiteY48" fmla="*/ 0 h 4429294"/>
                      <a:gd name="connsiteX49" fmla="*/ 2236472 w 4460800"/>
                      <a:gd name="connsiteY49" fmla="*/ 504825 h 4429294"/>
                      <a:gd name="connsiteX50" fmla="*/ 2216862 w 4460800"/>
                      <a:gd name="connsiteY50" fmla="*/ 514630 h 4429294"/>
                      <a:gd name="connsiteX51" fmla="*/ 1729061 w 4460800"/>
                      <a:gd name="connsiteY51" fmla="*/ 590619 h 4429294"/>
                      <a:gd name="connsiteX52" fmla="*/ 1640815 w 4460800"/>
                      <a:gd name="connsiteY52" fmla="*/ 622486 h 4429294"/>
                      <a:gd name="connsiteX53" fmla="*/ 1363822 w 4460800"/>
                      <a:gd name="connsiteY53" fmla="*/ 745049 h 4429294"/>
                      <a:gd name="connsiteX54" fmla="*/ 1148111 w 4460800"/>
                      <a:gd name="connsiteY54" fmla="*/ 894576 h 4429294"/>
                      <a:gd name="connsiteX55" fmla="*/ 978974 w 4460800"/>
                      <a:gd name="connsiteY55" fmla="*/ 1026944 h 4429294"/>
                      <a:gd name="connsiteX56" fmla="*/ 731396 w 4460800"/>
                      <a:gd name="connsiteY56" fmla="*/ 1365219 h 4429294"/>
                      <a:gd name="connsiteX57" fmla="*/ 650504 w 4460800"/>
                      <a:gd name="connsiteY57" fmla="*/ 1524551 h 4429294"/>
                      <a:gd name="connsiteX58" fmla="*/ 525490 w 4460800"/>
                      <a:gd name="connsiteY58" fmla="*/ 1948620 h 4429294"/>
                      <a:gd name="connsiteX59" fmla="*/ 520587 w 4460800"/>
                      <a:gd name="connsiteY59" fmla="*/ 2333468 h 4429294"/>
                      <a:gd name="connsiteX60" fmla="*/ 603930 w 4460800"/>
                      <a:gd name="connsiteY60" fmla="*/ 2737927 h 4429294"/>
                      <a:gd name="connsiteX61" fmla="*/ 721591 w 4460800"/>
                      <a:gd name="connsiteY61" fmla="*/ 3010017 h 4429294"/>
                      <a:gd name="connsiteX62" fmla="*/ 822093 w 4460800"/>
                      <a:gd name="connsiteY62" fmla="*/ 3184057 h 4429294"/>
                      <a:gd name="connsiteX63" fmla="*/ 934851 w 4460800"/>
                      <a:gd name="connsiteY63" fmla="*/ 3328681 h 4429294"/>
                      <a:gd name="connsiteX64" fmla="*/ 1192234 w 4460800"/>
                      <a:gd name="connsiteY64" fmla="*/ 3568905 h 4429294"/>
                      <a:gd name="connsiteX65" fmla="*/ 1361371 w 4460800"/>
                      <a:gd name="connsiteY65" fmla="*/ 3679212 h 4429294"/>
                      <a:gd name="connsiteX66" fmla="*/ 1491288 w 4460800"/>
                      <a:gd name="connsiteY66" fmla="*/ 3760104 h 4429294"/>
                      <a:gd name="connsiteX67" fmla="*/ 1677584 w 4460800"/>
                      <a:gd name="connsiteY67" fmla="*/ 3828739 h 4429294"/>
                      <a:gd name="connsiteX68" fmla="*/ 1957028 w 4460800"/>
                      <a:gd name="connsiteY68" fmla="*/ 3902277 h 4429294"/>
                      <a:gd name="connsiteX69" fmla="*/ 2104104 w 4460800"/>
                      <a:gd name="connsiteY69" fmla="*/ 3924339 h 4429294"/>
                      <a:gd name="connsiteX70" fmla="*/ 2454635 w 4460800"/>
                      <a:gd name="connsiteY70" fmla="*/ 3894923 h 4429294"/>
                      <a:gd name="connsiteX71" fmla="*/ 2633577 w 4460800"/>
                      <a:gd name="connsiteY71" fmla="*/ 3880216 h 4429294"/>
                      <a:gd name="connsiteX72" fmla="*/ 2729176 w 4460800"/>
                      <a:gd name="connsiteY72" fmla="*/ 3850801 h 4429294"/>
                      <a:gd name="connsiteX73" fmla="*/ 2832129 w 4460800"/>
                      <a:gd name="connsiteY73" fmla="*/ 3814032 h 4429294"/>
                      <a:gd name="connsiteX74" fmla="*/ 2949790 w 4460800"/>
                      <a:gd name="connsiteY74" fmla="*/ 3765006 h 4429294"/>
                      <a:gd name="connsiteX75" fmla="*/ 3177758 w 4460800"/>
                      <a:gd name="connsiteY75" fmla="*/ 3657151 h 4429294"/>
                      <a:gd name="connsiteX76" fmla="*/ 3288065 w 4460800"/>
                      <a:gd name="connsiteY76" fmla="*/ 3571357 h 4429294"/>
                      <a:gd name="connsiteX77" fmla="*/ 3516032 w 4460800"/>
                      <a:gd name="connsiteY77" fmla="*/ 3321328 h 4429294"/>
                      <a:gd name="connsiteX78" fmla="*/ 3596924 w 4460800"/>
                      <a:gd name="connsiteY78" fmla="*/ 3233082 h 4429294"/>
                      <a:gd name="connsiteX79" fmla="*/ 3692523 w 4460800"/>
                      <a:gd name="connsiteY79" fmla="*/ 3130129 h 4429294"/>
                      <a:gd name="connsiteX80" fmla="*/ 3766061 w 4460800"/>
                      <a:gd name="connsiteY80" fmla="*/ 3012468 h 4429294"/>
                      <a:gd name="connsiteX81" fmla="*/ 3846953 w 4460800"/>
                      <a:gd name="connsiteY81" fmla="*/ 2813916 h 4429294"/>
                      <a:gd name="connsiteX82" fmla="*/ 3895978 w 4460800"/>
                      <a:gd name="connsiteY82" fmla="*/ 2642327 h 4429294"/>
                      <a:gd name="connsiteX83" fmla="*/ 3952357 w 4460800"/>
                      <a:gd name="connsiteY83" fmla="*/ 2188844 h 4429294"/>
                      <a:gd name="connsiteX84" fmla="*/ 3883722 w 4460800"/>
                      <a:gd name="connsiteY84" fmla="*/ 1806446 h 4429294"/>
                      <a:gd name="connsiteX85" fmla="*/ 3854307 w 4460800"/>
                      <a:gd name="connsiteY85" fmla="*/ 1703493 h 4429294"/>
                      <a:gd name="connsiteX86" fmla="*/ 3817538 w 4460800"/>
                      <a:gd name="connsiteY86" fmla="*/ 1556418 h 4429294"/>
                      <a:gd name="connsiteX87" fmla="*/ 3788122 w 4460800"/>
                      <a:gd name="connsiteY87" fmla="*/ 1482880 h 4429294"/>
                      <a:gd name="connsiteX88" fmla="*/ 3744000 w 4460800"/>
                      <a:gd name="connsiteY88" fmla="*/ 1387280 h 4429294"/>
                      <a:gd name="connsiteX89" fmla="*/ 3677816 w 4460800"/>
                      <a:gd name="connsiteY89" fmla="*/ 1269620 h 4429294"/>
                      <a:gd name="connsiteX90" fmla="*/ 3572411 w 4460800"/>
                      <a:gd name="connsiteY90" fmla="*/ 1137251 h 4429294"/>
                      <a:gd name="connsiteX91" fmla="*/ 3405725 w 4460800"/>
                      <a:gd name="connsiteY91" fmla="*/ 953406 h 4429294"/>
                      <a:gd name="connsiteX92" fmla="*/ 3104220 w 4460800"/>
                      <a:gd name="connsiteY92" fmla="*/ 754854 h 4429294"/>
                      <a:gd name="connsiteX93" fmla="*/ 2964498 w 4460800"/>
                      <a:gd name="connsiteY93" fmla="*/ 681316 h 4429294"/>
                      <a:gd name="connsiteX94" fmla="*/ 2883606 w 4460800"/>
                      <a:gd name="connsiteY94" fmla="*/ 637193 h 4429294"/>
                      <a:gd name="connsiteX95" fmla="*/ 2714469 w 4460800"/>
                      <a:gd name="connsiteY95" fmla="*/ 571009 h 4429294"/>
                      <a:gd name="connsiteX96" fmla="*/ 2486501 w 4460800"/>
                      <a:gd name="connsiteY96" fmla="*/ 517081 h 4429294"/>
                      <a:gd name="connsiteX97" fmla="*/ 2236472 w 4460800"/>
                      <a:gd name="connsiteY97" fmla="*/ 504825 h 4429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</a:cxnLst>
                    <a:rect l="l" t="t" r="r" b="b"/>
                    <a:pathLst>
                      <a:path w="4460800" h="4429294">
                        <a:moveTo>
                          <a:pt x="2238265" y="0"/>
                        </a:moveTo>
                        <a:cubicBezTo>
                          <a:pt x="2346215" y="5292"/>
                          <a:pt x="2458928" y="1588"/>
                          <a:pt x="2562115" y="15875"/>
                        </a:cubicBezTo>
                        <a:cubicBezTo>
                          <a:pt x="2665302" y="30162"/>
                          <a:pt x="2798653" y="69321"/>
                          <a:pt x="2857390" y="85725"/>
                        </a:cubicBezTo>
                        <a:cubicBezTo>
                          <a:pt x="2943115" y="111654"/>
                          <a:pt x="3033603" y="153988"/>
                          <a:pt x="3076465" y="171450"/>
                        </a:cubicBezTo>
                        <a:cubicBezTo>
                          <a:pt x="3130440" y="195262"/>
                          <a:pt x="3133615" y="203200"/>
                          <a:pt x="3181240" y="228600"/>
                        </a:cubicBezTo>
                        <a:cubicBezTo>
                          <a:pt x="3228865" y="254000"/>
                          <a:pt x="3266965" y="265113"/>
                          <a:pt x="3362215" y="323850"/>
                        </a:cubicBezTo>
                        <a:cubicBezTo>
                          <a:pt x="3457465" y="382588"/>
                          <a:pt x="3651669" y="498475"/>
                          <a:pt x="3752740" y="581025"/>
                        </a:cubicBezTo>
                        <a:cubicBezTo>
                          <a:pt x="3853811" y="663575"/>
                          <a:pt x="3909903" y="750888"/>
                          <a:pt x="3968640" y="819150"/>
                        </a:cubicBezTo>
                        <a:cubicBezTo>
                          <a:pt x="4027378" y="887413"/>
                          <a:pt x="4068123" y="936625"/>
                          <a:pt x="4105165" y="990600"/>
                        </a:cubicBezTo>
                        <a:cubicBezTo>
                          <a:pt x="4142207" y="1044575"/>
                          <a:pt x="4175015" y="1109663"/>
                          <a:pt x="4190890" y="1143000"/>
                        </a:cubicBezTo>
                        <a:cubicBezTo>
                          <a:pt x="4214703" y="1189038"/>
                          <a:pt x="4232165" y="1230313"/>
                          <a:pt x="4248040" y="1266825"/>
                        </a:cubicBezTo>
                        <a:cubicBezTo>
                          <a:pt x="4263915" y="1303338"/>
                          <a:pt x="4271853" y="1314450"/>
                          <a:pt x="4286140" y="1362075"/>
                        </a:cubicBezTo>
                        <a:cubicBezTo>
                          <a:pt x="4300427" y="1409700"/>
                          <a:pt x="4319478" y="1498600"/>
                          <a:pt x="4333765" y="1552575"/>
                        </a:cubicBezTo>
                        <a:cubicBezTo>
                          <a:pt x="4348053" y="1606550"/>
                          <a:pt x="4350698" y="1581150"/>
                          <a:pt x="4371865" y="1685925"/>
                        </a:cubicBezTo>
                        <a:cubicBezTo>
                          <a:pt x="4393032" y="1790700"/>
                          <a:pt x="4459178" y="1982788"/>
                          <a:pt x="4460765" y="2181225"/>
                        </a:cubicBezTo>
                        <a:cubicBezTo>
                          <a:pt x="4462352" y="2379662"/>
                          <a:pt x="4410494" y="2633663"/>
                          <a:pt x="4387740" y="2768600"/>
                        </a:cubicBezTo>
                        <a:cubicBezTo>
                          <a:pt x="4364986" y="2903537"/>
                          <a:pt x="4352286" y="2910946"/>
                          <a:pt x="4324240" y="2990850"/>
                        </a:cubicBezTo>
                        <a:cubicBezTo>
                          <a:pt x="4296194" y="3070754"/>
                          <a:pt x="4252802" y="3179763"/>
                          <a:pt x="4219465" y="3248025"/>
                        </a:cubicBezTo>
                        <a:cubicBezTo>
                          <a:pt x="4186128" y="3316287"/>
                          <a:pt x="4160728" y="3352800"/>
                          <a:pt x="4124215" y="3400425"/>
                        </a:cubicBezTo>
                        <a:cubicBezTo>
                          <a:pt x="4087703" y="3448050"/>
                          <a:pt x="4038490" y="3492500"/>
                          <a:pt x="4000390" y="3533775"/>
                        </a:cubicBezTo>
                        <a:lnTo>
                          <a:pt x="3895615" y="3648075"/>
                        </a:lnTo>
                        <a:cubicBezTo>
                          <a:pt x="3797190" y="3756025"/>
                          <a:pt x="3673365" y="3899429"/>
                          <a:pt x="3600340" y="3971925"/>
                        </a:cubicBezTo>
                        <a:cubicBezTo>
                          <a:pt x="3527315" y="4044421"/>
                          <a:pt x="3530490" y="4041246"/>
                          <a:pt x="3457465" y="4083050"/>
                        </a:cubicBezTo>
                        <a:cubicBezTo>
                          <a:pt x="3384440" y="4124854"/>
                          <a:pt x="3236802" y="4188883"/>
                          <a:pt x="3162190" y="4222750"/>
                        </a:cubicBezTo>
                        <a:cubicBezTo>
                          <a:pt x="3087578" y="4256617"/>
                          <a:pt x="3038173" y="4283885"/>
                          <a:pt x="3009790" y="4286250"/>
                        </a:cubicBezTo>
                        <a:cubicBezTo>
                          <a:pt x="2947977" y="4310975"/>
                          <a:pt x="2954113" y="4309602"/>
                          <a:pt x="2876440" y="4333875"/>
                        </a:cubicBezTo>
                        <a:cubicBezTo>
                          <a:pt x="2853306" y="4341104"/>
                          <a:pt x="2811882" y="4362450"/>
                          <a:pt x="2752615" y="4371975"/>
                        </a:cubicBezTo>
                        <a:cubicBezTo>
                          <a:pt x="2693348" y="4381500"/>
                          <a:pt x="2635140" y="4381500"/>
                          <a:pt x="2520840" y="4391025"/>
                        </a:cubicBezTo>
                        <a:cubicBezTo>
                          <a:pt x="2406540" y="4400550"/>
                          <a:pt x="2174236" y="4427538"/>
                          <a:pt x="2066815" y="4429125"/>
                        </a:cubicBezTo>
                        <a:cubicBezTo>
                          <a:pt x="1959394" y="4430712"/>
                          <a:pt x="1968390" y="4421187"/>
                          <a:pt x="1876315" y="4400550"/>
                        </a:cubicBezTo>
                        <a:cubicBezTo>
                          <a:pt x="1784240" y="4379913"/>
                          <a:pt x="1614907" y="4335992"/>
                          <a:pt x="1514365" y="4305300"/>
                        </a:cubicBezTo>
                        <a:cubicBezTo>
                          <a:pt x="1413823" y="4274608"/>
                          <a:pt x="1353498" y="4246033"/>
                          <a:pt x="1273065" y="4216400"/>
                        </a:cubicBezTo>
                        <a:cubicBezTo>
                          <a:pt x="1206390" y="4187825"/>
                          <a:pt x="1169348" y="4152900"/>
                          <a:pt x="1104790" y="4111625"/>
                        </a:cubicBezTo>
                        <a:cubicBezTo>
                          <a:pt x="1040232" y="4070350"/>
                          <a:pt x="977790" y="4044421"/>
                          <a:pt x="885715" y="3968750"/>
                        </a:cubicBezTo>
                        <a:cubicBezTo>
                          <a:pt x="793640" y="3893079"/>
                          <a:pt x="632244" y="3740679"/>
                          <a:pt x="552340" y="3657600"/>
                        </a:cubicBezTo>
                        <a:cubicBezTo>
                          <a:pt x="472436" y="3574521"/>
                          <a:pt x="452327" y="3539067"/>
                          <a:pt x="406290" y="3470275"/>
                        </a:cubicBezTo>
                        <a:cubicBezTo>
                          <a:pt x="360253" y="3401483"/>
                          <a:pt x="323211" y="3341158"/>
                          <a:pt x="276115" y="3244850"/>
                        </a:cubicBezTo>
                        <a:cubicBezTo>
                          <a:pt x="229019" y="3148542"/>
                          <a:pt x="167107" y="3038475"/>
                          <a:pt x="123715" y="2892425"/>
                        </a:cubicBezTo>
                        <a:cubicBezTo>
                          <a:pt x="80323" y="2746375"/>
                          <a:pt x="37990" y="2553758"/>
                          <a:pt x="15765" y="2368550"/>
                        </a:cubicBezTo>
                        <a:cubicBezTo>
                          <a:pt x="-6460" y="2183342"/>
                          <a:pt x="-5931" y="2044700"/>
                          <a:pt x="22115" y="1870075"/>
                        </a:cubicBezTo>
                        <a:cubicBezTo>
                          <a:pt x="50161" y="1695450"/>
                          <a:pt x="139590" y="1446742"/>
                          <a:pt x="184040" y="1320800"/>
                        </a:cubicBezTo>
                        <a:cubicBezTo>
                          <a:pt x="228490" y="1194858"/>
                          <a:pt x="217907" y="1221846"/>
                          <a:pt x="288815" y="1114425"/>
                        </a:cubicBezTo>
                        <a:cubicBezTo>
                          <a:pt x="359723" y="1007004"/>
                          <a:pt x="519532" y="777875"/>
                          <a:pt x="609490" y="676275"/>
                        </a:cubicBezTo>
                        <a:cubicBezTo>
                          <a:pt x="699448" y="574675"/>
                          <a:pt x="745486" y="565679"/>
                          <a:pt x="828565" y="504825"/>
                        </a:cubicBezTo>
                        <a:cubicBezTo>
                          <a:pt x="911644" y="443971"/>
                          <a:pt x="997898" y="379942"/>
                          <a:pt x="1107965" y="311150"/>
                        </a:cubicBezTo>
                        <a:cubicBezTo>
                          <a:pt x="1214328" y="252413"/>
                          <a:pt x="1387894" y="185737"/>
                          <a:pt x="1466740" y="152400"/>
                        </a:cubicBezTo>
                        <a:cubicBezTo>
                          <a:pt x="1545586" y="119063"/>
                          <a:pt x="1456686" y="134408"/>
                          <a:pt x="1581040" y="111125"/>
                        </a:cubicBezTo>
                        <a:cubicBezTo>
                          <a:pt x="1810698" y="67733"/>
                          <a:pt x="1945107" y="-7408"/>
                          <a:pt x="2212865" y="12700"/>
                        </a:cubicBezTo>
                        <a:lnTo>
                          <a:pt x="2238265" y="0"/>
                        </a:lnTo>
                        <a:close/>
                        <a:moveTo>
                          <a:pt x="2236472" y="504825"/>
                        </a:moveTo>
                        <a:lnTo>
                          <a:pt x="2216862" y="514630"/>
                        </a:lnTo>
                        <a:cubicBezTo>
                          <a:pt x="2010139" y="499106"/>
                          <a:pt x="1906368" y="557119"/>
                          <a:pt x="1729061" y="590619"/>
                        </a:cubicBezTo>
                        <a:cubicBezTo>
                          <a:pt x="1633053" y="608595"/>
                          <a:pt x="1701688" y="596748"/>
                          <a:pt x="1640815" y="622486"/>
                        </a:cubicBezTo>
                        <a:cubicBezTo>
                          <a:pt x="1579942" y="648224"/>
                          <a:pt x="1445940" y="699701"/>
                          <a:pt x="1363822" y="745049"/>
                        </a:cubicBezTo>
                        <a:cubicBezTo>
                          <a:pt x="1278845" y="798160"/>
                          <a:pt x="1212252" y="847594"/>
                          <a:pt x="1148111" y="894576"/>
                        </a:cubicBezTo>
                        <a:cubicBezTo>
                          <a:pt x="1083970" y="941559"/>
                          <a:pt x="1048426" y="948504"/>
                          <a:pt x="978974" y="1026944"/>
                        </a:cubicBezTo>
                        <a:cubicBezTo>
                          <a:pt x="909522" y="1105385"/>
                          <a:pt x="786141" y="1282284"/>
                          <a:pt x="731396" y="1365219"/>
                        </a:cubicBezTo>
                        <a:cubicBezTo>
                          <a:pt x="676651" y="1448153"/>
                          <a:pt x="684822" y="1427317"/>
                          <a:pt x="650504" y="1524551"/>
                        </a:cubicBezTo>
                        <a:cubicBezTo>
                          <a:pt x="616187" y="1621785"/>
                          <a:pt x="547143" y="1813800"/>
                          <a:pt x="525490" y="1948620"/>
                        </a:cubicBezTo>
                        <a:cubicBezTo>
                          <a:pt x="503837" y="2083439"/>
                          <a:pt x="503429" y="2190478"/>
                          <a:pt x="520587" y="2333468"/>
                        </a:cubicBezTo>
                        <a:cubicBezTo>
                          <a:pt x="537746" y="2476458"/>
                          <a:pt x="570430" y="2625169"/>
                          <a:pt x="603930" y="2737927"/>
                        </a:cubicBezTo>
                        <a:cubicBezTo>
                          <a:pt x="637431" y="2850685"/>
                          <a:pt x="685231" y="2935662"/>
                          <a:pt x="721591" y="3010017"/>
                        </a:cubicBezTo>
                        <a:cubicBezTo>
                          <a:pt x="757952" y="3084372"/>
                          <a:pt x="786550" y="3130946"/>
                          <a:pt x="822093" y="3184057"/>
                        </a:cubicBezTo>
                        <a:cubicBezTo>
                          <a:pt x="857636" y="3237168"/>
                          <a:pt x="873161" y="3264540"/>
                          <a:pt x="934851" y="3328681"/>
                        </a:cubicBezTo>
                        <a:cubicBezTo>
                          <a:pt x="996541" y="3392823"/>
                          <a:pt x="1121147" y="3510483"/>
                          <a:pt x="1192234" y="3568905"/>
                        </a:cubicBezTo>
                        <a:cubicBezTo>
                          <a:pt x="1263320" y="3627327"/>
                          <a:pt x="1311529" y="3647346"/>
                          <a:pt x="1361371" y="3679212"/>
                        </a:cubicBezTo>
                        <a:cubicBezTo>
                          <a:pt x="1411213" y="3711079"/>
                          <a:pt x="1439811" y="3738043"/>
                          <a:pt x="1491288" y="3760104"/>
                        </a:cubicBezTo>
                        <a:cubicBezTo>
                          <a:pt x="1553386" y="3782982"/>
                          <a:pt x="1599960" y="3805044"/>
                          <a:pt x="1677584" y="3828739"/>
                        </a:cubicBezTo>
                        <a:cubicBezTo>
                          <a:pt x="1755208" y="3852435"/>
                          <a:pt x="1885941" y="3886344"/>
                          <a:pt x="1957028" y="3902277"/>
                        </a:cubicBezTo>
                        <a:cubicBezTo>
                          <a:pt x="2028115" y="3918210"/>
                          <a:pt x="2021169" y="3925564"/>
                          <a:pt x="2104104" y="3924339"/>
                        </a:cubicBezTo>
                        <a:cubicBezTo>
                          <a:pt x="2187039" y="3923113"/>
                          <a:pt x="2366389" y="3902277"/>
                          <a:pt x="2454635" y="3894923"/>
                        </a:cubicBezTo>
                        <a:cubicBezTo>
                          <a:pt x="2542880" y="3887570"/>
                          <a:pt x="2587820" y="3887570"/>
                          <a:pt x="2633577" y="3880216"/>
                        </a:cubicBezTo>
                        <a:cubicBezTo>
                          <a:pt x="2679334" y="3872862"/>
                          <a:pt x="2711316" y="3856382"/>
                          <a:pt x="2729176" y="3850801"/>
                        </a:cubicBezTo>
                        <a:cubicBezTo>
                          <a:pt x="2789144" y="3832061"/>
                          <a:pt x="2784407" y="3833121"/>
                          <a:pt x="2832129" y="3814032"/>
                        </a:cubicBezTo>
                        <a:cubicBezTo>
                          <a:pt x="2854043" y="3812206"/>
                          <a:pt x="2892186" y="3791154"/>
                          <a:pt x="2949790" y="3765006"/>
                        </a:cubicBezTo>
                        <a:cubicBezTo>
                          <a:pt x="3007394" y="3738859"/>
                          <a:pt x="3121379" y="3689426"/>
                          <a:pt x="3177758" y="3657151"/>
                        </a:cubicBezTo>
                        <a:cubicBezTo>
                          <a:pt x="3234137" y="3624876"/>
                          <a:pt x="3231685" y="3627327"/>
                          <a:pt x="3288065" y="3571357"/>
                        </a:cubicBezTo>
                        <a:cubicBezTo>
                          <a:pt x="3344444" y="3515386"/>
                          <a:pt x="3440043" y="3404671"/>
                          <a:pt x="3516032" y="3321328"/>
                        </a:cubicBezTo>
                        <a:lnTo>
                          <a:pt x="3596924" y="3233082"/>
                        </a:lnTo>
                        <a:cubicBezTo>
                          <a:pt x="3626339" y="3201216"/>
                          <a:pt x="3664334" y="3166898"/>
                          <a:pt x="3692523" y="3130129"/>
                        </a:cubicBezTo>
                        <a:cubicBezTo>
                          <a:pt x="3720713" y="3093360"/>
                          <a:pt x="3740323" y="3065170"/>
                          <a:pt x="3766061" y="3012468"/>
                        </a:cubicBezTo>
                        <a:cubicBezTo>
                          <a:pt x="3791799" y="2959767"/>
                          <a:pt x="3825300" y="2875606"/>
                          <a:pt x="3846953" y="2813916"/>
                        </a:cubicBezTo>
                        <a:cubicBezTo>
                          <a:pt x="3868606" y="2752226"/>
                          <a:pt x="3878411" y="2746506"/>
                          <a:pt x="3895978" y="2642327"/>
                        </a:cubicBezTo>
                        <a:cubicBezTo>
                          <a:pt x="3913545" y="2538149"/>
                          <a:pt x="3953582" y="2342047"/>
                          <a:pt x="3952357" y="2188844"/>
                        </a:cubicBezTo>
                        <a:cubicBezTo>
                          <a:pt x="3951132" y="2035640"/>
                          <a:pt x="3900064" y="1887338"/>
                          <a:pt x="3883722" y="1806446"/>
                        </a:cubicBezTo>
                        <a:cubicBezTo>
                          <a:pt x="3867380" y="1725555"/>
                          <a:pt x="3865338" y="1745165"/>
                          <a:pt x="3854307" y="1703493"/>
                        </a:cubicBezTo>
                        <a:cubicBezTo>
                          <a:pt x="3843276" y="1661822"/>
                          <a:pt x="3828568" y="1593186"/>
                          <a:pt x="3817538" y="1556418"/>
                        </a:cubicBezTo>
                        <a:cubicBezTo>
                          <a:pt x="3806507" y="1519649"/>
                          <a:pt x="3800379" y="1511069"/>
                          <a:pt x="3788122" y="1482880"/>
                        </a:cubicBezTo>
                        <a:cubicBezTo>
                          <a:pt x="3775866" y="1454690"/>
                          <a:pt x="3762385" y="1422824"/>
                          <a:pt x="3744000" y="1387280"/>
                        </a:cubicBezTo>
                        <a:cubicBezTo>
                          <a:pt x="3731743" y="1361542"/>
                          <a:pt x="3706414" y="1311291"/>
                          <a:pt x="3677816" y="1269620"/>
                        </a:cubicBezTo>
                        <a:cubicBezTo>
                          <a:pt x="3649217" y="1227948"/>
                          <a:pt x="3617760" y="1189954"/>
                          <a:pt x="3572411" y="1137251"/>
                        </a:cubicBezTo>
                        <a:cubicBezTo>
                          <a:pt x="3527063" y="1084550"/>
                          <a:pt x="3483757" y="1017139"/>
                          <a:pt x="3405725" y="953406"/>
                        </a:cubicBezTo>
                        <a:cubicBezTo>
                          <a:pt x="3327693" y="889674"/>
                          <a:pt x="3177758" y="800203"/>
                          <a:pt x="3104220" y="754854"/>
                        </a:cubicBezTo>
                        <a:cubicBezTo>
                          <a:pt x="3030682" y="709506"/>
                          <a:pt x="3001267" y="700926"/>
                          <a:pt x="2964498" y="681316"/>
                        </a:cubicBezTo>
                        <a:cubicBezTo>
                          <a:pt x="2927729" y="661706"/>
                          <a:pt x="2925277" y="655577"/>
                          <a:pt x="2883606" y="637193"/>
                        </a:cubicBezTo>
                        <a:cubicBezTo>
                          <a:pt x="2850514" y="623712"/>
                          <a:pt x="2780653" y="591028"/>
                          <a:pt x="2714469" y="571009"/>
                        </a:cubicBezTo>
                        <a:cubicBezTo>
                          <a:pt x="2669121" y="558345"/>
                          <a:pt x="2566167" y="528112"/>
                          <a:pt x="2486501" y="517081"/>
                        </a:cubicBezTo>
                        <a:cubicBezTo>
                          <a:pt x="2406836" y="506051"/>
                          <a:pt x="2319815" y="508911"/>
                          <a:pt x="2236472" y="504825"/>
                        </a:cubicBezTo>
                        <a:close/>
                      </a:path>
                    </a:pathLst>
                  </a:custGeom>
                  <a:solidFill>
                    <a:srgbClr val="FBCCD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M Sans 14pt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81" name="Group 180">
                    <a:extLst>
                      <a:ext uri="{FF2B5EF4-FFF2-40B4-BE49-F238E27FC236}">
                        <a16:creationId xmlns:a16="http://schemas.microsoft.com/office/drawing/2014/main" id="{6EF180FC-6339-7659-F9D7-5BEE27C00551}"/>
                      </a:ext>
                    </a:extLst>
                  </p:cNvPr>
                  <p:cNvGrpSpPr/>
                  <p:nvPr/>
                </p:nvGrpSpPr>
                <p:grpSpPr>
                  <a:xfrm>
                    <a:off x="7665981" y="1836050"/>
                    <a:ext cx="2140776" cy="4110172"/>
                    <a:chOff x="65219" y="1726967"/>
                    <a:chExt cx="2140776" cy="4110172"/>
                  </a:xfrm>
                </p:grpSpPr>
                <p:sp>
                  <p:nvSpPr>
                    <p:cNvPr id="182" name="Freeform: Shape 181">
                      <a:extLst>
                        <a:ext uri="{FF2B5EF4-FFF2-40B4-BE49-F238E27FC236}">
                          <a16:creationId xmlns:a16="http://schemas.microsoft.com/office/drawing/2014/main" id="{4AF7E2F1-3540-524E-EEEA-E3610F4618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1585" y="1726967"/>
                      <a:ext cx="1354410" cy="873083"/>
                    </a:xfrm>
                    <a:custGeom>
                      <a:avLst/>
                      <a:gdLst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426371 w 1354410"/>
                        <a:gd name="connsiteY8" fmla="*/ 838389 h 873083"/>
                        <a:gd name="connsiteX9" fmla="*/ 426371 w 1354410"/>
                        <a:gd name="connsiteY9" fmla="*/ 838388 h 873083"/>
                        <a:gd name="connsiteX10" fmla="*/ 378472 w 1354410"/>
                        <a:gd name="connsiteY10" fmla="*/ 873083 h 873083"/>
                        <a:gd name="connsiteX11" fmla="*/ 352490 w 1354410"/>
                        <a:gd name="connsiteY11" fmla="*/ 848865 h 873083"/>
                        <a:gd name="connsiteX12" fmla="*/ 32670 w 1354410"/>
                        <a:gd name="connsiteY12" fmla="*/ 554009 h 873083"/>
                        <a:gd name="connsiteX13" fmla="*/ 5731 w 1354410"/>
                        <a:gd name="connsiteY13" fmla="*/ 529188 h 873083"/>
                        <a:gd name="connsiteX14" fmla="*/ 0 w 1354410"/>
                        <a:gd name="connsiteY14" fmla="*/ 523895 h 873083"/>
                        <a:gd name="connsiteX15" fmla="*/ 42199 w 1354410"/>
                        <a:gd name="connsiteY15" fmla="*/ 495448 h 873083"/>
                        <a:gd name="connsiteX16" fmla="*/ 60433 w 1354410"/>
                        <a:gd name="connsiteY16" fmla="*/ 482241 h 873083"/>
                        <a:gd name="connsiteX17" fmla="*/ 60434 w 1354410"/>
                        <a:gd name="connsiteY17" fmla="*/ 482242 h 873083"/>
                        <a:gd name="connsiteX18" fmla="*/ 171779 w 1354410"/>
                        <a:gd name="connsiteY18" fmla="*/ 401588 h 873083"/>
                        <a:gd name="connsiteX19" fmla="*/ 321599 w 1354410"/>
                        <a:gd name="connsiteY19" fmla="*/ 301774 h 873083"/>
                        <a:gd name="connsiteX20" fmla="*/ 680374 w 1354410"/>
                        <a:gd name="connsiteY20" fmla="*/ 143024 h 873083"/>
                        <a:gd name="connsiteX21" fmla="*/ 794674 w 1354410"/>
                        <a:gd name="connsiteY21" fmla="*/ 101749 h 873083"/>
                        <a:gd name="connsiteX22" fmla="*/ 1331894 w 1354410"/>
                        <a:gd name="connsiteY22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426371 w 1354410"/>
                        <a:gd name="connsiteY8" fmla="*/ 838389 h 873083"/>
                        <a:gd name="connsiteX9" fmla="*/ 378472 w 1354410"/>
                        <a:gd name="connsiteY9" fmla="*/ 873083 h 873083"/>
                        <a:gd name="connsiteX10" fmla="*/ 352490 w 1354410"/>
                        <a:gd name="connsiteY10" fmla="*/ 848865 h 873083"/>
                        <a:gd name="connsiteX11" fmla="*/ 32670 w 1354410"/>
                        <a:gd name="connsiteY11" fmla="*/ 554009 h 873083"/>
                        <a:gd name="connsiteX12" fmla="*/ 5731 w 1354410"/>
                        <a:gd name="connsiteY12" fmla="*/ 529188 h 873083"/>
                        <a:gd name="connsiteX13" fmla="*/ 0 w 1354410"/>
                        <a:gd name="connsiteY13" fmla="*/ 523895 h 873083"/>
                        <a:gd name="connsiteX14" fmla="*/ 42199 w 1354410"/>
                        <a:gd name="connsiteY14" fmla="*/ 495448 h 873083"/>
                        <a:gd name="connsiteX15" fmla="*/ 60433 w 1354410"/>
                        <a:gd name="connsiteY15" fmla="*/ 482241 h 873083"/>
                        <a:gd name="connsiteX16" fmla="*/ 60434 w 1354410"/>
                        <a:gd name="connsiteY16" fmla="*/ 482242 h 873083"/>
                        <a:gd name="connsiteX17" fmla="*/ 171779 w 1354410"/>
                        <a:gd name="connsiteY17" fmla="*/ 401588 h 873083"/>
                        <a:gd name="connsiteX18" fmla="*/ 321599 w 1354410"/>
                        <a:gd name="connsiteY18" fmla="*/ 301774 h 873083"/>
                        <a:gd name="connsiteX19" fmla="*/ 680374 w 1354410"/>
                        <a:gd name="connsiteY19" fmla="*/ 143024 h 873083"/>
                        <a:gd name="connsiteX20" fmla="*/ 794674 w 1354410"/>
                        <a:gd name="connsiteY20" fmla="*/ 101749 h 873083"/>
                        <a:gd name="connsiteX21" fmla="*/ 1331894 w 1354410"/>
                        <a:gd name="connsiteY21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60433 w 1354410"/>
                        <a:gd name="connsiteY14" fmla="*/ 482241 h 873083"/>
                        <a:gd name="connsiteX15" fmla="*/ 60434 w 1354410"/>
                        <a:gd name="connsiteY15" fmla="*/ 482242 h 873083"/>
                        <a:gd name="connsiteX16" fmla="*/ 171779 w 1354410"/>
                        <a:gd name="connsiteY16" fmla="*/ 401588 h 873083"/>
                        <a:gd name="connsiteX17" fmla="*/ 321599 w 1354410"/>
                        <a:gd name="connsiteY17" fmla="*/ 301774 h 873083"/>
                        <a:gd name="connsiteX18" fmla="*/ 680374 w 1354410"/>
                        <a:gd name="connsiteY18" fmla="*/ 143024 h 873083"/>
                        <a:gd name="connsiteX19" fmla="*/ 794674 w 1354410"/>
                        <a:gd name="connsiteY19" fmla="*/ 101749 h 873083"/>
                        <a:gd name="connsiteX20" fmla="*/ 1331894 w 1354410"/>
                        <a:gd name="connsiteY20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60433 w 1354410"/>
                        <a:gd name="connsiteY14" fmla="*/ 482241 h 873083"/>
                        <a:gd name="connsiteX15" fmla="*/ 171779 w 1354410"/>
                        <a:gd name="connsiteY15" fmla="*/ 401588 h 873083"/>
                        <a:gd name="connsiteX16" fmla="*/ 321599 w 1354410"/>
                        <a:gd name="connsiteY16" fmla="*/ 301774 h 873083"/>
                        <a:gd name="connsiteX17" fmla="*/ 680374 w 1354410"/>
                        <a:gd name="connsiteY17" fmla="*/ 143024 h 873083"/>
                        <a:gd name="connsiteX18" fmla="*/ 794674 w 1354410"/>
                        <a:gd name="connsiteY18" fmla="*/ 101749 h 873083"/>
                        <a:gd name="connsiteX19" fmla="*/ 1331894 w 1354410"/>
                        <a:gd name="connsiteY19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171779 w 1354410"/>
                        <a:gd name="connsiteY14" fmla="*/ 401588 h 873083"/>
                        <a:gd name="connsiteX15" fmla="*/ 321599 w 1354410"/>
                        <a:gd name="connsiteY15" fmla="*/ 301774 h 873083"/>
                        <a:gd name="connsiteX16" fmla="*/ 680374 w 1354410"/>
                        <a:gd name="connsiteY16" fmla="*/ 143024 h 873083"/>
                        <a:gd name="connsiteX17" fmla="*/ 794674 w 1354410"/>
                        <a:gd name="connsiteY17" fmla="*/ 101749 h 873083"/>
                        <a:gd name="connsiteX18" fmla="*/ 1331894 w 1354410"/>
                        <a:gd name="connsiteY18" fmla="*/ 0 h 8730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354410" h="873083">
                          <a:moveTo>
                            <a:pt x="1331894" y="0"/>
                          </a:moveTo>
                          <a:lnTo>
                            <a:pt x="1354410" y="791"/>
                          </a:lnTo>
                          <a:lnTo>
                            <a:pt x="1343830" y="503350"/>
                          </a:lnTo>
                          <a:lnTo>
                            <a:pt x="1292000" y="505867"/>
                          </a:lnTo>
                          <a:cubicBezTo>
                            <a:pt x="1167292" y="517205"/>
                            <a:pt x="1075675" y="556118"/>
                            <a:pt x="942695" y="581243"/>
                          </a:cubicBezTo>
                          <a:cubicBezTo>
                            <a:pt x="846687" y="599219"/>
                            <a:pt x="915322" y="587372"/>
                            <a:pt x="854449" y="613110"/>
                          </a:cubicBezTo>
                          <a:cubicBezTo>
                            <a:pt x="793576" y="638848"/>
                            <a:pt x="659574" y="690325"/>
                            <a:pt x="577456" y="735673"/>
                          </a:cubicBezTo>
                          <a:cubicBezTo>
                            <a:pt x="534968" y="762229"/>
                            <a:pt x="497075" y="787865"/>
                            <a:pt x="461787" y="812735"/>
                          </a:cubicBezTo>
                          <a:lnTo>
                            <a:pt x="378472" y="873083"/>
                          </a:lnTo>
                          <a:lnTo>
                            <a:pt x="352490" y="848865"/>
                          </a:lnTo>
                          <a:lnTo>
                            <a:pt x="32670" y="554009"/>
                          </a:lnTo>
                          <a:lnTo>
                            <a:pt x="5731" y="529188"/>
                          </a:lnTo>
                          <a:lnTo>
                            <a:pt x="0" y="523895"/>
                          </a:lnTo>
                          <a:lnTo>
                            <a:pt x="42199" y="495448"/>
                          </a:lnTo>
                          <a:lnTo>
                            <a:pt x="171779" y="401588"/>
                          </a:lnTo>
                          <a:cubicBezTo>
                            <a:pt x="217485" y="369375"/>
                            <a:pt x="266566" y="336170"/>
                            <a:pt x="321599" y="301774"/>
                          </a:cubicBezTo>
                          <a:cubicBezTo>
                            <a:pt x="427962" y="243037"/>
                            <a:pt x="601528" y="176361"/>
                            <a:pt x="680374" y="143024"/>
                          </a:cubicBezTo>
                          <a:cubicBezTo>
                            <a:pt x="759220" y="109687"/>
                            <a:pt x="670320" y="125032"/>
                            <a:pt x="794674" y="101749"/>
                          </a:cubicBezTo>
                          <a:cubicBezTo>
                            <a:pt x="995625" y="63781"/>
                            <a:pt x="1123651" y="1505"/>
                            <a:pt x="1331894" y="0"/>
                          </a:cubicBezTo>
                          <a:close/>
                        </a:path>
                      </a:pathLst>
                    </a:custGeom>
                    <a:solidFill>
                      <a:srgbClr val="97A2B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DM Sans 14pt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3" name="Freeform: Shape 182">
                      <a:extLst>
                        <a:ext uri="{FF2B5EF4-FFF2-40B4-BE49-F238E27FC236}">
                          <a16:creationId xmlns:a16="http://schemas.microsoft.com/office/drawing/2014/main" id="{269B30B3-D265-A1B0-8AAD-8A2B6DB61F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3893" y="2250862"/>
                      <a:ext cx="1066165" cy="1169735"/>
                    </a:xfrm>
                    <a:custGeom>
                      <a:avLst/>
                      <a:gdLst>
                        <a:gd name="connsiteX0" fmla="*/ 17217 w 1066165"/>
                        <a:gd name="connsiteY0" fmla="*/ 986623 h 1169735"/>
                        <a:gd name="connsiteX1" fmla="*/ 66683 w 1066165"/>
                        <a:gd name="connsiteY1" fmla="*/ 996400 h 1169735"/>
                        <a:gd name="connsiteX2" fmla="*/ 398815 w 1066165"/>
                        <a:gd name="connsiteY2" fmla="*/ 1044997 h 1169735"/>
                        <a:gd name="connsiteX3" fmla="*/ 428960 w 1066165"/>
                        <a:gd name="connsiteY3" fmla="*/ 1055046 h 1169735"/>
                        <a:gd name="connsiteX4" fmla="*/ 504732 w 1066165"/>
                        <a:gd name="connsiteY4" fmla="*/ 1084072 h 1169735"/>
                        <a:gd name="connsiteX5" fmla="*/ 517606 w 1066165"/>
                        <a:gd name="connsiteY5" fmla="*/ 1089442 h 1169735"/>
                        <a:gd name="connsiteX6" fmla="*/ 491799 w 1066165"/>
                        <a:gd name="connsiteY6" fmla="*/ 1167396 h 1169735"/>
                        <a:gd name="connsiteX7" fmla="*/ 483136 w 1066165"/>
                        <a:gd name="connsiteY7" fmla="*/ 1164813 h 1169735"/>
                        <a:gd name="connsiteX8" fmla="*/ 451515 w 1066165"/>
                        <a:gd name="connsiteY8" fmla="*/ 1166825 h 1169735"/>
                        <a:gd name="connsiteX9" fmla="*/ 457654 w 1066165"/>
                        <a:gd name="connsiteY9" fmla="*/ 1169735 h 1169735"/>
                        <a:gd name="connsiteX10" fmla="*/ 442247 w 1066165"/>
                        <a:gd name="connsiteY10" fmla="*/ 1162916 h 1169735"/>
                        <a:gd name="connsiteX11" fmla="*/ 378718 w 1066165"/>
                        <a:gd name="connsiteY11" fmla="*/ 1135433 h 1169735"/>
                        <a:gd name="connsiteX12" fmla="*/ 117461 w 1066165"/>
                        <a:gd name="connsiteY12" fmla="*/ 1065094 h 1169735"/>
                        <a:gd name="connsiteX13" fmla="*/ 16977 w 1066165"/>
                        <a:gd name="connsiteY13" fmla="*/ 1044997 h 1169735"/>
                        <a:gd name="connsiteX14" fmla="*/ 0 w 1066165"/>
                        <a:gd name="connsiteY14" fmla="*/ 1038631 h 1169735"/>
                        <a:gd name="connsiteX15" fmla="*/ 687693 w 1066165"/>
                        <a:gd name="connsiteY15" fmla="*/ 0 h 1169735"/>
                        <a:gd name="connsiteX16" fmla="*/ 693424 w 1066165"/>
                        <a:gd name="connsiteY16" fmla="*/ 5293 h 1169735"/>
                        <a:gd name="connsiteX17" fmla="*/ 720363 w 1066165"/>
                        <a:gd name="connsiteY17" fmla="*/ 30114 h 1169735"/>
                        <a:gd name="connsiteX18" fmla="*/ 1040183 w 1066165"/>
                        <a:gd name="connsiteY18" fmla="*/ 324970 h 1169735"/>
                        <a:gd name="connsiteX19" fmla="*/ 1066165 w 1066165"/>
                        <a:gd name="connsiteY19" fmla="*/ 349188 h 1169735"/>
                        <a:gd name="connsiteX20" fmla="*/ 1049438 w 1066165"/>
                        <a:gd name="connsiteY20" fmla="*/ 361304 h 1169735"/>
                        <a:gd name="connsiteX21" fmla="*/ 880301 w 1066165"/>
                        <a:gd name="connsiteY21" fmla="*/ 493672 h 1169735"/>
                        <a:gd name="connsiteX22" fmla="*/ 632723 w 1066165"/>
                        <a:gd name="connsiteY22" fmla="*/ 831947 h 1169735"/>
                        <a:gd name="connsiteX23" fmla="*/ 551831 w 1066165"/>
                        <a:gd name="connsiteY23" fmla="*/ 991279 h 1169735"/>
                        <a:gd name="connsiteX24" fmla="*/ 520865 w 1066165"/>
                        <a:gd name="connsiteY24" fmla="*/ 1079601 h 1169735"/>
                        <a:gd name="connsiteX25" fmla="*/ 517607 w 1066165"/>
                        <a:gd name="connsiteY25" fmla="*/ 1089442 h 1169735"/>
                        <a:gd name="connsiteX26" fmla="*/ 504733 w 1066165"/>
                        <a:gd name="connsiteY26" fmla="*/ 1084072 h 1169735"/>
                        <a:gd name="connsiteX27" fmla="*/ 428961 w 1066165"/>
                        <a:gd name="connsiteY27" fmla="*/ 1055046 h 1169735"/>
                        <a:gd name="connsiteX28" fmla="*/ 398816 w 1066165"/>
                        <a:gd name="connsiteY28" fmla="*/ 1044997 h 1169735"/>
                        <a:gd name="connsiteX29" fmla="*/ 66684 w 1066165"/>
                        <a:gd name="connsiteY29" fmla="*/ 996400 h 1169735"/>
                        <a:gd name="connsiteX30" fmla="*/ 17218 w 1066165"/>
                        <a:gd name="connsiteY30" fmla="*/ 986623 h 1169735"/>
                        <a:gd name="connsiteX31" fmla="*/ 45258 w 1066165"/>
                        <a:gd name="connsiteY31" fmla="*/ 901927 h 1169735"/>
                        <a:gd name="connsiteX32" fmla="*/ 85367 w 1066165"/>
                        <a:gd name="connsiteY32" fmla="*/ 787528 h 1169735"/>
                        <a:gd name="connsiteX33" fmla="*/ 190142 w 1066165"/>
                        <a:gd name="connsiteY33" fmla="*/ 581153 h 1169735"/>
                        <a:gd name="connsiteX34" fmla="*/ 510817 w 1066165"/>
                        <a:gd name="connsiteY34" fmla="*/ 143003 h 1169735"/>
                        <a:gd name="connsiteX35" fmla="*/ 673263 w 1066165"/>
                        <a:gd name="connsiteY35" fmla="*/ 9727 h 11697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066165" h="1169735">
                          <a:moveTo>
                            <a:pt x="17217" y="986623"/>
                          </a:moveTo>
                          <a:lnTo>
                            <a:pt x="66683" y="996400"/>
                          </a:lnTo>
                          <a:cubicBezTo>
                            <a:pt x="179228" y="1015640"/>
                            <a:pt x="297052" y="1028495"/>
                            <a:pt x="398815" y="1044997"/>
                          </a:cubicBezTo>
                          <a:cubicBezTo>
                            <a:pt x="409270" y="1046692"/>
                            <a:pt x="418912" y="1051696"/>
                            <a:pt x="428960" y="1055046"/>
                          </a:cubicBezTo>
                          <a:cubicBezTo>
                            <a:pt x="454628" y="1063603"/>
                            <a:pt x="479748" y="1073651"/>
                            <a:pt x="504732" y="1084072"/>
                          </a:cubicBezTo>
                          <a:lnTo>
                            <a:pt x="517606" y="1089442"/>
                          </a:lnTo>
                          <a:lnTo>
                            <a:pt x="491799" y="1167396"/>
                          </a:lnTo>
                          <a:lnTo>
                            <a:pt x="483136" y="1164813"/>
                          </a:lnTo>
                          <a:cubicBezTo>
                            <a:pt x="412152" y="1144524"/>
                            <a:pt x="432147" y="1157116"/>
                            <a:pt x="451515" y="1166825"/>
                          </a:cubicBezTo>
                          <a:lnTo>
                            <a:pt x="457654" y="1169735"/>
                          </a:lnTo>
                          <a:lnTo>
                            <a:pt x="442247" y="1162916"/>
                          </a:lnTo>
                          <a:cubicBezTo>
                            <a:pt x="428244" y="1156771"/>
                            <a:pt x="407780" y="1147888"/>
                            <a:pt x="378718" y="1135433"/>
                          </a:cubicBezTo>
                          <a:cubicBezTo>
                            <a:pt x="144539" y="1092854"/>
                            <a:pt x="404887" y="1145574"/>
                            <a:pt x="117461" y="1065094"/>
                          </a:cubicBezTo>
                          <a:cubicBezTo>
                            <a:pt x="84568" y="1055884"/>
                            <a:pt x="49889" y="1054139"/>
                            <a:pt x="16977" y="1044997"/>
                          </a:cubicBezTo>
                          <a:lnTo>
                            <a:pt x="0" y="1038631"/>
                          </a:lnTo>
                          <a:close/>
                          <a:moveTo>
                            <a:pt x="687693" y="0"/>
                          </a:moveTo>
                          <a:lnTo>
                            <a:pt x="693424" y="5293"/>
                          </a:lnTo>
                          <a:cubicBezTo>
                            <a:pt x="701017" y="12300"/>
                            <a:pt x="709896" y="20485"/>
                            <a:pt x="720363" y="30114"/>
                          </a:cubicBezTo>
                          <a:cubicBezTo>
                            <a:pt x="783165" y="87892"/>
                            <a:pt x="936402" y="228569"/>
                            <a:pt x="1040183" y="324970"/>
                          </a:cubicBezTo>
                          <a:lnTo>
                            <a:pt x="1066165" y="349188"/>
                          </a:lnTo>
                          <a:lnTo>
                            <a:pt x="1049438" y="361304"/>
                          </a:lnTo>
                          <a:cubicBezTo>
                            <a:pt x="985297" y="408287"/>
                            <a:pt x="949753" y="415232"/>
                            <a:pt x="880301" y="493672"/>
                          </a:cubicBezTo>
                          <a:cubicBezTo>
                            <a:pt x="810849" y="572113"/>
                            <a:pt x="687468" y="749012"/>
                            <a:pt x="632723" y="831947"/>
                          </a:cubicBezTo>
                          <a:cubicBezTo>
                            <a:pt x="577978" y="914881"/>
                            <a:pt x="586149" y="894045"/>
                            <a:pt x="551831" y="991279"/>
                          </a:cubicBezTo>
                          <a:cubicBezTo>
                            <a:pt x="543252" y="1015588"/>
                            <a:pt x="532502" y="1045820"/>
                            <a:pt x="520865" y="1079601"/>
                          </a:cubicBezTo>
                          <a:lnTo>
                            <a:pt x="517607" y="1089442"/>
                          </a:lnTo>
                          <a:lnTo>
                            <a:pt x="504733" y="1084072"/>
                          </a:lnTo>
                          <a:cubicBezTo>
                            <a:pt x="479749" y="1073651"/>
                            <a:pt x="454629" y="1063603"/>
                            <a:pt x="428961" y="1055046"/>
                          </a:cubicBezTo>
                          <a:cubicBezTo>
                            <a:pt x="418913" y="1051696"/>
                            <a:pt x="409271" y="1046692"/>
                            <a:pt x="398816" y="1044997"/>
                          </a:cubicBezTo>
                          <a:cubicBezTo>
                            <a:pt x="297053" y="1028495"/>
                            <a:pt x="179229" y="1015640"/>
                            <a:pt x="66684" y="996400"/>
                          </a:cubicBezTo>
                          <a:lnTo>
                            <a:pt x="17218" y="986623"/>
                          </a:lnTo>
                          <a:lnTo>
                            <a:pt x="45258" y="901927"/>
                          </a:lnTo>
                          <a:cubicBezTo>
                            <a:pt x="60331" y="858172"/>
                            <a:pt x="74255" y="819014"/>
                            <a:pt x="85367" y="787528"/>
                          </a:cubicBezTo>
                          <a:cubicBezTo>
                            <a:pt x="129817" y="661586"/>
                            <a:pt x="119234" y="688574"/>
                            <a:pt x="190142" y="581153"/>
                          </a:cubicBezTo>
                          <a:cubicBezTo>
                            <a:pt x="261050" y="473732"/>
                            <a:pt x="420859" y="244603"/>
                            <a:pt x="510817" y="143003"/>
                          </a:cubicBezTo>
                          <a:cubicBezTo>
                            <a:pt x="578286" y="66803"/>
                            <a:pt x="621049" y="42693"/>
                            <a:pt x="673263" y="9727"/>
                          </a:cubicBezTo>
                          <a:close/>
                        </a:path>
                      </a:pathLst>
                    </a:custGeom>
                    <a:solidFill>
                      <a:schemeClr val="accent2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DM Sans 14pt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4" name="Freeform: Shape 183">
                      <a:extLst>
                        <a:ext uri="{FF2B5EF4-FFF2-40B4-BE49-F238E27FC236}">
                          <a16:creationId xmlns:a16="http://schemas.microsoft.com/office/drawing/2014/main" id="{95C51D09-D20D-FB78-A924-B4FD7DFB8D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19" y="3289493"/>
                      <a:ext cx="1437472" cy="2547646"/>
                    </a:xfrm>
                    <a:custGeom>
                      <a:avLst/>
                      <a:gdLst>
                        <a:gd name="connsiteX0" fmla="*/ 98674 w 1437472"/>
                        <a:gd name="connsiteY0" fmla="*/ 0 h 2547646"/>
                        <a:gd name="connsiteX1" fmla="*/ 115651 w 1437472"/>
                        <a:gd name="connsiteY1" fmla="*/ 6366 h 2547646"/>
                        <a:gd name="connsiteX2" fmla="*/ 216135 w 1437472"/>
                        <a:gd name="connsiteY2" fmla="*/ 26463 h 2547646"/>
                        <a:gd name="connsiteX3" fmla="*/ 477392 w 1437472"/>
                        <a:gd name="connsiteY3" fmla="*/ 96802 h 2547646"/>
                        <a:gd name="connsiteX4" fmla="*/ 540921 w 1437472"/>
                        <a:gd name="connsiteY4" fmla="*/ 124285 h 2547646"/>
                        <a:gd name="connsiteX5" fmla="*/ 556328 w 1437472"/>
                        <a:gd name="connsiteY5" fmla="*/ 131104 h 2547646"/>
                        <a:gd name="connsiteX6" fmla="*/ 564499 w 1437472"/>
                        <a:gd name="connsiteY6" fmla="*/ 134976 h 2547646"/>
                        <a:gd name="connsiteX7" fmla="*/ 557346 w 1437472"/>
                        <a:gd name="connsiteY7" fmla="*/ 131554 h 2547646"/>
                        <a:gd name="connsiteX8" fmla="*/ 556328 w 1437472"/>
                        <a:gd name="connsiteY8" fmla="*/ 131104 h 2547646"/>
                        <a:gd name="connsiteX9" fmla="*/ 550189 w 1437472"/>
                        <a:gd name="connsiteY9" fmla="*/ 128194 h 2547646"/>
                        <a:gd name="connsiteX10" fmla="*/ 581810 w 1437472"/>
                        <a:gd name="connsiteY10" fmla="*/ 126182 h 2547646"/>
                        <a:gd name="connsiteX11" fmla="*/ 590473 w 1437472"/>
                        <a:gd name="connsiteY11" fmla="*/ 128765 h 2547646"/>
                        <a:gd name="connsiteX12" fmla="*/ 583248 w 1437472"/>
                        <a:gd name="connsiteY12" fmla="*/ 150588 h 2547646"/>
                        <a:gd name="connsiteX13" fmla="*/ 525490 w 1437472"/>
                        <a:gd name="connsiteY13" fmla="*/ 376717 h 2547646"/>
                        <a:gd name="connsiteX14" fmla="*/ 520587 w 1437472"/>
                        <a:gd name="connsiteY14" fmla="*/ 761565 h 2547646"/>
                        <a:gd name="connsiteX15" fmla="*/ 603930 w 1437472"/>
                        <a:gd name="connsiteY15" fmla="*/ 1166024 h 2547646"/>
                        <a:gd name="connsiteX16" fmla="*/ 721591 w 1437472"/>
                        <a:gd name="connsiteY16" fmla="*/ 1438114 h 2547646"/>
                        <a:gd name="connsiteX17" fmla="*/ 822093 w 1437472"/>
                        <a:gd name="connsiteY17" fmla="*/ 1612154 h 2547646"/>
                        <a:gd name="connsiteX18" fmla="*/ 934851 w 1437472"/>
                        <a:gd name="connsiteY18" fmla="*/ 1756778 h 2547646"/>
                        <a:gd name="connsiteX19" fmla="*/ 1192234 w 1437472"/>
                        <a:gd name="connsiteY19" fmla="*/ 1997002 h 2547646"/>
                        <a:gd name="connsiteX20" fmla="*/ 1361371 w 1437472"/>
                        <a:gd name="connsiteY20" fmla="*/ 2107309 h 2547646"/>
                        <a:gd name="connsiteX21" fmla="*/ 1425716 w 1437472"/>
                        <a:gd name="connsiteY21" fmla="*/ 2151432 h 2547646"/>
                        <a:gd name="connsiteX22" fmla="*/ 1437472 w 1437472"/>
                        <a:gd name="connsiteY22" fmla="*/ 2158857 h 2547646"/>
                        <a:gd name="connsiteX23" fmla="*/ 1331502 w 1437472"/>
                        <a:gd name="connsiteY23" fmla="*/ 2277294 h 2547646"/>
                        <a:gd name="connsiteX24" fmla="*/ 1281260 w 1437472"/>
                        <a:gd name="connsiteY24" fmla="*/ 2327536 h 2547646"/>
                        <a:gd name="connsiteX25" fmla="*/ 1200873 w 1437472"/>
                        <a:gd name="connsiteY25" fmla="*/ 2438067 h 2547646"/>
                        <a:gd name="connsiteX26" fmla="*/ 1118601 w 1437472"/>
                        <a:gd name="connsiteY26" fmla="*/ 2545233 h 2547646"/>
                        <a:gd name="connsiteX27" fmla="*/ 1116543 w 1437472"/>
                        <a:gd name="connsiteY27" fmla="*/ 2547646 h 2547646"/>
                        <a:gd name="connsiteX28" fmla="*/ 1104790 w 1437472"/>
                        <a:gd name="connsiteY28" fmla="*/ 2539722 h 2547646"/>
                        <a:gd name="connsiteX29" fmla="*/ 885715 w 1437472"/>
                        <a:gd name="connsiteY29" fmla="*/ 2396847 h 2547646"/>
                        <a:gd name="connsiteX30" fmla="*/ 552340 w 1437472"/>
                        <a:gd name="connsiteY30" fmla="*/ 2085697 h 2547646"/>
                        <a:gd name="connsiteX31" fmla="*/ 406290 w 1437472"/>
                        <a:gd name="connsiteY31" fmla="*/ 1898372 h 2547646"/>
                        <a:gd name="connsiteX32" fmla="*/ 276115 w 1437472"/>
                        <a:gd name="connsiteY32" fmla="*/ 1672947 h 2547646"/>
                        <a:gd name="connsiteX33" fmla="*/ 123715 w 1437472"/>
                        <a:gd name="connsiteY33" fmla="*/ 1320522 h 2547646"/>
                        <a:gd name="connsiteX34" fmla="*/ 15765 w 1437472"/>
                        <a:gd name="connsiteY34" fmla="*/ 796647 h 2547646"/>
                        <a:gd name="connsiteX35" fmla="*/ 22115 w 1437472"/>
                        <a:gd name="connsiteY35" fmla="*/ 298172 h 2547646"/>
                        <a:gd name="connsiteX36" fmla="*/ 96926 w 1437472"/>
                        <a:gd name="connsiteY36" fmla="*/ 5278 h 2547646"/>
                        <a:gd name="connsiteX37" fmla="*/ 98674 w 1437472"/>
                        <a:gd name="connsiteY37" fmla="*/ 0 h 2547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</a:cxnLst>
                      <a:rect l="l" t="t" r="r" b="b"/>
                      <a:pathLst>
                        <a:path w="1437472" h="2547646">
                          <a:moveTo>
                            <a:pt x="98674" y="0"/>
                          </a:moveTo>
                          <a:lnTo>
                            <a:pt x="115651" y="6366"/>
                          </a:lnTo>
                          <a:cubicBezTo>
                            <a:pt x="148563" y="15508"/>
                            <a:pt x="183242" y="17253"/>
                            <a:pt x="216135" y="26463"/>
                          </a:cubicBezTo>
                          <a:cubicBezTo>
                            <a:pt x="503561" y="106943"/>
                            <a:pt x="243213" y="54223"/>
                            <a:pt x="477392" y="96802"/>
                          </a:cubicBezTo>
                          <a:cubicBezTo>
                            <a:pt x="506454" y="109257"/>
                            <a:pt x="526918" y="118140"/>
                            <a:pt x="540921" y="124285"/>
                          </a:cubicBezTo>
                          <a:lnTo>
                            <a:pt x="556328" y="131104"/>
                          </a:lnTo>
                          <a:lnTo>
                            <a:pt x="564499" y="134976"/>
                          </a:lnTo>
                          <a:cubicBezTo>
                            <a:pt x="569441" y="137181"/>
                            <a:pt x="569461" y="136978"/>
                            <a:pt x="557346" y="131554"/>
                          </a:cubicBezTo>
                          <a:lnTo>
                            <a:pt x="556328" y="131104"/>
                          </a:lnTo>
                          <a:lnTo>
                            <a:pt x="550189" y="128194"/>
                          </a:lnTo>
                          <a:cubicBezTo>
                            <a:pt x="530821" y="118485"/>
                            <a:pt x="510826" y="105893"/>
                            <a:pt x="581810" y="126182"/>
                          </a:cubicBezTo>
                          <a:lnTo>
                            <a:pt x="590473" y="128765"/>
                          </a:lnTo>
                          <a:lnTo>
                            <a:pt x="583248" y="150588"/>
                          </a:lnTo>
                          <a:cubicBezTo>
                            <a:pt x="558991" y="227598"/>
                            <a:pt x="536317" y="309307"/>
                            <a:pt x="525490" y="376717"/>
                          </a:cubicBezTo>
                          <a:cubicBezTo>
                            <a:pt x="503837" y="511536"/>
                            <a:pt x="503429" y="618575"/>
                            <a:pt x="520587" y="761565"/>
                          </a:cubicBezTo>
                          <a:cubicBezTo>
                            <a:pt x="537746" y="904555"/>
                            <a:pt x="570430" y="1053266"/>
                            <a:pt x="603930" y="1166024"/>
                          </a:cubicBezTo>
                          <a:cubicBezTo>
                            <a:pt x="637431" y="1278782"/>
                            <a:pt x="685231" y="1363759"/>
                            <a:pt x="721591" y="1438114"/>
                          </a:cubicBezTo>
                          <a:cubicBezTo>
                            <a:pt x="757952" y="1512469"/>
                            <a:pt x="786550" y="1559043"/>
                            <a:pt x="822093" y="1612154"/>
                          </a:cubicBezTo>
                          <a:cubicBezTo>
                            <a:pt x="857636" y="1665265"/>
                            <a:pt x="873161" y="1692637"/>
                            <a:pt x="934851" y="1756778"/>
                          </a:cubicBezTo>
                          <a:cubicBezTo>
                            <a:pt x="996541" y="1820920"/>
                            <a:pt x="1121147" y="1938580"/>
                            <a:pt x="1192234" y="1997002"/>
                          </a:cubicBezTo>
                          <a:cubicBezTo>
                            <a:pt x="1263320" y="2055424"/>
                            <a:pt x="1311529" y="2075443"/>
                            <a:pt x="1361371" y="2107309"/>
                          </a:cubicBezTo>
                          <a:cubicBezTo>
                            <a:pt x="1386292" y="2123243"/>
                            <a:pt x="1405902" y="2137950"/>
                            <a:pt x="1425716" y="2151432"/>
                          </a:cubicBezTo>
                          <a:lnTo>
                            <a:pt x="1437472" y="2158857"/>
                          </a:lnTo>
                          <a:lnTo>
                            <a:pt x="1331502" y="2277294"/>
                          </a:lnTo>
                          <a:cubicBezTo>
                            <a:pt x="1315498" y="2294753"/>
                            <a:pt x="1296195" y="2309154"/>
                            <a:pt x="1281260" y="2327536"/>
                          </a:cubicBezTo>
                          <a:cubicBezTo>
                            <a:pt x="1252532" y="2362894"/>
                            <a:pt x="1227669" y="2401223"/>
                            <a:pt x="1200873" y="2438067"/>
                          </a:cubicBezTo>
                          <a:cubicBezTo>
                            <a:pt x="1169005" y="2481885"/>
                            <a:pt x="1141826" y="2516987"/>
                            <a:pt x="1118601" y="2545233"/>
                          </a:cubicBezTo>
                          <a:lnTo>
                            <a:pt x="1116543" y="2547646"/>
                          </a:lnTo>
                          <a:lnTo>
                            <a:pt x="1104790" y="2539722"/>
                          </a:lnTo>
                          <a:cubicBezTo>
                            <a:pt x="1040232" y="2498447"/>
                            <a:pt x="977790" y="2472518"/>
                            <a:pt x="885715" y="2396847"/>
                          </a:cubicBezTo>
                          <a:cubicBezTo>
                            <a:pt x="793640" y="2321176"/>
                            <a:pt x="632244" y="2168776"/>
                            <a:pt x="552340" y="2085697"/>
                          </a:cubicBezTo>
                          <a:cubicBezTo>
                            <a:pt x="472436" y="2002618"/>
                            <a:pt x="452327" y="1967164"/>
                            <a:pt x="406290" y="1898372"/>
                          </a:cubicBezTo>
                          <a:cubicBezTo>
                            <a:pt x="360253" y="1829580"/>
                            <a:pt x="323211" y="1769255"/>
                            <a:pt x="276115" y="1672947"/>
                          </a:cubicBezTo>
                          <a:cubicBezTo>
                            <a:pt x="229019" y="1576639"/>
                            <a:pt x="167107" y="1466572"/>
                            <a:pt x="123715" y="1320522"/>
                          </a:cubicBezTo>
                          <a:cubicBezTo>
                            <a:pt x="80323" y="1174472"/>
                            <a:pt x="37990" y="981855"/>
                            <a:pt x="15765" y="796647"/>
                          </a:cubicBezTo>
                          <a:cubicBezTo>
                            <a:pt x="-6460" y="611439"/>
                            <a:pt x="-5931" y="472797"/>
                            <a:pt x="22115" y="298172"/>
                          </a:cubicBezTo>
                          <a:cubicBezTo>
                            <a:pt x="36138" y="210860"/>
                            <a:pt x="65507" y="105026"/>
                            <a:pt x="96926" y="5278"/>
                          </a:cubicBezTo>
                          <a:lnTo>
                            <a:pt x="98674" y="0"/>
                          </a:lnTo>
                          <a:close/>
                        </a:path>
                      </a:pathLst>
                    </a:custGeom>
                    <a:solidFill>
                      <a:srgbClr val="88BCA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DM Sans 14pt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5" name="Freeform: Shape 184">
                      <a:extLst>
                        <a:ext uri="{FF2B5EF4-FFF2-40B4-BE49-F238E27FC236}">
                          <a16:creationId xmlns:a16="http://schemas.microsoft.com/office/drawing/2014/main" id="{D5CA4D68-BDB0-5262-C916-0BF34F87C5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26653" y="5045626"/>
                      <a:ext cx="8032" cy="6973"/>
                    </a:xfrm>
                    <a:custGeom>
                      <a:avLst/>
                      <a:gdLst>
                        <a:gd name="connsiteX0" fmla="*/ 706 w 8032"/>
                        <a:gd name="connsiteY0" fmla="*/ 634 h 6973"/>
                        <a:gd name="connsiteX1" fmla="*/ 818 w 8032"/>
                        <a:gd name="connsiteY1" fmla="*/ 680 h 6973"/>
                        <a:gd name="connsiteX2" fmla="*/ 8032 w 8032"/>
                        <a:gd name="connsiteY2" fmla="*/ 6973 h 6973"/>
                        <a:gd name="connsiteX3" fmla="*/ 7768 w 8032"/>
                        <a:gd name="connsiteY3" fmla="*/ 6747 h 6973"/>
                        <a:gd name="connsiteX4" fmla="*/ 706 w 8032"/>
                        <a:gd name="connsiteY4" fmla="*/ 634 h 6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032" h="6973">
                          <a:moveTo>
                            <a:pt x="706" y="634"/>
                          </a:moveTo>
                          <a:cubicBezTo>
                            <a:pt x="-329" y="-275"/>
                            <a:pt x="-169" y="-159"/>
                            <a:pt x="818" y="680"/>
                          </a:cubicBezTo>
                          <a:lnTo>
                            <a:pt x="8032" y="6973"/>
                          </a:lnTo>
                          <a:lnTo>
                            <a:pt x="7768" y="6747"/>
                          </a:lnTo>
                          <a:cubicBezTo>
                            <a:pt x="3973" y="3481"/>
                            <a:pt x="1742" y="1545"/>
                            <a:pt x="706" y="634"/>
                          </a:cubicBezTo>
                          <a:close/>
                        </a:path>
                      </a:pathLst>
                    </a:custGeom>
                    <a:solidFill>
                      <a:srgbClr val="FBCCD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DM Sans 14pt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7C59DDDE-44C2-3839-4994-27AFD9701A9A}"/>
                    </a:ext>
                  </a:extLst>
                </p:cNvPr>
                <p:cNvSpPr/>
                <p:nvPr/>
              </p:nvSpPr>
              <p:spPr>
                <a:xfrm>
                  <a:off x="4657836" y="1695450"/>
                  <a:ext cx="4460800" cy="4429294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459DCF6E-20F6-00B6-ED33-346079285644}"/>
                    </a:ext>
                  </a:extLst>
                </p:cNvPr>
                <p:cNvSpPr/>
                <p:nvPr/>
              </p:nvSpPr>
              <p:spPr>
                <a:xfrm>
                  <a:off x="5166252" y="2199397"/>
                  <a:ext cx="3443968" cy="3419644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3E0B5547-D45E-B6D2-2681-9D5A6433962D}"/>
                    </a:ext>
                  </a:extLst>
                </p:cNvPr>
                <p:cNvSpPr/>
                <p:nvPr/>
              </p:nvSpPr>
              <p:spPr>
                <a:xfrm>
                  <a:off x="5459953" y="2254250"/>
                  <a:ext cx="362722" cy="318128"/>
                </a:xfrm>
                <a:custGeom>
                  <a:avLst/>
                  <a:gdLst>
                    <a:gd name="connsiteX0" fmla="*/ 0 w 362634"/>
                    <a:gd name="connsiteY0" fmla="*/ 0 h 341644"/>
                    <a:gd name="connsiteX1" fmla="*/ 100484 w 362634"/>
                    <a:gd name="connsiteY1" fmla="*/ 60290 h 341644"/>
                    <a:gd name="connsiteX2" fmla="*/ 160774 w 362634"/>
                    <a:gd name="connsiteY2" fmla="*/ 110532 h 341644"/>
                    <a:gd name="connsiteX3" fmla="*/ 190919 w 362634"/>
                    <a:gd name="connsiteY3" fmla="*/ 140677 h 341644"/>
                    <a:gd name="connsiteX4" fmla="*/ 221064 w 362634"/>
                    <a:gd name="connsiteY4" fmla="*/ 160774 h 341644"/>
                    <a:gd name="connsiteX5" fmla="*/ 291402 w 362634"/>
                    <a:gd name="connsiteY5" fmla="*/ 251209 h 341644"/>
                    <a:gd name="connsiteX6" fmla="*/ 331596 w 362634"/>
                    <a:gd name="connsiteY6" fmla="*/ 301451 h 341644"/>
                    <a:gd name="connsiteX7" fmla="*/ 361741 w 362634"/>
                    <a:gd name="connsiteY7" fmla="*/ 331596 h 341644"/>
                    <a:gd name="connsiteX8" fmla="*/ 361741 w 362634"/>
                    <a:gd name="connsiteY8" fmla="*/ 341644 h 341644"/>
                    <a:gd name="connsiteX0" fmla="*/ 0 w 369096"/>
                    <a:gd name="connsiteY0" fmla="*/ 0 h 397133"/>
                    <a:gd name="connsiteX1" fmla="*/ 106946 w 369096"/>
                    <a:gd name="connsiteY1" fmla="*/ 115779 h 397133"/>
                    <a:gd name="connsiteX2" fmla="*/ 167236 w 369096"/>
                    <a:gd name="connsiteY2" fmla="*/ 166021 h 397133"/>
                    <a:gd name="connsiteX3" fmla="*/ 197381 w 369096"/>
                    <a:gd name="connsiteY3" fmla="*/ 196166 h 397133"/>
                    <a:gd name="connsiteX4" fmla="*/ 227526 w 369096"/>
                    <a:gd name="connsiteY4" fmla="*/ 216263 h 397133"/>
                    <a:gd name="connsiteX5" fmla="*/ 297864 w 369096"/>
                    <a:gd name="connsiteY5" fmla="*/ 306698 h 397133"/>
                    <a:gd name="connsiteX6" fmla="*/ 338058 w 369096"/>
                    <a:gd name="connsiteY6" fmla="*/ 356940 h 397133"/>
                    <a:gd name="connsiteX7" fmla="*/ 368203 w 369096"/>
                    <a:gd name="connsiteY7" fmla="*/ 387085 h 397133"/>
                    <a:gd name="connsiteX8" fmla="*/ 368203 w 369096"/>
                    <a:gd name="connsiteY8" fmla="*/ 397133 h 397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096" h="397133">
                      <a:moveTo>
                        <a:pt x="0" y="0"/>
                      </a:moveTo>
                      <a:cubicBezTo>
                        <a:pt x="33495" y="20097"/>
                        <a:pt x="79073" y="88109"/>
                        <a:pt x="106946" y="115779"/>
                      </a:cubicBezTo>
                      <a:cubicBezTo>
                        <a:pt x="134819" y="143449"/>
                        <a:pt x="147684" y="148641"/>
                        <a:pt x="167236" y="166021"/>
                      </a:cubicBezTo>
                      <a:cubicBezTo>
                        <a:pt x="177857" y="175462"/>
                        <a:pt x="186464" y="187069"/>
                        <a:pt x="197381" y="196166"/>
                      </a:cubicBezTo>
                      <a:cubicBezTo>
                        <a:pt x="206659" y="203897"/>
                        <a:pt x="219402" y="207327"/>
                        <a:pt x="227526" y="216263"/>
                      </a:cubicBezTo>
                      <a:cubicBezTo>
                        <a:pt x="253215" y="244521"/>
                        <a:pt x="274270" y="276669"/>
                        <a:pt x="297864" y="306698"/>
                      </a:cubicBezTo>
                      <a:cubicBezTo>
                        <a:pt x="311115" y="323562"/>
                        <a:pt x="322893" y="341775"/>
                        <a:pt x="338058" y="356940"/>
                      </a:cubicBezTo>
                      <a:cubicBezTo>
                        <a:pt x="348106" y="366988"/>
                        <a:pt x="359677" y="375717"/>
                        <a:pt x="368203" y="387085"/>
                      </a:cubicBezTo>
                      <a:cubicBezTo>
                        <a:pt x="370213" y="389764"/>
                        <a:pt x="368203" y="393784"/>
                        <a:pt x="368203" y="397133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A6F2953E-585E-9F0F-747F-86D4AC05AED2}"/>
                    </a:ext>
                  </a:extLst>
                </p:cNvPr>
                <p:cNvSpPr/>
                <p:nvPr/>
              </p:nvSpPr>
              <p:spPr>
                <a:xfrm>
                  <a:off x="6794500" y="1701800"/>
                  <a:ext cx="6350" cy="514350"/>
                </a:xfrm>
                <a:custGeom>
                  <a:avLst/>
                  <a:gdLst>
                    <a:gd name="connsiteX0" fmla="*/ 20061 w 27350"/>
                    <a:gd name="connsiteY0" fmla="*/ 0 h 514350"/>
                    <a:gd name="connsiteX1" fmla="*/ 26411 w 27350"/>
                    <a:gd name="connsiteY1" fmla="*/ 114300 h 514350"/>
                    <a:gd name="connsiteX2" fmla="*/ 7361 w 27350"/>
                    <a:gd name="connsiteY2" fmla="*/ 133350 h 514350"/>
                    <a:gd name="connsiteX3" fmla="*/ 20061 w 27350"/>
                    <a:gd name="connsiteY3" fmla="*/ 311150 h 514350"/>
                    <a:gd name="connsiteX4" fmla="*/ 20061 w 27350"/>
                    <a:gd name="connsiteY4" fmla="*/ 514350 h 514350"/>
                    <a:gd name="connsiteX0" fmla="*/ 0 w 6350"/>
                    <a:gd name="connsiteY0" fmla="*/ 0 h 514350"/>
                    <a:gd name="connsiteX1" fmla="*/ 6350 w 6350"/>
                    <a:gd name="connsiteY1" fmla="*/ 114300 h 514350"/>
                    <a:gd name="connsiteX2" fmla="*/ 0 w 6350"/>
                    <a:gd name="connsiteY2" fmla="*/ 311150 h 514350"/>
                    <a:gd name="connsiteX3" fmla="*/ 0 w 6350"/>
                    <a:gd name="connsiteY3" fmla="*/ 514350 h 514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0" h="514350">
                      <a:moveTo>
                        <a:pt x="0" y="0"/>
                      </a:moveTo>
                      <a:cubicBezTo>
                        <a:pt x="2117" y="38100"/>
                        <a:pt x="6350" y="62442"/>
                        <a:pt x="6350" y="114300"/>
                      </a:cubicBezTo>
                      <a:cubicBezTo>
                        <a:pt x="6350" y="166158"/>
                        <a:pt x="1058" y="244475"/>
                        <a:pt x="0" y="311150"/>
                      </a:cubicBezTo>
                      <a:cubicBezTo>
                        <a:pt x="1736" y="378861"/>
                        <a:pt x="0" y="446617"/>
                        <a:pt x="0" y="51435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7786DA58-8955-0FE6-8B3A-3BAFA8DACCFF}"/>
                    </a:ext>
                  </a:extLst>
                </p:cNvPr>
                <p:cNvSpPr/>
                <p:nvPr/>
              </p:nvSpPr>
              <p:spPr>
                <a:xfrm>
                  <a:off x="4749800" y="3263900"/>
                  <a:ext cx="501650" cy="139792"/>
                </a:xfrm>
                <a:custGeom>
                  <a:avLst/>
                  <a:gdLst>
                    <a:gd name="connsiteX0" fmla="*/ 0 w 501650"/>
                    <a:gd name="connsiteY0" fmla="*/ 0 h 139792"/>
                    <a:gd name="connsiteX1" fmla="*/ 82550 w 501650"/>
                    <a:gd name="connsiteY1" fmla="*/ 19050 h 139792"/>
                    <a:gd name="connsiteX2" fmla="*/ 114300 w 501650"/>
                    <a:gd name="connsiteY2" fmla="*/ 25400 h 139792"/>
                    <a:gd name="connsiteX3" fmla="*/ 203200 w 501650"/>
                    <a:gd name="connsiteY3" fmla="*/ 44450 h 139792"/>
                    <a:gd name="connsiteX4" fmla="*/ 279400 w 501650"/>
                    <a:gd name="connsiteY4" fmla="*/ 76200 h 139792"/>
                    <a:gd name="connsiteX5" fmla="*/ 349250 w 501650"/>
                    <a:gd name="connsiteY5" fmla="*/ 101600 h 139792"/>
                    <a:gd name="connsiteX6" fmla="*/ 425450 w 501650"/>
                    <a:gd name="connsiteY6" fmla="*/ 107950 h 139792"/>
                    <a:gd name="connsiteX7" fmla="*/ 444500 w 501650"/>
                    <a:gd name="connsiteY7" fmla="*/ 127000 h 139792"/>
                    <a:gd name="connsiteX8" fmla="*/ 501650 w 501650"/>
                    <a:gd name="connsiteY8" fmla="*/ 139700 h 13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01650" h="139792">
                      <a:moveTo>
                        <a:pt x="0" y="0"/>
                      </a:moveTo>
                      <a:cubicBezTo>
                        <a:pt x="102828" y="12853"/>
                        <a:pt x="7759" y="-3387"/>
                        <a:pt x="82550" y="19050"/>
                      </a:cubicBezTo>
                      <a:cubicBezTo>
                        <a:pt x="92888" y="22151"/>
                        <a:pt x="103783" y="22973"/>
                        <a:pt x="114300" y="25400"/>
                      </a:cubicBezTo>
                      <a:cubicBezTo>
                        <a:pt x="196578" y="44387"/>
                        <a:pt x="133877" y="32896"/>
                        <a:pt x="203200" y="44450"/>
                      </a:cubicBezTo>
                      <a:cubicBezTo>
                        <a:pt x="265429" y="75564"/>
                        <a:pt x="216370" y="53280"/>
                        <a:pt x="279400" y="76200"/>
                      </a:cubicBezTo>
                      <a:cubicBezTo>
                        <a:pt x="296495" y="82416"/>
                        <a:pt x="332146" y="98749"/>
                        <a:pt x="349250" y="101600"/>
                      </a:cubicBezTo>
                      <a:cubicBezTo>
                        <a:pt x="374391" y="105790"/>
                        <a:pt x="400050" y="105833"/>
                        <a:pt x="425450" y="107950"/>
                      </a:cubicBezTo>
                      <a:cubicBezTo>
                        <a:pt x="431800" y="114300"/>
                        <a:pt x="436650" y="122639"/>
                        <a:pt x="444500" y="127000"/>
                      </a:cubicBezTo>
                      <a:cubicBezTo>
                        <a:pt x="470974" y="141708"/>
                        <a:pt x="477585" y="139700"/>
                        <a:pt x="501650" y="13970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3253C4C4-7EEB-83AC-A606-98776C84A9B9}"/>
                    </a:ext>
                  </a:extLst>
                </p:cNvPr>
                <p:cNvSpPr/>
                <p:nvPr/>
              </p:nvSpPr>
              <p:spPr>
                <a:xfrm>
                  <a:off x="5765800" y="5416550"/>
                  <a:ext cx="298450" cy="393700"/>
                </a:xfrm>
                <a:custGeom>
                  <a:avLst/>
                  <a:gdLst>
                    <a:gd name="connsiteX0" fmla="*/ 0 w 298450"/>
                    <a:gd name="connsiteY0" fmla="*/ 393700 h 393700"/>
                    <a:gd name="connsiteX1" fmla="*/ 31750 w 298450"/>
                    <a:gd name="connsiteY1" fmla="*/ 381000 h 393700"/>
                    <a:gd name="connsiteX2" fmla="*/ 44450 w 298450"/>
                    <a:gd name="connsiteY2" fmla="*/ 342900 h 393700"/>
                    <a:gd name="connsiteX3" fmla="*/ 57150 w 298450"/>
                    <a:gd name="connsiteY3" fmla="*/ 317500 h 393700"/>
                    <a:gd name="connsiteX4" fmla="*/ 63500 w 298450"/>
                    <a:gd name="connsiteY4" fmla="*/ 298450 h 393700"/>
                    <a:gd name="connsiteX5" fmla="*/ 82550 w 298450"/>
                    <a:gd name="connsiteY5" fmla="*/ 279400 h 393700"/>
                    <a:gd name="connsiteX6" fmla="*/ 95250 w 298450"/>
                    <a:gd name="connsiteY6" fmla="*/ 260350 h 393700"/>
                    <a:gd name="connsiteX7" fmla="*/ 120650 w 298450"/>
                    <a:gd name="connsiteY7" fmla="*/ 234950 h 393700"/>
                    <a:gd name="connsiteX8" fmla="*/ 158750 w 298450"/>
                    <a:gd name="connsiteY8" fmla="*/ 196850 h 393700"/>
                    <a:gd name="connsiteX9" fmla="*/ 171450 w 298450"/>
                    <a:gd name="connsiteY9" fmla="*/ 177800 h 393700"/>
                    <a:gd name="connsiteX10" fmla="*/ 196850 w 298450"/>
                    <a:gd name="connsiteY10" fmla="*/ 158750 h 393700"/>
                    <a:gd name="connsiteX11" fmla="*/ 234950 w 298450"/>
                    <a:gd name="connsiteY11" fmla="*/ 127000 h 393700"/>
                    <a:gd name="connsiteX12" fmla="*/ 266700 w 298450"/>
                    <a:gd name="connsiteY12" fmla="*/ 82550 h 393700"/>
                    <a:gd name="connsiteX13" fmla="*/ 292100 w 298450"/>
                    <a:gd name="connsiteY13" fmla="*/ 25400 h 393700"/>
                    <a:gd name="connsiteX14" fmla="*/ 298450 w 298450"/>
                    <a:gd name="connsiteY14" fmla="*/ 0 h 39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8450" h="393700">
                      <a:moveTo>
                        <a:pt x="0" y="393700"/>
                      </a:moveTo>
                      <a:cubicBezTo>
                        <a:pt x="10583" y="389467"/>
                        <a:pt x="24244" y="389578"/>
                        <a:pt x="31750" y="381000"/>
                      </a:cubicBezTo>
                      <a:cubicBezTo>
                        <a:pt x="40565" y="370925"/>
                        <a:pt x="39478" y="355329"/>
                        <a:pt x="44450" y="342900"/>
                      </a:cubicBezTo>
                      <a:cubicBezTo>
                        <a:pt x="47966" y="334111"/>
                        <a:pt x="53421" y="326201"/>
                        <a:pt x="57150" y="317500"/>
                      </a:cubicBezTo>
                      <a:cubicBezTo>
                        <a:pt x="59787" y="311348"/>
                        <a:pt x="59787" y="304019"/>
                        <a:pt x="63500" y="298450"/>
                      </a:cubicBezTo>
                      <a:cubicBezTo>
                        <a:pt x="68481" y="290978"/>
                        <a:pt x="76801" y="286299"/>
                        <a:pt x="82550" y="279400"/>
                      </a:cubicBezTo>
                      <a:cubicBezTo>
                        <a:pt x="87436" y="273537"/>
                        <a:pt x="90283" y="266144"/>
                        <a:pt x="95250" y="260350"/>
                      </a:cubicBezTo>
                      <a:cubicBezTo>
                        <a:pt x="103042" y="251259"/>
                        <a:pt x="112765" y="243961"/>
                        <a:pt x="120650" y="234950"/>
                      </a:cubicBezTo>
                      <a:cubicBezTo>
                        <a:pt x="153731" y="197144"/>
                        <a:pt x="124078" y="219964"/>
                        <a:pt x="158750" y="196850"/>
                      </a:cubicBezTo>
                      <a:cubicBezTo>
                        <a:pt x="162983" y="190500"/>
                        <a:pt x="166054" y="183196"/>
                        <a:pt x="171450" y="177800"/>
                      </a:cubicBezTo>
                      <a:cubicBezTo>
                        <a:pt x="178934" y="170316"/>
                        <a:pt x="188586" y="165361"/>
                        <a:pt x="196850" y="158750"/>
                      </a:cubicBezTo>
                      <a:cubicBezTo>
                        <a:pt x="209759" y="148423"/>
                        <a:pt x="223260" y="138690"/>
                        <a:pt x="234950" y="127000"/>
                      </a:cubicBezTo>
                      <a:cubicBezTo>
                        <a:pt x="239493" y="122457"/>
                        <a:pt x="261893" y="90963"/>
                        <a:pt x="266700" y="82550"/>
                      </a:cubicBezTo>
                      <a:cubicBezTo>
                        <a:pt x="275552" y="67060"/>
                        <a:pt x="286657" y="41729"/>
                        <a:pt x="292100" y="25400"/>
                      </a:cubicBezTo>
                      <a:cubicBezTo>
                        <a:pt x="294860" y="17121"/>
                        <a:pt x="298450" y="0"/>
                        <a:pt x="298450" y="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67DD6909-7EBB-1745-8A70-3133114F52A1}"/>
                  </a:ext>
                </a:extLst>
              </p:cNvPr>
              <p:cNvGrpSpPr/>
              <p:nvPr/>
            </p:nvGrpSpPr>
            <p:grpSpPr>
              <a:xfrm rot="1046565">
                <a:off x="7203751" y="4881549"/>
                <a:ext cx="1206771" cy="1287897"/>
                <a:chOff x="1011668" y="4202364"/>
                <a:chExt cx="1503209" cy="1604263"/>
              </a:xfrm>
            </p:grpSpPr>
            <p:sp>
              <p:nvSpPr>
                <p:cNvPr id="187" name="Freeform: Shape 186">
                  <a:extLst>
                    <a:ext uri="{FF2B5EF4-FFF2-40B4-BE49-F238E27FC236}">
                      <a16:creationId xmlns:a16="http://schemas.microsoft.com/office/drawing/2014/main" id="{EC220130-FA4A-E86C-1DBE-B2A6ABDC2888}"/>
                    </a:ext>
                  </a:extLst>
                </p:cNvPr>
                <p:cNvSpPr/>
                <p:nvPr/>
              </p:nvSpPr>
              <p:spPr>
                <a:xfrm rot="21018860">
                  <a:off x="1629141" y="4202364"/>
                  <a:ext cx="309566" cy="179574"/>
                </a:xfrm>
                <a:custGeom>
                  <a:avLst/>
                  <a:gdLst>
                    <a:gd name="connsiteX0" fmla="*/ 14288 w 309566"/>
                    <a:gd name="connsiteY0" fmla="*/ 120277 h 179574"/>
                    <a:gd name="connsiteX1" fmla="*/ 4763 w 309566"/>
                    <a:gd name="connsiteY1" fmla="*/ 77415 h 179574"/>
                    <a:gd name="connsiteX2" fmla="*/ 0 w 309566"/>
                    <a:gd name="connsiteY2" fmla="*/ 63127 h 179574"/>
                    <a:gd name="connsiteX3" fmla="*/ 300038 w 309566"/>
                    <a:gd name="connsiteY3" fmla="*/ 48840 h 179574"/>
                    <a:gd name="connsiteX4" fmla="*/ 309563 w 309566"/>
                    <a:gd name="connsiteY4" fmla="*/ 77415 h 179574"/>
                    <a:gd name="connsiteX5" fmla="*/ 52388 w 309566"/>
                    <a:gd name="connsiteY5" fmla="*/ 144090 h 179574"/>
                    <a:gd name="connsiteX6" fmla="*/ 42863 w 309566"/>
                    <a:gd name="connsiteY6" fmla="*/ 120277 h 179574"/>
                    <a:gd name="connsiteX7" fmla="*/ 14288 w 309566"/>
                    <a:gd name="connsiteY7" fmla="*/ 120277 h 179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6" h="179574">
                      <a:moveTo>
                        <a:pt x="14288" y="120277"/>
                      </a:moveTo>
                      <a:cubicBezTo>
                        <a:pt x="7938" y="113133"/>
                        <a:pt x="9244" y="93098"/>
                        <a:pt x="4763" y="77415"/>
                      </a:cubicBezTo>
                      <a:cubicBezTo>
                        <a:pt x="3384" y="72588"/>
                        <a:pt x="1588" y="67890"/>
                        <a:pt x="0" y="63127"/>
                      </a:cubicBezTo>
                      <a:cubicBezTo>
                        <a:pt x="28185" y="-49600"/>
                        <a:pt x="5068" y="16577"/>
                        <a:pt x="300038" y="48840"/>
                      </a:cubicBezTo>
                      <a:cubicBezTo>
                        <a:pt x="310019" y="49932"/>
                        <a:pt x="309563" y="77415"/>
                        <a:pt x="309563" y="77415"/>
                      </a:cubicBezTo>
                      <a:cubicBezTo>
                        <a:pt x="281799" y="225485"/>
                        <a:pt x="316532" y="178978"/>
                        <a:pt x="52388" y="144090"/>
                      </a:cubicBezTo>
                      <a:cubicBezTo>
                        <a:pt x="43913" y="142971"/>
                        <a:pt x="47262" y="127608"/>
                        <a:pt x="42863" y="120277"/>
                      </a:cubicBezTo>
                      <a:cubicBezTo>
                        <a:pt x="42046" y="118916"/>
                        <a:pt x="20638" y="127421"/>
                        <a:pt x="14288" y="120277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: Shape 187">
                  <a:extLst>
                    <a:ext uri="{FF2B5EF4-FFF2-40B4-BE49-F238E27FC236}">
                      <a16:creationId xmlns:a16="http://schemas.microsoft.com/office/drawing/2014/main" id="{CD86E7F7-46A6-9DFF-FF74-56C323A265A1}"/>
                    </a:ext>
                  </a:extLst>
                </p:cNvPr>
                <p:cNvSpPr/>
                <p:nvPr/>
              </p:nvSpPr>
              <p:spPr>
                <a:xfrm rot="21018860">
                  <a:off x="1629141" y="4202364"/>
                  <a:ext cx="309566" cy="179574"/>
                </a:xfrm>
                <a:custGeom>
                  <a:avLst/>
                  <a:gdLst>
                    <a:gd name="connsiteX0" fmla="*/ 14288 w 309566"/>
                    <a:gd name="connsiteY0" fmla="*/ 120277 h 179574"/>
                    <a:gd name="connsiteX1" fmla="*/ 4763 w 309566"/>
                    <a:gd name="connsiteY1" fmla="*/ 77415 h 179574"/>
                    <a:gd name="connsiteX2" fmla="*/ 0 w 309566"/>
                    <a:gd name="connsiteY2" fmla="*/ 63127 h 179574"/>
                    <a:gd name="connsiteX3" fmla="*/ 300038 w 309566"/>
                    <a:gd name="connsiteY3" fmla="*/ 48840 h 179574"/>
                    <a:gd name="connsiteX4" fmla="*/ 309563 w 309566"/>
                    <a:gd name="connsiteY4" fmla="*/ 77415 h 179574"/>
                    <a:gd name="connsiteX5" fmla="*/ 52388 w 309566"/>
                    <a:gd name="connsiteY5" fmla="*/ 144090 h 179574"/>
                    <a:gd name="connsiteX6" fmla="*/ 42863 w 309566"/>
                    <a:gd name="connsiteY6" fmla="*/ 120277 h 179574"/>
                    <a:gd name="connsiteX7" fmla="*/ 14288 w 309566"/>
                    <a:gd name="connsiteY7" fmla="*/ 120277 h 179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6" h="179574">
                      <a:moveTo>
                        <a:pt x="14288" y="120277"/>
                      </a:moveTo>
                      <a:cubicBezTo>
                        <a:pt x="7938" y="113133"/>
                        <a:pt x="9244" y="93098"/>
                        <a:pt x="4763" y="77415"/>
                      </a:cubicBezTo>
                      <a:cubicBezTo>
                        <a:pt x="3384" y="72588"/>
                        <a:pt x="1588" y="67890"/>
                        <a:pt x="0" y="63127"/>
                      </a:cubicBezTo>
                      <a:cubicBezTo>
                        <a:pt x="28185" y="-49600"/>
                        <a:pt x="5068" y="16577"/>
                        <a:pt x="300038" y="48840"/>
                      </a:cubicBezTo>
                      <a:cubicBezTo>
                        <a:pt x="310019" y="49932"/>
                        <a:pt x="309563" y="77415"/>
                        <a:pt x="309563" y="77415"/>
                      </a:cubicBezTo>
                      <a:cubicBezTo>
                        <a:pt x="281799" y="225485"/>
                        <a:pt x="316532" y="178978"/>
                        <a:pt x="52388" y="144090"/>
                      </a:cubicBezTo>
                      <a:cubicBezTo>
                        <a:pt x="43913" y="142971"/>
                        <a:pt x="47262" y="127608"/>
                        <a:pt x="42863" y="120277"/>
                      </a:cubicBezTo>
                      <a:cubicBezTo>
                        <a:pt x="42046" y="118916"/>
                        <a:pt x="20638" y="127421"/>
                        <a:pt x="14288" y="120277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: Shape 188">
                  <a:extLst>
                    <a:ext uri="{FF2B5EF4-FFF2-40B4-BE49-F238E27FC236}">
                      <a16:creationId xmlns:a16="http://schemas.microsoft.com/office/drawing/2014/main" id="{F8271D5E-D689-2BF1-4448-14679B94BDC1}"/>
                    </a:ext>
                  </a:extLst>
                </p:cNvPr>
                <p:cNvSpPr/>
                <p:nvPr/>
              </p:nvSpPr>
              <p:spPr>
                <a:xfrm>
                  <a:off x="1011668" y="4314034"/>
                  <a:ext cx="1503209" cy="1492593"/>
                </a:xfrm>
                <a:custGeom>
                  <a:avLst/>
                  <a:gdLst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  <a:gd name="connsiteX49" fmla="*/ 2236472 w 4460800"/>
                    <a:gd name="connsiteY49" fmla="*/ 504825 h 4429294"/>
                    <a:gd name="connsiteX50" fmla="*/ 2216862 w 4460800"/>
                    <a:gd name="connsiteY50" fmla="*/ 514630 h 4429294"/>
                    <a:gd name="connsiteX51" fmla="*/ 1729061 w 4460800"/>
                    <a:gd name="connsiteY51" fmla="*/ 590619 h 4429294"/>
                    <a:gd name="connsiteX52" fmla="*/ 1640815 w 4460800"/>
                    <a:gd name="connsiteY52" fmla="*/ 622486 h 4429294"/>
                    <a:gd name="connsiteX53" fmla="*/ 1363822 w 4460800"/>
                    <a:gd name="connsiteY53" fmla="*/ 745049 h 4429294"/>
                    <a:gd name="connsiteX54" fmla="*/ 1148111 w 4460800"/>
                    <a:gd name="connsiteY54" fmla="*/ 894576 h 4429294"/>
                    <a:gd name="connsiteX55" fmla="*/ 978974 w 4460800"/>
                    <a:gd name="connsiteY55" fmla="*/ 1026944 h 4429294"/>
                    <a:gd name="connsiteX56" fmla="*/ 731396 w 4460800"/>
                    <a:gd name="connsiteY56" fmla="*/ 1365219 h 4429294"/>
                    <a:gd name="connsiteX57" fmla="*/ 650504 w 4460800"/>
                    <a:gd name="connsiteY57" fmla="*/ 1524551 h 4429294"/>
                    <a:gd name="connsiteX58" fmla="*/ 525490 w 4460800"/>
                    <a:gd name="connsiteY58" fmla="*/ 1948620 h 4429294"/>
                    <a:gd name="connsiteX59" fmla="*/ 520587 w 4460800"/>
                    <a:gd name="connsiteY59" fmla="*/ 2333468 h 4429294"/>
                    <a:gd name="connsiteX60" fmla="*/ 603930 w 4460800"/>
                    <a:gd name="connsiteY60" fmla="*/ 2737927 h 4429294"/>
                    <a:gd name="connsiteX61" fmla="*/ 721591 w 4460800"/>
                    <a:gd name="connsiteY61" fmla="*/ 3010017 h 4429294"/>
                    <a:gd name="connsiteX62" fmla="*/ 822093 w 4460800"/>
                    <a:gd name="connsiteY62" fmla="*/ 3184057 h 4429294"/>
                    <a:gd name="connsiteX63" fmla="*/ 934851 w 4460800"/>
                    <a:gd name="connsiteY63" fmla="*/ 3328681 h 4429294"/>
                    <a:gd name="connsiteX64" fmla="*/ 1192234 w 4460800"/>
                    <a:gd name="connsiteY64" fmla="*/ 3568905 h 4429294"/>
                    <a:gd name="connsiteX65" fmla="*/ 1361371 w 4460800"/>
                    <a:gd name="connsiteY65" fmla="*/ 3679212 h 4429294"/>
                    <a:gd name="connsiteX66" fmla="*/ 1491288 w 4460800"/>
                    <a:gd name="connsiteY66" fmla="*/ 3760104 h 4429294"/>
                    <a:gd name="connsiteX67" fmla="*/ 1677584 w 4460800"/>
                    <a:gd name="connsiteY67" fmla="*/ 3828739 h 4429294"/>
                    <a:gd name="connsiteX68" fmla="*/ 1957028 w 4460800"/>
                    <a:gd name="connsiteY68" fmla="*/ 3902277 h 4429294"/>
                    <a:gd name="connsiteX69" fmla="*/ 2104104 w 4460800"/>
                    <a:gd name="connsiteY69" fmla="*/ 3924339 h 4429294"/>
                    <a:gd name="connsiteX70" fmla="*/ 2454635 w 4460800"/>
                    <a:gd name="connsiteY70" fmla="*/ 3894923 h 4429294"/>
                    <a:gd name="connsiteX71" fmla="*/ 2633577 w 4460800"/>
                    <a:gd name="connsiteY71" fmla="*/ 3880216 h 4429294"/>
                    <a:gd name="connsiteX72" fmla="*/ 2729176 w 4460800"/>
                    <a:gd name="connsiteY72" fmla="*/ 3850801 h 4429294"/>
                    <a:gd name="connsiteX73" fmla="*/ 2832129 w 4460800"/>
                    <a:gd name="connsiteY73" fmla="*/ 3814032 h 4429294"/>
                    <a:gd name="connsiteX74" fmla="*/ 2949790 w 4460800"/>
                    <a:gd name="connsiteY74" fmla="*/ 3765006 h 4429294"/>
                    <a:gd name="connsiteX75" fmla="*/ 3177758 w 4460800"/>
                    <a:gd name="connsiteY75" fmla="*/ 3657151 h 4429294"/>
                    <a:gd name="connsiteX76" fmla="*/ 3288065 w 4460800"/>
                    <a:gd name="connsiteY76" fmla="*/ 3571357 h 4429294"/>
                    <a:gd name="connsiteX77" fmla="*/ 3516032 w 4460800"/>
                    <a:gd name="connsiteY77" fmla="*/ 3321328 h 4429294"/>
                    <a:gd name="connsiteX78" fmla="*/ 3596924 w 4460800"/>
                    <a:gd name="connsiteY78" fmla="*/ 3233082 h 4429294"/>
                    <a:gd name="connsiteX79" fmla="*/ 3692523 w 4460800"/>
                    <a:gd name="connsiteY79" fmla="*/ 3130129 h 4429294"/>
                    <a:gd name="connsiteX80" fmla="*/ 3766061 w 4460800"/>
                    <a:gd name="connsiteY80" fmla="*/ 3012468 h 4429294"/>
                    <a:gd name="connsiteX81" fmla="*/ 3846953 w 4460800"/>
                    <a:gd name="connsiteY81" fmla="*/ 2813916 h 4429294"/>
                    <a:gd name="connsiteX82" fmla="*/ 3895978 w 4460800"/>
                    <a:gd name="connsiteY82" fmla="*/ 2642327 h 4429294"/>
                    <a:gd name="connsiteX83" fmla="*/ 3952357 w 4460800"/>
                    <a:gd name="connsiteY83" fmla="*/ 2188844 h 4429294"/>
                    <a:gd name="connsiteX84" fmla="*/ 3883722 w 4460800"/>
                    <a:gd name="connsiteY84" fmla="*/ 1806446 h 4429294"/>
                    <a:gd name="connsiteX85" fmla="*/ 3854307 w 4460800"/>
                    <a:gd name="connsiteY85" fmla="*/ 1703493 h 4429294"/>
                    <a:gd name="connsiteX86" fmla="*/ 3817538 w 4460800"/>
                    <a:gd name="connsiteY86" fmla="*/ 1556418 h 4429294"/>
                    <a:gd name="connsiteX87" fmla="*/ 3788122 w 4460800"/>
                    <a:gd name="connsiteY87" fmla="*/ 1482880 h 4429294"/>
                    <a:gd name="connsiteX88" fmla="*/ 3744000 w 4460800"/>
                    <a:gd name="connsiteY88" fmla="*/ 1387280 h 4429294"/>
                    <a:gd name="connsiteX89" fmla="*/ 3677816 w 4460800"/>
                    <a:gd name="connsiteY89" fmla="*/ 1269620 h 4429294"/>
                    <a:gd name="connsiteX90" fmla="*/ 3572411 w 4460800"/>
                    <a:gd name="connsiteY90" fmla="*/ 1137251 h 4429294"/>
                    <a:gd name="connsiteX91" fmla="*/ 3405725 w 4460800"/>
                    <a:gd name="connsiteY91" fmla="*/ 953406 h 4429294"/>
                    <a:gd name="connsiteX92" fmla="*/ 3104220 w 4460800"/>
                    <a:gd name="connsiteY92" fmla="*/ 754854 h 4429294"/>
                    <a:gd name="connsiteX93" fmla="*/ 2964498 w 4460800"/>
                    <a:gd name="connsiteY93" fmla="*/ 681316 h 4429294"/>
                    <a:gd name="connsiteX94" fmla="*/ 2883606 w 4460800"/>
                    <a:gd name="connsiteY94" fmla="*/ 637193 h 4429294"/>
                    <a:gd name="connsiteX95" fmla="*/ 2714469 w 4460800"/>
                    <a:gd name="connsiteY95" fmla="*/ 571009 h 4429294"/>
                    <a:gd name="connsiteX96" fmla="*/ 2486501 w 4460800"/>
                    <a:gd name="connsiteY96" fmla="*/ 517081 h 4429294"/>
                    <a:gd name="connsiteX97" fmla="*/ 2236472 w 4460800"/>
                    <a:gd name="connsiteY97" fmla="*/ 504825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  <a:moveTo>
                        <a:pt x="2236472" y="504825"/>
                      </a:moveTo>
                      <a:lnTo>
                        <a:pt x="2216862" y="514630"/>
                      </a:lnTo>
                      <a:cubicBezTo>
                        <a:pt x="2010139" y="499106"/>
                        <a:pt x="1906368" y="557119"/>
                        <a:pt x="1729061" y="590619"/>
                      </a:cubicBezTo>
                      <a:cubicBezTo>
                        <a:pt x="1633053" y="608595"/>
                        <a:pt x="1701688" y="596748"/>
                        <a:pt x="1640815" y="622486"/>
                      </a:cubicBezTo>
                      <a:cubicBezTo>
                        <a:pt x="1579942" y="648224"/>
                        <a:pt x="1445940" y="699701"/>
                        <a:pt x="1363822" y="745049"/>
                      </a:cubicBezTo>
                      <a:cubicBezTo>
                        <a:pt x="1278845" y="798160"/>
                        <a:pt x="1212252" y="847594"/>
                        <a:pt x="1148111" y="894576"/>
                      </a:cubicBezTo>
                      <a:cubicBezTo>
                        <a:pt x="1083970" y="941559"/>
                        <a:pt x="1048426" y="948504"/>
                        <a:pt x="978974" y="1026944"/>
                      </a:cubicBezTo>
                      <a:cubicBezTo>
                        <a:pt x="909522" y="1105385"/>
                        <a:pt x="786141" y="1282284"/>
                        <a:pt x="731396" y="1365219"/>
                      </a:cubicBezTo>
                      <a:cubicBezTo>
                        <a:pt x="676651" y="1448153"/>
                        <a:pt x="684822" y="1427317"/>
                        <a:pt x="650504" y="1524551"/>
                      </a:cubicBezTo>
                      <a:cubicBezTo>
                        <a:pt x="616187" y="1621785"/>
                        <a:pt x="547143" y="1813800"/>
                        <a:pt x="525490" y="1948620"/>
                      </a:cubicBezTo>
                      <a:cubicBezTo>
                        <a:pt x="503837" y="2083439"/>
                        <a:pt x="503429" y="2190478"/>
                        <a:pt x="520587" y="2333468"/>
                      </a:cubicBezTo>
                      <a:cubicBezTo>
                        <a:pt x="537746" y="2476458"/>
                        <a:pt x="570430" y="2625169"/>
                        <a:pt x="603930" y="2737927"/>
                      </a:cubicBezTo>
                      <a:cubicBezTo>
                        <a:pt x="637431" y="2850685"/>
                        <a:pt x="685231" y="2935662"/>
                        <a:pt x="721591" y="3010017"/>
                      </a:cubicBezTo>
                      <a:cubicBezTo>
                        <a:pt x="757952" y="3084372"/>
                        <a:pt x="786550" y="3130946"/>
                        <a:pt x="822093" y="3184057"/>
                      </a:cubicBezTo>
                      <a:cubicBezTo>
                        <a:pt x="857636" y="3237168"/>
                        <a:pt x="873161" y="3264540"/>
                        <a:pt x="934851" y="3328681"/>
                      </a:cubicBezTo>
                      <a:cubicBezTo>
                        <a:pt x="996541" y="3392823"/>
                        <a:pt x="1121147" y="3510483"/>
                        <a:pt x="1192234" y="3568905"/>
                      </a:cubicBezTo>
                      <a:cubicBezTo>
                        <a:pt x="1263320" y="3627327"/>
                        <a:pt x="1311529" y="3647346"/>
                        <a:pt x="1361371" y="3679212"/>
                      </a:cubicBezTo>
                      <a:cubicBezTo>
                        <a:pt x="1411213" y="3711079"/>
                        <a:pt x="1439811" y="3738043"/>
                        <a:pt x="1491288" y="3760104"/>
                      </a:cubicBezTo>
                      <a:cubicBezTo>
                        <a:pt x="1553386" y="3782982"/>
                        <a:pt x="1599960" y="3805044"/>
                        <a:pt x="1677584" y="3828739"/>
                      </a:cubicBezTo>
                      <a:cubicBezTo>
                        <a:pt x="1755208" y="3852435"/>
                        <a:pt x="1885941" y="3886344"/>
                        <a:pt x="1957028" y="3902277"/>
                      </a:cubicBezTo>
                      <a:cubicBezTo>
                        <a:pt x="2028115" y="3918210"/>
                        <a:pt x="2021169" y="3925564"/>
                        <a:pt x="2104104" y="3924339"/>
                      </a:cubicBezTo>
                      <a:cubicBezTo>
                        <a:pt x="2187039" y="3923113"/>
                        <a:pt x="2366389" y="3902277"/>
                        <a:pt x="2454635" y="3894923"/>
                      </a:cubicBezTo>
                      <a:cubicBezTo>
                        <a:pt x="2542880" y="3887570"/>
                        <a:pt x="2587820" y="3887570"/>
                        <a:pt x="2633577" y="3880216"/>
                      </a:cubicBezTo>
                      <a:cubicBezTo>
                        <a:pt x="2679334" y="3872862"/>
                        <a:pt x="2711316" y="3856382"/>
                        <a:pt x="2729176" y="3850801"/>
                      </a:cubicBezTo>
                      <a:cubicBezTo>
                        <a:pt x="2789144" y="3832061"/>
                        <a:pt x="2784407" y="3833121"/>
                        <a:pt x="2832129" y="3814032"/>
                      </a:cubicBezTo>
                      <a:cubicBezTo>
                        <a:pt x="2854043" y="3812206"/>
                        <a:pt x="2892186" y="3791154"/>
                        <a:pt x="2949790" y="3765006"/>
                      </a:cubicBezTo>
                      <a:cubicBezTo>
                        <a:pt x="3007394" y="3738859"/>
                        <a:pt x="3121379" y="3689426"/>
                        <a:pt x="3177758" y="3657151"/>
                      </a:cubicBezTo>
                      <a:cubicBezTo>
                        <a:pt x="3234137" y="3624876"/>
                        <a:pt x="3231685" y="3627327"/>
                        <a:pt x="3288065" y="3571357"/>
                      </a:cubicBezTo>
                      <a:cubicBezTo>
                        <a:pt x="3344444" y="3515386"/>
                        <a:pt x="3440043" y="3404671"/>
                        <a:pt x="3516032" y="3321328"/>
                      </a:cubicBezTo>
                      <a:lnTo>
                        <a:pt x="3596924" y="3233082"/>
                      </a:lnTo>
                      <a:cubicBezTo>
                        <a:pt x="3626339" y="3201216"/>
                        <a:pt x="3664334" y="3166898"/>
                        <a:pt x="3692523" y="3130129"/>
                      </a:cubicBezTo>
                      <a:cubicBezTo>
                        <a:pt x="3720713" y="3093360"/>
                        <a:pt x="3740323" y="3065170"/>
                        <a:pt x="3766061" y="3012468"/>
                      </a:cubicBezTo>
                      <a:cubicBezTo>
                        <a:pt x="3791799" y="2959767"/>
                        <a:pt x="3825300" y="2875606"/>
                        <a:pt x="3846953" y="2813916"/>
                      </a:cubicBezTo>
                      <a:cubicBezTo>
                        <a:pt x="3868606" y="2752226"/>
                        <a:pt x="3878411" y="2746506"/>
                        <a:pt x="3895978" y="2642327"/>
                      </a:cubicBezTo>
                      <a:cubicBezTo>
                        <a:pt x="3913545" y="2538149"/>
                        <a:pt x="3953582" y="2342047"/>
                        <a:pt x="3952357" y="2188844"/>
                      </a:cubicBezTo>
                      <a:cubicBezTo>
                        <a:pt x="3951132" y="2035640"/>
                        <a:pt x="3900064" y="1887338"/>
                        <a:pt x="3883722" y="1806446"/>
                      </a:cubicBezTo>
                      <a:cubicBezTo>
                        <a:pt x="3867380" y="1725555"/>
                        <a:pt x="3865338" y="1745165"/>
                        <a:pt x="3854307" y="1703493"/>
                      </a:cubicBezTo>
                      <a:cubicBezTo>
                        <a:pt x="3843276" y="1661822"/>
                        <a:pt x="3828568" y="1593186"/>
                        <a:pt x="3817538" y="1556418"/>
                      </a:cubicBezTo>
                      <a:cubicBezTo>
                        <a:pt x="3806507" y="1519649"/>
                        <a:pt x="3800379" y="1511069"/>
                        <a:pt x="3788122" y="1482880"/>
                      </a:cubicBezTo>
                      <a:cubicBezTo>
                        <a:pt x="3775866" y="1454690"/>
                        <a:pt x="3762385" y="1422824"/>
                        <a:pt x="3744000" y="1387280"/>
                      </a:cubicBezTo>
                      <a:cubicBezTo>
                        <a:pt x="3731743" y="1361542"/>
                        <a:pt x="3706414" y="1311291"/>
                        <a:pt x="3677816" y="1269620"/>
                      </a:cubicBezTo>
                      <a:cubicBezTo>
                        <a:pt x="3649217" y="1227948"/>
                        <a:pt x="3617760" y="1189954"/>
                        <a:pt x="3572411" y="1137251"/>
                      </a:cubicBezTo>
                      <a:cubicBezTo>
                        <a:pt x="3527063" y="1084550"/>
                        <a:pt x="3483757" y="1017139"/>
                        <a:pt x="3405725" y="953406"/>
                      </a:cubicBezTo>
                      <a:cubicBezTo>
                        <a:pt x="3327693" y="889674"/>
                        <a:pt x="3177758" y="800203"/>
                        <a:pt x="3104220" y="754854"/>
                      </a:cubicBezTo>
                      <a:cubicBezTo>
                        <a:pt x="3030682" y="709506"/>
                        <a:pt x="3001267" y="700926"/>
                        <a:pt x="2964498" y="681316"/>
                      </a:cubicBezTo>
                      <a:cubicBezTo>
                        <a:pt x="2927729" y="661706"/>
                        <a:pt x="2925277" y="655577"/>
                        <a:pt x="2883606" y="637193"/>
                      </a:cubicBezTo>
                      <a:cubicBezTo>
                        <a:pt x="2850514" y="623712"/>
                        <a:pt x="2780653" y="591028"/>
                        <a:pt x="2714469" y="571009"/>
                      </a:cubicBezTo>
                      <a:cubicBezTo>
                        <a:pt x="2669121" y="558345"/>
                        <a:pt x="2566167" y="528112"/>
                        <a:pt x="2486501" y="517081"/>
                      </a:cubicBezTo>
                      <a:cubicBezTo>
                        <a:pt x="2406836" y="506051"/>
                        <a:pt x="2319815" y="508911"/>
                        <a:pt x="2236472" y="50482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: Shape 189">
                  <a:extLst>
                    <a:ext uri="{FF2B5EF4-FFF2-40B4-BE49-F238E27FC236}">
                      <a16:creationId xmlns:a16="http://schemas.microsoft.com/office/drawing/2014/main" id="{6379555D-FA70-7E6C-B362-A7F35983D963}"/>
                    </a:ext>
                  </a:extLst>
                </p:cNvPr>
                <p:cNvSpPr/>
                <p:nvPr/>
              </p:nvSpPr>
              <p:spPr>
                <a:xfrm>
                  <a:off x="1011668" y="4314034"/>
                  <a:ext cx="1503209" cy="1492593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: Shape 190">
                  <a:extLst>
                    <a:ext uri="{FF2B5EF4-FFF2-40B4-BE49-F238E27FC236}">
                      <a16:creationId xmlns:a16="http://schemas.microsoft.com/office/drawing/2014/main" id="{83A957E7-116B-2FBC-0980-0F3F70CF9E20}"/>
                    </a:ext>
                  </a:extLst>
                </p:cNvPr>
                <p:cNvSpPr/>
                <p:nvPr/>
              </p:nvSpPr>
              <p:spPr>
                <a:xfrm>
                  <a:off x="1669170" y="4966893"/>
                  <a:ext cx="188206" cy="186876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24" name="Freeform: Shape 1023">
                  <a:extLst>
                    <a:ext uri="{FF2B5EF4-FFF2-40B4-BE49-F238E27FC236}">
                      <a16:creationId xmlns:a16="http://schemas.microsoft.com/office/drawing/2014/main" id="{7DFF4189-6D9D-CDF0-528C-531E83072DA4}"/>
                    </a:ext>
                  </a:extLst>
                </p:cNvPr>
                <p:cNvSpPr/>
                <p:nvPr/>
              </p:nvSpPr>
              <p:spPr>
                <a:xfrm>
                  <a:off x="2238375" y="4966894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25" name="Freeform: Shape 1024">
                  <a:extLst>
                    <a:ext uri="{FF2B5EF4-FFF2-40B4-BE49-F238E27FC236}">
                      <a16:creationId xmlns:a16="http://schemas.microsoft.com/office/drawing/2014/main" id="{DB3CDFA9-3B30-FB60-7476-3D8A3F269878}"/>
                    </a:ext>
                  </a:extLst>
                </p:cNvPr>
                <p:cNvSpPr/>
                <p:nvPr/>
              </p:nvSpPr>
              <p:spPr>
                <a:xfrm>
                  <a:off x="1204913" y="500023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27" name="Freeform: Shape 1026">
                  <a:extLst>
                    <a:ext uri="{FF2B5EF4-FFF2-40B4-BE49-F238E27FC236}">
                      <a16:creationId xmlns:a16="http://schemas.microsoft.com/office/drawing/2014/main" id="{85896067-3508-F693-977B-796DC07AB04C}"/>
                    </a:ext>
                  </a:extLst>
                </p:cNvPr>
                <p:cNvSpPr/>
                <p:nvPr/>
              </p:nvSpPr>
              <p:spPr>
                <a:xfrm>
                  <a:off x="1720410" y="452397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28" name="Freeform: Shape 1027">
                  <a:extLst>
                    <a:ext uri="{FF2B5EF4-FFF2-40B4-BE49-F238E27FC236}">
                      <a16:creationId xmlns:a16="http://schemas.microsoft.com/office/drawing/2014/main" id="{EF5E127C-123E-0195-5CD5-B0CBF85569CE}"/>
                    </a:ext>
                  </a:extLst>
                </p:cNvPr>
                <p:cNvSpPr/>
                <p:nvPr/>
              </p:nvSpPr>
              <p:spPr>
                <a:xfrm>
                  <a:off x="1720410" y="549552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29" name="Freeform: Shape 1028">
                  <a:extLst>
                    <a:ext uri="{FF2B5EF4-FFF2-40B4-BE49-F238E27FC236}">
                      <a16:creationId xmlns:a16="http://schemas.microsoft.com/office/drawing/2014/main" id="{294BA54A-0202-8F69-6C4D-3E17B2DE59AF}"/>
                    </a:ext>
                  </a:extLst>
                </p:cNvPr>
                <p:cNvSpPr/>
                <p:nvPr/>
              </p:nvSpPr>
              <p:spPr>
                <a:xfrm>
                  <a:off x="1728989" y="4633903"/>
                  <a:ext cx="54935" cy="604847"/>
                </a:xfrm>
                <a:custGeom>
                  <a:avLst/>
                  <a:gdLst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14287 w 52387"/>
                    <a:gd name="connsiteY11" fmla="*/ 202130 h 687905"/>
                    <a:gd name="connsiteX12" fmla="*/ 23812 w 52387"/>
                    <a:gd name="connsiteY12" fmla="*/ 164030 h 687905"/>
                    <a:gd name="connsiteX13" fmla="*/ 28575 w 52387"/>
                    <a:gd name="connsiteY13" fmla="*/ 6868 h 687905"/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23812 w 52387"/>
                    <a:gd name="connsiteY11" fmla="*/ 164030 h 687905"/>
                    <a:gd name="connsiteX12" fmla="*/ 28575 w 52387"/>
                    <a:gd name="connsiteY12" fmla="*/ 6868 h 687905"/>
                    <a:gd name="connsiteX0" fmla="*/ 28575 w 42862"/>
                    <a:gd name="connsiteY0" fmla="*/ 6868 h 706132"/>
                    <a:gd name="connsiteX1" fmla="*/ 33337 w 42862"/>
                    <a:gd name="connsiteY1" fmla="*/ 30680 h 706132"/>
                    <a:gd name="connsiteX2" fmla="*/ 38100 w 42862"/>
                    <a:gd name="connsiteY2" fmla="*/ 49730 h 706132"/>
                    <a:gd name="connsiteX3" fmla="*/ 42862 w 42862"/>
                    <a:gd name="connsiteY3" fmla="*/ 83068 h 706132"/>
                    <a:gd name="connsiteX4" fmla="*/ 33337 w 42862"/>
                    <a:gd name="connsiteY4" fmla="*/ 659330 h 706132"/>
                    <a:gd name="connsiteX5" fmla="*/ 28575 w 42862"/>
                    <a:gd name="connsiteY5" fmla="*/ 673618 h 706132"/>
                    <a:gd name="connsiteX6" fmla="*/ 9525 w 42862"/>
                    <a:gd name="connsiteY6" fmla="*/ 687905 h 706132"/>
                    <a:gd name="connsiteX7" fmla="*/ 4762 w 42862"/>
                    <a:gd name="connsiteY7" fmla="*/ 668855 h 706132"/>
                    <a:gd name="connsiteX8" fmla="*/ 0 w 42862"/>
                    <a:gd name="connsiteY8" fmla="*/ 654568 h 706132"/>
                    <a:gd name="connsiteX9" fmla="*/ 4762 w 42862"/>
                    <a:gd name="connsiteY9" fmla="*/ 616468 h 706132"/>
                    <a:gd name="connsiteX10" fmla="*/ 23812 w 42862"/>
                    <a:gd name="connsiteY10" fmla="*/ 164030 h 706132"/>
                    <a:gd name="connsiteX11" fmla="*/ 28575 w 42862"/>
                    <a:gd name="connsiteY11" fmla="*/ 6868 h 706132"/>
                    <a:gd name="connsiteX0" fmla="*/ 28575 w 38100"/>
                    <a:gd name="connsiteY0" fmla="*/ 7540 h 709262"/>
                    <a:gd name="connsiteX1" fmla="*/ 33337 w 38100"/>
                    <a:gd name="connsiteY1" fmla="*/ 31352 h 709262"/>
                    <a:gd name="connsiteX2" fmla="*/ 38100 w 38100"/>
                    <a:gd name="connsiteY2" fmla="*/ 50402 h 709262"/>
                    <a:gd name="connsiteX3" fmla="*/ 33337 w 38100"/>
                    <a:gd name="connsiteY3" fmla="*/ 660002 h 709262"/>
                    <a:gd name="connsiteX4" fmla="*/ 28575 w 38100"/>
                    <a:gd name="connsiteY4" fmla="*/ 674290 h 709262"/>
                    <a:gd name="connsiteX5" fmla="*/ 9525 w 38100"/>
                    <a:gd name="connsiteY5" fmla="*/ 688577 h 709262"/>
                    <a:gd name="connsiteX6" fmla="*/ 4762 w 38100"/>
                    <a:gd name="connsiteY6" fmla="*/ 669527 h 709262"/>
                    <a:gd name="connsiteX7" fmla="*/ 0 w 38100"/>
                    <a:gd name="connsiteY7" fmla="*/ 655240 h 709262"/>
                    <a:gd name="connsiteX8" fmla="*/ 4762 w 38100"/>
                    <a:gd name="connsiteY8" fmla="*/ 617140 h 709262"/>
                    <a:gd name="connsiteX9" fmla="*/ 23812 w 38100"/>
                    <a:gd name="connsiteY9" fmla="*/ 164702 h 709262"/>
                    <a:gd name="connsiteX10" fmla="*/ 28575 w 38100"/>
                    <a:gd name="connsiteY10" fmla="*/ 7540 h 709262"/>
                    <a:gd name="connsiteX0" fmla="*/ 28575 w 38100"/>
                    <a:gd name="connsiteY0" fmla="*/ 6869 h 708591"/>
                    <a:gd name="connsiteX1" fmla="*/ 33337 w 38100"/>
                    <a:gd name="connsiteY1" fmla="*/ 30681 h 708591"/>
                    <a:gd name="connsiteX2" fmla="*/ 38100 w 38100"/>
                    <a:gd name="connsiteY2" fmla="*/ 49731 h 708591"/>
                    <a:gd name="connsiteX3" fmla="*/ 33337 w 38100"/>
                    <a:gd name="connsiteY3" fmla="*/ 659331 h 708591"/>
                    <a:gd name="connsiteX4" fmla="*/ 28575 w 38100"/>
                    <a:gd name="connsiteY4" fmla="*/ 673619 h 708591"/>
                    <a:gd name="connsiteX5" fmla="*/ 9525 w 38100"/>
                    <a:gd name="connsiteY5" fmla="*/ 687906 h 708591"/>
                    <a:gd name="connsiteX6" fmla="*/ 4762 w 38100"/>
                    <a:gd name="connsiteY6" fmla="*/ 668856 h 708591"/>
                    <a:gd name="connsiteX7" fmla="*/ 0 w 38100"/>
                    <a:gd name="connsiteY7" fmla="*/ 654569 h 708591"/>
                    <a:gd name="connsiteX8" fmla="*/ 4762 w 38100"/>
                    <a:gd name="connsiteY8" fmla="*/ 616469 h 708591"/>
                    <a:gd name="connsiteX9" fmla="*/ 23812 w 38100"/>
                    <a:gd name="connsiteY9" fmla="*/ 164031 h 708591"/>
                    <a:gd name="connsiteX10" fmla="*/ 28575 w 38100"/>
                    <a:gd name="connsiteY10" fmla="*/ 6869 h 708591"/>
                    <a:gd name="connsiteX0" fmla="*/ 28575 w 33932"/>
                    <a:gd name="connsiteY0" fmla="*/ 38216 h 741342"/>
                    <a:gd name="connsiteX1" fmla="*/ 33337 w 33932"/>
                    <a:gd name="connsiteY1" fmla="*/ 62028 h 741342"/>
                    <a:gd name="connsiteX2" fmla="*/ 33337 w 33932"/>
                    <a:gd name="connsiteY2" fmla="*/ 690678 h 741342"/>
                    <a:gd name="connsiteX3" fmla="*/ 28575 w 33932"/>
                    <a:gd name="connsiteY3" fmla="*/ 704966 h 741342"/>
                    <a:gd name="connsiteX4" fmla="*/ 9525 w 33932"/>
                    <a:gd name="connsiteY4" fmla="*/ 719253 h 741342"/>
                    <a:gd name="connsiteX5" fmla="*/ 4762 w 33932"/>
                    <a:gd name="connsiteY5" fmla="*/ 700203 h 741342"/>
                    <a:gd name="connsiteX6" fmla="*/ 0 w 33932"/>
                    <a:gd name="connsiteY6" fmla="*/ 685916 h 741342"/>
                    <a:gd name="connsiteX7" fmla="*/ 4762 w 33932"/>
                    <a:gd name="connsiteY7" fmla="*/ 647816 h 741342"/>
                    <a:gd name="connsiteX8" fmla="*/ 23812 w 33932"/>
                    <a:gd name="connsiteY8" fmla="*/ 195378 h 741342"/>
                    <a:gd name="connsiteX9" fmla="*/ 28575 w 33932"/>
                    <a:gd name="connsiteY9" fmla="*/ 38216 h 741342"/>
                    <a:gd name="connsiteX0" fmla="*/ 28575 w 33337"/>
                    <a:gd name="connsiteY0" fmla="*/ 0 h 704883"/>
                    <a:gd name="connsiteX1" fmla="*/ 33337 w 33337"/>
                    <a:gd name="connsiteY1" fmla="*/ 652462 h 704883"/>
                    <a:gd name="connsiteX2" fmla="*/ 28575 w 33337"/>
                    <a:gd name="connsiteY2" fmla="*/ 666750 h 704883"/>
                    <a:gd name="connsiteX3" fmla="*/ 9525 w 33337"/>
                    <a:gd name="connsiteY3" fmla="*/ 681037 h 704883"/>
                    <a:gd name="connsiteX4" fmla="*/ 4762 w 33337"/>
                    <a:gd name="connsiteY4" fmla="*/ 661987 h 704883"/>
                    <a:gd name="connsiteX5" fmla="*/ 0 w 33337"/>
                    <a:gd name="connsiteY5" fmla="*/ 647700 h 704883"/>
                    <a:gd name="connsiteX6" fmla="*/ 4762 w 33337"/>
                    <a:gd name="connsiteY6" fmla="*/ 609600 h 704883"/>
                    <a:gd name="connsiteX7" fmla="*/ 23812 w 33337"/>
                    <a:gd name="connsiteY7" fmla="*/ 157162 h 704883"/>
                    <a:gd name="connsiteX8" fmla="*/ 28575 w 33337"/>
                    <a:gd name="connsiteY8" fmla="*/ 0 h 704883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947"/>
                    <a:gd name="connsiteY0" fmla="*/ 22319 h 726990"/>
                    <a:gd name="connsiteX1" fmla="*/ 33337 w 37947"/>
                    <a:gd name="connsiteY1" fmla="*/ 674781 h 726990"/>
                    <a:gd name="connsiteX2" fmla="*/ 28575 w 37947"/>
                    <a:gd name="connsiteY2" fmla="*/ 689069 h 726990"/>
                    <a:gd name="connsiteX3" fmla="*/ 9525 w 37947"/>
                    <a:gd name="connsiteY3" fmla="*/ 703356 h 726990"/>
                    <a:gd name="connsiteX4" fmla="*/ 4762 w 37947"/>
                    <a:gd name="connsiteY4" fmla="*/ 684306 h 726990"/>
                    <a:gd name="connsiteX5" fmla="*/ 0 w 37947"/>
                    <a:gd name="connsiteY5" fmla="*/ 670019 h 726990"/>
                    <a:gd name="connsiteX6" fmla="*/ 4762 w 37947"/>
                    <a:gd name="connsiteY6" fmla="*/ 631919 h 726990"/>
                    <a:gd name="connsiteX7" fmla="*/ 21431 w 37947"/>
                    <a:gd name="connsiteY7" fmla="*/ 196150 h 726990"/>
                    <a:gd name="connsiteX8" fmla="*/ 28575 w 37947"/>
                    <a:gd name="connsiteY8" fmla="*/ 22319 h 726990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4565"/>
                    <a:gd name="connsiteY0" fmla="*/ 22319 h 726607"/>
                    <a:gd name="connsiteX1" fmla="*/ 33337 w 34565"/>
                    <a:gd name="connsiteY1" fmla="*/ 674781 h 726607"/>
                    <a:gd name="connsiteX2" fmla="*/ 4762 w 34565"/>
                    <a:gd name="connsiteY2" fmla="*/ 684306 h 726607"/>
                    <a:gd name="connsiteX3" fmla="*/ 0 w 34565"/>
                    <a:gd name="connsiteY3" fmla="*/ 670019 h 726607"/>
                    <a:gd name="connsiteX4" fmla="*/ 4762 w 34565"/>
                    <a:gd name="connsiteY4" fmla="*/ 631919 h 726607"/>
                    <a:gd name="connsiteX5" fmla="*/ 21431 w 34565"/>
                    <a:gd name="connsiteY5" fmla="*/ 196150 h 726607"/>
                    <a:gd name="connsiteX6" fmla="*/ 28575 w 34565"/>
                    <a:gd name="connsiteY6" fmla="*/ 22319 h 726607"/>
                    <a:gd name="connsiteX0" fmla="*/ 28575 w 43730"/>
                    <a:gd name="connsiteY0" fmla="*/ 22319 h 703468"/>
                    <a:gd name="connsiteX1" fmla="*/ 33337 w 43730"/>
                    <a:gd name="connsiteY1" fmla="*/ 674781 h 703468"/>
                    <a:gd name="connsiteX2" fmla="*/ 4762 w 43730"/>
                    <a:gd name="connsiteY2" fmla="*/ 684306 h 703468"/>
                    <a:gd name="connsiteX3" fmla="*/ 0 w 43730"/>
                    <a:gd name="connsiteY3" fmla="*/ 670019 h 703468"/>
                    <a:gd name="connsiteX4" fmla="*/ 4762 w 43730"/>
                    <a:gd name="connsiteY4" fmla="*/ 631919 h 703468"/>
                    <a:gd name="connsiteX5" fmla="*/ 21431 w 43730"/>
                    <a:gd name="connsiteY5" fmla="*/ 196150 h 703468"/>
                    <a:gd name="connsiteX6" fmla="*/ 28575 w 43730"/>
                    <a:gd name="connsiteY6" fmla="*/ 22319 h 703468"/>
                    <a:gd name="connsiteX0" fmla="*/ 28575 w 40575"/>
                    <a:gd name="connsiteY0" fmla="*/ 22319 h 703809"/>
                    <a:gd name="connsiteX1" fmla="*/ 33337 w 40575"/>
                    <a:gd name="connsiteY1" fmla="*/ 674781 h 703809"/>
                    <a:gd name="connsiteX2" fmla="*/ 4762 w 40575"/>
                    <a:gd name="connsiteY2" fmla="*/ 684306 h 703809"/>
                    <a:gd name="connsiteX3" fmla="*/ 0 w 40575"/>
                    <a:gd name="connsiteY3" fmla="*/ 670019 h 703809"/>
                    <a:gd name="connsiteX4" fmla="*/ 4762 w 40575"/>
                    <a:gd name="connsiteY4" fmla="*/ 631919 h 703809"/>
                    <a:gd name="connsiteX5" fmla="*/ 21431 w 40575"/>
                    <a:gd name="connsiteY5" fmla="*/ 196150 h 703809"/>
                    <a:gd name="connsiteX6" fmla="*/ 28575 w 40575"/>
                    <a:gd name="connsiteY6" fmla="*/ 22319 h 703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5" h="703809">
                      <a:moveTo>
                        <a:pt x="28575" y="22319"/>
                      </a:moveTo>
                      <a:cubicBezTo>
                        <a:pt x="30559" y="102091"/>
                        <a:pt x="51233" y="564875"/>
                        <a:pt x="33337" y="674781"/>
                      </a:cubicBezTo>
                      <a:cubicBezTo>
                        <a:pt x="23775" y="733502"/>
                        <a:pt x="10318" y="685100"/>
                        <a:pt x="4762" y="684306"/>
                      </a:cubicBezTo>
                      <a:cubicBezTo>
                        <a:pt x="0" y="681131"/>
                        <a:pt x="0" y="675039"/>
                        <a:pt x="0" y="670019"/>
                      </a:cubicBezTo>
                      <a:cubicBezTo>
                        <a:pt x="0" y="657220"/>
                        <a:pt x="3175" y="644619"/>
                        <a:pt x="4762" y="631919"/>
                      </a:cubicBezTo>
                      <a:cubicBezTo>
                        <a:pt x="8731" y="550163"/>
                        <a:pt x="7937" y="331087"/>
                        <a:pt x="21431" y="196150"/>
                      </a:cubicBezTo>
                      <a:cubicBezTo>
                        <a:pt x="25400" y="94550"/>
                        <a:pt x="26591" y="-57453"/>
                        <a:pt x="28575" y="22319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30" name="Freeform: Shape 1029">
                  <a:extLst>
                    <a:ext uri="{FF2B5EF4-FFF2-40B4-BE49-F238E27FC236}">
                      <a16:creationId xmlns:a16="http://schemas.microsoft.com/office/drawing/2014/main" id="{65259D8E-D16F-1DA3-682B-43F05782B1EF}"/>
                    </a:ext>
                  </a:extLst>
                </p:cNvPr>
                <p:cNvSpPr/>
                <p:nvPr/>
              </p:nvSpPr>
              <p:spPr>
                <a:xfrm>
                  <a:off x="1728989" y="4633903"/>
                  <a:ext cx="54935" cy="604847"/>
                </a:xfrm>
                <a:custGeom>
                  <a:avLst/>
                  <a:gdLst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14287 w 52387"/>
                    <a:gd name="connsiteY11" fmla="*/ 202130 h 687905"/>
                    <a:gd name="connsiteX12" fmla="*/ 23812 w 52387"/>
                    <a:gd name="connsiteY12" fmla="*/ 164030 h 687905"/>
                    <a:gd name="connsiteX13" fmla="*/ 28575 w 52387"/>
                    <a:gd name="connsiteY13" fmla="*/ 6868 h 687905"/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23812 w 52387"/>
                    <a:gd name="connsiteY11" fmla="*/ 164030 h 687905"/>
                    <a:gd name="connsiteX12" fmla="*/ 28575 w 52387"/>
                    <a:gd name="connsiteY12" fmla="*/ 6868 h 687905"/>
                    <a:gd name="connsiteX0" fmla="*/ 28575 w 42862"/>
                    <a:gd name="connsiteY0" fmla="*/ 6868 h 706132"/>
                    <a:gd name="connsiteX1" fmla="*/ 33337 w 42862"/>
                    <a:gd name="connsiteY1" fmla="*/ 30680 h 706132"/>
                    <a:gd name="connsiteX2" fmla="*/ 38100 w 42862"/>
                    <a:gd name="connsiteY2" fmla="*/ 49730 h 706132"/>
                    <a:gd name="connsiteX3" fmla="*/ 42862 w 42862"/>
                    <a:gd name="connsiteY3" fmla="*/ 83068 h 706132"/>
                    <a:gd name="connsiteX4" fmla="*/ 33337 w 42862"/>
                    <a:gd name="connsiteY4" fmla="*/ 659330 h 706132"/>
                    <a:gd name="connsiteX5" fmla="*/ 28575 w 42862"/>
                    <a:gd name="connsiteY5" fmla="*/ 673618 h 706132"/>
                    <a:gd name="connsiteX6" fmla="*/ 9525 w 42862"/>
                    <a:gd name="connsiteY6" fmla="*/ 687905 h 706132"/>
                    <a:gd name="connsiteX7" fmla="*/ 4762 w 42862"/>
                    <a:gd name="connsiteY7" fmla="*/ 668855 h 706132"/>
                    <a:gd name="connsiteX8" fmla="*/ 0 w 42862"/>
                    <a:gd name="connsiteY8" fmla="*/ 654568 h 706132"/>
                    <a:gd name="connsiteX9" fmla="*/ 4762 w 42862"/>
                    <a:gd name="connsiteY9" fmla="*/ 616468 h 706132"/>
                    <a:gd name="connsiteX10" fmla="*/ 23812 w 42862"/>
                    <a:gd name="connsiteY10" fmla="*/ 164030 h 706132"/>
                    <a:gd name="connsiteX11" fmla="*/ 28575 w 42862"/>
                    <a:gd name="connsiteY11" fmla="*/ 6868 h 706132"/>
                    <a:gd name="connsiteX0" fmla="*/ 28575 w 38100"/>
                    <a:gd name="connsiteY0" fmla="*/ 7540 h 709262"/>
                    <a:gd name="connsiteX1" fmla="*/ 33337 w 38100"/>
                    <a:gd name="connsiteY1" fmla="*/ 31352 h 709262"/>
                    <a:gd name="connsiteX2" fmla="*/ 38100 w 38100"/>
                    <a:gd name="connsiteY2" fmla="*/ 50402 h 709262"/>
                    <a:gd name="connsiteX3" fmla="*/ 33337 w 38100"/>
                    <a:gd name="connsiteY3" fmla="*/ 660002 h 709262"/>
                    <a:gd name="connsiteX4" fmla="*/ 28575 w 38100"/>
                    <a:gd name="connsiteY4" fmla="*/ 674290 h 709262"/>
                    <a:gd name="connsiteX5" fmla="*/ 9525 w 38100"/>
                    <a:gd name="connsiteY5" fmla="*/ 688577 h 709262"/>
                    <a:gd name="connsiteX6" fmla="*/ 4762 w 38100"/>
                    <a:gd name="connsiteY6" fmla="*/ 669527 h 709262"/>
                    <a:gd name="connsiteX7" fmla="*/ 0 w 38100"/>
                    <a:gd name="connsiteY7" fmla="*/ 655240 h 709262"/>
                    <a:gd name="connsiteX8" fmla="*/ 4762 w 38100"/>
                    <a:gd name="connsiteY8" fmla="*/ 617140 h 709262"/>
                    <a:gd name="connsiteX9" fmla="*/ 23812 w 38100"/>
                    <a:gd name="connsiteY9" fmla="*/ 164702 h 709262"/>
                    <a:gd name="connsiteX10" fmla="*/ 28575 w 38100"/>
                    <a:gd name="connsiteY10" fmla="*/ 7540 h 709262"/>
                    <a:gd name="connsiteX0" fmla="*/ 28575 w 38100"/>
                    <a:gd name="connsiteY0" fmla="*/ 6869 h 708591"/>
                    <a:gd name="connsiteX1" fmla="*/ 33337 w 38100"/>
                    <a:gd name="connsiteY1" fmla="*/ 30681 h 708591"/>
                    <a:gd name="connsiteX2" fmla="*/ 38100 w 38100"/>
                    <a:gd name="connsiteY2" fmla="*/ 49731 h 708591"/>
                    <a:gd name="connsiteX3" fmla="*/ 33337 w 38100"/>
                    <a:gd name="connsiteY3" fmla="*/ 659331 h 708591"/>
                    <a:gd name="connsiteX4" fmla="*/ 28575 w 38100"/>
                    <a:gd name="connsiteY4" fmla="*/ 673619 h 708591"/>
                    <a:gd name="connsiteX5" fmla="*/ 9525 w 38100"/>
                    <a:gd name="connsiteY5" fmla="*/ 687906 h 708591"/>
                    <a:gd name="connsiteX6" fmla="*/ 4762 w 38100"/>
                    <a:gd name="connsiteY6" fmla="*/ 668856 h 708591"/>
                    <a:gd name="connsiteX7" fmla="*/ 0 w 38100"/>
                    <a:gd name="connsiteY7" fmla="*/ 654569 h 708591"/>
                    <a:gd name="connsiteX8" fmla="*/ 4762 w 38100"/>
                    <a:gd name="connsiteY8" fmla="*/ 616469 h 708591"/>
                    <a:gd name="connsiteX9" fmla="*/ 23812 w 38100"/>
                    <a:gd name="connsiteY9" fmla="*/ 164031 h 708591"/>
                    <a:gd name="connsiteX10" fmla="*/ 28575 w 38100"/>
                    <a:gd name="connsiteY10" fmla="*/ 6869 h 708591"/>
                    <a:gd name="connsiteX0" fmla="*/ 28575 w 33932"/>
                    <a:gd name="connsiteY0" fmla="*/ 38216 h 741342"/>
                    <a:gd name="connsiteX1" fmla="*/ 33337 w 33932"/>
                    <a:gd name="connsiteY1" fmla="*/ 62028 h 741342"/>
                    <a:gd name="connsiteX2" fmla="*/ 33337 w 33932"/>
                    <a:gd name="connsiteY2" fmla="*/ 690678 h 741342"/>
                    <a:gd name="connsiteX3" fmla="*/ 28575 w 33932"/>
                    <a:gd name="connsiteY3" fmla="*/ 704966 h 741342"/>
                    <a:gd name="connsiteX4" fmla="*/ 9525 w 33932"/>
                    <a:gd name="connsiteY4" fmla="*/ 719253 h 741342"/>
                    <a:gd name="connsiteX5" fmla="*/ 4762 w 33932"/>
                    <a:gd name="connsiteY5" fmla="*/ 700203 h 741342"/>
                    <a:gd name="connsiteX6" fmla="*/ 0 w 33932"/>
                    <a:gd name="connsiteY6" fmla="*/ 685916 h 741342"/>
                    <a:gd name="connsiteX7" fmla="*/ 4762 w 33932"/>
                    <a:gd name="connsiteY7" fmla="*/ 647816 h 741342"/>
                    <a:gd name="connsiteX8" fmla="*/ 23812 w 33932"/>
                    <a:gd name="connsiteY8" fmla="*/ 195378 h 741342"/>
                    <a:gd name="connsiteX9" fmla="*/ 28575 w 33932"/>
                    <a:gd name="connsiteY9" fmla="*/ 38216 h 741342"/>
                    <a:gd name="connsiteX0" fmla="*/ 28575 w 33337"/>
                    <a:gd name="connsiteY0" fmla="*/ 0 h 704883"/>
                    <a:gd name="connsiteX1" fmla="*/ 33337 w 33337"/>
                    <a:gd name="connsiteY1" fmla="*/ 652462 h 704883"/>
                    <a:gd name="connsiteX2" fmla="*/ 28575 w 33337"/>
                    <a:gd name="connsiteY2" fmla="*/ 666750 h 704883"/>
                    <a:gd name="connsiteX3" fmla="*/ 9525 w 33337"/>
                    <a:gd name="connsiteY3" fmla="*/ 681037 h 704883"/>
                    <a:gd name="connsiteX4" fmla="*/ 4762 w 33337"/>
                    <a:gd name="connsiteY4" fmla="*/ 661987 h 704883"/>
                    <a:gd name="connsiteX5" fmla="*/ 0 w 33337"/>
                    <a:gd name="connsiteY5" fmla="*/ 647700 h 704883"/>
                    <a:gd name="connsiteX6" fmla="*/ 4762 w 33337"/>
                    <a:gd name="connsiteY6" fmla="*/ 609600 h 704883"/>
                    <a:gd name="connsiteX7" fmla="*/ 23812 w 33337"/>
                    <a:gd name="connsiteY7" fmla="*/ 157162 h 704883"/>
                    <a:gd name="connsiteX8" fmla="*/ 28575 w 33337"/>
                    <a:gd name="connsiteY8" fmla="*/ 0 h 704883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947"/>
                    <a:gd name="connsiteY0" fmla="*/ 22319 h 726990"/>
                    <a:gd name="connsiteX1" fmla="*/ 33337 w 37947"/>
                    <a:gd name="connsiteY1" fmla="*/ 674781 h 726990"/>
                    <a:gd name="connsiteX2" fmla="*/ 28575 w 37947"/>
                    <a:gd name="connsiteY2" fmla="*/ 689069 h 726990"/>
                    <a:gd name="connsiteX3" fmla="*/ 9525 w 37947"/>
                    <a:gd name="connsiteY3" fmla="*/ 703356 h 726990"/>
                    <a:gd name="connsiteX4" fmla="*/ 4762 w 37947"/>
                    <a:gd name="connsiteY4" fmla="*/ 684306 h 726990"/>
                    <a:gd name="connsiteX5" fmla="*/ 0 w 37947"/>
                    <a:gd name="connsiteY5" fmla="*/ 670019 h 726990"/>
                    <a:gd name="connsiteX6" fmla="*/ 4762 w 37947"/>
                    <a:gd name="connsiteY6" fmla="*/ 631919 h 726990"/>
                    <a:gd name="connsiteX7" fmla="*/ 21431 w 37947"/>
                    <a:gd name="connsiteY7" fmla="*/ 196150 h 726990"/>
                    <a:gd name="connsiteX8" fmla="*/ 28575 w 37947"/>
                    <a:gd name="connsiteY8" fmla="*/ 22319 h 726990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4565"/>
                    <a:gd name="connsiteY0" fmla="*/ 22319 h 726607"/>
                    <a:gd name="connsiteX1" fmla="*/ 33337 w 34565"/>
                    <a:gd name="connsiteY1" fmla="*/ 674781 h 726607"/>
                    <a:gd name="connsiteX2" fmla="*/ 4762 w 34565"/>
                    <a:gd name="connsiteY2" fmla="*/ 684306 h 726607"/>
                    <a:gd name="connsiteX3" fmla="*/ 0 w 34565"/>
                    <a:gd name="connsiteY3" fmla="*/ 670019 h 726607"/>
                    <a:gd name="connsiteX4" fmla="*/ 4762 w 34565"/>
                    <a:gd name="connsiteY4" fmla="*/ 631919 h 726607"/>
                    <a:gd name="connsiteX5" fmla="*/ 21431 w 34565"/>
                    <a:gd name="connsiteY5" fmla="*/ 196150 h 726607"/>
                    <a:gd name="connsiteX6" fmla="*/ 28575 w 34565"/>
                    <a:gd name="connsiteY6" fmla="*/ 22319 h 726607"/>
                    <a:gd name="connsiteX0" fmla="*/ 28575 w 43730"/>
                    <a:gd name="connsiteY0" fmla="*/ 22319 h 703468"/>
                    <a:gd name="connsiteX1" fmla="*/ 33337 w 43730"/>
                    <a:gd name="connsiteY1" fmla="*/ 674781 h 703468"/>
                    <a:gd name="connsiteX2" fmla="*/ 4762 w 43730"/>
                    <a:gd name="connsiteY2" fmla="*/ 684306 h 703468"/>
                    <a:gd name="connsiteX3" fmla="*/ 0 w 43730"/>
                    <a:gd name="connsiteY3" fmla="*/ 670019 h 703468"/>
                    <a:gd name="connsiteX4" fmla="*/ 4762 w 43730"/>
                    <a:gd name="connsiteY4" fmla="*/ 631919 h 703468"/>
                    <a:gd name="connsiteX5" fmla="*/ 21431 w 43730"/>
                    <a:gd name="connsiteY5" fmla="*/ 196150 h 703468"/>
                    <a:gd name="connsiteX6" fmla="*/ 28575 w 43730"/>
                    <a:gd name="connsiteY6" fmla="*/ 22319 h 703468"/>
                    <a:gd name="connsiteX0" fmla="*/ 28575 w 40575"/>
                    <a:gd name="connsiteY0" fmla="*/ 22319 h 703809"/>
                    <a:gd name="connsiteX1" fmla="*/ 33337 w 40575"/>
                    <a:gd name="connsiteY1" fmla="*/ 674781 h 703809"/>
                    <a:gd name="connsiteX2" fmla="*/ 4762 w 40575"/>
                    <a:gd name="connsiteY2" fmla="*/ 684306 h 703809"/>
                    <a:gd name="connsiteX3" fmla="*/ 0 w 40575"/>
                    <a:gd name="connsiteY3" fmla="*/ 670019 h 703809"/>
                    <a:gd name="connsiteX4" fmla="*/ 4762 w 40575"/>
                    <a:gd name="connsiteY4" fmla="*/ 631919 h 703809"/>
                    <a:gd name="connsiteX5" fmla="*/ 21431 w 40575"/>
                    <a:gd name="connsiteY5" fmla="*/ 196150 h 703809"/>
                    <a:gd name="connsiteX6" fmla="*/ 28575 w 40575"/>
                    <a:gd name="connsiteY6" fmla="*/ 22319 h 703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5" h="703809">
                      <a:moveTo>
                        <a:pt x="28575" y="22319"/>
                      </a:moveTo>
                      <a:cubicBezTo>
                        <a:pt x="30559" y="102091"/>
                        <a:pt x="51233" y="564875"/>
                        <a:pt x="33337" y="674781"/>
                      </a:cubicBezTo>
                      <a:cubicBezTo>
                        <a:pt x="23775" y="733502"/>
                        <a:pt x="10318" y="685100"/>
                        <a:pt x="4762" y="684306"/>
                      </a:cubicBezTo>
                      <a:cubicBezTo>
                        <a:pt x="0" y="681131"/>
                        <a:pt x="0" y="675039"/>
                        <a:pt x="0" y="670019"/>
                      </a:cubicBezTo>
                      <a:cubicBezTo>
                        <a:pt x="0" y="657220"/>
                        <a:pt x="3175" y="644619"/>
                        <a:pt x="4762" y="631919"/>
                      </a:cubicBezTo>
                      <a:cubicBezTo>
                        <a:pt x="8731" y="550163"/>
                        <a:pt x="7937" y="331087"/>
                        <a:pt x="21431" y="196150"/>
                      </a:cubicBezTo>
                      <a:cubicBezTo>
                        <a:pt x="25400" y="94550"/>
                        <a:pt x="26591" y="-57453"/>
                        <a:pt x="28575" y="22319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031" name="Freeform: Shape 1030">
                  <a:extLst>
                    <a:ext uri="{FF2B5EF4-FFF2-40B4-BE49-F238E27FC236}">
                      <a16:creationId xmlns:a16="http://schemas.microsoft.com/office/drawing/2014/main" id="{15B39DBB-8CA7-FF7C-6BF3-908AE6DCA006}"/>
                    </a:ext>
                  </a:extLst>
                </p:cNvPr>
                <p:cNvSpPr/>
                <p:nvPr/>
              </p:nvSpPr>
              <p:spPr>
                <a:xfrm>
                  <a:off x="1669170" y="4966893"/>
                  <a:ext cx="188206" cy="186876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2" name="Group 1041">
                <a:extLst>
                  <a:ext uri="{FF2B5EF4-FFF2-40B4-BE49-F238E27FC236}">
                    <a16:creationId xmlns:a16="http://schemas.microsoft.com/office/drawing/2014/main" id="{31EDCF0F-F261-CA18-A74B-32BA29AC8DB0}"/>
                  </a:ext>
                </a:extLst>
              </p:cNvPr>
              <p:cNvGrpSpPr/>
              <p:nvPr/>
            </p:nvGrpSpPr>
            <p:grpSpPr>
              <a:xfrm>
                <a:off x="9198843" y="4734307"/>
                <a:ext cx="656205" cy="1398541"/>
                <a:chOff x="9454341" y="4734307"/>
                <a:chExt cx="656205" cy="1398541"/>
              </a:xfrm>
            </p:grpSpPr>
            <p:sp>
              <p:nvSpPr>
                <p:cNvPr id="83" name="Freeform 100">
                  <a:extLst>
                    <a:ext uri="{FF2B5EF4-FFF2-40B4-BE49-F238E27FC236}">
                      <a16:creationId xmlns:a16="http://schemas.microsoft.com/office/drawing/2014/main" id="{C9878B5C-26EB-CFF5-0FCB-7626622966D9}"/>
                    </a:ext>
                  </a:extLst>
                </p:cNvPr>
                <p:cNvSpPr/>
                <p:nvPr/>
              </p:nvSpPr>
              <p:spPr bwMode="auto">
                <a:xfrm>
                  <a:off x="9460606" y="4739005"/>
                  <a:ext cx="415020" cy="425984"/>
                </a:xfrm>
                <a:custGeom>
                  <a:avLst/>
                  <a:gdLst>
                    <a:gd name="T0" fmla="*/ 9 w 162"/>
                    <a:gd name="T1" fmla="*/ 5 h 166"/>
                    <a:gd name="T2" fmla="*/ 15 w 162"/>
                    <a:gd name="T3" fmla="*/ 17 h 166"/>
                    <a:gd name="T4" fmla="*/ 5 w 162"/>
                    <a:gd name="T5" fmla="*/ 11 h 166"/>
                    <a:gd name="T6" fmla="*/ 2 w 162"/>
                    <a:gd name="T7" fmla="*/ 16 h 166"/>
                    <a:gd name="T8" fmla="*/ 6 w 162"/>
                    <a:gd name="T9" fmla="*/ 22 h 166"/>
                    <a:gd name="T10" fmla="*/ 11 w 162"/>
                    <a:gd name="T11" fmla="*/ 36 h 166"/>
                    <a:gd name="T12" fmla="*/ 11 w 162"/>
                    <a:gd name="T13" fmla="*/ 36 h 166"/>
                    <a:gd name="T14" fmla="*/ 144 w 162"/>
                    <a:gd name="T15" fmla="*/ 165 h 166"/>
                    <a:gd name="T16" fmla="*/ 161 w 162"/>
                    <a:gd name="T17" fmla="*/ 146 h 166"/>
                    <a:gd name="T18" fmla="*/ 149 w 162"/>
                    <a:gd name="T19" fmla="*/ 132 h 166"/>
                    <a:gd name="T20" fmla="*/ 113 w 162"/>
                    <a:gd name="T21" fmla="*/ 119 h 166"/>
                    <a:gd name="T22" fmla="*/ 42 w 162"/>
                    <a:gd name="T23" fmla="*/ 40 h 166"/>
                    <a:gd name="T24" fmla="*/ 41 w 162"/>
                    <a:gd name="T25" fmla="*/ 35 h 166"/>
                    <a:gd name="T26" fmla="*/ 48 w 162"/>
                    <a:gd name="T27" fmla="*/ 27 h 166"/>
                    <a:gd name="T28" fmla="*/ 50 w 162"/>
                    <a:gd name="T29" fmla="*/ 23 h 166"/>
                    <a:gd name="T30" fmla="*/ 47 w 162"/>
                    <a:gd name="T31" fmla="*/ 19 h 166"/>
                    <a:gd name="T32" fmla="*/ 45 w 162"/>
                    <a:gd name="T33" fmla="*/ 19 h 166"/>
                    <a:gd name="T34" fmla="*/ 40 w 162"/>
                    <a:gd name="T35" fmla="*/ 20 h 166"/>
                    <a:gd name="T36" fmla="*/ 36 w 162"/>
                    <a:gd name="T37" fmla="*/ 19 h 166"/>
                    <a:gd name="T38" fmla="*/ 34 w 162"/>
                    <a:gd name="T39" fmla="*/ 17 h 166"/>
                    <a:gd name="T40" fmla="*/ 29 w 162"/>
                    <a:gd name="T41" fmla="*/ 4 h 166"/>
                    <a:gd name="T42" fmla="*/ 25 w 162"/>
                    <a:gd name="T43" fmla="*/ 0 h 166"/>
                    <a:gd name="T44" fmla="*/ 24 w 162"/>
                    <a:gd name="T45" fmla="*/ 6 h 166"/>
                    <a:gd name="T46" fmla="*/ 26 w 162"/>
                    <a:gd name="T47" fmla="*/ 13 h 166"/>
                    <a:gd name="T48" fmla="*/ 16 w 162"/>
                    <a:gd name="T49" fmla="*/ 4 h 166"/>
                    <a:gd name="T50" fmla="*/ 13 w 162"/>
                    <a:gd name="T51" fmla="*/ 2 h 166"/>
                    <a:gd name="T52" fmla="*/ 9 w 162"/>
                    <a:gd name="T53" fmla="*/ 5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62" h="166">
                      <a:moveTo>
                        <a:pt x="9" y="5"/>
                      </a:moveTo>
                      <a:cubicBezTo>
                        <a:pt x="10" y="9"/>
                        <a:pt x="14" y="13"/>
                        <a:pt x="15" y="17"/>
                      </a:cubicBezTo>
                      <a:cubicBezTo>
                        <a:pt x="12" y="15"/>
                        <a:pt x="9" y="12"/>
                        <a:pt x="5" y="11"/>
                      </a:cubicBezTo>
                      <a:cubicBezTo>
                        <a:pt x="2" y="11"/>
                        <a:pt x="0" y="14"/>
                        <a:pt x="2" y="16"/>
                      </a:cubicBezTo>
                      <a:cubicBezTo>
                        <a:pt x="3" y="18"/>
                        <a:pt x="5" y="20"/>
                        <a:pt x="6" y="22"/>
                      </a:cubicBezTo>
                      <a:cubicBezTo>
                        <a:pt x="9" y="26"/>
                        <a:pt x="9" y="32"/>
                        <a:pt x="11" y="36"/>
                      </a:cubicBez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0" y="58"/>
                        <a:pt x="54" y="159"/>
                        <a:pt x="144" y="165"/>
                      </a:cubicBezTo>
                      <a:cubicBezTo>
                        <a:pt x="154" y="166"/>
                        <a:pt x="162" y="156"/>
                        <a:pt x="161" y="146"/>
                      </a:cubicBezTo>
                      <a:cubicBezTo>
                        <a:pt x="160" y="139"/>
                        <a:pt x="155" y="134"/>
                        <a:pt x="149" y="132"/>
                      </a:cubicBezTo>
                      <a:cubicBezTo>
                        <a:pt x="140" y="130"/>
                        <a:pt x="127" y="126"/>
                        <a:pt x="113" y="119"/>
                      </a:cubicBezTo>
                      <a:cubicBezTo>
                        <a:pt x="88" y="106"/>
                        <a:pt x="59" y="83"/>
                        <a:pt x="42" y="40"/>
                      </a:cubicBezTo>
                      <a:cubicBezTo>
                        <a:pt x="42" y="39"/>
                        <a:pt x="41" y="37"/>
                        <a:pt x="41" y="35"/>
                      </a:cubicBezTo>
                      <a:cubicBezTo>
                        <a:pt x="44" y="33"/>
                        <a:pt x="46" y="30"/>
                        <a:pt x="48" y="27"/>
                      </a:cubicBezTo>
                      <a:cubicBezTo>
                        <a:pt x="49" y="26"/>
                        <a:pt x="49" y="25"/>
                        <a:pt x="50" y="23"/>
                      </a:cubicBezTo>
                      <a:cubicBezTo>
                        <a:pt x="50" y="21"/>
                        <a:pt x="49" y="20"/>
                        <a:pt x="47" y="19"/>
                      </a:cubicBezTo>
                      <a:cubicBezTo>
                        <a:pt x="47" y="19"/>
                        <a:pt x="46" y="19"/>
                        <a:pt x="45" y="19"/>
                      </a:cubicBezTo>
                      <a:cubicBezTo>
                        <a:pt x="43" y="19"/>
                        <a:pt x="42" y="20"/>
                        <a:pt x="40" y="20"/>
                      </a:cubicBezTo>
                      <a:cubicBezTo>
                        <a:pt x="39" y="20"/>
                        <a:pt x="37" y="20"/>
                        <a:pt x="36" y="19"/>
                      </a:cubicBezTo>
                      <a:cubicBezTo>
                        <a:pt x="35" y="18"/>
                        <a:pt x="35" y="17"/>
                        <a:pt x="34" y="17"/>
                      </a:cubicBezTo>
                      <a:cubicBezTo>
                        <a:pt x="33" y="12"/>
                        <a:pt x="31" y="8"/>
                        <a:pt x="29" y="4"/>
                      </a:cubicBezTo>
                      <a:cubicBezTo>
                        <a:pt x="28" y="2"/>
                        <a:pt x="27" y="0"/>
                        <a:pt x="25" y="0"/>
                      </a:cubicBezTo>
                      <a:cubicBezTo>
                        <a:pt x="23" y="1"/>
                        <a:pt x="23" y="4"/>
                        <a:pt x="24" y="6"/>
                      </a:cubicBezTo>
                      <a:cubicBezTo>
                        <a:pt x="25" y="8"/>
                        <a:pt x="25" y="11"/>
                        <a:pt x="26" y="13"/>
                      </a:cubicBezTo>
                      <a:cubicBezTo>
                        <a:pt x="23" y="10"/>
                        <a:pt x="20" y="7"/>
                        <a:pt x="16" y="4"/>
                      </a:cubicBezTo>
                      <a:cubicBezTo>
                        <a:pt x="15" y="3"/>
                        <a:pt x="14" y="2"/>
                        <a:pt x="13" y="2"/>
                      </a:cubicBezTo>
                      <a:cubicBezTo>
                        <a:pt x="11" y="1"/>
                        <a:pt x="9" y="3"/>
                        <a:pt x="9" y="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101">
                  <a:extLst>
                    <a:ext uri="{FF2B5EF4-FFF2-40B4-BE49-F238E27FC236}">
                      <a16:creationId xmlns:a16="http://schemas.microsoft.com/office/drawing/2014/main" id="{12F9E45B-B9AC-DFFF-AFD2-A1A7B80B0C74}"/>
                    </a:ext>
                  </a:extLst>
                </p:cNvPr>
                <p:cNvSpPr/>
                <p:nvPr/>
              </p:nvSpPr>
              <p:spPr bwMode="auto">
                <a:xfrm>
                  <a:off x="9534213" y="4840804"/>
                  <a:ext cx="214558" cy="233352"/>
                </a:xfrm>
                <a:custGeom>
                  <a:avLst/>
                  <a:gdLst>
                    <a:gd name="T0" fmla="*/ 6 w 84"/>
                    <a:gd name="T1" fmla="*/ 4 h 91"/>
                    <a:gd name="T2" fmla="*/ 55 w 84"/>
                    <a:gd name="T3" fmla="*/ 83 h 91"/>
                    <a:gd name="T4" fmla="*/ 84 w 84"/>
                    <a:gd name="T5" fmla="*/ 79 h 91"/>
                    <a:gd name="T6" fmla="*/ 13 w 84"/>
                    <a:gd name="T7" fmla="*/ 0 h 91"/>
                    <a:gd name="T8" fmla="*/ 6 w 84"/>
                    <a:gd name="T9" fmla="*/ 4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4" h="91">
                      <a:moveTo>
                        <a:pt x="6" y="4"/>
                      </a:moveTo>
                      <a:cubicBezTo>
                        <a:pt x="0" y="20"/>
                        <a:pt x="36" y="72"/>
                        <a:pt x="55" y="83"/>
                      </a:cubicBezTo>
                      <a:cubicBezTo>
                        <a:pt x="67" y="91"/>
                        <a:pt x="78" y="84"/>
                        <a:pt x="84" y="79"/>
                      </a:cubicBezTo>
                      <a:cubicBezTo>
                        <a:pt x="59" y="66"/>
                        <a:pt x="30" y="43"/>
                        <a:pt x="13" y="0"/>
                      </a:cubicBezTo>
                      <a:cubicBezTo>
                        <a:pt x="10" y="0"/>
                        <a:pt x="7" y="1"/>
                        <a:pt x="6" y="4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103">
                  <a:extLst>
                    <a:ext uri="{FF2B5EF4-FFF2-40B4-BE49-F238E27FC236}">
                      <a16:creationId xmlns:a16="http://schemas.microsoft.com/office/drawing/2014/main" id="{CB5BA84C-175E-2B34-8896-F615C9432607}"/>
                    </a:ext>
                  </a:extLst>
                </p:cNvPr>
                <p:cNvSpPr/>
                <p:nvPr/>
              </p:nvSpPr>
              <p:spPr bwMode="auto">
                <a:xfrm>
                  <a:off x="9639143" y="5448458"/>
                  <a:ext cx="236484" cy="635843"/>
                </a:xfrm>
                <a:custGeom>
                  <a:avLst/>
                  <a:gdLst>
                    <a:gd name="T0" fmla="*/ 35 w 92"/>
                    <a:gd name="T1" fmla="*/ 4 h 248"/>
                    <a:gd name="T2" fmla="*/ 19 w 92"/>
                    <a:gd name="T3" fmla="*/ 161 h 248"/>
                    <a:gd name="T4" fmla="*/ 33 w 92"/>
                    <a:gd name="T5" fmla="*/ 248 h 248"/>
                    <a:gd name="T6" fmla="*/ 61 w 92"/>
                    <a:gd name="T7" fmla="*/ 248 h 248"/>
                    <a:gd name="T8" fmla="*/ 92 w 92"/>
                    <a:gd name="T9" fmla="*/ 21 h 248"/>
                    <a:gd name="T10" fmla="*/ 35 w 92"/>
                    <a:gd name="T11" fmla="*/ 4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2" h="248">
                      <a:moveTo>
                        <a:pt x="35" y="4"/>
                      </a:moveTo>
                      <a:cubicBezTo>
                        <a:pt x="35" y="4"/>
                        <a:pt x="0" y="72"/>
                        <a:pt x="19" y="161"/>
                      </a:cubicBezTo>
                      <a:cubicBezTo>
                        <a:pt x="33" y="248"/>
                        <a:pt x="33" y="248"/>
                        <a:pt x="33" y="248"/>
                      </a:cubicBezTo>
                      <a:cubicBezTo>
                        <a:pt x="61" y="248"/>
                        <a:pt x="61" y="248"/>
                        <a:pt x="61" y="248"/>
                      </a:cubicBezTo>
                      <a:cubicBezTo>
                        <a:pt x="61" y="248"/>
                        <a:pt x="62" y="95"/>
                        <a:pt x="92" y="21"/>
                      </a:cubicBezTo>
                      <a:cubicBezTo>
                        <a:pt x="92" y="21"/>
                        <a:pt x="85" y="0"/>
                        <a:pt x="35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105">
                  <a:extLst>
                    <a:ext uri="{FF2B5EF4-FFF2-40B4-BE49-F238E27FC236}">
                      <a16:creationId xmlns:a16="http://schemas.microsoft.com/office/drawing/2014/main" id="{C6410AF7-275D-D03E-5780-113213DF6086}"/>
                    </a:ext>
                  </a:extLst>
                </p:cNvPr>
                <p:cNvSpPr/>
                <p:nvPr/>
              </p:nvSpPr>
              <p:spPr bwMode="auto">
                <a:xfrm>
                  <a:off x="9672033" y="6084299"/>
                  <a:ext cx="133119" cy="48549"/>
                </a:xfrm>
                <a:custGeom>
                  <a:avLst/>
                  <a:gdLst>
                    <a:gd name="T0" fmla="*/ 48 w 52"/>
                    <a:gd name="T1" fmla="*/ 0 h 19"/>
                    <a:gd name="T2" fmla="*/ 50 w 52"/>
                    <a:gd name="T3" fmla="*/ 18 h 19"/>
                    <a:gd name="T4" fmla="*/ 48 w 52"/>
                    <a:gd name="T5" fmla="*/ 19 h 19"/>
                    <a:gd name="T6" fmla="*/ 2 w 52"/>
                    <a:gd name="T7" fmla="*/ 19 h 19"/>
                    <a:gd name="T8" fmla="*/ 1 w 52"/>
                    <a:gd name="T9" fmla="*/ 17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0" y="18"/>
                      </a:cubicBezTo>
                      <a:cubicBezTo>
                        <a:pt x="50" y="19"/>
                        <a:pt x="49" y="19"/>
                        <a:pt x="48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0" y="19"/>
                        <a:pt x="0" y="18"/>
                        <a:pt x="1" y="17"/>
                      </a:cubicBezTo>
                      <a:cubicBezTo>
                        <a:pt x="5" y="12"/>
                        <a:pt x="15" y="4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106">
                  <a:extLst>
                    <a:ext uri="{FF2B5EF4-FFF2-40B4-BE49-F238E27FC236}">
                      <a16:creationId xmlns:a16="http://schemas.microsoft.com/office/drawing/2014/main" id="{266A0F2C-6B58-74D3-B976-A2DDAAF64FEE}"/>
                    </a:ext>
                  </a:extLst>
                </p:cNvPr>
                <p:cNvSpPr/>
                <p:nvPr/>
              </p:nvSpPr>
              <p:spPr bwMode="auto">
                <a:xfrm>
                  <a:off x="9747205" y="5371718"/>
                  <a:ext cx="274071" cy="712583"/>
                </a:xfrm>
                <a:custGeom>
                  <a:avLst/>
                  <a:gdLst>
                    <a:gd name="T0" fmla="*/ 25 w 107"/>
                    <a:gd name="T1" fmla="*/ 31 h 278"/>
                    <a:gd name="T2" fmla="*/ 3 w 107"/>
                    <a:gd name="T3" fmla="*/ 165 h 278"/>
                    <a:gd name="T4" fmla="*/ 78 w 107"/>
                    <a:gd name="T5" fmla="*/ 278 h 278"/>
                    <a:gd name="T6" fmla="*/ 107 w 107"/>
                    <a:gd name="T7" fmla="*/ 278 h 278"/>
                    <a:gd name="T8" fmla="*/ 58 w 107"/>
                    <a:gd name="T9" fmla="*/ 155 h 278"/>
                    <a:gd name="T10" fmla="*/ 83 w 107"/>
                    <a:gd name="T11" fmla="*/ 46 h 278"/>
                    <a:gd name="T12" fmla="*/ 25 w 107"/>
                    <a:gd name="T13" fmla="*/ 31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7" h="278">
                      <a:moveTo>
                        <a:pt x="25" y="31"/>
                      </a:moveTo>
                      <a:cubicBezTo>
                        <a:pt x="25" y="31"/>
                        <a:pt x="0" y="151"/>
                        <a:pt x="3" y="165"/>
                      </a:cubicBezTo>
                      <a:cubicBezTo>
                        <a:pt x="6" y="179"/>
                        <a:pt x="78" y="278"/>
                        <a:pt x="78" y="278"/>
                      </a:cubicBezTo>
                      <a:cubicBezTo>
                        <a:pt x="107" y="278"/>
                        <a:pt x="107" y="278"/>
                        <a:pt x="107" y="278"/>
                      </a:cubicBezTo>
                      <a:cubicBezTo>
                        <a:pt x="107" y="278"/>
                        <a:pt x="76" y="177"/>
                        <a:pt x="58" y="155"/>
                      </a:cubicBezTo>
                      <a:cubicBezTo>
                        <a:pt x="58" y="155"/>
                        <a:pt x="93" y="92"/>
                        <a:pt x="83" y="46"/>
                      </a:cubicBezTo>
                      <a:cubicBezTo>
                        <a:pt x="72" y="0"/>
                        <a:pt x="25" y="31"/>
                        <a:pt x="25" y="31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107">
                  <a:extLst>
                    <a:ext uri="{FF2B5EF4-FFF2-40B4-BE49-F238E27FC236}">
                      <a16:creationId xmlns:a16="http://schemas.microsoft.com/office/drawing/2014/main" id="{DF8E548C-CBBD-C915-ACFB-A31A81F173A7}"/>
                    </a:ext>
                  </a:extLst>
                </p:cNvPr>
                <p:cNvSpPr/>
                <p:nvPr/>
              </p:nvSpPr>
              <p:spPr bwMode="auto">
                <a:xfrm>
                  <a:off x="9895988" y="6084299"/>
                  <a:ext cx="133119" cy="48549"/>
                </a:xfrm>
                <a:custGeom>
                  <a:avLst/>
                  <a:gdLst>
                    <a:gd name="T0" fmla="*/ 49 w 52"/>
                    <a:gd name="T1" fmla="*/ 0 h 19"/>
                    <a:gd name="T2" fmla="*/ 51 w 52"/>
                    <a:gd name="T3" fmla="*/ 18 h 19"/>
                    <a:gd name="T4" fmla="*/ 49 w 52"/>
                    <a:gd name="T5" fmla="*/ 19 h 19"/>
                    <a:gd name="T6" fmla="*/ 2 w 52"/>
                    <a:gd name="T7" fmla="*/ 19 h 19"/>
                    <a:gd name="T8" fmla="*/ 1 w 52"/>
                    <a:gd name="T9" fmla="*/ 17 h 19"/>
                    <a:gd name="T10" fmla="*/ 20 w 52"/>
                    <a:gd name="T11" fmla="*/ 0 h 19"/>
                    <a:gd name="T12" fmla="*/ 49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9" y="0"/>
                      </a:moveTo>
                      <a:cubicBezTo>
                        <a:pt x="49" y="0"/>
                        <a:pt x="52" y="7"/>
                        <a:pt x="51" y="18"/>
                      </a:cubicBezTo>
                      <a:cubicBezTo>
                        <a:pt x="51" y="19"/>
                        <a:pt x="50" y="19"/>
                        <a:pt x="49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1" y="19"/>
                        <a:pt x="0" y="18"/>
                        <a:pt x="1" y="17"/>
                      </a:cubicBezTo>
                      <a:cubicBezTo>
                        <a:pt x="6" y="12"/>
                        <a:pt x="16" y="4"/>
                        <a:pt x="20" y="0"/>
                      </a:cubicBez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108">
                  <a:extLst>
                    <a:ext uri="{FF2B5EF4-FFF2-40B4-BE49-F238E27FC236}">
                      <a16:creationId xmlns:a16="http://schemas.microsoft.com/office/drawing/2014/main" id="{61C48059-070A-4495-EFDE-15F887114E65}"/>
                    </a:ext>
                  </a:extLst>
                </p:cNvPr>
                <p:cNvSpPr/>
                <p:nvPr/>
              </p:nvSpPr>
              <p:spPr bwMode="auto">
                <a:xfrm>
                  <a:off x="9770697" y="4739006"/>
                  <a:ext cx="306959" cy="379000"/>
                </a:xfrm>
                <a:custGeom>
                  <a:avLst/>
                  <a:gdLst>
                    <a:gd name="T0" fmla="*/ 118 w 120"/>
                    <a:gd name="T1" fmla="*/ 86 h 148"/>
                    <a:gd name="T2" fmla="*/ 105 w 120"/>
                    <a:gd name="T3" fmla="*/ 78 h 148"/>
                    <a:gd name="T4" fmla="*/ 85 w 120"/>
                    <a:gd name="T5" fmla="*/ 14 h 148"/>
                    <a:gd name="T6" fmla="*/ 15 w 120"/>
                    <a:gd name="T7" fmla="*/ 36 h 148"/>
                    <a:gd name="T8" fmla="*/ 26 w 120"/>
                    <a:gd name="T9" fmla="*/ 107 h 148"/>
                    <a:gd name="T10" fmla="*/ 44 w 120"/>
                    <a:gd name="T11" fmla="*/ 113 h 148"/>
                    <a:gd name="T12" fmla="*/ 42 w 120"/>
                    <a:gd name="T13" fmla="*/ 146 h 148"/>
                    <a:gd name="T14" fmla="*/ 74 w 120"/>
                    <a:gd name="T15" fmla="*/ 148 h 148"/>
                    <a:gd name="T16" fmla="*/ 76 w 120"/>
                    <a:gd name="T17" fmla="*/ 108 h 148"/>
                    <a:gd name="T18" fmla="*/ 87 w 120"/>
                    <a:gd name="T19" fmla="*/ 102 h 148"/>
                    <a:gd name="T20" fmla="*/ 118 w 120"/>
                    <a:gd name="T21" fmla="*/ 8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8">
                      <a:moveTo>
                        <a:pt x="118" y="86"/>
                      </a:moveTo>
                      <a:cubicBezTo>
                        <a:pt x="117" y="79"/>
                        <a:pt x="110" y="78"/>
                        <a:pt x="105" y="78"/>
                      </a:cubicBezTo>
                      <a:cubicBezTo>
                        <a:pt x="115" y="54"/>
                        <a:pt x="107" y="27"/>
                        <a:pt x="85" y="14"/>
                      </a:cubicBezTo>
                      <a:cubicBezTo>
                        <a:pt x="62" y="0"/>
                        <a:pt x="30" y="10"/>
                        <a:pt x="15" y="36"/>
                      </a:cubicBezTo>
                      <a:cubicBezTo>
                        <a:pt x="0" y="62"/>
                        <a:pt x="3" y="93"/>
                        <a:pt x="26" y="107"/>
                      </a:cubicBezTo>
                      <a:cubicBezTo>
                        <a:pt x="32" y="110"/>
                        <a:pt x="38" y="112"/>
                        <a:pt x="44" y="113"/>
                      </a:cubicBezTo>
                      <a:cubicBezTo>
                        <a:pt x="42" y="146"/>
                        <a:pt x="42" y="146"/>
                        <a:pt x="42" y="146"/>
                      </a:cubicBezTo>
                      <a:cubicBezTo>
                        <a:pt x="74" y="148"/>
                        <a:pt x="74" y="148"/>
                        <a:pt x="74" y="148"/>
                      </a:cubicBezTo>
                      <a:cubicBezTo>
                        <a:pt x="76" y="108"/>
                        <a:pt x="76" y="108"/>
                        <a:pt x="76" y="108"/>
                      </a:cubicBezTo>
                      <a:cubicBezTo>
                        <a:pt x="80" y="106"/>
                        <a:pt x="84" y="104"/>
                        <a:pt x="87" y="102"/>
                      </a:cubicBezTo>
                      <a:cubicBezTo>
                        <a:pt x="100" y="106"/>
                        <a:pt x="120" y="98"/>
                        <a:pt x="118" y="8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 109">
                  <a:extLst>
                    <a:ext uri="{FF2B5EF4-FFF2-40B4-BE49-F238E27FC236}">
                      <a16:creationId xmlns:a16="http://schemas.microsoft.com/office/drawing/2014/main" id="{DF80EC17-7053-9230-3877-7B1BDD1B60F6}"/>
                    </a:ext>
                  </a:extLst>
                </p:cNvPr>
                <p:cNvSpPr/>
                <p:nvPr/>
              </p:nvSpPr>
              <p:spPr bwMode="auto">
                <a:xfrm>
                  <a:off x="10010312" y="4953565"/>
                  <a:ext cx="43851" cy="34454"/>
                </a:xfrm>
                <a:custGeom>
                  <a:avLst/>
                  <a:gdLst>
                    <a:gd name="T0" fmla="*/ 17 w 17"/>
                    <a:gd name="T1" fmla="*/ 0 h 13"/>
                    <a:gd name="T2" fmla="*/ 8 w 17"/>
                    <a:gd name="T3" fmla="*/ 13 h 13"/>
                    <a:gd name="T4" fmla="*/ 5 w 17"/>
                    <a:gd name="T5" fmla="*/ 11 h 13"/>
                    <a:gd name="T6" fmla="*/ 6 w 17"/>
                    <a:gd name="T7" fmla="*/ 9 h 13"/>
                    <a:gd name="T8" fmla="*/ 6 w 17"/>
                    <a:gd name="T9" fmla="*/ 9 h 13"/>
                    <a:gd name="T10" fmla="*/ 8 w 17"/>
                    <a:gd name="T11" fmla="*/ 7 h 13"/>
                    <a:gd name="T12" fmla="*/ 7 w 17"/>
                    <a:gd name="T13" fmla="*/ 5 h 13"/>
                    <a:gd name="T14" fmla="*/ 4 w 17"/>
                    <a:gd name="T15" fmla="*/ 4 h 13"/>
                    <a:gd name="T16" fmla="*/ 0 w 17"/>
                    <a:gd name="T17" fmla="*/ 4 h 13"/>
                    <a:gd name="T18" fmla="*/ 4 w 17"/>
                    <a:gd name="T19" fmla="*/ 2 h 13"/>
                    <a:gd name="T20" fmla="*/ 9 w 17"/>
                    <a:gd name="T21" fmla="*/ 2 h 13"/>
                    <a:gd name="T22" fmla="*/ 11 w 17"/>
                    <a:gd name="T23" fmla="*/ 7 h 13"/>
                    <a:gd name="T24" fmla="*/ 8 w 17"/>
                    <a:gd name="T25" fmla="*/ 12 h 13"/>
                    <a:gd name="T26" fmla="*/ 7 w 17"/>
                    <a:gd name="T27" fmla="*/ 9 h 13"/>
                    <a:gd name="T28" fmla="*/ 17 w 17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3">
                      <a:moveTo>
                        <a:pt x="17" y="0"/>
                      </a:moveTo>
                      <a:cubicBezTo>
                        <a:pt x="17" y="6"/>
                        <a:pt x="13" y="11"/>
                        <a:pt x="8" y="13"/>
                      </a:cubicBezTo>
                      <a:cubicBezTo>
                        <a:pt x="7" y="13"/>
                        <a:pt x="6" y="12"/>
                        <a:pt x="5" y="11"/>
                      </a:cubicBezTo>
                      <a:cubicBezTo>
                        <a:pt x="5" y="11"/>
                        <a:pt x="5" y="10"/>
                        <a:pt x="6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7" y="8"/>
                        <a:pt x="8" y="8"/>
                        <a:pt x="8" y="7"/>
                      </a:cubicBezTo>
                      <a:cubicBezTo>
                        <a:pt x="8" y="6"/>
                        <a:pt x="8" y="5"/>
                        <a:pt x="7" y="5"/>
                      </a:cubicBezTo>
                      <a:cubicBezTo>
                        <a:pt x="7" y="4"/>
                        <a:pt x="5" y="4"/>
                        <a:pt x="4" y="4"/>
                      </a:cubicBezTo>
                      <a:cubicBezTo>
                        <a:pt x="3" y="4"/>
                        <a:pt x="1" y="4"/>
                        <a:pt x="0" y="4"/>
                      </a:cubicBezTo>
                      <a:cubicBezTo>
                        <a:pt x="1" y="3"/>
                        <a:pt x="2" y="2"/>
                        <a:pt x="4" y="2"/>
                      </a:cubicBezTo>
                      <a:cubicBezTo>
                        <a:pt x="5" y="1"/>
                        <a:pt x="7" y="1"/>
                        <a:pt x="9" y="2"/>
                      </a:cubicBezTo>
                      <a:cubicBezTo>
                        <a:pt x="11" y="3"/>
                        <a:pt x="12" y="5"/>
                        <a:pt x="11" y="7"/>
                      </a:cubicBezTo>
                      <a:cubicBezTo>
                        <a:pt x="11" y="10"/>
                        <a:pt x="10" y="11"/>
                        <a:pt x="8" y="12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11" y="8"/>
                        <a:pt x="14" y="5"/>
                        <a:pt x="17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110">
                  <a:extLst>
                    <a:ext uri="{FF2B5EF4-FFF2-40B4-BE49-F238E27FC236}">
                      <a16:creationId xmlns:a16="http://schemas.microsoft.com/office/drawing/2014/main" id="{67443F68-7D93-2DB8-8F4A-92B84713ACA8}"/>
                    </a:ext>
                  </a:extLst>
                </p:cNvPr>
                <p:cNvSpPr/>
                <p:nvPr/>
              </p:nvSpPr>
              <p:spPr bwMode="auto">
                <a:xfrm>
                  <a:off x="9881892" y="5016209"/>
                  <a:ext cx="62645" cy="40719"/>
                </a:xfrm>
                <a:custGeom>
                  <a:avLst/>
                  <a:gdLst>
                    <a:gd name="T0" fmla="*/ 0 w 24"/>
                    <a:gd name="T1" fmla="*/ 5 h 16"/>
                    <a:gd name="T2" fmla="*/ 24 w 24"/>
                    <a:gd name="T3" fmla="*/ 0 h 16"/>
                    <a:gd name="T4" fmla="*/ 0 w 24"/>
                    <a:gd name="T5" fmla="*/ 15 h 16"/>
                    <a:gd name="T6" fmla="*/ 0 w 24"/>
                    <a:gd name="T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16">
                      <a:moveTo>
                        <a:pt x="0" y="5"/>
                      </a:moveTo>
                      <a:cubicBezTo>
                        <a:pt x="0" y="5"/>
                        <a:pt x="17" y="4"/>
                        <a:pt x="24" y="0"/>
                      </a:cubicBezTo>
                      <a:cubicBezTo>
                        <a:pt x="24" y="0"/>
                        <a:pt x="17" y="16"/>
                        <a:pt x="0" y="15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111">
                  <a:extLst>
                    <a:ext uri="{FF2B5EF4-FFF2-40B4-BE49-F238E27FC236}">
                      <a16:creationId xmlns:a16="http://schemas.microsoft.com/office/drawing/2014/main" id="{22FDF3D6-58E2-E30C-A6C2-0F6E31618599}"/>
                    </a:ext>
                  </a:extLst>
                </p:cNvPr>
                <p:cNvSpPr/>
                <p:nvPr/>
              </p:nvSpPr>
              <p:spPr bwMode="auto">
                <a:xfrm>
                  <a:off x="9767566" y="4734307"/>
                  <a:ext cx="342980" cy="491761"/>
                </a:xfrm>
                <a:custGeom>
                  <a:avLst/>
                  <a:gdLst>
                    <a:gd name="T0" fmla="*/ 133 w 134"/>
                    <a:gd name="T1" fmla="*/ 84 h 192"/>
                    <a:gd name="T2" fmla="*/ 106 w 134"/>
                    <a:gd name="T3" fmla="*/ 156 h 192"/>
                    <a:gd name="T4" fmla="*/ 85 w 134"/>
                    <a:gd name="T5" fmla="*/ 192 h 192"/>
                    <a:gd name="T6" fmla="*/ 90 w 134"/>
                    <a:gd name="T7" fmla="*/ 172 h 192"/>
                    <a:gd name="T8" fmla="*/ 80 w 134"/>
                    <a:gd name="T9" fmla="*/ 144 h 192"/>
                    <a:gd name="T10" fmla="*/ 62 w 134"/>
                    <a:gd name="T11" fmla="*/ 136 h 192"/>
                    <a:gd name="T12" fmla="*/ 88 w 134"/>
                    <a:gd name="T13" fmla="*/ 104 h 192"/>
                    <a:gd name="T14" fmla="*/ 119 w 134"/>
                    <a:gd name="T15" fmla="*/ 92 h 192"/>
                    <a:gd name="T16" fmla="*/ 106 w 134"/>
                    <a:gd name="T17" fmla="*/ 80 h 192"/>
                    <a:gd name="T18" fmla="*/ 89 w 134"/>
                    <a:gd name="T19" fmla="*/ 77 h 192"/>
                    <a:gd name="T20" fmla="*/ 75 w 134"/>
                    <a:gd name="T21" fmla="*/ 42 h 192"/>
                    <a:gd name="T22" fmla="*/ 76 w 134"/>
                    <a:gd name="T23" fmla="*/ 34 h 192"/>
                    <a:gd name="T24" fmla="*/ 40 w 134"/>
                    <a:gd name="T25" fmla="*/ 20 h 192"/>
                    <a:gd name="T26" fmla="*/ 40 w 134"/>
                    <a:gd name="T27" fmla="*/ 20 h 192"/>
                    <a:gd name="T28" fmla="*/ 38 w 134"/>
                    <a:gd name="T29" fmla="*/ 18 h 192"/>
                    <a:gd name="T30" fmla="*/ 16 w 134"/>
                    <a:gd name="T31" fmla="*/ 39 h 192"/>
                    <a:gd name="T32" fmla="*/ 9 w 134"/>
                    <a:gd name="T33" fmla="*/ 54 h 192"/>
                    <a:gd name="T34" fmla="*/ 7 w 134"/>
                    <a:gd name="T35" fmla="*/ 80 h 192"/>
                    <a:gd name="T36" fmla="*/ 45 w 134"/>
                    <a:gd name="T37" fmla="*/ 115 h 192"/>
                    <a:gd name="T38" fmla="*/ 44 w 134"/>
                    <a:gd name="T39" fmla="*/ 135 h 192"/>
                    <a:gd name="T40" fmla="*/ 26 w 134"/>
                    <a:gd name="T41" fmla="*/ 134 h 192"/>
                    <a:gd name="T42" fmla="*/ 25 w 134"/>
                    <a:gd name="T43" fmla="*/ 134 h 192"/>
                    <a:gd name="T44" fmla="*/ 1 w 134"/>
                    <a:gd name="T45" fmla="*/ 125 h 192"/>
                    <a:gd name="T46" fmla="*/ 1 w 134"/>
                    <a:gd name="T47" fmla="*/ 86 h 192"/>
                    <a:gd name="T48" fmla="*/ 2 w 134"/>
                    <a:gd name="T49" fmla="*/ 55 h 192"/>
                    <a:gd name="T50" fmla="*/ 27 w 134"/>
                    <a:gd name="T51" fmla="*/ 12 h 192"/>
                    <a:gd name="T52" fmla="*/ 74 w 134"/>
                    <a:gd name="T53" fmla="*/ 0 h 192"/>
                    <a:gd name="T54" fmla="*/ 113 w 134"/>
                    <a:gd name="T55" fmla="*/ 42 h 192"/>
                    <a:gd name="T56" fmla="*/ 114 w 134"/>
                    <a:gd name="T57" fmla="*/ 43 h 192"/>
                    <a:gd name="T58" fmla="*/ 132 w 134"/>
                    <a:gd name="T59" fmla="*/ 68 h 192"/>
                    <a:gd name="T60" fmla="*/ 133 w 134"/>
                    <a:gd name="T61" fmla="*/ 8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34" h="192">
                      <a:moveTo>
                        <a:pt x="133" y="84"/>
                      </a:moveTo>
                      <a:cubicBezTo>
                        <a:pt x="131" y="112"/>
                        <a:pt x="114" y="127"/>
                        <a:pt x="106" y="156"/>
                      </a:cubicBezTo>
                      <a:cubicBezTo>
                        <a:pt x="99" y="185"/>
                        <a:pt x="85" y="192"/>
                        <a:pt x="85" y="192"/>
                      </a:cubicBezTo>
                      <a:cubicBezTo>
                        <a:pt x="88" y="184"/>
                        <a:pt x="89" y="177"/>
                        <a:pt x="90" y="172"/>
                      </a:cubicBezTo>
                      <a:cubicBezTo>
                        <a:pt x="91" y="162"/>
                        <a:pt x="88" y="151"/>
                        <a:pt x="80" y="144"/>
                      </a:cubicBezTo>
                      <a:cubicBezTo>
                        <a:pt x="71" y="137"/>
                        <a:pt x="62" y="136"/>
                        <a:pt x="62" y="136"/>
                      </a:cubicBezTo>
                      <a:cubicBezTo>
                        <a:pt x="64" y="110"/>
                        <a:pt x="88" y="104"/>
                        <a:pt x="88" y="104"/>
                      </a:cubicBezTo>
                      <a:cubicBezTo>
                        <a:pt x="116" y="108"/>
                        <a:pt x="119" y="92"/>
                        <a:pt x="119" y="92"/>
                      </a:cubicBezTo>
                      <a:cubicBezTo>
                        <a:pt x="120" y="79"/>
                        <a:pt x="106" y="80"/>
                        <a:pt x="106" y="80"/>
                      </a:cubicBezTo>
                      <a:cubicBezTo>
                        <a:pt x="99" y="80"/>
                        <a:pt x="94" y="79"/>
                        <a:pt x="89" y="77"/>
                      </a:cubicBezTo>
                      <a:cubicBezTo>
                        <a:pt x="75" y="70"/>
                        <a:pt x="74" y="52"/>
                        <a:pt x="75" y="42"/>
                      </a:cubicBezTo>
                      <a:cubicBezTo>
                        <a:pt x="75" y="37"/>
                        <a:pt x="76" y="34"/>
                        <a:pt x="76" y="34"/>
                      </a:cubicBezTo>
                      <a:cubicBezTo>
                        <a:pt x="76" y="34"/>
                        <a:pt x="55" y="38"/>
                        <a:pt x="40" y="20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39" y="20"/>
                        <a:pt x="39" y="19"/>
                        <a:pt x="38" y="18"/>
                      </a:cubicBezTo>
                      <a:cubicBezTo>
                        <a:pt x="38" y="18"/>
                        <a:pt x="19" y="33"/>
                        <a:pt x="16" y="39"/>
                      </a:cubicBezTo>
                      <a:cubicBezTo>
                        <a:pt x="14" y="41"/>
                        <a:pt x="11" y="47"/>
                        <a:pt x="9" y="54"/>
                      </a:cubicBezTo>
                      <a:cubicBezTo>
                        <a:pt x="7" y="62"/>
                        <a:pt x="6" y="71"/>
                        <a:pt x="7" y="80"/>
                      </a:cubicBezTo>
                      <a:cubicBezTo>
                        <a:pt x="7" y="80"/>
                        <a:pt x="12" y="110"/>
                        <a:pt x="45" y="115"/>
                      </a:cubicBezTo>
                      <a:cubicBezTo>
                        <a:pt x="44" y="135"/>
                        <a:pt x="44" y="135"/>
                        <a:pt x="44" y="135"/>
                      </a:cubicBezTo>
                      <a:cubicBezTo>
                        <a:pt x="26" y="134"/>
                        <a:pt x="26" y="134"/>
                        <a:pt x="26" y="134"/>
                      </a:cubicBezTo>
                      <a:cubicBezTo>
                        <a:pt x="25" y="134"/>
                        <a:pt x="25" y="134"/>
                        <a:pt x="25" y="134"/>
                      </a:cubicBezTo>
                      <a:cubicBezTo>
                        <a:pt x="25" y="134"/>
                        <a:pt x="16" y="131"/>
                        <a:pt x="1" y="125"/>
                      </a:cubicBezTo>
                      <a:cubicBezTo>
                        <a:pt x="1" y="125"/>
                        <a:pt x="1" y="107"/>
                        <a:pt x="1" y="86"/>
                      </a:cubicBezTo>
                      <a:cubicBezTo>
                        <a:pt x="1" y="79"/>
                        <a:pt x="0" y="67"/>
                        <a:pt x="2" y="55"/>
                      </a:cubicBezTo>
                      <a:cubicBezTo>
                        <a:pt x="5" y="39"/>
                        <a:pt x="11" y="23"/>
                        <a:pt x="27" y="12"/>
                      </a:cubicBezTo>
                      <a:cubicBezTo>
                        <a:pt x="38" y="5"/>
                        <a:pt x="53" y="0"/>
                        <a:pt x="74" y="0"/>
                      </a:cubicBezTo>
                      <a:cubicBezTo>
                        <a:pt x="74" y="0"/>
                        <a:pt x="108" y="1"/>
                        <a:pt x="113" y="42"/>
                      </a:cubicBezTo>
                      <a:cubicBezTo>
                        <a:pt x="113" y="42"/>
                        <a:pt x="113" y="42"/>
                        <a:pt x="114" y="43"/>
                      </a:cubicBezTo>
                      <a:cubicBezTo>
                        <a:pt x="118" y="45"/>
                        <a:pt x="128" y="53"/>
                        <a:pt x="132" y="68"/>
                      </a:cubicBezTo>
                      <a:cubicBezTo>
                        <a:pt x="133" y="73"/>
                        <a:pt x="134" y="78"/>
                        <a:pt x="133" y="84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112">
                  <a:extLst>
                    <a:ext uri="{FF2B5EF4-FFF2-40B4-BE49-F238E27FC236}">
                      <a16:creationId xmlns:a16="http://schemas.microsoft.com/office/drawing/2014/main" id="{B4D0FD7C-2AAA-3CCF-421E-CDEA6E615401}"/>
                    </a:ext>
                  </a:extLst>
                </p:cNvPr>
                <p:cNvSpPr/>
                <p:nvPr/>
              </p:nvSpPr>
              <p:spPr bwMode="auto">
                <a:xfrm>
                  <a:off x="9772264" y="4764064"/>
                  <a:ext cx="97100" cy="111194"/>
                </a:xfrm>
                <a:custGeom>
                  <a:avLst/>
                  <a:gdLst>
                    <a:gd name="T0" fmla="*/ 38 w 38"/>
                    <a:gd name="T1" fmla="*/ 8 h 43"/>
                    <a:gd name="T2" fmla="*/ 36 w 38"/>
                    <a:gd name="T3" fmla="*/ 6 h 43"/>
                    <a:gd name="T4" fmla="*/ 14 w 38"/>
                    <a:gd name="T5" fmla="*/ 27 h 43"/>
                    <a:gd name="T6" fmla="*/ 7 w 38"/>
                    <a:gd name="T7" fmla="*/ 42 h 43"/>
                    <a:gd name="T8" fmla="*/ 3 w 38"/>
                    <a:gd name="T9" fmla="*/ 43 h 43"/>
                    <a:gd name="T10" fmla="*/ 0 w 38"/>
                    <a:gd name="T11" fmla="*/ 43 h 43"/>
                    <a:gd name="T12" fmla="*/ 25 w 38"/>
                    <a:gd name="T13" fmla="*/ 0 h 43"/>
                    <a:gd name="T14" fmla="*/ 27 w 38"/>
                    <a:gd name="T15" fmla="*/ 1 h 43"/>
                    <a:gd name="T16" fmla="*/ 35 w 38"/>
                    <a:gd name="T17" fmla="*/ 4 h 43"/>
                    <a:gd name="T18" fmla="*/ 38 w 38"/>
                    <a:gd name="T19" fmla="*/ 8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8" h="43">
                      <a:moveTo>
                        <a:pt x="38" y="8"/>
                      </a:moveTo>
                      <a:cubicBezTo>
                        <a:pt x="37" y="8"/>
                        <a:pt x="37" y="7"/>
                        <a:pt x="36" y="6"/>
                      </a:cubicBezTo>
                      <a:cubicBezTo>
                        <a:pt x="36" y="6"/>
                        <a:pt x="17" y="21"/>
                        <a:pt x="14" y="27"/>
                      </a:cubicBezTo>
                      <a:cubicBezTo>
                        <a:pt x="12" y="29"/>
                        <a:pt x="9" y="35"/>
                        <a:pt x="7" y="42"/>
                      </a:cubicBezTo>
                      <a:cubicBezTo>
                        <a:pt x="6" y="43"/>
                        <a:pt x="4" y="43"/>
                        <a:pt x="3" y="43"/>
                      </a:cubicBezTo>
                      <a:cubicBezTo>
                        <a:pt x="2" y="43"/>
                        <a:pt x="1" y="43"/>
                        <a:pt x="0" y="43"/>
                      </a:cubicBezTo>
                      <a:cubicBezTo>
                        <a:pt x="3" y="27"/>
                        <a:pt x="9" y="11"/>
                        <a:pt x="25" y="0"/>
                      </a:cubicBezTo>
                      <a:cubicBezTo>
                        <a:pt x="26" y="1"/>
                        <a:pt x="26" y="1"/>
                        <a:pt x="27" y="1"/>
                      </a:cubicBezTo>
                      <a:cubicBezTo>
                        <a:pt x="29" y="3"/>
                        <a:pt x="33" y="2"/>
                        <a:pt x="35" y="4"/>
                      </a:cubicBezTo>
                      <a:cubicBezTo>
                        <a:pt x="37" y="5"/>
                        <a:pt x="37" y="7"/>
                        <a:pt x="38" y="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113">
                  <a:extLst>
                    <a:ext uri="{FF2B5EF4-FFF2-40B4-BE49-F238E27FC236}">
                      <a16:creationId xmlns:a16="http://schemas.microsoft.com/office/drawing/2014/main" id="{1AE3BAC0-4F6E-DD95-A3D8-BC6F57E72B46}"/>
                    </a:ext>
                  </a:extLst>
                </p:cNvPr>
                <p:cNvSpPr/>
                <p:nvPr/>
              </p:nvSpPr>
              <p:spPr bwMode="auto">
                <a:xfrm>
                  <a:off x="9957065" y="4828274"/>
                  <a:ext cx="148782" cy="103363"/>
                </a:xfrm>
                <a:custGeom>
                  <a:avLst/>
                  <a:gdLst>
                    <a:gd name="T0" fmla="*/ 58 w 58"/>
                    <a:gd name="T1" fmla="*/ 31 h 40"/>
                    <a:gd name="T2" fmla="*/ 43 w 58"/>
                    <a:gd name="T3" fmla="*/ 36 h 40"/>
                    <a:gd name="T4" fmla="*/ 37 w 58"/>
                    <a:gd name="T5" fmla="*/ 35 h 40"/>
                    <a:gd name="T6" fmla="*/ 21 w 58"/>
                    <a:gd name="T7" fmla="*/ 37 h 40"/>
                    <a:gd name="T8" fmla="*/ 15 w 58"/>
                    <a:gd name="T9" fmla="*/ 40 h 40"/>
                    <a:gd name="T10" fmla="*/ 1 w 58"/>
                    <a:gd name="T11" fmla="*/ 5 h 40"/>
                    <a:gd name="T12" fmla="*/ 12 w 58"/>
                    <a:gd name="T13" fmla="*/ 1 h 40"/>
                    <a:gd name="T14" fmla="*/ 27 w 58"/>
                    <a:gd name="T15" fmla="*/ 4 h 40"/>
                    <a:gd name="T16" fmla="*/ 30 w 58"/>
                    <a:gd name="T17" fmla="*/ 6 h 40"/>
                    <a:gd name="T18" fmla="*/ 40 w 58"/>
                    <a:gd name="T19" fmla="*/ 6 h 40"/>
                    <a:gd name="T20" fmla="*/ 58 w 58"/>
                    <a:gd name="T21" fmla="*/ 3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7" h="40">
                      <a:moveTo>
                        <a:pt x="58" y="31"/>
                      </a:moveTo>
                      <a:cubicBezTo>
                        <a:pt x="53" y="32"/>
                        <a:pt x="49" y="36"/>
                        <a:pt x="43" y="36"/>
                      </a:cubicBezTo>
                      <a:cubicBezTo>
                        <a:pt x="41" y="36"/>
                        <a:pt x="39" y="35"/>
                        <a:pt x="37" y="35"/>
                      </a:cubicBezTo>
                      <a:cubicBezTo>
                        <a:pt x="32" y="33"/>
                        <a:pt x="26" y="34"/>
                        <a:pt x="21" y="37"/>
                      </a:cubicBezTo>
                      <a:cubicBezTo>
                        <a:pt x="19" y="38"/>
                        <a:pt x="18" y="39"/>
                        <a:pt x="15" y="40"/>
                      </a:cubicBezTo>
                      <a:cubicBezTo>
                        <a:pt x="1" y="33"/>
                        <a:pt x="0" y="15"/>
                        <a:pt x="1" y="5"/>
                      </a:cubicBezTo>
                      <a:cubicBezTo>
                        <a:pt x="5" y="4"/>
                        <a:pt x="8" y="2"/>
                        <a:pt x="12" y="1"/>
                      </a:cubicBezTo>
                      <a:cubicBezTo>
                        <a:pt x="17" y="0"/>
                        <a:pt x="23" y="0"/>
                        <a:pt x="27" y="4"/>
                      </a:cubicBezTo>
                      <a:cubicBezTo>
                        <a:pt x="28" y="4"/>
                        <a:pt x="29" y="5"/>
                        <a:pt x="30" y="6"/>
                      </a:cubicBezTo>
                      <a:cubicBezTo>
                        <a:pt x="33" y="8"/>
                        <a:pt x="36" y="7"/>
                        <a:pt x="40" y="6"/>
                      </a:cubicBezTo>
                      <a:cubicBezTo>
                        <a:pt x="44" y="8"/>
                        <a:pt x="54" y="16"/>
                        <a:pt x="58" y="31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114">
                  <a:extLst>
                    <a:ext uri="{FF2B5EF4-FFF2-40B4-BE49-F238E27FC236}">
                      <a16:creationId xmlns:a16="http://schemas.microsoft.com/office/drawing/2014/main" id="{93D6FF90-0CF7-ADC1-7F09-0206C93EF418}"/>
                    </a:ext>
                  </a:extLst>
                </p:cNvPr>
                <p:cNvSpPr/>
                <p:nvPr/>
              </p:nvSpPr>
              <p:spPr bwMode="auto">
                <a:xfrm>
                  <a:off x="9657938" y="5074155"/>
                  <a:ext cx="380566" cy="651505"/>
                </a:xfrm>
                <a:custGeom>
                  <a:avLst/>
                  <a:gdLst>
                    <a:gd name="T0" fmla="*/ 105 w 149"/>
                    <a:gd name="T1" fmla="*/ 3 h 254"/>
                    <a:gd name="T2" fmla="*/ 70 w 149"/>
                    <a:gd name="T3" fmla="*/ 1 h 254"/>
                    <a:gd name="T4" fmla="*/ 34 w 149"/>
                    <a:gd name="T5" fmla="*/ 39 h 254"/>
                    <a:gd name="T6" fmla="*/ 33 w 149"/>
                    <a:gd name="T7" fmla="*/ 46 h 254"/>
                    <a:gd name="T8" fmla="*/ 46 w 149"/>
                    <a:gd name="T9" fmla="*/ 91 h 254"/>
                    <a:gd name="T10" fmla="*/ 44 w 149"/>
                    <a:gd name="T11" fmla="*/ 97 h 254"/>
                    <a:gd name="T12" fmla="*/ 3 w 149"/>
                    <a:gd name="T13" fmla="*/ 254 h 254"/>
                    <a:gd name="T14" fmla="*/ 108 w 149"/>
                    <a:gd name="T15" fmla="*/ 254 h 254"/>
                    <a:gd name="T16" fmla="*/ 117 w 149"/>
                    <a:gd name="T17" fmla="*/ 103 h 254"/>
                    <a:gd name="T18" fmla="*/ 117 w 149"/>
                    <a:gd name="T19" fmla="*/ 93 h 254"/>
                    <a:gd name="T20" fmla="*/ 133 w 149"/>
                    <a:gd name="T21" fmla="*/ 44 h 254"/>
                    <a:gd name="T22" fmla="*/ 105 w 149"/>
                    <a:gd name="T23" fmla="*/ 3 h 2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9" h="254">
                      <a:moveTo>
                        <a:pt x="105" y="3"/>
                      </a:moveTo>
                      <a:cubicBezTo>
                        <a:pt x="93" y="2"/>
                        <a:pt x="81" y="1"/>
                        <a:pt x="70" y="1"/>
                      </a:cubicBezTo>
                      <a:cubicBezTo>
                        <a:pt x="56" y="0"/>
                        <a:pt x="39" y="29"/>
                        <a:pt x="34" y="39"/>
                      </a:cubicBezTo>
                      <a:cubicBezTo>
                        <a:pt x="33" y="41"/>
                        <a:pt x="33" y="43"/>
                        <a:pt x="33" y="46"/>
                      </a:cubicBezTo>
                      <a:cubicBezTo>
                        <a:pt x="46" y="91"/>
                        <a:pt x="46" y="91"/>
                        <a:pt x="46" y="91"/>
                      </a:cubicBezTo>
                      <a:cubicBezTo>
                        <a:pt x="46" y="93"/>
                        <a:pt x="46" y="95"/>
                        <a:pt x="44" y="97"/>
                      </a:cubicBezTo>
                      <a:cubicBezTo>
                        <a:pt x="35" y="109"/>
                        <a:pt x="0" y="160"/>
                        <a:pt x="3" y="254"/>
                      </a:cubicBezTo>
                      <a:cubicBezTo>
                        <a:pt x="108" y="254"/>
                        <a:pt x="108" y="254"/>
                        <a:pt x="108" y="254"/>
                      </a:cubicBezTo>
                      <a:cubicBezTo>
                        <a:pt x="108" y="254"/>
                        <a:pt x="149" y="168"/>
                        <a:pt x="117" y="103"/>
                      </a:cubicBezTo>
                      <a:cubicBezTo>
                        <a:pt x="116" y="100"/>
                        <a:pt x="116" y="96"/>
                        <a:pt x="117" y="93"/>
                      </a:cubicBezTo>
                      <a:cubicBezTo>
                        <a:pt x="120" y="83"/>
                        <a:pt x="127" y="63"/>
                        <a:pt x="133" y="44"/>
                      </a:cubicBezTo>
                      <a:cubicBezTo>
                        <a:pt x="138" y="25"/>
                        <a:pt x="125" y="5"/>
                        <a:pt x="105" y="3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16">
                  <a:extLst>
                    <a:ext uri="{FF2B5EF4-FFF2-40B4-BE49-F238E27FC236}">
                      <a16:creationId xmlns:a16="http://schemas.microsoft.com/office/drawing/2014/main" id="{FD73D72C-A95A-D9BA-2D04-C8868F4BE480}"/>
                    </a:ext>
                  </a:extLst>
                </p:cNvPr>
                <p:cNvSpPr/>
                <p:nvPr/>
              </p:nvSpPr>
              <p:spPr bwMode="auto">
                <a:xfrm>
                  <a:off x="9888156" y="5108609"/>
                  <a:ext cx="104930" cy="162876"/>
                </a:xfrm>
                <a:custGeom>
                  <a:avLst/>
                  <a:gdLst>
                    <a:gd name="T0" fmla="*/ 38 w 41"/>
                    <a:gd name="T1" fmla="*/ 35 h 64"/>
                    <a:gd name="T2" fmla="*/ 14 w 41"/>
                    <a:gd name="T3" fmla="*/ 62 h 64"/>
                    <a:gd name="T4" fmla="*/ 8 w 41"/>
                    <a:gd name="T5" fmla="*/ 59 h 64"/>
                    <a:gd name="T6" fmla="*/ 1 w 41"/>
                    <a:gd name="T7" fmla="*/ 41 h 64"/>
                    <a:gd name="T8" fmla="*/ 1 w 41"/>
                    <a:gd name="T9" fmla="*/ 41 h 64"/>
                    <a:gd name="T10" fmla="*/ 2 w 41"/>
                    <a:gd name="T11" fmla="*/ 28 h 64"/>
                    <a:gd name="T12" fmla="*/ 26 w 41"/>
                    <a:gd name="T13" fmla="*/ 2 h 64"/>
                    <a:gd name="T14" fmla="*/ 38 w 41"/>
                    <a:gd name="T15" fmla="*/ 35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1" h="64">
                      <a:moveTo>
                        <a:pt x="38" y="35"/>
                      </a:moveTo>
                      <a:cubicBezTo>
                        <a:pt x="35" y="52"/>
                        <a:pt x="24" y="64"/>
                        <a:pt x="14" y="62"/>
                      </a:cubicBezTo>
                      <a:cubicBezTo>
                        <a:pt x="12" y="62"/>
                        <a:pt x="10" y="60"/>
                        <a:pt x="8" y="59"/>
                      </a:cubicBezTo>
                      <a:cubicBezTo>
                        <a:pt x="4" y="55"/>
                        <a:pt x="2" y="49"/>
                        <a:pt x="1" y="41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0" y="37"/>
                        <a:pt x="1" y="33"/>
                        <a:pt x="2" y="28"/>
                      </a:cubicBezTo>
                      <a:cubicBezTo>
                        <a:pt x="5" y="12"/>
                        <a:pt x="15" y="0"/>
                        <a:pt x="26" y="2"/>
                      </a:cubicBezTo>
                      <a:cubicBezTo>
                        <a:pt x="36" y="4"/>
                        <a:pt x="41" y="19"/>
                        <a:pt x="38" y="35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117">
                  <a:extLst>
                    <a:ext uri="{FF2B5EF4-FFF2-40B4-BE49-F238E27FC236}">
                      <a16:creationId xmlns:a16="http://schemas.microsoft.com/office/drawing/2014/main" id="{DD06DB07-545C-54B6-B055-E2A2B2086079}"/>
                    </a:ext>
                  </a:extLst>
                </p:cNvPr>
                <p:cNvSpPr/>
                <p:nvPr/>
              </p:nvSpPr>
              <p:spPr bwMode="auto">
                <a:xfrm>
                  <a:off x="9889721" y="5177518"/>
                  <a:ext cx="87703" cy="81438"/>
                </a:xfrm>
                <a:custGeom>
                  <a:avLst/>
                  <a:gdLst>
                    <a:gd name="T0" fmla="*/ 34 w 34"/>
                    <a:gd name="T1" fmla="*/ 0 h 32"/>
                    <a:gd name="T2" fmla="*/ 7 w 34"/>
                    <a:gd name="T3" fmla="*/ 32 h 32"/>
                    <a:gd name="T4" fmla="*/ 0 w 34"/>
                    <a:gd name="T5" fmla="*/ 14 h 32"/>
                    <a:gd name="T6" fmla="*/ 0 w 34"/>
                    <a:gd name="T7" fmla="*/ 14 h 32"/>
                    <a:gd name="T8" fmla="*/ 34 w 34"/>
                    <a:gd name="T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2">
                      <a:moveTo>
                        <a:pt x="34" y="0"/>
                      </a:moveTo>
                      <a:cubicBezTo>
                        <a:pt x="33" y="2"/>
                        <a:pt x="23" y="27"/>
                        <a:pt x="7" y="32"/>
                      </a:cubicBezTo>
                      <a:cubicBezTo>
                        <a:pt x="3" y="28"/>
                        <a:pt x="1" y="22"/>
                        <a:pt x="0" y="14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4"/>
                        <a:pt x="26" y="11"/>
                        <a:pt x="34" y="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18">
                  <a:extLst>
                    <a:ext uri="{FF2B5EF4-FFF2-40B4-BE49-F238E27FC236}">
                      <a16:creationId xmlns:a16="http://schemas.microsoft.com/office/drawing/2014/main" id="{F6319F2D-D472-7539-ED46-D9D79B7AA9DE}"/>
                    </a:ext>
                  </a:extLst>
                </p:cNvPr>
                <p:cNvSpPr/>
                <p:nvPr/>
              </p:nvSpPr>
              <p:spPr bwMode="auto">
                <a:xfrm>
                  <a:off x="9454341" y="4953565"/>
                  <a:ext cx="535611" cy="325753"/>
                </a:xfrm>
                <a:custGeom>
                  <a:avLst/>
                  <a:gdLst>
                    <a:gd name="T0" fmla="*/ 4 w 209"/>
                    <a:gd name="T1" fmla="*/ 12 h 127"/>
                    <a:gd name="T2" fmla="*/ 15 w 209"/>
                    <a:gd name="T3" fmla="*/ 20 h 127"/>
                    <a:gd name="T4" fmla="*/ 3 w 209"/>
                    <a:gd name="T5" fmla="*/ 20 h 127"/>
                    <a:gd name="T6" fmla="*/ 2 w 209"/>
                    <a:gd name="T7" fmla="*/ 25 h 127"/>
                    <a:gd name="T8" fmla="*/ 9 w 209"/>
                    <a:gd name="T9" fmla="*/ 29 h 127"/>
                    <a:gd name="T10" fmla="*/ 13 w 209"/>
                    <a:gd name="T11" fmla="*/ 32 h 127"/>
                    <a:gd name="T12" fmla="*/ 22 w 209"/>
                    <a:gd name="T13" fmla="*/ 42 h 127"/>
                    <a:gd name="T14" fmla="*/ 197 w 209"/>
                    <a:gd name="T15" fmla="*/ 93 h 127"/>
                    <a:gd name="T16" fmla="*/ 204 w 209"/>
                    <a:gd name="T17" fmla="*/ 69 h 127"/>
                    <a:gd name="T18" fmla="*/ 185 w 209"/>
                    <a:gd name="T19" fmla="*/ 62 h 127"/>
                    <a:gd name="T20" fmla="*/ 149 w 209"/>
                    <a:gd name="T21" fmla="*/ 66 h 127"/>
                    <a:gd name="T22" fmla="*/ 50 w 209"/>
                    <a:gd name="T23" fmla="*/ 29 h 127"/>
                    <a:gd name="T24" fmla="*/ 46 w 209"/>
                    <a:gd name="T25" fmla="*/ 25 h 127"/>
                    <a:gd name="T26" fmla="*/ 49 w 209"/>
                    <a:gd name="T27" fmla="*/ 14 h 127"/>
                    <a:gd name="T28" fmla="*/ 48 w 209"/>
                    <a:gd name="T29" fmla="*/ 10 h 127"/>
                    <a:gd name="T30" fmla="*/ 45 w 209"/>
                    <a:gd name="T31" fmla="*/ 7 h 127"/>
                    <a:gd name="T32" fmla="*/ 42 w 209"/>
                    <a:gd name="T33" fmla="*/ 8 h 127"/>
                    <a:gd name="T34" fmla="*/ 39 w 209"/>
                    <a:gd name="T35" fmla="*/ 12 h 127"/>
                    <a:gd name="T36" fmla="*/ 34 w 209"/>
                    <a:gd name="T37" fmla="*/ 13 h 127"/>
                    <a:gd name="T38" fmla="*/ 32 w 209"/>
                    <a:gd name="T39" fmla="*/ 11 h 127"/>
                    <a:gd name="T40" fmla="*/ 21 w 209"/>
                    <a:gd name="T41" fmla="*/ 2 h 127"/>
                    <a:gd name="T42" fmla="*/ 16 w 209"/>
                    <a:gd name="T43" fmla="*/ 1 h 127"/>
                    <a:gd name="T44" fmla="*/ 17 w 209"/>
                    <a:gd name="T45" fmla="*/ 6 h 127"/>
                    <a:gd name="T46" fmla="*/ 23 w 209"/>
                    <a:gd name="T47" fmla="*/ 12 h 127"/>
                    <a:gd name="T48" fmla="*/ 10 w 209"/>
                    <a:gd name="T49" fmla="*/ 8 h 127"/>
                    <a:gd name="T50" fmla="*/ 6 w 209"/>
                    <a:gd name="T51" fmla="*/ 8 h 127"/>
                    <a:gd name="T52" fmla="*/ 4 w 209"/>
                    <a:gd name="T53" fmla="*/ 12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9" h="127">
                      <a:moveTo>
                        <a:pt x="4" y="12"/>
                      </a:moveTo>
                      <a:cubicBezTo>
                        <a:pt x="7" y="15"/>
                        <a:pt x="12" y="17"/>
                        <a:pt x="15" y="20"/>
                      </a:cubicBezTo>
                      <a:cubicBezTo>
                        <a:pt x="11" y="20"/>
                        <a:pt x="7" y="19"/>
                        <a:pt x="3" y="20"/>
                      </a:cubicBezTo>
                      <a:cubicBezTo>
                        <a:pt x="0" y="21"/>
                        <a:pt x="0" y="24"/>
                        <a:pt x="2" y="25"/>
                      </a:cubicBezTo>
                      <a:cubicBezTo>
                        <a:pt x="4" y="27"/>
                        <a:pt x="7" y="27"/>
                        <a:pt x="9" y="29"/>
                      </a:cubicBezTo>
                      <a:cubicBezTo>
                        <a:pt x="10" y="29"/>
                        <a:pt x="11" y="30"/>
                        <a:pt x="13" y="32"/>
                      </a:cubicBezTo>
                      <a:cubicBezTo>
                        <a:pt x="16" y="35"/>
                        <a:pt x="19" y="38"/>
                        <a:pt x="22" y="42"/>
                      </a:cubicBezTo>
                      <a:cubicBezTo>
                        <a:pt x="37" y="66"/>
                        <a:pt x="118" y="127"/>
                        <a:pt x="197" y="93"/>
                      </a:cubicBezTo>
                      <a:cubicBezTo>
                        <a:pt x="206" y="89"/>
                        <a:pt x="209" y="77"/>
                        <a:pt x="204" y="69"/>
                      </a:cubicBezTo>
                      <a:cubicBezTo>
                        <a:pt x="200" y="63"/>
                        <a:pt x="192" y="61"/>
                        <a:pt x="185" y="62"/>
                      </a:cubicBezTo>
                      <a:cubicBezTo>
                        <a:pt x="177" y="64"/>
                        <a:pt x="164" y="66"/>
                        <a:pt x="149" y="66"/>
                      </a:cubicBezTo>
                      <a:cubicBezTo>
                        <a:pt x="120" y="66"/>
                        <a:pt x="83" y="59"/>
                        <a:pt x="50" y="29"/>
                      </a:cubicBezTo>
                      <a:cubicBezTo>
                        <a:pt x="48" y="27"/>
                        <a:pt x="47" y="26"/>
                        <a:pt x="46" y="25"/>
                      </a:cubicBezTo>
                      <a:cubicBezTo>
                        <a:pt x="47" y="21"/>
                        <a:pt x="48" y="17"/>
                        <a:pt x="49" y="14"/>
                      </a:cubicBezTo>
                      <a:cubicBezTo>
                        <a:pt x="49" y="13"/>
                        <a:pt x="49" y="11"/>
                        <a:pt x="48" y="10"/>
                      </a:cubicBezTo>
                      <a:cubicBezTo>
                        <a:pt x="48" y="9"/>
                        <a:pt x="46" y="7"/>
                        <a:pt x="45" y="7"/>
                      </a:cubicBezTo>
                      <a:cubicBezTo>
                        <a:pt x="44" y="8"/>
                        <a:pt x="43" y="8"/>
                        <a:pt x="42" y="8"/>
                      </a:cubicBezTo>
                      <a:cubicBezTo>
                        <a:pt x="41" y="9"/>
                        <a:pt x="40" y="11"/>
                        <a:pt x="39" y="12"/>
                      </a:cubicBezTo>
                      <a:cubicBezTo>
                        <a:pt x="37" y="13"/>
                        <a:pt x="35" y="13"/>
                        <a:pt x="34" y="13"/>
                      </a:cubicBezTo>
                      <a:cubicBezTo>
                        <a:pt x="33" y="12"/>
                        <a:pt x="32" y="12"/>
                        <a:pt x="32" y="11"/>
                      </a:cubicBezTo>
                      <a:cubicBezTo>
                        <a:pt x="28" y="8"/>
                        <a:pt x="25" y="5"/>
                        <a:pt x="21" y="2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2"/>
                        <a:pt x="16" y="5"/>
                        <a:pt x="17" y="6"/>
                      </a:cubicBezTo>
                      <a:cubicBezTo>
                        <a:pt x="19" y="8"/>
                        <a:pt x="21" y="10"/>
                        <a:pt x="23" y="12"/>
                      </a:cubicBezTo>
                      <a:cubicBezTo>
                        <a:pt x="19" y="11"/>
                        <a:pt x="14" y="10"/>
                        <a:pt x="10" y="8"/>
                      </a:cubicBezTo>
                      <a:cubicBezTo>
                        <a:pt x="9" y="8"/>
                        <a:pt x="7" y="8"/>
                        <a:pt x="6" y="8"/>
                      </a:cubicBezTo>
                      <a:cubicBezTo>
                        <a:pt x="4" y="8"/>
                        <a:pt x="3" y="10"/>
                        <a:pt x="4" y="12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19">
                  <a:extLst>
                    <a:ext uri="{FF2B5EF4-FFF2-40B4-BE49-F238E27FC236}">
                      <a16:creationId xmlns:a16="http://schemas.microsoft.com/office/drawing/2014/main" id="{662CFA0F-7E1A-C962-D330-18FEB8C3177D}"/>
                    </a:ext>
                  </a:extLst>
                </p:cNvPr>
                <p:cNvSpPr/>
                <p:nvPr/>
              </p:nvSpPr>
              <p:spPr bwMode="auto">
                <a:xfrm>
                  <a:off x="9567102" y="5028736"/>
                  <a:ext cx="269373" cy="142517"/>
                </a:xfrm>
                <a:custGeom>
                  <a:avLst/>
                  <a:gdLst>
                    <a:gd name="T0" fmla="*/ 1 w 105"/>
                    <a:gd name="T1" fmla="*/ 6 h 56"/>
                    <a:gd name="T2" fmla="*/ 80 w 105"/>
                    <a:gd name="T3" fmla="*/ 55 h 56"/>
                    <a:gd name="T4" fmla="*/ 105 w 105"/>
                    <a:gd name="T5" fmla="*/ 37 h 56"/>
                    <a:gd name="T6" fmla="*/ 6 w 105"/>
                    <a:gd name="T7" fmla="*/ 0 h 56"/>
                    <a:gd name="T8" fmla="*/ 1 w 105"/>
                    <a:gd name="T9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5" h="56">
                      <a:moveTo>
                        <a:pt x="1" y="6"/>
                      </a:moveTo>
                      <a:cubicBezTo>
                        <a:pt x="3" y="23"/>
                        <a:pt x="59" y="53"/>
                        <a:pt x="80" y="55"/>
                      </a:cubicBezTo>
                      <a:cubicBezTo>
                        <a:pt x="95" y="56"/>
                        <a:pt x="102" y="45"/>
                        <a:pt x="105" y="37"/>
                      </a:cubicBezTo>
                      <a:cubicBezTo>
                        <a:pt x="76" y="37"/>
                        <a:pt x="39" y="30"/>
                        <a:pt x="6" y="0"/>
                      </a:cubicBezTo>
                      <a:cubicBezTo>
                        <a:pt x="2" y="1"/>
                        <a:pt x="0" y="3"/>
                        <a:pt x="1" y="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35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820F5AC8-3810-D86F-27E1-AD60EFBD8211}"/>
                  </a:ext>
                </a:extLst>
              </p:cNvPr>
              <p:cNvGrpSpPr/>
              <p:nvPr/>
            </p:nvGrpSpPr>
            <p:grpSpPr>
              <a:xfrm>
                <a:off x="8911787" y="4299531"/>
                <a:ext cx="648721" cy="646659"/>
                <a:chOff x="2890484" y="4310132"/>
                <a:chExt cx="1636257" cy="1631057"/>
              </a:xfrm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D349001E-8287-5569-F923-19305DFE2FB8}"/>
                    </a:ext>
                  </a:extLst>
                </p:cNvPr>
                <p:cNvSpPr/>
                <p:nvPr/>
              </p:nvSpPr>
              <p:spPr>
                <a:xfrm>
                  <a:off x="2890484" y="4310132"/>
                  <a:ext cx="1636256" cy="1631057"/>
                </a:xfrm>
                <a:custGeom>
                  <a:avLst/>
                  <a:gdLst>
                    <a:gd name="connsiteX0" fmla="*/ 841588 w 1636256"/>
                    <a:gd name="connsiteY0" fmla="*/ 579 h 1631057"/>
                    <a:gd name="connsiteX1" fmla="*/ 915010 w 1636256"/>
                    <a:gd name="connsiteY1" fmla="*/ 11691 h 1631057"/>
                    <a:gd name="connsiteX2" fmla="*/ 978510 w 1636256"/>
                    <a:gd name="connsiteY2" fmla="*/ 145041 h 1631057"/>
                    <a:gd name="connsiteX3" fmla="*/ 994385 w 1636256"/>
                    <a:gd name="connsiteY3" fmla="*/ 170441 h 1631057"/>
                    <a:gd name="connsiteX4" fmla="*/ 1152341 w 1636256"/>
                    <a:gd name="connsiteY4" fmla="*/ 226004 h 1631057"/>
                    <a:gd name="connsiteX5" fmla="*/ 1203935 w 1636256"/>
                    <a:gd name="connsiteY5" fmla="*/ 218066 h 1631057"/>
                    <a:gd name="connsiteX6" fmla="*/ 1322203 w 1636256"/>
                    <a:gd name="connsiteY6" fmla="*/ 179172 h 1631057"/>
                    <a:gd name="connsiteX7" fmla="*/ 1365860 w 1636256"/>
                    <a:gd name="connsiteY7" fmla="*/ 205366 h 1631057"/>
                    <a:gd name="connsiteX8" fmla="*/ 1461110 w 1636256"/>
                    <a:gd name="connsiteY8" fmla="*/ 303791 h 1631057"/>
                    <a:gd name="connsiteX9" fmla="*/ 1454760 w 1636256"/>
                    <a:gd name="connsiteY9" fmla="*/ 338716 h 1631057"/>
                    <a:gd name="connsiteX10" fmla="*/ 1423010 w 1636256"/>
                    <a:gd name="connsiteY10" fmla="*/ 402216 h 1631057"/>
                    <a:gd name="connsiteX11" fmla="*/ 1403960 w 1636256"/>
                    <a:gd name="connsiteY11" fmla="*/ 459366 h 1631057"/>
                    <a:gd name="connsiteX12" fmla="*/ 1403960 w 1636256"/>
                    <a:gd name="connsiteY12" fmla="*/ 506991 h 1631057"/>
                    <a:gd name="connsiteX13" fmla="*/ 1410310 w 1636256"/>
                    <a:gd name="connsiteY13" fmla="*/ 519691 h 1631057"/>
                    <a:gd name="connsiteX14" fmla="*/ 1442060 w 1636256"/>
                    <a:gd name="connsiteY14" fmla="*/ 573666 h 1631057"/>
                    <a:gd name="connsiteX15" fmla="*/ 1461110 w 1636256"/>
                    <a:gd name="connsiteY15" fmla="*/ 627641 h 1631057"/>
                    <a:gd name="connsiteX16" fmla="*/ 1467460 w 1636256"/>
                    <a:gd name="connsiteY16" fmla="*/ 646691 h 1631057"/>
                    <a:gd name="connsiteX17" fmla="*/ 1527785 w 1636256"/>
                    <a:gd name="connsiteY17" fmla="*/ 665741 h 1631057"/>
                    <a:gd name="connsiteX18" fmla="*/ 1603985 w 1636256"/>
                    <a:gd name="connsiteY18" fmla="*/ 707016 h 1631057"/>
                    <a:gd name="connsiteX19" fmla="*/ 1634942 w 1636256"/>
                    <a:gd name="connsiteY19" fmla="*/ 715747 h 1631057"/>
                    <a:gd name="connsiteX20" fmla="*/ 1632560 w 1636256"/>
                    <a:gd name="connsiteY20" fmla="*/ 903866 h 1631057"/>
                    <a:gd name="connsiteX21" fmla="*/ 1613510 w 1636256"/>
                    <a:gd name="connsiteY21" fmla="*/ 913391 h 1631057"/>
                    <a:gd name="connsiteX22" fmla="*/ 1483335 w 1636256"/>
                    <a:gd name="connsiteY22" fmla="*/ 983241 h 1631057"/>
                    <a:gd name="connsiteX23" fmla="*/ 1464285 w 1636256"/>
                    <a:gd name="connsiteY23" fmla="*/ 989591 h 1631057"/>
                    <a:gd name="connsiteX24" fmla="*/ 1454760 w 1636256"/>
                    <a:gd name="connsiteY24" fmla="*/ 1014991 h 1631057"/>
                    <a:gd name="connsiteX25" fmla="*/ 1442060 w 1636256"/>
                    <a:gd name="connsiteY25" fmla="*/ 1065791 h 1631057"/>
                    <a:gd name="connsiteX26" fmla="*/ 1410310 w 1636256"/>
                    <a:gd name="connsiteY26" fmla="*/ 1135641 h 1631057"/>
                    <a:gd name="connsiteX27" fmla="*/ 1403960 w 1636256"/>
                    <a:gd name="connsiteY27" fmla="*/ 1145166 h 1631057"/>
                    <a:gd name="connsiteX28" fmla="*/ 1432535 w 1636256"/>
                    <a:gd name="connsiteY28" fmla="*/ 1234066 h 1631057"/>
                    <a:gd name="connsiteX29" fmla="*/ 1461110 w 1636256"/>
                    <a:gd name="connsiteY29" fmla="*/ 1291216 h 1631057"/>
                    <a:gd name="connsiteX30" fmla="*/ 1453966 w 1636256"/>
                    <a:gd name="connsiteY30" fmla="*/ 1334078 h 1631057"/>
                    <a:gd name="connsiteX31" fmla="*/ 1381735 w 1636256"/>
                    <a:gd name="connsiteY31" fmla="*/ 1427741 h 1631057"/>
                    <a:gd name="connsiteX32" fmla="*/ 1330935 w 1636256"/>
                    <a:gd name="connsiteY32" fmla="*/ 1462666 h 1631057"/>
                    <a:gd name="connsiteX33" fmla="*/ 1321410 w 1636256"/>
                    <a:gd name="connsiteY33" fmla="*/ 1465841 h 1631057"/>
                    <a:gd name="connsiteX34" fmla="*/ 1302360 w 1636256"/>
                    <a:gd name="connsiteY34" fmla="*/ 1459491 h 1631057"/>
                    <a:gd name="connsiteX35" fmla="*/ 1203935 w 1636256"/>
                    <a:gd name="connsiteY35" fmla="*/ 1424566 h 1631057"/>
                    <a:gd name="connsiteX36" fmla="*/ 1143610 w 1636256"/>
                    <a:gd name="connsiteY36" fmla="*/ 1408691 h 1631057"/>
                    <a:gd name="connsiteX37" fmla="*/ 1121385 w 1636256"/>
                    <a:gd name="connsiteY37" fmla="*/ 1411866 h 1631057"/>
                    <a:gd name="connsiteX38" fmla="*/ 988035 w 1636256"/>
                    <a:gd name="connsiteY38" fmla="*/ 1453141 h 1631057"/>
                    <a:gd name="connsiteX39" fmla="*/ 950729 w 1636256"/>
                    <a:gd name="connsiteY39" fmla="*/ 1522198 h 1631057"/>
                    <a:gd name="connsiteX40" fmla="*/ 911835 w 1636256"/>
                    <a:gd name="connsiteY40" fmla="*/ 1602366 h 1631057"/>
                    <a:gd name="connsiteX41" fmla="*/ 868179 w 1636256"/>
                    <a:gd name="connsiteY41" fmla="*/ 1623797 h 1631057"/>
                    <a:gd name="connsiteX42" fmla="*/ 737210 w 1636256"/>
                    <a:gd name="connsiteY42" fmla="*/ 1625385 h 1631057"/>
                    <a:gd name="connsiteX43" fmla="*/ 692760 w 1636256"/>
                    <a:gd name="connsiteY43" fmla="*/ 1599191 h 1631057"/>
                    <a:gd name="connsiteX44" fmla="*/ 635610 w 1636256"/>
                    <a:gd name="connsiteY44" fmla="*/ 1484891 h 1631057"/>
                    <a:gd name="connsiteX45" fmla="*/ 629260 w 1636256"/>
                    <a:gd name="connsiteY45" fmla="*/ 1469016 h 1631057"/>
                    <a:gd name="connsiteX46" fmla="*/ 527660 w 1636256"/>
                    <a:gd name="connsiteY46" fmla="*/ 1430916 h 1631057"/>
                    <a:gd name="connsiteX47" fmla="*/ 501318 w 1636256"/>
                    <a:gd name="connsiteY47" fmla="*/ 1414694 h 1631057"/>
                    <a:gd name="connsiteX48" fmla="*/ 489102 w 1636256"/>
                    <a:gd name="connsiteY48" fmla="*/ 1404589 h 1631057"/>
                    <a:gd name="connsiteX49" fmla="*/ 460985 w 1636256"/>
                    <a:gd name="connsiteY49" fmla="*/ 1408692 h 1631057"/>
                    <a:gd name="connsiteX50" fmla="*/ 349860 w 1636256"/>
                    <a:gd name="connsiteY50" fmla="*/ 1443617 h 1631057"/>
                    <a:gd name="connsiteX51" fmla="*/ 299060 w 1636256"/>
                    <a:gd name="connsiteY51" fmla="*/ 1453142 h 1631057"/>
                    <a:gd name="connsiteX52" fmla="*/ 187935 w 1636256"/>
                    <a:gd name="connsiteY52" fmla="*/ 1342017 h 1631057"/>
                    <a:gd name="connsiteX53" fmla="*/ 184760 w 1636256"/>
                    <a:gd name="connsiteY53" fmla="*/ 1319792 h 1631057"/>
                    <a:gd name="connsiteX54" fmla="*/ 187935 w 1636256"/>
                    <a:gd name="connsiteY54" fmla="*/ 1300742 h 1631057"/>
                    <a:gd name="connsiteX55" fmla="*/ 213335 w 1636256"/>
                    <a:gd name="connsiteY55" fmla="*/ 1202317 h 1631057"/>
                    <a:gd name="connsiteX56" fmla="*/ 229210 w 1636256"/>
                    <a:gd name="connsiteY56" fmla="*/ 1151517 h 1631057"/>
                    <a:gd name="connsiteX57" fmla="*/ 162535 w 1636256"/>
                    <a:gd name="connsiteY57" fmla="*/ 1005467 h 1631057"/>
                    <a:gd name="connsiteX58" fmla="*/ 133960 w 1636256"/>
                    <a:gd name="connsiteY58" fmla="*/ 970542 h 1631057"/>
                    <a:gd name="connsiteX59" fmla="*/ 16485 w 1636256"/>
                    <a:gd name="connsiteY59" fmla="*/ 922917 h 1631057"/>
                    <a:gd name="connsiteX60" fmla="*/ 3785 w 1636256"/>
                    <a:gd name="connsiteY60" fmla="*/ 913392 h 1631057"/>
                    <a:gd name="connsiteX61" fmla="*/ 610 w 1636256"/>
                    <a:gd name="connsiteY61" fmla="*/ 903867 h 1631057"/>
                    <a:gd name="connsiteX62" fmla="*/ 610 w 1636256"/>
                    <a:gd name="connsiteY62" fmla="*/ 795917 h 1631057"/>
                    <a:gd name="connsiteX63" fmla="*/ 6960 w 1636256"/>
                    <a:gd name="connsiteY63" fmla="*/ 710192 h 1631057"/>
                    <a:gd name="connsiteX64" fmla="*/ 133960 w 1636256"/>
                    <a:gd name="connsiteY64" fmla="*/ 646692 h 1631057"/>
                    <a:gd name="connsiteX65" fmla="*/ 159360 w 1636256"/>
                    <a:gd name="connsiteY65" fmla="*/ 633992 h 1631057"/>
                    <a:gd name="connsiteX66" fmla="*/ 168885 w 1636256"/>
                    <a:gd name="connsiteY66" fmla="*/ 630817 h 1631057"/>
                    <a:gd name="connsiteX67" fmla="*/ 188729 w 1636256"/>
                    <a:gd name="connsiteY67" fmla="*/ 553823 h 1631057"/>
                    <a:gd name="connsiteX68" fmla="*/ 226035 w 1636256"/>
                    <a:gd name="connsiteY68" fmla="*/ 484767 h 1631057"/>
                    <a:gd name="connsiteX69" fmla="*/ 219685 w 1636256"/>
                    <a:gd name="connsiteY69" fmla="*/ 462542 h 1631057"/>
                    <a:gd name="connsiteX70" fmla="*/ 172060 w 1636256"/>
                    <a:gd name="connsiteY70" fmla="*/ 303792 h 1631057"/>
                    <a:gd name="connsiteX71" fmla="*/ 302235 w 1636256"/>
                    <a:gd name="connsiteY71" fmla="*/ 167267 h 1631057"/>
                    <a:gd name="connsiteX72" fmla="*/ 488095 w 1636256"/>
                    <a:gd name="connsiteY72" fmla="*/ 1191476 h 1631057"/>
                    <a:gd name="connsiteX73" fmla="*/ 495910 w 1636256"/>
                    <a:gd name="connsiteY73" fmla="*/ 227591 h 1631057"/>
                    <a:gd name="connsiteX74" fmla="*/ 641960 w 1636256"/>
                    <a:gd name="connsiteY74" fmla="*/ 160916 h 1631057"/>
                    <a:gd name="connsiteX75" fmla="*/ 654660 w 1636256"/>
                    <a:gd name="connsiteY75" fmla="*/ 148216 h 1631057"/>
                    <a:gd name="connsiteX76" fmla="*/ 695935 w 1636256"/>
                    <a:gd name="connsiteY76" fmla="*/ 65666 h 1631057"/>
                    <a:gd name="connsiteX77" fmla="*/ 724510 w 1636256"/>
                    <a:gd name="connsiteY77" fmla="*/ 14866 h 1631057"/>
                    <a:gd name="connsiteX78" fmla="*/ 756260 w 1636256"/>
                    <a:gd name="connsiteY78" fmla="*/ 5341 h 1631057"/>
                    <a:gd name="connsiteX79" fmla="*/ 841588 w 1636256"/>
                    <a:gd name="connsiteY79" fmla="*/ 579 h 1631057"/>
                    <a:gd name="connsiteX0" fmla="*/ 841588 w 1636256"/>
                    <a:gd name="connsiteY0" fmla="*/ 579 h 1631057"/>
                    <a:gd name="connsiteX1" fmla="*/ 915010 w 1636256"/>
                    <a:gd name="connsiteY1" fmla="*/ 11691 h 1631057"/>
                    <a:gd name="connsiteX2" fmla="*/ 978510 w 1636256"/>
                    <a:gd name="connsiteY2" fmla="*/ 145041 h 1631057"/>
                    <a:gd name="connsiteX3" fmla="*/ 994385 w 1636256"/>
                    <a:gd name="connsiteY3" fmla="*/ 170441 h 1631057"/>
                    <a:gd name="connsiteX4" fmla="*/ 1152341 w 1636256"/>
                    <a:gd name="connsiteY4" fmla="*/ 226004 h 1631057"/>
                    <a:gd name="connsiteX5" fmla="*/ 1203935 w 1636256"/>
                    <a:gd name="connsiteY5" fmla="*/ 218066 h 1631057"/>
                    <a:gd name="connsiteX6" fmla="*/ 1322203 w 1636256"/>
                    <a:gd name="connsiteY6" fmla="*/ 179172 h 1631057"/>
                    <a:gd name="connsiteX7" fmla="*/ 1365860 w 1636256"/>
                    <a:gd name="connsiteY7" fmla="*/ 205366 h 1631057"/>
                    <a:gd name="connsiteX8" fmla="*/ 1461110 w 1636256"/>
                    <a:gd name="connsiteY8" fmla="*/ 303791 h 1631057"/>
                    <a:gd name="connsiteX9" fmla="*/ 1454760 w 1636256"/>
                    <a:gd name="connsiteY9" fmla="*/ 338716 h 1631057"/>
                    <a:gd name="connsiteX10" fmla="*/ 1423010 w 1636256"/>
                    <a:gd name="connsiteY10" fmla="*/ 402216 h 1631057"/>
                    <a:gd name="connsiteX11" fmla="*/ 1403960 w 1636256"/>
                    <a:gd name="connsiteY11" fmla="*/ 459366 h 1631057"/>
                    <a:gd name="connsiteX12" fmla="*/ 1403960 w 1636256"/>
                    <a:gd name="connsiteY12" fmla="*/ 506991 h 1631057"/>
                    <a:gd name="connsiteX13" fmla="*/ 1410310 w 1636256"/>
                    <a:gd name="connsiteY13" fmla="*/ 519691 h 1631057"/>
                    <a:gd name="connsiteX14" fmla="*/ 1442060 w 1636256"/>
                    <a:gd name="connsiteY14" fmla="*/ 573666 h 1631057"/>
                    <a:gd name="connsiteX15" fmla="*/ 1461110 w 1636256"/>
                    <a:gd name="connsiteY15" fmla="*/ 627641 h 1631057"/>
                    <a:gd name="connsiteX16" fmla="*/ 1467460 w 1636256"/>
                    <a:gd name="connsiteY16" fmla="*/ 646691 h 1631057"/>
                    <a:gd name="connsiteX17" fmla="*/ 1527785 w 1636256"/>
                    <a:gd name="connsiteY17" fmla="*/ 665741 h 1631057"/>
                    <a:gd name="connsiteX18" fmla="*/ 1603985 w 1636256"/>
                    <a:gd name="connsiteY18" fmla="*/ 707016 h 1631057"/>
                    <a:gd name="connsiteX19" fmla="*/ 1634942 w 1636256"/>
                    <a:gd name="connsiteY19" fmla="*/ 715747 h 1631057"/>
                    <a:gd name="connsiteX20" fmla="*/ 1632560 w 1636256"/>
                    <a:gd name="connsiteY20" fmla="*/ 903866 h 1631057"/>
                    <a:gd name="connsiteX21" fmla="*/ 1613510 w 1636256"/>
                    <a:gd name="connsiteY21" fmla="*/ 913391 h 1631057"/>
                    <a:gd name="connsiteX22" fmla="*/ 1483335 w 1636256"/>
                    <a:gd name="connsiteY22" fmla="*/ 983241 h 1631057"/>
                    <a:gd name="connsiteX23" fmla="*/ 1464285 w 1636256"/>
                    <a:gd name="connsiteY23" fmla="*/ 989591 h 1631057"/>
                    <a:gd name="connsiteX24" fmla="*/ 1454760 w 1636256"/>
                    <a:gd name="connsiteY24" fmla="*/ 1014991 h 1631057"/>
                    <a:gd name="connsiteX25" fmla="*/ 1442060 w 1636256"/>
                    <a:gd name="connsiteY25" fmla="*/ 1065791 h 1631057"/>
                    <a:gd name="connsiteX26" fmla="*/ 1410310 w 1636256"/>
                    <a:gd name="connsiteY26" fmla="*/ 1135641 h 1631057"/>
                    <a:gd name="connsiteX27" fmla="*/ 1403960 w 1636256"/>
                    <a:gd name="connsiteY27" fmla="*/ 1145166 h 1631057"/>
                    <a:gd name="connsiteX28" fmla="*/ 1432535 w 1636256"/>
                    <a:gd name="connsiteY28" fmla="*/ 1234066 h 1631057"/>
                    <a:gd name="connsiteX29" fmla="*/ 1461110 w 1636256"/>
                    <a:gd name="connsiteY29" fmla="*/ 1291216 h 1631057"/>
                    <a:gd name="connsiteX30" fmla="*/ 1453966 w 1636256"/>
                    <a:gd name="connsiteY30" fmla="*/ 1334078 h 1631057"/>
                    <a:gd name="connsiteX31" fmla="*/ 1381735 w 1636256"/>
                    <a:gd name="connsiteY31" fmla="*/ 1427741 h 1631057"/>
                    <a:gd name="connsiteX32" fmla="*/ 1330935 w 1636256"/>
                    <a:gd name="connsiteY32" fmla="*/ 1462666 h 1631057"/>
                    <a:gd name="connsiteX33" fmla="*/ 1321410 w 1636256"/>
                    <a:gd name="connsiteY33" fmla="*/ 1465841 h 1631057"/>
                    <a:gd name="connsiteX34" fmla="*/ 1302360 w 1636256"/>
                    <a:gd name="connsiteY34" fmla="*/ 1459491 h 1631057"/>
                    <a:gd name="connsiteX35" fmla="*/ 1203935 w 1636256"/>
                    <a:gd name="connsiteY35" fmla="*/ 1424566 h 1631057"/>
                    <a:gd name="connsiteX36" fmla="*/ 1143610 w 1636256"/>
                    <a:gd name="connsiteY36" fmla="*/ 1408691 h 1631057"/>
                    <a:gd name="connsiteX37" fmla="*/ 1121385 w 1636256"/>
                    <a:gd name="connsiteY37" fmla="*/ 1411866 h 1631057"/>
                    <a:gd name="connsiteX38" fmla="*/ 988035 w 1636256"/>
                    <a:gd name="connsiteY38" fmla="*/ 1453141 h 1631057"/>
                    <a:gd name="connsiteX39" fmla="*/ 950729 w 1636256"/>
                    <a:gd name="connsiteY39" fmla="*/ 1522198 h 1631057"/>
                    <a:gd name="connsiteX40" fmla="*/ 911835 w 1636256"/>
                    <a:gd name="connsiteY40" fmla="*/ 1602366 h 1631057"/>
                    <a:gd name="connsiteX41" fmla="*/ 868179 w 1636256"/>
                    <a:gd name="connsiteY41" fmla="*/ 1623797 h 1631057"/>
                    <a:gd name="connsiteX42" fmla="*/ 737210 w 1636256"/>
                    <a:gd name="connsiteY42" fmla="*/ 1625385 h 1631057"/>
                    <a:gd name="connsiteX43" fmla="*/ 692760 w 1636256"/>
                    <a:gd name="connsiteY43" fmla="*/ 1599191 h 1631057"/>
                    <a:gd name="connsiteX44" fmla="*/ 635610 w 1636256"/>
                    <a:gd name="connsiteY44" fmla="*/ 1484891 h 1631057"/>
                    <a:gd name="connsiteX45" fmla="*/ 629260 w 1636256"/>
                    <a:gd name="connsiteY45" fmla="*/ 1469016 h 1631057"/>
                    <a:gd name="connsiteX46" fmla="*/ 527660 w 1636256"/>
                    <a:gd name="connsiteY46" fmla="*/ 1430916 h 1631057"/>
                    <a:gd name="connsiteX47" fmla="*/ 501318 w 1636256"/>
                    <a:gd name="connsiteY47" fmla="*/ 1414694 h 1631057"/>
                    <a:gd name="connsiteX48" fmla="*/ 489102 w 1636256"/>
                    <a:gd name="connsiteY48" fmla="*/ 1404589 h 1631057"/>
                    <a:gd name="connsiteX49" fmla="*/ 460985 w 1636256"/>
                    <a:gd name="connsiteY49" fmla="*/ 1408692 h 1631057"/>
                    <a:gd name="connsiteX50" fmla="*/ 349860 w 1636256"/>
                    <a:gd name="connsiteY50" fmla="*/ 1443617 h 1631057"/>
                    <a:gd name="connsiteX51" fmla="*/ 299060 w 1636256"/>
                    <a:gd name="connsiteY51" fmla="*/ 1453142 h 1631057"/>
                    <a:gd name="connsiteX52" fmla="*/ 187935 w 1636256"/>
                    <a:gd name="connsiteY52" fmla="*/ 1342017 h 1631057"/>
                    <a:gd name="connsiteX53" fmla="*/ 184760 w 1636256"/>
                    <a:gd name="connsiteY53" fmla="*/ 1319792 h 1631057"/>
                    <a:gd name="connsiteX54" fmla="*/ 187935 w 1636256"/>
                    <a:gd name="connsiteY54" fmla="*/ 1300742 h 1631057"/>
                    <a:gd name="connsiteX55" fmla="*/ 213335 w 1636256"/>
                    <a:gd name="connsiteY55" fmla="*/ 1202317 h 1631057"/>
                    <a:gd name="connsiteX56" fmla="*/ 229210 w 1636256"/>
                    <a:gd name="connsiteY56" fmla="*/ 1151517 h 1631057"/>
                    <a:gd name="connsiteX57" fmla="*/ 162535 w 1636256"/>
                    <a:gd name="connsiteY57" fmla="*/ 1005467 h 1631057"/>
                    <a:gd name="connsiteX58" fmla="*/ 133960 w 1636256"/>
                    <a:gd name="connsiteY58" fmla="*/ 970542 h 1631057"/>
                    <a:gd name="connsiteX59" fmla="*/ 16485 w 1636256"/>
                    <a:gd name="connsiteY59" fmla="*/ 922917 h 1631057"/>
                    <a:gd name="connsiteX60" fmla="*/ 3785 w 1636256"/>
                    <a:gd name="connsiteY60" fmla="*/ 913392 h 1631057"/>
                    <a:gd name="connsiteX61" fmla="*/ 610 w 1636256"/>
                    <a:gd name="connsiteY61" fmla="*/ 903867 h 1631057"/>
                    <a:gd name="connsiteX62" fmla="*/ 610 w 1636256"/>
                    <a:gd name="connsiteY62" fmla="*/ 795917 h 1631057"/>
                    <a:gd name="connsiteX63" fmla="*/ 6960 w 1636256"/>
                    <a:gd name="connsiteY63" fmla="*/ 710192 h 1631057"/>
                    <a:gd name="connsiteX64" fmla="*/ 133960 w 1636256"/>
                    <a:gd name="connsiteY64" fmla="*/ 646692 h 1631057"/>
                    <a:gd name="connsiteX65" fmla="*/ 159360 w 1636256"/>
                    <a:gd name="connsiteY65" fmla="*/ 633992 h 1631057"/>
                    <a:gd name="connsiteX66" fmla="*/ 168885 w 1636256"/>
                    <a:gd name="connsiteY66" fmla="*/ 630817 h 1631057"/>
                    <a:gd name="connsiteX67" fmla="*/ 188729 w 1636256"/>
                    <a:gd name="connsiteY67" fmla="*/ 553823 h 1631057"/>
                    <a:gd name="connsiteX68" fmla="*/ 226035 w 1636256"/>
                    <a:gd name="connsiteY68" fmla="*/ 484767 h 1631057"/>
                    <a:gd name="connsiteX69" fmla="*/ 219685 w 1636256"/>
                    <a:gd name="connsiteY69" fmla="*/ 462542 h 1631057"/>
                    <a:gd name="connsiteX70" fmla="*/ 172060 w 1636256"/>
                    <a:gd name="connsiteY70" fmla="*/ 303792 h 1631057"/>
                    <a:gd name="connsiteX71" fmla="*/ 302235 w 1636256"/>
                    <a:gd name="connsiteY71" fmla="*/ 167267 h 1631057"/>
                    <a:gd name="connsiteX72" fmla="*/ 495910 w 1636256"/>
                    <a:gd name="connsiteY72" fmla="*/ 227591 h 1631057"/>
                    <a:gd name="connsiteX73" fmla="*/ 641960 w 1636256"/>
                    <a:gd name="connsiteY73" fmla="*/ 160916 h 1631057"/>
                    <a:gd name="connsiteX74" fmla="*/ 654660 w 1636256"/>
                    <a:gd name="connsiteY74" fmla="*/ 148216 h 1631057"/>
                    <a:gd name="connsiteX75" fmla="*/ 695935 w 1636256"/>
                    <a:gd name="connsiteY75" fmla="*/ 65666 h 1631057"/>
                    <a:gd name="connsiteX76" fmla="*/ 724510 w 1636256"/>
                    <a:gd name="connsiteY76" fmla="*/ 14866 h 1631057"/>
                    <a:gd name="connsiteX77" fmla="*/ 756260 w 1636256"/>
                    <a:gd name="connsiteY77" fmla="*/ 5341 h 1631057"/>
                    <a:gd name="connsiteX78" fmla="*/ 841588 w 1636256"/>
                    <a:gd name="connsiteY78" fmla="*/ 579 h 163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1636256" h="1631057">
                      <a:moveTo>
                        <a:pt x="841588" y="579"/>
                      </a:moveTo>
                      <a:cubicBezTo>
                        <a:pt x="870031" y="-1009"/>
                        <a:pt x="896489" y="50"/>
                        <a:pt x="915010" y="11691"/>
                      </a:cubicBezTo>
                      <a:cubicBezTo>
                        <a:pt x="952052" y="34974"/>
                        <a:pt x="965281" y="118583"/>
                        <a:pt x="978510" y="145041"/>
                      </a:cubicBezTo>
                      <a:cubicBezTo>
                        <a:pt x="991739" y="171499"/>
                        <a:pt x="965413" y="156947"/>
                        <a:pt x="994385" y="170441"/>
                      </a:cubicBezTo>
                      <a:cubicBezTo>
                        <a:pt x="1023357" y="183935"/>
                        <a:pt x="1081697" y="184730"/>
                        <a:pt x="1152341" y="226004"/>
                      </a:cubicBezTo>
                      <a:cubicBezTo>
                        <a:pt x="1187266" y="233941"/>
                        <a:pt x="1175625" y="225871"/>
                        <a:pt x="1203935" y="218066"/>
                      </a:cubicBezTo>
                      <a:cubicBezTo>
                        <a:pt x="1232245" y="210261"/>
                        <a:pt x="1295216" y="181289"/>
                        <a:pt x="1322203" y="179172"/>
                      </a:cubicBezTo>
                      <a:cubicBezTo>
                        <a:pt x="1335961" y="185522"/>
                        <a:pt x="1342709" y="184596"/>
                        <a:pt x="1365860" y="205366"/>
                      </a:cubicBezTo>
                      <a:cubicBezTo>
                        <a:pt x="1389011" y="226136"/>
                        <a:pt x="1446293" y="281566"/>
                        <a:pt x="1461110" y="303791"/>
                      </a:cubicBezTo>
                      <a:cubicBezTo>
                        <a:pt x="1475927" y="326016"/>
                        <a:pt x="1461110" y="322312"/>
                        <a:pt x="1454760" y="338716"/>
                      </a:cubicBezTo>
                      <a:cubicBezTo>
                        <a:pt x="1448410" y="355120"/>
                        <a:pt x="1431477" y="382108"/>
                        <a:pt x="1423010" y="402216"/>
                      </a:cubicBezTo>
                      <a:cubicBezTo>
                        <a:pt x="1414543" y="422324"/>
                        <a:pt x="1407664" y="448254"/>
                        <a:pt x="1403960" y="459366"/>
                      </a:cubicBezTo>
                      <a:lnTo>
                        <a:pt x="1403960" y="506991"/>
                      </a:lnTo>
                      <a:cubicBezTo>
                        <a:pt x="1404832" y="511643"/>
                        <a:pt x="1403960" y="508579"/>
                        <a:pt x="1410310" y="519691"/>
                      </a:cubicBezTo>
                      <a:cubicBezTo>
                        <a:pt x="1416660" y="530803"/>
                        <a:pt x="1433593" y="555674"/>
                        <a:pt x="1442060" y="573666"/>
                      </a:cubicBezTo>
                      <a:cubicBezTo>
                        <a:pt x="1450527" y="591658"/>
                        <a:pt x="1456877" y="615470"/>
                        <a:pt x="1461110" y="627641"/>
                      </a:cubicBezTo>
                      <a:cubicBezTo>
                        <a:pt x="1465343" y="639812"/>
                        <a:pt x="1456348" y="640341"/>
                        <a:pt x="1467460" y="646691"/>
                      </a:cubicBezTo>
                      <a:cubicBezTo>
                        <a:pt x="1478572" y="653041"/>
                        <a:pt x="1505031" y="655687"/>
                        <a:pt x="1527785" y="665741"/>
                      </a:cubicBezTo>
                      <a:cubicBezTo>
                        <a:pt x="1550539" y="675795"/>
                        <a:pt x="1586125" y="698682"/>
                        <a:pt x="1603985" y="707016"/>
                      </a:cubicBezTo>
                      <a:cubicBezTo>
                        <a:pt x="1621845" y="715350"/>
                        <a:pt x="1628592" y="713630"/>
                        <a:pt x="1634942" y="715747"/>
                      </a:cubicBezTo>
                      <a:cubicBezTo>
                        <a:pt x="1636631" y="805271"/>
                        <a:pt x="1637457" y="825687"/>
                        <a:pt x="1632560" y="903866"/>
                      </a:cubicBezTo>
                      <a:cubicBezTo>
                        <a:pt x="1626210" y="907041"/>
                        <a:pt x="1638381" y="900162"/>
                        <a:pt x="1613510" y="913391"/>
                      </a:cubicBezTo>
                      <a:lnTo>
                        <a:pt x="1483335" y="983241"/>
                      </a:lnTo>
                      <a:lnTo>
                        <a:pt x="1464285" y="989591"/>
                      </a:lnTo>
                      <a:cubicBezTo>
                        <a:pt x="1461110" y="998058"/>
                        <a:pt x="1458464" y="1002291"/>
                        <a:pt x="1454760" y="1014991"/>
                      </a:cubicBezTo>
                      <a:cubicBezTo>
                        <a:pt x="1451056" y="1027691"/>
                        <a:pt x="1449468" y="1045683"/>
                        <a:pt x="1442060" y="1065791"/>
                      </a:cubicBezTo>
                      <a:cubicBezTo>
                        <a:pt x="1434652" y="1085899"/>
                        <a:pt x="1416660" y="1122412"/>
                        <a:pt x="1410310" y="1135641"/>
                      </a:cubicBezTo>
                      <a:cubicBezTo>
                        <a:pt x="1403960" y="1148870"/>
                        <a:pt x="1406077" y="1141991"/>
                        <a:pt x="1403960" y="1145166"/>
                      </a:cubicBezTo>
                      <a:cubicBezTo>
                        <a:pt x="1407664" y="1161570"/>
                        <a:pt x="1423010" y="1209724"/>
                        <a:pt x="1432535" y="1234066"/>
                      </a:cubicBezTo>
                      <a:cubicBezTo>
                        <a:pt x="1442060" y="1258408"/>
                        <a:pt x="1455818" y="1279574"/>
                        <a:pt x="1461110" y="1291216"/>
                      </a:cubicBezTo>
                      <a:cubicBezTo>
                        <a:pt x="1465872" y="1310266"/>
                        <a:pt x="1467195" y="1311324"/>
                        <a:pt x="1453966" y="1334078"/>
                      </a:cubicBezTo>
                      <a:cubicBezTo>
                        <a:pt x="1440737" y="1356832"/>
                        <a:pt x="1402240" y="1406310"/>
                        <a:pt x="1381735" y="1427741"/>
                      </a:cubicBezTo>
                      <a:cubicBezTo>
                        <a:pt x="1361230" y="1449172"/>
                        <a:pt x="1340989" y="1456316"/>
                        <a:pt x="1330935" y="1462666"/>
                      </a:cubicBezTo>
                      <a:cubicBezTo>
                        <a:pt x="1320881" y="1469016"/>
                        <a:pt x="1324585" y="1464783"/>
                        <a:pt x="1321410" y="1465841"/>
                      </a:cubicBezTo>
                      <a:lnTo>
                        <a:pt x="1302360" y="1459491"/>
                      </a:lnTo>
                      <a:cubicBezTo>
                        <a:pt x="1269552" y="1447849"/>
                        <a:pt x="1230393" y="1433033"/>
                        <a:pt x="1203935" y="1424566"/>
                      </a:cubicBezTo>
                      <a:cubicBezTo>
                        <a:pt x="1177477" y="1416099"/>
                        <a:pt x="1157368" y="1410808"/>
                        <a:pt x="1143610" y="1408691"/>
                      </a:cubicBezTo>
                      <a:cubicBezTo>
                        <a:pt x="1129852" y="1406574"/>
                        <a:pt x="1147314" y="1404458"/>
                        <a:pt x="1121385" y="1411866"/>
                      </a:cubicBezTo>
                      <a:cubicBezTo>
                        <a:pt x="1095456" y="1419274"/>
                        <a:pt x="1016478" y="1434752"/>
                        <a:pt x="988035" y="1453141"/>
                      </a:cubicBezTo>
                      <a:cubicBezTo>
                        <a:pt x="959592" y="1471530"/>
                        <a:pt x="963429" y="1497327"/>
                        <a:pt x="950729" y="1522198"/>
                      </a:cubicBezTo>
                      <a:cubicBezTo>
                        <a:pt x="938029" y="1547069"/>
                        <a:pt x="925593" y="1585433"/>
                        <a:pt x="911835" y="1602366"/>
                      </a:cubicBezTo>
                      <a:cubicBezTo>
                        <a:pt x="898077" y="1619299"/>
                        <a:pt x="902046" y="1619564"/>
                        <a:pt x="868179" y="1623797"/>
                      </a:cubicBezTo>
                      <a:cubicBezTo>
                        <a:pt x="831064" y="1636526"/>
                        <a:pt x="766447" y="1629486"/>
                        <a:pt x="737210" y="1625385"/>
                      </a:cubicBezTo>
                      <a:cubicBezTo>
                        <a:pt x="707974" y="1621284"/>
                        <a:pt x="704931" y="1623004"/>
                        <a:pt x="692760" y="1599191"/>
                      </a:cubicBezTo>
                      <a:cubicBezTo>
                        <a:pt x="680589" y="1575379"/>
                        <a:pt x="646193" y="1506587"/>
                        <a:pt x="635610" y="1484891"/>
                      </a:cubicBezTo>
                      <a:cubicBezTo>
                        <a:pt x="625027" y="1463195"/>
                        <a:pt x="647252" y="1478012"/>
                        <a:pt x="629260" y="1469016"/>
                      </a:cubicBezTo>
                      <a:cubicBezTo>
                        <a:pt x="611268" y="1460020"/>
                        <a:pt x="551473" y="1442029"/>
                        <a:pt x="527660" y="1430916"/>
                      </a:cubicBezTo>
                      <a:cubicBezTo>
                        <a:pt x="515754" y="1425360"/>
                        <a:pt x="507585" y="1419705"/>
                        <a:pt x="501318" y="1414694"/>
                      </a:cubicBezTo>
                      <a:lnTo>
                        <a:pt x="489102" y="1404589"/>
                      </a:lnTo>
                      <a:lnTo>
                        <a:pt x="460985" y="1408692"/>
                      </a:lnTo>
                      <a:cubicBezTo>
                        <a:pt x="431616" y="1415836"/>
                        <a:pt x="376847" y="1436209"/>
                        <a:pt x="349860" y="1443617"/>
                      </a:cubicBezTo>
                      <a:cubicBezTo>
                        <a:pt x="322873" y="1451025"/>
                        <a:pt x="326048" y="1470075"/>
                        <a:pt x="299060" y="1453142"/>
                      </a:cubicBezTo>
                      <a:cubicBezTo>
                        <a:pt x="272073" y="1436209"/>
                        <a:pt x="206985" y="1364242"/>
                        <a:pt x="187935" y="1342017"/>
                      </a:cubicBezTo>
                      <a:cubicBezTo>
                        <a:pt x="168885" y="1319792"/>
                        <a:pt x="185818" y="1327200"/>
                        <a:pt x="184760" y="1319792"/>
                      </a:cubicBezTo>
                      <a:cubicBezTo>
                        <a:pt x="185818" y="1313442"/>
                        <a:pt x="183173" y="1320321"/>
                        <a:pt x="187935" y="1300742"/>
                      </a:cubicBezTo>
                      <a:cubicBezTo>
                        <a:pt x="192697" y="1281163"/>
                        <a:pt x="206456" y="1227188"/>
                        <a:pt x="213335" y="1202317"/>
                      </a:cubicBezTo>
                      <a:cubicBezTo>
                        <a:pt x="223867" y="1181253"/>
                        <a:pt x="237677" y="1184325"/>
                        <a:pt x="229210" y="1151517"/>
                      </a:cubicBezTo>
                      <a:cubicBezTo>
                        <a:pt x="220743" y="1118709"/>
                        <a:pt x="178410" y="1035629"/>
                        <a:pt x="162535" y="1005467"/>
                      </a:cubicBezTo>
                      <a:cubicBezTo>
                        <a:pt x="153666" y="987728"/>
                        <a:pt x="158302" y="984300"/>
                        <a:pt x="133960" y="970542"/>
                      </a:cubicBezTo>
                      <a:cubicBezTo>
                        <a:pt x="109618" y="956784"/>
                        <a:pt x="38181" y="932442"/>
                        <a:pt x="16485" y="922917"/>
                      </a:cubicBezTo>
                      <a:cubicBezTo>
                        <a:pt x="-5211" y="913392"/>
                        <a:pt x="7173" y="917457"/>
                        <a:pt x="3785" y="913392"/>
                      </a:cubicBezTo>
                      <a:cubicBezTo>
                        <a:pt x="1642" y="910821"/>
                        <a:pt x="840" y="907206"/>
                        <a:pt x="610" y="903867"/>
                      </a:cubicBezTo>
                      <a:cubicBezTo>
                        <a:pt x="81" y="884288"/>
                        <a:pt x="-448" y="828196"/>
                        <a:pt x="610" y="795917"/>
                      </a:cubicBezTo>
                      <a:cubicBezTo>
                        <a:pt x="1668" y="763638"/>
                        <a:pt x="-1340" y="751693"/>
                        <a:pt x="6960" y="710192"/>
                      </a:cubicBezTo>
                      <a:lnTo>
                        <a:pt x="133960" y="646692"/>
                      </a:lnTo>
                      <a:cubicBezTo>
                        <a:pt x="142427" y="642459"/>
                        <a:pt x="150742" y="637909"/>
                        <a:pt x="159360" y="633992"/>
                      </a:cubicBezTo>
                      <a:cubicBezTo>
                        <a:pt x="162407" y="632607"/>
                        <a:pt x="163990" y="644178"/>
                        <a:pt x="168885" y="630817"/>
                      </a:cubicBezTo>
                      <a:cubicBezTo>
                        <a:pt x="173780" y="617456"/>
                        <a:pt x="174895" y="576001"/>
                        <a:pt x="188729" y="553823"/>
                      </a:cubicBezTo>
                      <a:cubicBezTo>
                        <a:pt x="205398" y="527100"/>
                        <a:pt x="219685" y="502759"/>
                        <a:pt x="226035" y="484767"/>
                      </a:cubicBezTo>
                      <a:cubicBezTo>
                        <a:pt x="225018" y="480698"/>
                        <a:pt x="228681" y="492705"/>
                        <a:pt x="219685" y="462542"/>
                      </a:cubicBezTo>
                      <a:cubicBezTo>
                        <a:pt x="210689" y="432380"/>
                        <a:pt x="179733" y="355385"/>
                        <a:pt x="172060" y="303792"/>
                      </a:cubicBezTo>
                      <a:lnTo>
                        <a:pt x="302235" y="167267"/>
                      </a:lnTo>
                      <a:lnTo>
                        <a:pt x="495910" y="227591"/>
                      </a:lnTo>
                      <a:cubicBezTo>
                        <a:pt x="544593" y="205366"/>
                        <a:pt x="567083" y="180759"/>
                        <a:pt x="641960" y="160916"/>
                      </a:cubicBezTo>
                      <a:cubicBezTo>
                        <a:pt x="670554" y="153338"/>
                        <a:pt x="645664" y="164091"/>
                        <a:pt x="654660" y="148216"/>
                      </a:cubicBezTo>
                      <a:cubicBezTo>
                        <a:pt x="663656" y="132341"/>
                        <a:pt x="684293" y="87891"/>
                        <a:pt x="695935" y="65666"/>
                      </a:cubicBezTo>
                      <a:cubicBezTo>
                        <a:pt x="707577" y="43441"/>
                        <a:pt x="714456" y="24920"/>
                        <a:pt x="724510" y="14866"/>
                      </a:cubicBezTo>
                      <a:cubicBezTo>
                        <a:pt x="734564" y="4812"/>
                        <a:pt x="742271" y="7339"/>
                        <a:pt x="756260" y="5341"/>
                      </a:cubicBezTo>
                      <a:cubicBezTo>
                        <a:pt x="782719" y="6400"/>
                        <a:pt x="813146" y="2167"/>
                        <a:pt x="841588" y="579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B81F0935-BCD6-44BB-84BF-39453E719097}"/>
                    </a:ext>
                  </a:extLst>
                </p:cNvPr>
                <p:cNvSpPr/>
                <p:nvPr/>
              </p:nvSpPr>
              <p:spPr>
                <a:xfrm>
                  <a:off x="3376870" y="4310132"/>
                  <a:ext cx="1149871" cy="1631057"/>
                </a:xfrm>
                <a:custGeom>
                  <a:avLst/>
                  <a:gdLst>
                    <a:gd name="connsiteX0" fmla="*/ 9525 w 1146175"/>
                    <a:gd name="connsiteY0" fmla="*/ 222250 h 1655757"/>
                    <a:gd name="connsiteX1" fmla="*/ 28575 w 1146175"/>
                    <a:gd name="connsiteY1" fmla="*/ 206375 h 1655757"/>
                    <a:gd name="connsiteX2" fmla="*/ 50800 w 1146175"/>
                    <a:gd name="connsiteY2" fmla="*/ 200025 h 1655757"/>
                    <a:gd name="connsiteX3" fmla="*/ 73025 w 1146175"/>
                    <a:gd name="connsiteY3" fmla="*/ 190500 h 1655757"/>
                    <a:gd name="connsiteX4" fmla="*/ 85725 w 1146175"/>
                    <a:gd name="connsiteY4" fmla="*/ 187325 h 1655757"/>
                    <a:gd name="connsiteX5" fmla="*/ 111125 w 1146175"/>
                    <a:gd name="connsiteY5" fmla="*/ 168275 h 1655757"/>
                    <a:gd name="connsiteX6" fmla="*/ 127000 w 1146175"/>
                    <a:gd name="connsiteY6" fmla="*/ 165100 h 1655757"/>
                    <a:gd name="connsiteX7" fmla="*/ 139700 w 1146175"/>
                    <a:gd name="connsiteY7" fmla="*/ 158750 h 1655757"/>
                    <a:gd name="connsiteX8" fmla="*/ 155575 w 1146175"/>
                    <a:gd name="connsiteY8" fmla="*/ 155575 h 1655757"/>
                    <a:gd name="connsiteX9" fmla="*/ 168275 w 1146175"/>
                    <a:gd name="connsiteY9" fmla="*/ 142875 h 1655757"/>
                    <a:gd name="connsiteX10" fmla="*/ 180975 w 1146175"/>
                    <a:gd name="connsiteY10" fmla="*/ 127000 h 1655757"/>
                    <a:gd name="connsiteX11" fmla="*/ 193675 w 1146175"/>
                    <a:gd name="connsiteY11" fmla="*/ 107950 h 1655757"/>
                    <a:gd name="connsiteX12" fmla="*/ 206375 w 1146175"/>
                    <a:gd name="connsiteY12" fmla="*/ 73025 h 1655757"/>
                    <a:gd name="connsiteX13" fmla="*/ 209550 w 1146175"/>
                    <a:gd name="connsiteY13" fmla="*/ 60325 h 1655757"/>
                    <a:gd name="connsiteX14" fmla="*/ 228600 w 1146175"/>
                    <a:gd name="connsiteY14" fmla="*/ 28575 h 1655757"/>
                    <a:gd name="connsiteX15" fmla="*/ 238125 w 1146175"/>
                    <a:gd name="connsiteY15" fmla="*/ 9525 h 1655757"/>
                    <a:gd name="connsiteX16" fmla="*/ 269875 w 1146175"/>
                    <a:gd name="connsiteY16" fmla="*/ 0 h 1655757"/>
                    <a:gd name="connsiteX17" fmla="*/ 428625 w 1146175"/>
                    <a:gd name="connsiteY17" fmla="*/ 6350 h 1655757"/>
                    <a:gd name="connsiteX18" fmla="*/ 434975 w 1146175"/>
                    <a:gd name="connsiteY18" fmla="*/ 19050 h 1655757"/>
                    <a:gd name="connsiteX19" fmla="*/ 441325 w 1146175"/>
                    <a:gd name="connsiteY19" fmla="*/ 34925 h 1655757"/>
                    <a:gd name="connsiteX20" fmla="*/ 447675 w 1146175"/>
                    <a:gd name="connsiteY20" fmla="*/ 44450 h 1655757"/>
                    <a:gd name="connsiteX21" fmla="*/ 454025 w 1146175"/>
                    <a:gd name="connsiteY21" fmla="*/ 60325 h 1655757"/>
                    <a:gd name="connsiteX22" fmla="*/ 460375 w 1146175"/>
                    <a:gd name="connsiteY22" fmla="*/ 69850 h 1655757"/>
                    <a:gd name="connsiteX23" fmla="*/ 476250 w 1146175"/>
                    <a:gd name="connsiteY23" fmla="*/ 101600 h 1655757"/>
                    <a:gd name="connsiteX24" fmla="*/ 479425 w 1146175"/>
                    <a:gd name="connsiteY24" fmla="*/ 117475 h 1655757"/>
                    <a:gd name="connsiteX25" fmla="*/ 485775 w 1146175"/>
                    <a:gd name="connsiteY25" fmla="*/ 127000 h 1655757"/>
                    <a:gd name="connsiteX26" fmla="*/ 492125 w 1146175"/>
                    <a:gd name="connsiteY26" fmla="*/ 139700 h 1655757"/>
                    <a:gd name="connsiteX27" fmla="*/ 508000 w 1146175"/>
                    <a:gd name="connsiteY27" fmla="*/ 165100 h 1655757"/>
                    <a:gd name="connsiteX28" fmla="*/ 527050 w 1146175"/>
                    <a:gd name="connsiteY28" fmla="*/ 168275 h 1655757"/>
                    <a:gd name="connsiteX29" fmla="*/ 558800 w 1146175"/>
                    <a:gd name="connsiteY29" fmla="*/ 184150 h 1655757"/>
                    <a:gd name="connsiteX30" fmla="*/ 574675 w 1146175"/>
                    <a:gd name="connsiteY30" fmla="*/ 187325 h 1655757"/>
                    <a:gd name="connsiteX31" fmla="*/ 635000 w 1146175"/>
                    <a:gd name="connsiteY31" fmla="*/ 215900 h 1655757"/>
                    <a:gd name="connsiteX32" fmla="*/ 717550 w 1146175"/>
                    <a:gd name="connsiteY32" fmla="*/ 212725 h 1655757"/>
                    <a:gd name="connsiteX33" fmla="*/ 733425 w 1146175"/>
                    <a:gd name="connsiteY33" fmla="*/ 206375 h 1655757"/>
                    <a:gd name="connsiteX34" fmla="*/ 771525 w 1146175"/>
                    <a:gd name="connsiteY34" fmla="*/ 200025 h 1655757"/>
                    <a:gd name="connsiteX35" fmla="*/ 796925 w 1146175"/>
                    <a:gd name="connsiteY35" fmla="*/ 190500 h 1655757"/>
                    <a:gd name="connsiteX36" fmla="*/ 838200 w 1146175"/>
                    <a:gd name="connsiteY36" fmla="*/ 180975 h 1655757"/>
                    <a:gd name="connsiteX37" fmla="*/ 879475 w 1146175"/>
                    <a:gd name="connsiteY37" fmla="*/ 200025 h 1655757"/>
                    <a:gd name="connsiteX38" fmla="*/ 885825 w 1146175"/>
                    <a:gd name="connsiteY38" fmla="*/ 209550 h 1655757"/>
                    <a:gd name="connsiteX39" fmla="*/ 901700 w 1146175"/>
                    <a:gd name="connsiteY39" fmla="*/ 225425 h 1655757"/>
                    <a:gd name="connsiteX40" fmla="*/ 917575 w 1146175"/>
                    <a:gd name="connsiteY40" fmla="*/ 238125 h 1655757"/>
                    <a:gd name="connsiteX41" fmla="*/ 936625 w 1146175"/>
                    <a:gd name="connsiteY41" fmla="*/ 250825 h 1655757"/>
                    <a:gd name="connsiteX42" fmla="*/ 955675 w 1146175"/>
                    <a:gd name="connsiteY42" fmla="*/ 273050 h 1655757"/>
                    <a:gd name="connsiteX43" fmla="*/ 974725 w 1146175"/>
                    <a:gd name="connsiteY43" fmla="*/ 298450 h 1655757"/>
                    <a:gd name="connsiteX44" fmla="*/ 968375 w 1146175"/>
                    <a:gd name="connsiteY44" fmla="*/ 333375 h 1655757"/>
                    <a:gd name="connsiteX45" fmla="*/ 965200 w 1146175"/>
                    <a:gd name="connsiteY45" fmla="*/ 342900 h 1655757"/>
                    <a:gd name="connsiteX46" fmla="*/ 949325 w 1146175"/>
                    <a:gd name="connsiteY46" fmla="*/ 361950 h 1655757"/>
                    <a:gd name="connsiteX47" fmla="*/ 939800 w 1146175"/>
                    <a:gd name="connsiteY47" fmla="*/ 384175 h 1655757"/>
                    <a:gd name="connsiteX48" fmla="*/ 936625 w 1146175"/>
                    <a:gd name="connsiteY48" fmla="*/ 396875 h 1655757"/>
                    <a:gd name="connsiteX49" fmla="*/ 930275 w 1146175"/>
                    <a:gd name="connsiteY49" fmla="*/ 412750 h 1655757"/>
                    <a:gd name="connsiteX50" fmla="*/ 927100 w 1146175"/>
                    <a:gd name="connsiteY50" fmla="*/ 425450 h 1655757"/>
                    <a:gd name="connsiteX51" fmla="*/ 920750 w 1146175"/>
                    <a:gd name="connsiteY51" fmla="*/ 441325 h 1655757"/>
                    <a:gd name="connsiteX52" fmla="*/ 917575 w 1146175"/>
                    <a:gd name="connsiteY52" fmla="*/ 454025 h 1655757"/>
                    <a:gd name="connsiteX53" fmla="*/ 914400 w 1146175"/>
                    <a:gd name="connsiteY53" fmla="*/ 463550 h 1655757"/>
                    <a:gd name="connsiteX54" fmla="*/ 917575 w 1146175"/>
                    <a:gd name="connsiteY54" fmla="*/ 501650 h 1655757"/>
                    <a:gd name="connsiteX55" fmla="*/ 923925 w 1146175"/>
                    <a:gd name="connsiteY55" fmla="*/ 514350 h 1655757"/>
                    <a:gd name="connsiteX56" fmla="*/ 939800 w 1146175"/>
                    <a:gd name="connsiteY56" fmla="*/ 533400 h 1655757"/>
                    <a:gd name="connsiteX57" fmla="*/ 942975 w 1146175"/>
                    <a:gd name="connsiteY57" fmla="*/ 542925 h 1655757"/>
                    <a:gd name="connsiteX58" fmla="*/ 955675 w 1146175"/>
                    <a:gd name="connsiteY58" fmla="*/ 568325 h 1655757"/>
                    <a:gd name="connsiteX59" fmla="*/ 968375 w 1146175"/>
                    <a:gd name="connsiteY59" fmla="*/ 609600 h 1655757"/>
                    <a:gd name="connsiteX60" fmla="*/ 974725 w 1146175"/>
                    <a:gd name="connsiteY60" fmla="*/ 622300 h 1655757"/>
                    <a:gd name="connsiteX61" fmla="*/ 981075 w 1146175"/>
                    <a:gd name="connsiteY61" fmla="*/ 641350 h 1655757"/>
                    <a:gd name="connsiteX62" fmla="*/ 993775 w 1146175"/>
                    <a:gd name="connsiteY62" fmla="*/ 644525 h 1655757"/>
                    <a:gd name="connsiteX63" fmla="*/ 1012825 w 1146175"/>
                    <a:gd name="connsiteY63" fmla="*/ 647700 h 1655757"/>
                    <a:gd name="connsiteX64" fmla="*/ 1041400 w 1146175"/>
                    <a:gd name="connsiteY64" fmla="*/ 660400 h 1655757"/>
                    <a:gd name="connsiteX65" fmla="*/ 1050925 w 1146175"/>
                    <a:gd name="connsiteY65" fmla="*/ 663575 h 1655757"/>
                    <a:gd name="connsiteX66" fmla="*/ 1066800 w 1146175"/>
                    <a:gd name="connsiteY66" fmla="*/ 673100 h 1655757"/>
                    <a:gd name="connsiteX67" fmla="*/ 1089025 w 1146175"/>
                    <a:gd name="connsiteY67" fmla="*/ 682625 h 1655757"/>
                    <a:gd name="connsiteX68" fmla="*/ 1117600 w 1146175"/>
                    <a:gd name="connsiteY68" fmla="*/ 701675 h 1655757"/>
                    <a:gd name="connsiteX69" fmla="*/ 1136650 w 1146175"/>
                    <a:gd name="connsiteY69" fmla="*/ 708025 h 1655757"/>
                    <a:gd name="connsiteX70" fmla="*/ 1146175 w 1146175"/>
                    <a:gd name="connsiteY70" fmla="*/ 898525 h 1655757"/>
                    <a:gd name="connsiteX71" fmla="*/ 1127125 w 1146175"/>
                    <a:gd name="connsiteY71" fmla="*/ 908050 h 1655757"/>
                    <a:gd name="connsiteX72" fmla="*/ 1101725 w 1146175"/>
                    <a:gd name="connsiteY72" fmla="*/ 914400 h 1655757"/>
                    <a:gd name="connsiteX73" fmla="*/ 1092200 w 1146175"/>
                    <a:gd name="connsiteY73" fmla="*/ 920750 h 1655757"/>
                    <a:gd name="connsiteX74" fmla="*/ 1079500 w 1146175"/>
                    <a:gd name="connsiteY74" fmla="*/ 923925 h 1655757"/>
                    <a:gd name="connsiteX75" fmla="*/ 1069975 w 1146175"/>
                    <a:gd name="connsiteY75" fmla="*/ 933450 h 1655757"/>
                    <a:gd name="connsiteX76" fmla="*/ 1060450 w 1146175"/>
                    <a:gd name="connsiteY76" fmla="*/ 939800 h 1655757"/>
                    <a:gd name="connsiteX77" fmla="*/ 1038225 w 1146175"/>
                    <a:gd name="connsiteY77" fmla="*/ 952500 h 1655757"/>
                    <a:gd name="connsiteX78" fmla="*/ 996950 w 1146175"/>
                    <a:gd name="connsiteY78" fmla="*/ 977900 h 1655757"/>
                    <a:gd name="connsiteX79" fmla="*/ 977900 w 1146175"/>
                    <a:gd name="connsiteY79" fmla="*/ 984250 h 1655757"/>
                    <a:gd name="connsiteX80" fmla="*/ 968375 w 1146175"/>
                    <a:gd name="connsiteY80" fmla="*/ 1009650 h 1655757"/>
                    <a:gd name="connsiteX81" fmla="*/ 958850 w 1146175"/>
                    <a:gd name="connsiteY81" fmla="*/ 1035050 h 1655757"/>
                    <a:gd name="connsiteX82" fmla="*/ 955675 w 1146175"/>
                    <a:gd name="connsiteY82" fmla="*/ 1060450 h 1655757"/>
                    <a:gd name="connsiteX83" fmla="*/ 949325 w 1146175"/>
                    <a:gd name="connsiteY83" fmla="*/ 1069975 h 1655757"/>
                    <a:gd name="connsiteX84" fmla="*/ 946150 w 1146175"/>
                    <a:gd name="connsiteY84" fmla="*/ 1079500 h 1655757"/>
                    <a:gd name="connsiteX85" fmla="*/ 936625 w 1146175"/>
                    <a:gd name="connsiteY85" fmla="*/ 1095375 h 1655757"/>
                    <a:gd name="connsiteX86" fmla="*/ 923925 w 1146175"/>
                    <a:gd name="connsiteY86" fmla="*/ 1130300 h 1655757"/>
                    <a:gd name="connsiteX87" fmla="*/ 917575 w 1146175"/>
                    <a:gd name="connsiteY87" fmla="*/ 1139825 h 1655757"/>
                    <a:gd name="connsiteX88" fmla="*/ 923925 w 1146175"/>
                    <a:gd name="connsiteY88" fmla="*/ 1193800 h 1655757"/>
                    <a:gd name="connsiteX89" fmla="*/ 939800 w 1146175"/>
                    <a:gd name="connsiteY89" fmla="*/ 1216025 h 1655757"/>
                    <a:gd name="connsiteX90" fmla="*/ 946150 w 1146175"/>
                    <a:gd name="connsiteY90" fmla="*/ 1228725 h 1655757"/>
                    <a:gd name="connsiteX91" fmla="*/ 952500 w 1146175"/>
                    <a:gd name="connsiteY91" fmla="*/ 1238250 h 1655757"/>
                    <a:gd name="connsiteX92" fmla="*/ 965200 w 1146175"/>
                    <a:gd name="connsiteY92" fmla="*/ 1263650 h 1655757"/>
                    <a:gd name="connsiteX93" fmla="*/ 974725 w 1146175"/>
                    <a:gd name="connsiteY93" fmla="*/ 1285875 h 1655757"/>
                    <a:gd name="connsiteX94" fmla="*/ 977900 w 1146175"/>
                    <a:gd name="connsiteY94" fmla="*/ 1298575 h 1655757"/>
                    <a:gd name="connsiteX95" fmla="*/ 981075 w 1146175"/>
                    <a:gd name="connsiteY95" fmla="*/ 1308100 h 1655757"/>
                    <a:gd name="connsiteX96" fmla="*/ 974725 w 1146175"/>
                    <a:gd name="connsiteY96" fmla="*/ 1343025 h 1655757"/>
                    <a:gd name="connsiteX97" fmla="*/ 949325 w 1146175"/>
                    <a:gd name="connsiteY97" fmla="*/ 1374775 h 1655757"/>
                    <a:gd name="connsiteX98" fmla="*/ 939800 w 1146175"/>
                    <a:gd name="connsiteY98" fmla="*/ 1381125 h 1655757"/>
                    <a:gd name="connsiteX99" fmla="*/ 930275 w 1146175"/>
                    <a:gd name="connsiteY99" fmla="*/ 1390650 h 1655757"/>
                    <a:gd name="connsiteX100" fmla="*/ 923925 w 1146175"/>
                    <a:gd name="connsiteY100" fmla="*/ 1400175 h 1655757"/>
                    <a:gd name="connsiteX101" fmla="*/ 908050 w 1146175"/>
                    <a:gd name="connsiteY101" fmla="*/ 1409700 h 1655757"/>
                    <a:gd name="connsiteX102" fmla="*/ 895350 w 1146175"/>
                    <a:gd name="connsiteY102" fmla="*/ 1422400 h 1655757"/>
                    <a:gd name="connsiteX103" fmla="*/ 882650 w 1146175"/>
                    <a:gd name="connsiteY103" fmla="*/ 1431925 h 1655757"/>
                    <a:gd name="connsiteX104" fmla="*/ 873125 w 1146175"/>
                    <a:gd name="connsiteY104" fmla="*/ 1441450 h 1655757"/>
                    <a:gd name="connsiteX105" fmla="*/ 844550 w 1146175"/>
                    <a:gd name="connsiteY105" fmla="*/ 1457325 h 1655757"/>
                    <a:gd name="connsiteX106" fmla="*/ 835025 w 1146175"/>
                    <a:gd name="connsiteY106" fmla="*/ 1460500 h 1655757"/>
                    <a:gd name="connsiteX107" fmla="*/ 815975 w 1146175"/>
                    <a:gd name="connsiteY107" fmla="*/ 1454150 h 1655757"/>
                    <a:gd name="connsiteX108" fmla="*/ 774700 w 1146175"/>
                    <a:gd name="connsiteY108" fmla="*/ 1438275 h 1655757"/>
                    <a:gd name="connsiteX109" fmla="*/ 749300 w 1146175"/>
                    <a:gd name="connsiteY109" fmla="*/ 1431925 h 1655757"/>
                    <a:gd name="connsiteX110" fmla="*/ 717550 w 1146175"/>
                    <a:gd name="connsiteY110" fmla="*/ 1419225 h 1655757"/>
                    <a:gd name="connsiteX111" fmla="*/ 688975 w 1146175"/>
                    <a:gd name="connsiteY111" fmla="*/ 1412875 h 1655757"/>
                    <a:gd name="connsiteX112" fmla="*/ 657225 w 1146175"/>
                    <a:gd name="connsiteY112" fmla="*/ 1403350 h 1655757"/>
                    <a:gd name="connsiteX113" fmla="*/ 635000 w 1146175"/>
                    <a:gd name="connsiteY113" fmla="*/ 1406525 h 1655757"/>
                    <a:gd name="connsiteX114" fmla="*/ 622300 w 1146175"/>
                    <a:gd name="connsiteY114" fmla="*/ 1412875 h 1655757"/>
                    <a:gd name="connsiteX115" fmla="*/ 606425 w 1146175"/>
                    <a:gd name="connsiteY115" fmla="*/ 1422400 h 1655757"/>
                    <a:gd name="connsiteX116" fmla="*/ 577850 w 1146175"/>
                    <a:gd name="connsiteY116" fmla="*/ 1438275 h 1655757"/>
                    <a:gd name="connsiteX117" fmla="*/ 558800 w 1146175"/>
                    <a:gd name="connsiteY117" fmla="*/ 1441450 h 1655757"/>
                    <a:gd name="connsiteX118" fmla="*/ 501650 w 1146175"/>
                    <a:gd name="connsiteY118" fmla="*/ 1447800 h 1655757"/>
                    <a:gd name="connsiteX119" fmla="*/ 492125 w 1146175"/>
                    <a:gd name="connsiteY119" fmla="*/ 1454150 h 1655757"/>
                    <a:gd name="connsiteX120" fmla="*/ 466725 w 1146175"/>
                    <a:gd name="connsiteY120" fmla="*/ 1485900 h 1655757"/>
                    <a:gd name="connsiteX121" fmla="*/ 457200 w 1146175"/>
                    <a:gd name="connsiteY121" fmla="*/ 1504950 h 1655757"/>
                    <a:gd name="connsiteX122" fmla="*/ 454025 w 1146175"/>
                    <a:gd name="connsiteY122" fmla="*/ 1514475 h 1655757"/>
                    <a:gd name="connsiteX123" fmla="*/ 447675 w 1146175"/>
                    <a:gd name="connsiteY123" fmla="*/ 1530350 h 1655757"/>
                    <a:gd name="connsiteX124" fmla="*/ 434975 w 1146175"/>
                    <a:gd name="connsiteY124" fmla="*/ 1555750 h 1655757"/>
                    <a:gd name="connsiteX125" fmla="*/ 431800 w 1146175"/>
                    <a:gd name="connsiteY125" fmla="*/ 1571625 h 1655757"/>
                    <a:gd name="connsiteX126" fmla="*/ 425450 w 1146175"/>
                    <a:gd name="connsiteY126" fmla="*/ 1597025 h 1655757"/>
                    <a:gd name="connsiteX127" fmla="*/ 422275 w 1146175"/>
                    <a:gd name="connsiteY127" fmla="*/ 1606550 h 1655757"/>
                    <a:gd name="connsiteX128" fmla="*/ 412750 w 1146175"/>
                    <a:gd name="connsiteY128" fmla="*/ 1616075 h 1655757"/>
                    <a:gd name="connsiteX129" fmla="*/ 222250 w 1146175"/>
                    <a:gd name="connsiteY129" fmla="*/ 1622425 h 1655757"/>
                    <a:gd name="connsiteX130" fmla="*/ 215900 w 1146175"/>
                    <a:gd name="connsiteY130" fmla="*/ 1606550 h 1655757"/>
                    <a:gd name="connsiteX131" fmla="*/ 206375 w 1146175"/>
                    <a:gd name="connsiteY131" fmla="*/ 1593850 h 1655757"/>
                    <a:gd name="connsiteX132" fmla="*/ 203200 w 1146175"/>
                    <a:gd name="connsiteY132" fmla="*/ 1581150 h 1655757"/>
                    <a:gd name="connsiteX133" fmla="*/ 196850 w 1146175"/>
                    <a:gd name="connsiteY133" fmla="*/ 1568450 h 1655757"/>
                    <a:gd name="connsiteX134" fmla="*/ 193675 w 1146175"/>
                    <a:gd name="connsiteY134" fmla="*/ 1558925 h 1655757"/>
                    <a:gd name="connsiteX135" fmla="*/ 187325 w 1146175"/>
                    <a:gd name="connsiteY135" fmla="*/ 1546225 h 1655757"/>
                    <a:gd name="connsiteX136" fmla="*/ 180975 w 1146175"/>
                    <a:gd name="connsiteY136" fmla="*/ 1530350 h 1655757"/>
                    <a:gd name="connsiteX137" fmla="*/ 161925 w 1146175"/>
                    <a:gd name="connsiteY137" fmla="*/ 1501775 h 1655757"/>
                    <a:gd name="connsiteX138" fmla="*/ 149225 w 1146175"/>
                    <a:gd name="connsiteY138" fmla="*/ 1479550 h 1655757"/>
                    <a:gd name="connsiteX139" fmla="*/ 142875 w 1146175"/>
                    <a:gd name="connsiteY139" fmla="*/ 1463675 h 1655757"/>
                    <a:gd name="connsiteX140" fmla="*/ 130175 w 1146175"/>
                    <a:gd name="connsiteY140" fmla="*/ 1460500 h 1655757"/>
                    <a:gd name="connsiteX141" fmla="*/ 101600 w 1146175"/>
                    <a:gd name="connsiteY141" fmla="*/ 1447800 h 1655757"/>
                    <a:gd name="connsiteX142" fmla="*/ 69850 w 1146175"/>
                    <a:gd name="connsiteY142" fmla="*/ 1438275 h 1655757"/>
                    <a:gd name="connsiteX143" fmla="*/ 41275 w 1146175"/>
                    <a:gd name="connsiteY143" fmla="*/ 1425575 h 1655757"/>
                    <a:gd name="connsiteX144" fmla="*/ 31750 w 1146175"/>
                    <a:gd name="connsiteY144" fmla="*/ 1419225 h 1655757"/>
                    <a:gd name="connsiteX145" fmla="*/ 15875 w 1146175"/>
                    <a:gd name="connsiteY145" fmla="*/ 1412875 h 1655757"/>
                    <a:gd name="connsiteX146" fmla="*/ 0 w 1146175"/>
                    <a:gd name="connsiteY146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73025 w 1146175"/>
                    <a:gd name="connsiteY2" fmla="*/ 190500 h 1655757"/>
                    <a:gd name="connsiteX3" fmla="*/ 85725 w 1146175"/>
                    <a:gd name="connsiteY3" fmla="*/ 187325 h 1655757"/>
                    <a:gd name="connsiteX4" fmla="*/ 111125 w 1146175"/>
                    <a:gd name="connsiteY4" fmla="*/ 168275 h 1655757"/>
                    <a:gd name="connsiteX5" fmla="*/ 127000 w 1146175"/>
                    <a:gd name="connsiteY5" fmla="*/ 165100 h 1655757"/>
                    <a:gd name="connsiteX6" fmla="*/ 139700 w 1146175"/>
                    <a:gd name="connsiteY6" fmla="*/ 158750 h 1655757"/>
                    <a:gd name="connsiteX7" fmla="*/ 155575 w 1146175"/>
                    <a:gd name="connsiteY7" fmla="*/ 155575 h 1655757"/>
                    <a:gd name="connsiteX8" fmla="*/ 168275 w 1146175"/>
                    <a:gd name="connsiteY8" fmla="*/ 142875 h 1655757"/>
                    <a:gd name="connsiteX9" fmla="*/ 180975 w 1146175"/>
                    <a:gd name="connsiteY9" fmla="*/ 127000 h 1655757"/>
                    <a:gd name="connsiteX10" fmla="*/ 193675 w 1146175"/>
                    <a:gd name="connsiteY10" fmla="*/ 107950 h 1655757"/>
                    <a:gd name="connsiteX11" fmla="*/ 206375 w 1146175"/>
                    <a:gd name="connsiteY11" fmla="*/ 73025 h 1655757"/>
                    <a:gd name="connsiteX12" fmla="*/ 209550 w 1146175"/>
                    <a:gd name="connsiteY12" fmla="*/ 60325 h 1655757"/>
                    <a:gd name="connsiteX13" fmla="*/ 228600 w 1146175"/>
                    <a:gd name="connsiteY13" fmla="*/ 28575 h 1655757"/>
                    <a:gd name="connsiteX14" fmla="*/ 238125 w 1146175"/>
                    <a:gd name="connsiteY14" fmla="*/ 9525 h 1655757"/>
                    <a:gd name="connsiteX15" fmla="*/ 269875 w 1146175"/>
                    <a:gd name="connsiteY15" fmla="*/ 0 h 1655757"/>
                    <a:gd name="connsiteX16" fmla="*/ 428625 w 1146175"/>
                    <a:gd name="connsiteY16" fmla="*/ 6350 h 1655757"/>
                    <a:gd name="connsiteX17" fmla="*/ 434975 w 1146175"/>
                    <a:gd name="connsiteY17" fmla="*/ 19050 h 1655757"/>
                    <a:gd name="connsiteX18" fmla="*/ 441325 w 1146175"/>
                    <a:gd name="connsiteY18" fmla="*/ 34925 h 1655757"/>
                    <a:gd name="connsiteX19" fmla="*/ 447675 w 1146175"/>
                    <a:gd name="connsiteY19" fmla="*/ 44450 h 1655757"/>
                    <a:gd name="connsiteX20" fmla="*/ 454025 w 1146175"/>
                    <a:gd name="connsiteY20" fmla="*/ 60325 h 1655757"/>
                    <a:gd name="connsiteX21" fmla="*/ 460375 w 1146175"/>
                    <a:gd name="connsiteY21" fmla="*/ 69850 h 1655757"/>
                    <a:gd name="connsiteX22" fmla="*/ 476250 w 1146175"/>
                    <a:gd name="connsiteY22" fmla="*/ 101600 h 1655757"/>
                    <a:gd name="connsiteX23" fmla="*/ 479425 w 1146175"/>
                    <a:gd name="connsiteY23" fmla="*/ 117475 h 1655757"/>
                    <a:gd name="connsiteX24" fmla="*/ 485775 w 1146175"/>
                    <a:gd name="connsiteY24" fmla="*/ 127000 h 1655757"/>
                    <a:gd name="connsiteX25" fmla="*/ 492125 w 1146175"/>
                    <a:gd name="connsiteY25" fmla="*/ 139700 h 1655757"/>
                    <a:gd name="connsiteX26" fmla="*/ 508000 w 1146175"/>
                    <a:gd name="connsiteY26" fmla="*/ 165100 h 1655757"/>
                    <a:gd name="connsiteX27" fmla="*/ 527050 w 1146175"/>
                    <a:gd name="connsiteY27" fmla="*/ 168275 h 1655757"/>
                    <a:gd name="connsiteX28" fmla="*/ 558800 w 1146175"/>
                    <a:gd name="connsiteY28" fmla="*/ 184150 h 1655757"/>
                    <a:gd name="connsiteX29" fmla="*/ 574675 w 1146175"/>
                    <a:gd name="connsiteY29" fmla="*/ 187325 h 1655757"/>
                    <a:gd name="connsiteX30" fmla="*/ 635000 w 1146175"/>
                    <a:gd name="connsiteY30" fmla="*/ 215900 h 1655757"/>
                    <a:gd name="connsiteX31" fmla="*/ 717550 w 1146175"/>
                    <a:gd name="connsiteY31" fmla="*/ 212725 h 1655757"/>
                    <a:gd name="connsiteX32" fmla="*/ 733425 w 1146175"/>
                    <a:gd name="connsiteY32" fmla="*/ 206375 h 1655757"/>
                    <a:gd name="connsiteX33" fmla="*/ 771525 w 1146175"/>
                    <a:gd name="connsiteY33" fmla="*/ 200025 h 1655757"/>
                    <a:gd name="connsiteX34" fmla="*/ 796925 w 1146175"/>
                    <a:gd name="connsiteY34" fmla="*/ 190500 h 1655757"/>
                    <a:gd name="connsiteX35" fmla="*/ 838200 w 1146175"/>
                    <a:gd name="connsiteY35" fmla="*/ 180975 h 1655757"/>
                    <a:gd name="connsiteX36" fmla="*/ 879475 w 1146175"/>
                    <a:gd name="connsiteY36" fmla="*/ 200025 h 1655757"/>
                    <a:gd name="connsiteX37" fmla="*/ 885825 w 1146175"/>
                    <a:gd name="connsiteY37" fmla="*/ 209550 h 1655757"/>
                    <a:gd name="connsiteX38" fmla="*/ 901700 w 1146175"/>
                    <a:gd name="connsiteY38" fmla="*/ 225425 h 1655757"/>
                    <a:gd name="connsiteX39" fmla="*/ 917575 w 1146175"/>
                    <a:gd name="connsiteY39" fmla="*/ 238125 h 1655757"/>
                    <a:gd name="connsiteX40" fmla="*/ 936625 w 1146175"/>
                    <a:gd name="connsiteY40" fmla="*/ 250825 h 1655757"/>
                    <a:gd name="connsiteX41" fmla="*/ 955675 w 1146175"/>
                    <a:gd name="connsiteY41" fmla="*/ 273050 h 1655757"/>
                    <a:gd name="connsiteX42" fmla="*/ 974725 w 1146175"/>
                    <a:gd name="connsiteY42" fmla="*/ 298450 h 1655757"/>
                    <a:gd name="connsiteX43" fmla="*/ 968375 w 1146175"/>
                    <a:gd name="connsiteY43" fmla="*/ 333375 h 1655757"/>
                    <a:gd name="connsiteX44" fmla="*/ 965200 w 1146175"/>
                    <a:gd name="connsiteY44" fmla="*/ 342900 h 1655757"/>
                    <a:gd name="connsiteX45" fmla="*/ 949325 w 1146175"/>
                    <a:gd name="connsiteY45" fmla="*/ 361950 h 1655757"/>
                    <a:gd name="connsiteX46" fmla="*/ 939800 w 1146175"/>
                    <a:gd name="connsiteY46" fmla="*/ 384175 h 1655757"/>
                    <a:gd name="connsiteX47" fmla="*/ 936625 w 1146175"/>
                    <a:gd name="connsiteY47" fmla="*/ 396875 h 1655757"/>
                    <a:gd name="connsiteX48" fmla="*/ 930275 w 1146175"/>
                    <a:gd name="connsiteY48" fmla="*/ 412750 h 1655757"/>
                    <a:gd name="connsiteX49" fmla="*/ 927100 w 1146175"/>
                    <a:gd name="connsiteY49" fmla="*/ 425450 h 1655757"/>
                    <a:gd name="connsiteX50" fmla="*/ 920750 w 1146175"/>
                    <a:gd name="connsiteY50" fmla="*/ 441325 h 1655757"/>
                    <a:gd name="connsiteX51" fmla="*/ 917575 w 1146175"/>
                    <a:gd name="connsiteY51" fmla="*/ 454025 h 1655757"/>
                    <a:gd name="connsiteX52" fmla="*/ 914400 w 1146175"/>
                    <a:gd name="connsiteY52" fmla="*/ 463550 h 1655757"/>
                    <a:gd name="connsiteX53" fmla="*/ 917575 w 1146175"/>
                    <a:gd name="connsiteY53" fmla="*/ 501650 h 1655757"/>
                    <a:gd name="connsiteX54" fmla="*/ 923925 w 1146175"/>
                    <a:gd name="connsiteY54" fmla="*/ 514350 h 1655757"/>
                    <a:gd name="connsiteX55" fmla="*/ 939800 w 1146175"/>
                    <a:gd name="connsiteY55" fmla="*/ 533400 h 1655757"/>
                    <a:gd name="connsiteX56" fmla="*/ 942975 w 1146175"/>
                    <a:gd name="connsiteY56" fmla="*/ 542925 h 1655757"/>
                    <a:gd name="connsiteX57" fmla="*/ 955675 w 1146175"/>
                    <a:gd name="connsiteY57" fmla="*/ 568325 h 1655757"/>
                    <a:gd name="connsiteX58" fmla="*/ 968375 w 1146175"/>
                    <a:gd name="connsiteY58" fmla="*/ 609600 h 1655757"/>
                    <a:gd name="connsiteX59" fmla="*/ 974725 w 1146175"/>
                    <a:gd name="connsiteY59" fmla="*/ 622300 h 1655757"/>
                    <a:gd name="connsiteX60" fmla="*/ 981075 w 1146175"/>
                    <a:gd name="connsiteY60" fmla="*/ 641350 h 1655757"/>
                    <a:gd name="connsiteX61" fmla="*/ 993775 w 1146175"/>
                    <a:gd name="connsiteY61" fmla="*/ 644525 h 1655757"/>
                    <a:gd name="connsiteX62" fmla="*/ 1012825 w 1146175"/>
                    <a:gd name="connsiteY62" fmla="*/ 647700 h 1655757"/>
                    <a:gd name="connsiteX63" fmla="*/ 1041400 w 1146175"/>
                    <a:gd name="connsiteY63" fmla="*/ 660400 h 1655757"/>
                    <a:gd name="connsiteX64" fmla="*/ 1050925 w 1146175"/>
                    <a:gd name="connsiteY64" fmla="*/ 663575 h 1655757"/>
                    <a:gd name="connsiteX65" fmla="*/ 1066800 w 1146175"/>
                    <a:gd name="connsiteY65" fmla="*/ 673100 h 1655757"/>
                    <a:gd name="connsiteX66" fmla="*/ 1089025 w 1146175"/>
                    <a:gd name="connsiteY66" fmla="*/ 682625 h 1655757"/>
                    <a:gd name="connsiteX67" fmla="*/ 1117600 w 1146175"/>
                    <a:gd name="connsiteY67" fmla="*/ 701675 h 1655757"/>
                    <a:gd name="connsiteX68" fmla="*/ 1136650 w 1146175"/>
                    <a:gd name="connsiteY68" fmla="*/ 708025 h 1655757"/>
                    <a:gd name="connsiteX69" fmla="*/ 1146175 w 1146175"/>
                    <a:gd name="connsiteY69" fmla="*/ 898525 h 1655757"/>
                    <a:gd name="connsiteX70" fmla="*/ 1127125 w 1146175"/>
                    <a:gd name="connsiteY70" fmla="*/ 908050 h 1655757"/>
                    <a:gd name="connsiteX71" fmla="*/ 1101725 w 1146175"/>
                    <a:gd name="connsiteY71" fmla="*/ 914400 h 1655757"/>
                    <a:gd name="connsiteX72" fmla="*/ 1092200 w 1146175"/>
                    <a:gd name="connsiteY72" fmla="*/ 920750 h 1655757"/>
                    <a:gd name="connsiteX73" fmla="*/ 1079500 w 1146175"/>
                    <a:gd name="connsiteY73" fmla="*/ 923925 h 1655757"/>
                    <a:gd name="connsiteX74" fmla="*/ 1069975 w 1146175"/>
                    <a:gd name="connsiteY74" fmla="*/ 933450 h 1655757"/>
                    <a:gd name="connsiteX75" fmla="*/ 1060450 w 1146175"/>
                    <a:gd name="connsiteY75" fmla="*/ 939800 h 1655757"/>
                    <a:gd name="connsiteX76" fmla="*/ 1038225 w 1146175"/>
                    <a:gd name="connsiteY76" fmla="*/ 952500 h 1655757"/>
                    <a:gd name="connsiteX77" fmla="*/ 996950 w 1146175"/>
                    <a:gd name="connsiteY77" fmla="*/ 977900 h 1655757"/>
                    <a:gd name="connsiteX78" fmla="*/ 977900 w 1146175"/>
                    <a:gd name="connsiteY78" fmla="*/ 984250 h 1655757"/>
                    <a:gd name="connsiteX79" fmla="*/ 968375 w 1146175"/>
                    <a:gd name="connsiteY79" fmla="*/ 1009650 h 1655757"/>
                    <a:gd name="connsiteX80" fmla="*/ 958850 w 1146175"/>
                    <a:gd name="connsiteY80" fmla="*/ 1035050 h 1655757"/>
                    <a:gd name="connsiteX81" fmla="*/ 955675 w 1146175"/>
                    <a:gd name="connsiteY81" fmla="*/ 1060450 h 1655757"/>
                    <a:gd name="connsiteX82" fmla="*/ 949325 w 1146175"/>
                    <a:gd name="connsiteY82" fmla="*/ 1069975 h 1655757"/>
                    <a:gd name="connsiteX83" fmla="*/ 946150 w 1146175"/>
                    <a:gd name="connsiteY83" fmla="*/ 1079500 h 1655757"/>
                    <a:gd name="connsiteX84" fmla="*/ 936625 w 1146175"/>
                    <a:gd name="connsiteY84" fmla="*/ 1095375 h 1655757"/>
                    <a:gd name="connsiteX85" fmla="*/ 923925 w 1146175"/>
                    <a:gd name="connsiteY85" fmla="*/ 1130300 h 1655757"/>
                    <a:gd name="connsiteX86" fmla="*/ 917575 w 1146175"/>
                    <a:gd name="connsiteY86" fmla="*/ 1139825 h 1655757"/>
                    <a:gd name="connsiteX87" fmla="*/ 923925 w 1146175"/>
                    <a:gd name="connsiteY87" fmla="*/ 1193800 h 1655757"/>
                    <a:gd name="connsiteX88" fmla="*/ 939800 w 1146175"/>
                    <a:gd name="connsiteY88" fmla="*/ 1216025 h 1655757"/>
                    <a:gd name="connsiteX89" fmla="*/ 946150 w 1146175"/>
                    <a:gd name="connsiteY89" fmla="*/ 1228725 h 1655757"/>
                    <a:gd name="connsiteX90" fmla="*/ 952500 w 1146175"/>
                    <a:gd name="connsiteY90" fmla="*/ 1238250 h 1655757"/>
                    <a:gd name="connsiteX91" fmla="*/ 965200 w 1146175"/>
                    <a:gd name="connsiteY91" fmla="*/ 1263650 h 1655757"/>
                    <a:gd name="connsiteX92" fmla="*/ 974725 w 1146175"/>
                    <a:gd name="connsiteY92" fmla="*/ 1285875 h 1655757"/>
                    <a:gd name="connsiteX93" fmla="*/ 977900 w 1146175"/>
                    <a:gd name="connsiteY93" fmla="*/ 1298575 h 1655757"/>
                    <a:gd name="connsiteX94" fmla="*/ 981075 w 1146175"/>
                    <a:gd name="connsiteY94" fmla="*/ 1308100 h 1655757"/>
                    <a:gd name="connsiteX95" fmla="*/ 974725 w 1146175"/>
                    <a:gd name="connsiteY95" fmla="*/ 1343025 h 1655757"/>
                    <a:gd name="connsiteX96" fmla="*/ 949325 w 1146175"/>
                    <a:gd name="connsiteY96" fmla="*/ 1374775 h 1655757"/>
                    <a:gd name="connsiteX97" fmla="*/ 939800 w 1146175"/>
                    <a:gd name="connsiteY97" fmla="*/ 1381125 h 1655757"/>
                    <a:gd name="connsiteX98" fmla="*/ 930275 w 1146175"/>
                    <a:gd name="connsiteY98" fmla="*/ 1390650 h 1655757"/>
                    <a:gd name="connsiteX99" fmla="*/ 923925 w 1146175"/>
                    <a:gd name="connsiteY99" fmla="*/ 1400175 h 1655757"/>
                    <a:gd name="connsiteX100" fmla="*/ 908050 w 1146175"/>
                    <a:gd name="connsiteY100" fmla="*/ 1409700 h 1655757"/>
                    <a:gd name="connsiteX101" fmla="*/ 895350 w 1146175"/>
                    <a:gd name="connsiteY101" fmla="*/ 1422400 h 1655757"/>
                    <a:gd name="connsiteX102" fmla="*/ 882650 w 1146175"/>
                    <a:gd name="connsiteY102" fmla="*/ 1431925 h 1655757"/>
                    <a:gd name="connsiteX103" fmla="*/ 873125 w 1146175"/>
                    <a:gd name="connsiteY103" fmla="*/ 1441450 h 1655757"/>
                    <a:gd name="connsiteX104" fmla="*/ 844550 w 1146175"/>
                    <a:gd name="connsiteY104" fmla="*/ 1457325 h 1655757"/>
                    <a:gd name="connsiteX105" fmla="*/ 835025 w 1146175"/>
                    <a:gd name="connsiteY105" fmla="*/ 1460500 h 1655757"/>
                    <a:gd name="connsiteX106" fmla="*/ 815975 w 1146175"/>
                    <a:gd name="connsiteY106" fmla="*/ 1454150 h 1655757"/>
                    <a:gd name="connsiteX107" fmla="*/ 774700 w 1146175"/>
                    <a:gd name="connsiteY107" fmla="*/ 1438275 h 1655757"/>
                    <a:gd name="connsiteX108" fmla="*/ 749300 w 1146175"/>
                    <a:gd name="connsiteY108" fmla="*/ 1431925 h 1655757"/>
                    <a:gd name="connsiteX109" fmla="*/ 717550 w 1146175"/>
                    <a:gd name="connsiteY109" fmla="*/ 1419225 h 1655757"/>
                    <a:gd name="connsiteX110" fmla="*/ 688975 w 1146175"/>
                    <a:gd name="connsiteY110" fmla="*/ 1412875 h 1655757"/>
                    <a:gd name="connsiteX111" fmla="*/ 657225 w 1146175"/>
                    <a:gd name="connsiteY111" fmla="*/ 1403350 h 1655757"/>
                    <a:gd name="connsiteX112" fmla="*/ 635000 w 1146175"/>
                    <a:gd name="connsiteY112" fmla="*/ 1406525 h 1655757"/>
                    <a:gd name="connsiteX113" fmla="*/ 622300 w 1146175"/>
                    <a:gd name="connsiteY113" fmla="*/ 1412875 h 1655757"/>
                    <a:gd name="connsiteX114" fmla="*/ 606425 w 1146175"/>
                    <a:gd name="connsiteY114" fmla="*/ 1422400 h 1655757"/>
                    <a:gd name="connsiteX115" fmla="*/ 577850 w 1146175"/>
                    <a:gd name="connsiteY115" fmla="*/ 1438275 h 1655757"/>
                    <a:gd name="connsiteX116" fmla="*/ 558800 w 1146175"/>
                    <a:gd name="connsiteY116" fmla="*/ 1441450 h 1655757"/>
                    <a:gd name="connsiteX117" fmla="*/ 501650 w 1146175"/>
                    <a:gd name="connsiteY117" fmla="*/ 1447800 h 1655757"/>
                    <a:gd name="connsiteX118" fmla="*/ 492125 w 1146175"/>
                    <a:gd name="connsiteY118" fmla="*/ 1454150 h 1655757"/>
                    <a:gd name="connsiteX119" fmla="*/ 466725 w 1146175"/>
                    <a:gd name="connsiteY119" fmla="*/ 1485900 h 1655757"/>
                    <a:gd name="connsiteX120" fmla="*/ 457200 w 1146175"/>
                    <a:gd name="connsiteY120" fmla="*/ 1504950 h 1655757"/>
                    <a:gd name="connsiteX121" fmla="*/ 454025 w 1146175"/>
                    <a:gd name="connsiteY121" fmla="*/ 1514475 h 1655757"/>
                    <a:gd name="connsiteX122" fmla="*/ 447675 w 1146175"/>
                    <a:gd name="connsiteY122" fmla="*/ 1530350 h 1655757"/>
                    <a:gd name="connsiteX123" fmla="*/ 434975 w 1146175"/>
                    <a:gd name="connsiteY123" fmla="*/ 1555750 h 1655757"/>
                    <a:gd name="connsiteX124" fmla="*/ 431800 w 1146175"/>
                    <a:gd name="connsiteY124" fmla="*/ 1571625 h 1655757"/>
                    <a:gd name="connsiteX125" fmla="*/ 425450 w 1146175"/>
                    <a:gd name="connsiteY125" fmla="*/ 1597025 h 1655757"/>
                    <a:gd name="connsiteX126" fmla="*/ 422275 w 1146175"/>
                    <a:gd name="connsiteY126" fmla="*/ 1606550 h 1655757"/>
                    <a:gd name="connsiteX127" fmla="*/ 412750 w 1146175"/>
                    <a:gd name="connsiteY127" fmla="*/ 1616075 h 1655757"/>
                    <a:gd name="connsiteX128" fmla="*/ 222250 w 1146175"/>
                    <a:gd name="connsiteY128" fmla="*/ 1622425 h 1655757"/>
                    <a:gd name="connsiteX129" fmla="*/ 215900 w 1146175"/>
                    <a:gd name="connsiteY129" fmla="*/ 1606550 h 1655757"/>
                    <a:gd name="connsiteX130" fmla="*/ 206375 w 1146175"/>
                    <a:gd name="connsiteY130" fmla="*/ 1593850 h 1655757"/>
                    <a:gd name="connsiteX131" fmla="*/ 203200 w 1146175"/>
                    <a:gd name="connsiteY131" fmla="*/ 1581150 h 1655757"/>
                    <a:gd name="connsiteX132" fmla="*/ 196850 w 1146175"/>
                    <a:gd name="connsiteY132" fmla="*/ 1568450 h 1655757"/>
                    <a:gd name="connsiteX133" fmla="*/ 193675 w 1146175"/>
                    <a:gd name="connsiteY133" fmla="*/ 1558925 h 1655757"/>
                    <a:gd name="connsiteX134" fmla="*/ 187325 w 1146175"/>
                    <a:gd name="connsiteY134" fmla="*/ 1546225 h 1655757"/>
                    <a:gd name="connsiteX135" fmla="*/ 180975 w 1146175"/>
                    <a:gd name="connsiteY135" fmla="*/ 1530350 h 1655757"/>
                    <a:gd name="connsiteX136" fmla="*/ 161925 w 1146175"/>
                    <a:gd name="connsiteY136" fmla="*/ 1501775 h 1655757"/>
                    <a:gd name="connsiteX137" fmla="*/ 149225 w 1146175"/>
                    <a:gd name="connsiteY137" fmla="*/ 1479550 h 1655757"/>
                    <a:gd name="connsiteX138" fmla="*/ 142875 w 1146175"/>
                    <a:gd name="connsiteY138" fmla="*/ 1463675 h 1655757"/>
                    <a:gd name="connsiteX139" fmla="*/ 130175 w 1146175"/>
                    <a:gd name="connsiteY139" fmla="*/ 1460500 h 1655757"/>
                    <a:gd name="connsiteX140" fmla="*/ 101600 w 1146175"/>
                    <a:gd name="connsiteY140" fmla="*/ 1447800 h 1655757"/>
                    <a:gd name="connsiteX141" fmla="*/ 69850 w 1146175"/>
                    <a:gd name="connsiteY141" fmla="*/ 1438275 h 1655757"/>
                    <a:gd name="connsiteX142" fmla="*/ 41275 w 1146175"/>
                    <a:gd name="connsiteY142" fmla="*/ 1425575 h 1655757"/>
                    <a:gd name="connsiteX143" fmla="*/ 31750 w 1146175"/>
                    <a:gd name="connsiteY143" fmla="*/ 1419225 h 1655757"/>
                    <a:gd name="connsiteX144" fmla="*/ 15875 w 1146175"/>
                    <a:gd name="connsiteY144" fmla="*/ 1412875 h 1655757"/>
                    <a:gd name="connsiteX145" fmla="*/ 0 w 1146175"/>
                    <a:gd name="connsiteY145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85725 w 1146175"/>
                    <a:gd name="connsiteY2" fmla="*/ 187325 h 1655757"/>
                    <a:gd name="connsiteX3" fmla="*/ 111125 w 1146175"/>
                    <a:gd name="connsiteY3" fmla="*/ 168275 h 1655757"/>
                    <a:gd name="connsiteX4" fmla="*/ 127000 w 1146175"/>
                    <a:gd name="connsiteY4" fmla="*/ 165100 h 1655757"/>
                    <a:gd name="connsiteX5" fmla="*/ 139700 w 1146175"/>
                    <a:gd name="connsiteY5" fmla="*/ 158750 h 1655757"/>
                    <a:gd name="connsiteX6" fmla="*/ 155575 w 1146175"/>
                    <a:gd name="connsiteY6" fmla="*/ 155575 h 1655757"/>
                    <a:gd name="connsiteX7" fmla="*/ 168275 w 1146175"/>
                    <a:gd name="connsiteY7" fmla="*/ 142875 h 1655757"/>
                    <a:gd name="connsiteX8" fmla="*/ 180975 w 1146175"/>
                    <a:gd name="connsiteY8" fmla="*/ 127000 h 1655757"/>
                    <a:gd name="connsiteX9" fmla="*/ 193675 w 1146175"/>
                    <a:gd name="connsiteY9" fmla="*/ 107950 h 1655757"/>
                    <a:gd name="connsiteX10" fmla="*/ 206375 w 1146175"/>
                    <a:gd name="connsiteY10" fmla="*/ 73025 h 1655757"/>
                    <a:gd name="connsiteX11" fmla="*/ 209550 w 1146175"/>
                    <a:gd name="connsiteY11" fmla="*/ 60325 h 1655757"/>
                    <a:gd name="connsiteX12" fmla="*/ 228600 w 1146175"/>
                    <a:gd name="connsiteY12" fmla="*/ 28575 h 1655757"/>
                    <a:gd name="connsiteX13" fmla="*/ 238125 w 1146175"/>
                    <a:gd name="connsiteY13" fmla="*/ 9525 h 1655757"/>
                    <a:gd name="connsiteX14" fmla="*/ 269875 w 1146175"/>
                    <a:gd name="connsiteY14" fmla="*/ 0 h 1655757"/>
                    <a:gd name="connsiteX15" fmla="*/ 428625 w 1146175"/>
                    <a:gd name="connsiteY15" fmla="*/ 6350 h 1655757"/>
                    <a:gd name="connsiteX16" fmla="*/ 434975 w 1146175"/>
                    <a:gd name="connsiteY16" fmla="*/ 19050 h 1655757"/>
                    <a:gd name="connsiteX17" fmla="*/ 441325 w 1146175"/>
                    <a:gd name="connsiteY17" fmla="*/ 34925 h 1655757"/>
                    <a:gd name="connsiteX18" fmla="*/ 447675 w 1146175"/>
                    <a:gd name="connsiteY18" fmla="*/ 44450 h 1655757"/>
                    <a:gd name="connsiteX19" fmla="*/ 454025 w 1146175"/>
                    <a:gd name="connsiteY19" fmla="*/ 60325 h 1655757"/>
                    <a:gd name="connsiteX20" fmla="*/ 460375 w 1146175"/>
                    <a:gd name="connsiteY20" fmla="*/ 69850 h 1655757"/>
                    <a:gd name="connsiteX21" fmla="*/ 476250 w 1146175"/>
                    <a:gd name="connsiteY21" fmla="*/ 101600 h 1655757"/>
                    <a:gd name="connsiteX22" fmla="*/ 479425 w 1146175"/>
                    <a:gd name="connsiteY22" fmla="*/ 117475 h 1655757"/>
                    <a:gd name="connsiteX23" fmla="*/ 485775 w 1146175"/>
                    <a:gd name="connsiteY23" fmla="*/ 127000 h 1655757"/>
                    <a:gd name="connsiteX24" fmla="*/ 492125 w 1146175"/>
                    <a:gd name="connsiteY24" fmla="*/ 139700 h 1655757"/>
                    <a:gd name="connsiteX25" fmla="*/ 508000 w 1146175"/>
                    <a:gd name="connsiteY25" fmla="*/ 165100 h 1655757"/>
                    <a:gd name="connsiteX26" fmla="*/ 527050 w 1146175"/>
                    <a:gd name="connsiteY26" fmla="*/ 168275 h 1655757"/>
                    <a:gd name="connsiteX27" fmla="*/ 558800 w 1146175"/>
                    <a:gd name="connsiteY27" fmla="*/ 184150 h 1655757"/>
                    <a:gd name="connsiteX28" fmla="*/ 574675 w 1146175"/>
                    <a:gd name="connsiteY28" fmla="*/ 187325 h 1655757"/>
                    <a:gd name="connsiteX29" fmla="*/ 635000 w 1146175"/>
                    <a:gd name="connsiteY29" fmla="*/ 215900 h 1655757"/>
                    <a:gd name="connsiteX30" fmla="*/ 717550 w 1146175"/>
                    <a:gd name="connsiteY30" fmla="*/ 212725 h 1655757"/>
                    <a:gd name="connsiteX31" fmla="*/ 733425 w 1146175"/>
                    <a:gd name="connsiteY31" fmla="*/ 206375 h 1655757"/>
                    <a:gd name="connsiteX32" fmla="*/ 771525 w 1146175"/>
                    <a:gd name="connsiteY32" fmla="*/ 200025 h 1655757"/>
                    <a:gd name="connsiteX33" fmla="*/ 796925 w 1146175"/>
                    <a:gd name="connsiteY33" fmla="*/ 190500 h 1655757"/>
                    <a:gd name="connsiteX34" fmla="*/ 838200 w 1146175"/>
                    <a:gd name="connsiteY34" fmla="*/ 180975 h 1655757"/>
                    <a:gd name="connsiteX35" fmla="*/ 879475 w 1146175"/>
                    <a:gd name="connsiteY35" fmla="*/ 200025 h 1655757"/>
                    <a:gd name="connsiteX36" fmla="*/ 885825 w 1146175"/>
                    <a:gd name="connsiteY36" fmla="*/ 209550 h 1655757"/>
                    <a:gd name="connsiteX37" fmla="*/ 901700 w 1146175"/>
                    <a:gd name="connsiteY37" fmla="*/ 225425 h 1655757"/>
                    <a:gd name="connsiteX38" fmla="*/ 917575 w 1146175"/>
                    <a:gd name="connsiteY38" fmla="*/ 238125 h 1655757"/>
                    <a:gd name="connsiteX39" fmla="*/ 936625 w 1146175"/>
                    <a:gd name="connsiteY39" fmla="*/ 250825 h 1655757"/>
                    <a:gd name="connsiteX40" fmla="*/ 955675 w 1146175"/>
                    <a:gd name="connsiteY40" fmla="*/ 273050 h 1655757"/>
                    <a:gd name="connsiteX41" fmla="*/ 974725 w 1146175"/>
                    <a:gd name="connsiteY41" fmla="*/ 298450 h 1655757"/>
                    <a:gd name="connsiteX42" fmla="*/ 968375 w 1146175"/>
                    <a:gd name="connsiteY42" fmla="*/ 333375 h 1655757"/>
                    <a:gd name="connsiteX43" fmla="*/ 965200 w 1146175"/>
                    <a:gd name="connsiteY43" fmla="*/ 342900 h 1655757"/>
                    <a:gd name="connsiteX44" fmla="*/ 949325 w 1146175"/>
                    <a:gd name="connsiteY44" fmla="*/ 361950 h 1655757"/>
                    <a:gd name="connsiteX45" fmla="*/ 939800 w 1146175"/>
                    <a:gd name="connsiteY45" fmla="*/ 384175 h 1655757"/>
                    <a:gd name="connsiteX46" fmla="*/ 936625 w 1146175"/>
                    <a:gd name="connsiteY46" fmla="*/ 396875 h 1655757"/>
                    <a:gd name="connsiteX47" fmla="*/ 930275 w 1146175"/>
                    <a:gd name="connsiteY47" fmla="*/ 412750 h 1655757"/>
                    <a:gd name="connsiteX48" fmla="*/ 927100 w 1146175"/>
                    <a:gd name="connsiteY48" fmla="*/ 425450 h 1655757"/>
                    <a:gd name="connsiteX49" fmla="*/ 920750 w 1146175"/>
                    <a:gd name="connsiteY49" fmla="*/ 441325 h 1655757"/>
                    <a:gd name="connsiteX50" fmla="*/ 917575 w 1146175"/>
                    <a:gd name="connsiteY50" fmla="*/ 454025 h 1655757"/>
                    <a:gd name="connsiteX51" fmla="*/ 914400 w 1146175"/>
                    <a:gd name="connsiteY51" fmla="*/ 463550 h 1655757"/>
                    <a:gd name="connsiteX52" fmla="*/ 917575 w 1146175"/>
                    <a:gd name="connsiteY52" fmla="*/ 501650 h 1655757"/>
                    <a:gd name="connsiteX53" fmla="*/ 923925 w 1146175"/>
                    <a:gd name="connsiteY53" fmla="*/ 514350 h 1655757"/>
                    <a:gd name="connsiteX54" fmla="*/ 939800 w 1146175"/>
                    <a:gd name="connsiteY54" fmla="*/ 533400 h 1655757"/>
                    <a:gd name="connsiteX55" fmla="*/ 942975 w 1146175"/>
                    <a:gd name="connsiteY55" fmla="*/ 542925 h 1655757"/>
                    <a:gd name="connsiteX56" fmla="*/ 955675 w 1146175"/>
                    <a:gd name="connsiteY56" fmla="*/ 568325 h 1655757"/>
                    <a:gd name="connsiteX57" fmla="*/ 968375 w 1146175"/>
                    <a:gd name="connsiteY57" fmla="*/ 609600 h 1655757"/>
                    <a:gd name="connsiteX58" fmla="*/ 974725 w 1146175"/>
                    <a:gd name="connsiteY58" fmla="*/ 622300 h 1655757"/>
                    <a:gd name="connsiteX59" fmla="*/ 981075 w 1146175"/>
                    <a:gd name="connsiteY59" fmla="*/ 641350 h 1655757"/>
                    <a:gd name="connsiteX60" fmla="*/ 993775 w 1146175"/>
                    <a:gd name="connsiteY60" fmla="*/ 644525 h 1655757"/>
                    <a:gd name="connsiteX61" fmla="*/ 1012825 w 1146175"/>
                    <a:gd name="connsiteY61" fmla="*/ 647700 h 1655757"/>
                    <a:gd name="connsiteX62" fmla="*/ 1041400 w 1146175"/>
                    <a:gd name="connsiteY62" fmla="*/ 660400 h 1655757"/>
                    <a:gd name="connsiteX63" fmla="*/ 1050925 w 1146175"/>
                    <a:gd name="connsiteY63" fmla="*/ 663575 h 1655757"/>
                    <a:gd name="connsiteX64" fmla="*/ 1066800 w 1146175"/>
                    <a:gd name="connsiteY64" fmla="*/ 673100 h 1655757"/>
                    <a:gd name="connsiteX65" fmla="*/ 1089025 w 1146175"/>
                    <a:gd name="connsiteY65" fmla="*/ 682625 h 1655757"/>
                    <a:gd name="connsiteX66" fmla="*/ 1117600 w 1146175"/>
                    <a:gd name="connsiteY66" fmla="*/ 701675 h 1655757"/>
                    <a:gd name="connsiteX67" fmla="*/ 1136650 w 1146175"/>
                    <a:gd name="connsiteY67" fmla="*/ 708025 h 1655757"/>
                    <a:gd name="connsiteX68" fmla="*/ 1146175 w 1146175"/>
                    <a:gd name="connsiteY68" fmla="*/ 898525 h 1655757"/>
                    <a:gd name="connsiteX69" fmla="*/ 1127125 w 1146175"/>
                    <a:gd name="connsiteY69" fmla="*/ 908050 h 1655757"/>
                    <a:gd name="connsiteX70" fmla="*/ 1101725 w 1146175"/>
                    <a:gd name="connsiteY70" fmla="*/ 914400 h 1655757"/>
                    <a:gd name="connsiteX71" fmla="*/ 1092200 w 1146175"/>
                    <a:gd name="connsiteY71" fmla="*/ 920750 h 1655757"/>
                    <a:gd name="connsiteX72" fmla="*/ 1079500 w 1146175"/>
                    <a:gd name="connsiteY72" fmla="*/ 923925 h 1655757"/>
                    <a:gd name="connsiteX73" fmla="*/ 1069975 w 1146175"/>
                    <a:gd name="connsiteY73" fmla="*/ 933450 h 1655757"/>
                    <a:gd name="connsiteX74" fmla="*/ 1060450 w 1146175"/>
                    <a:gd name="connsiteY74" fmla="*/ 939800 h 1655757"/>
                    <a:gd name="connsiteX75" fmla="*/ 1038225 w 1146175"/>
                    <a:gd name="connsiteY75" fmla="*/ 952500 h 1655757"/>
                    <a:gd name="connsiteX76" fmla="*/ 996950 w 1146175"/>
                    <a:gd name="connsiteY76" fmla="*/ 977900 h 1655757"/>
                    <a:gd name="connsiteX77" fmla="*/ 977900 w 1146175"/>
                    <a:gd name="connsiteY77" fmla="*/ 984250 h 1655757"/>
                    <a:gd name="connsiteX78" fmla="*/ 968375 w 1146175"/>
                    <a:gd name="connsiteY78" fmla="*/ 1009650 h 1655757"/>
                    <a:gd name="connsiteX79" fmla="*/ 958850 w 1146175"/>
                    <a:gd name="connsiteY79" fmla="*/ 1035050 h 1655757"/>
                    <a:gd name="connsiteX80" fmla="*/ 955675 w 1146175"/>
                    <a:gd name="connsiteY80" fmla="*/ 1060450 h 1655757"/>
                    <a:gd name="connsiteX81" fmla="*/ 949325 w 1146175"/>
                    <a:gd name="connsiteY81" fmla="*/ 1069975 h 1655757"/>
                    <a:gd name="connsiteX82" fmla="*/ 946150 w 1146175"/>
                    <a:gd name="connsiteY82" fmla="*/ 1079500 h 1655757"/>
                    <a:gd name="connsiteX83" fmla="*/ 936625 w 1146175"/>
                    <a:gd name="connsiteY83" fmla="*/ 1095375 h 1655757"/>
                    <a:gd name="connsiteX84" fmla="*/ 923925 w 1146175"/>
                    <a:gd name="connsiteY84" fmla="*/ 1130300 h 1655757"/>
                    <a:gd name="connsiteX85" fmla="*/ 917575 w 1146175"/>
                    <a:gd name="connsiteY85" fmla="*/ 1139825 h 1655757"/>
                    <a:gd name="connsiteX86" fmla="*/ 923925 w 1146175"/>
                    <a:gd name="connsiteY86" fmla="*/ 1193800 h 1655757"/>
                    <a:gd name="connsiteX87" fmla="*/ 939800 w 1146175"/>
                    <a:gd name="connsiteY87" fmla="*/ 1216025 h 1655757"/>
                    <a:gd name="connsiteX88" fmla="*/ 946150 w 1146175"/>
                    <a:gd name="connsiteY88" fmla="*/ 1228725 h 1655757"/>
                    <a:gd name="connsiteX89" fmla="*/ 952500 w 1146175"/>
                    <a:gd name="connsiteY89" fmla="*/ 1238250 h 1655757"/>
                    <a:gd name="connsiteX90" fmla="*/ 965200 w 1146175"/>
                    <a:gd name="connsiteY90" fmla="*/ 1263650 h 1655757"/>
                    <a:gd name="connsiteX91" fmla="*/ 974725 w 1146175"/>
                    <a:gd name="connsiteY91" fmla="*/ 1285875 h 1655757"/>
                    <a:gd name="connsiteX92" fmla="*/ 977900 w 1146175"/>
                    <a:gd name="connsiteY92" fmla="*/ 1298575 h 1655757"/>
                    <a:gd name="connsiteX93" fmla="*/ 981075 w 1146175"/>
                    <a:gd name="connsiteY93" fmla="*/ 1308100 h 1655757"/>
                    <a:gd name="connsiteX94" fmla="*/ 974725 w 1146175"/>
                    <a:gd name="connsiteY94" fmla="*/ 1343025 h 1655757"/>
                    <a:gd name="connsiteX95" fmla="*/ 949325 w 1146175"/>
                    <a:gd name="connsiteY95" fmla="*/ 1374775 h 1655757"/>
                    <a:gd name="connsiteX96" fmla="*/ 939800 w 1146175"/>
                    <a:gd name="connsiteY96" fmla="*/ 1381125 h 1655757"/>
                    <a:gd name="connsiteX97" fmla="*/ 930275 w 1146175"/>
                    <a:gd name="connsiteY97" fmla="*/ 1390650 h 1655757"/>
                    <a:gd name="connsiteX98" fmla="*/ 923925 w 1146175"/>
                    <a:gd name="connsiteY98" fmla="*/ 1400175 h 1655757"/>
                    <a:gd name="connsiteX99" fmla="*/ 908050 w 1146175"/>
                    <a:gd name="connsiteY99" fmla="*/ 1409700 h 1655757"/>
                    <a:gd name="connsiteX100" fmla="*/ 895350 w 1146175"/>
                    <a:gd name="connsiteY100" fmla="*/ 1422400 h 1655757"/>
                    <a:gd name="connsiteX101" fmla="*/ 882650 w 1146175"/>
                    <a:gd name="connsiteY101" fmla="*/ 1431925 h 1655757"/>
                    <a:gd name="connsiteX102" fmla="*/ 873125 w 1146175"/>
                    <a:gd name="connsiteY102" fmla="*/ 1441450 h 1655757"/>
                    <a:gd name="connsiteX103" fmla="*/ 844550 w 1146175"/>
                    <a:gd name="connsiteY103" fmla="*/ 1457325 h 1655757"/>
                    <a:gd name="connsiteX104" fmla="*/ 835025 w 1146175"/>
                    <a:gd name="connsiteY104" fmla="*/ 1460500 h 1655757"/>
                    <a:gd name="connsiteX105" fmla="*/ 815975 w 1146175"/>
                    <a:gd name="connsiteY105" fmla="*/ 1454150 h 1655757"/>
                    <a:gd name="connsiteX106" fmla="*/ 774700 w 1146175"/>
                    <a:gd name="connsiteY106" fmla="*/ 1438275 h 1655757"/>
                    <a:gd name="connsiteX107" fmla="*/ 749300 w 1146175"/>
                    <a:gd name="connsiteY107" fmla="*/ 1431925 h 1655757"/>
                    <a:gd name="connsiteX108" fmla="*/ 717550 w 1146175"/>
                    <a:gd name="connsiteY108" fmla="*/ 1419225 h 1655757"/>
                    <a:gd name="connsiteX109" fmla="*/ 688975 w 1146175"/>
                    <a:gd name="connsiteY109" fmla="*/ 1412875 h 1655757"/>
                    <a:gd name="connsiteX110" fmla="*/ 657225 w 1146175"/>
                    <a:gd name="connsiteY110" fmla="*/ 1403350 h 1655757"/>
                    <a:gd name="connsiteX111" fmla="*/ 635000 w 1146175"/>
                    <a:gd name="connsiteY111" fmla="*/ 1406525 h 1655757"/>
                    <a:gd name="connsiteX112" fmla="*/ 622300 w 1146175"/>
                    <a:gd name="connsiteY112" fmla="*/ 1412875 h 1655757"/>
                    <a:gd name="connsiteX113" fmla="*/ 606425 w 1146175"/>
                    <a:gd name="connsiteY113" fmla="*/ 1422400 h 1655757"/>
                    <a:gd name="connsiteX114" fmla="*/ 577850 w 1146175"/>
                    <a:gd name="connsiteY114" fmla="*/ 1438275 h 1655757"/>
                    <a:gd name="connsiteX115" fmla="*/ 558800 w 1146175"/>
                    <a:gd name="connsiteY115" fmla="*/ 1441450 h 1655757"/>
                    <a:gd name="connsiteX116" fmla="*/ 501650 w 1146175"/>
                    <a:gd name="connsiteY116" fmla="*/ 1447800 h 1655757"/>
                    <a:gd name="connsiteX117" fmla="*/ 492125 w 1146175"/>
                    <a:gd name="connsiteY117" fmla="*/ 1454150 h 1655757"/>
                    <a:gd name="connsiteX118" fmla="*/ 466725 w 1146175"/>
                    <a:gd name="connsiteY118" fmla="*/ 1485900 h 1655757"/>
                    <a:gd name="connsiteX119" fmla="*/ 457200 w 1146175"/>
                    <a:gd name="connsiteY119" fmla="*/ 1504950 h 1655757"/>
                    <a:gd name="connsiteX120" fmla="*/ 454025 w 1146175"/>
                    <a:gd name="connsiteY120" fmla="*/ 1514475 h 1655757"/>
                    <a:gd name="connsiteX121" fmla="*/ 447675 w 1146175"/>
                    <a:gd name="connsiteY121" fmla="*/ 1530350 h 1655757"/>
                    <a:gd name="connsiteX122" fmla="*/ 434975 w 1146175"/>
                    <a:gd name="connsiteY122" fmla="*/ 1555750 h 1655757"/>
                    <a:gd name="connsiteX123" fmla="*/ 431800 w 1146175"/>
                    <a:gd name="connsiteY123" fmla="*/ 1571625 h 1655757"/>
                    <a:gd name="connsiteX124" fmla="*/ 425450 w 1146175"/>
                    <a:gd name="connsiteY124" fmla="*/ 1597025 h 1655757"/>
                    <a:gd name="connsiteX125" fmla="*/ 422275 w 1146175"/>
                    <a:gd name="connsiteY125" fmla="*/ 1606550 h 1655757"/>
                    <a:gd name="connsiteX126" fmla="*/ 412750 w 1146175"/>
                    <a:gd name="connsiteY126" fmla="*/ 1616075 h 1655757"/>
                    <a:gd name="connsiteX127" fmla="*/ 222250 w 1146175"/>
                    <a:gd name="connsiteY127" fmla="*/ 1622425 h 1655757"/>
                    <a:gd name="connsiteX128" fmla="*/ 215900 w 1146175"/>
                    <a:gd name="connsiteY128" fmla="*/ 1606550 h 1655757"/>
                    <a:gd name="connsiteX129" fmla="*/ 206375 w 1146175"/>
                    <a:gd name="connsiteY129" fmla="*/ 1593850 h 1655757"/>
                    <a:gd name="connsiteX130" fmla="*/ 203200 w 1146175"/>
                    <a:gd name="connsiteY130" fmla="*/ 1581150 h 1655757"/>
                    <a:gd name="connsiteX131" fmla="*/ 196850 w 1146175"/>
                    <a:gd name="connsiteY131" fmla="*/ 1568450 h 1655757"/>
                    <a:gd name="connsiteX132" fmla="*/ 193675 w 1146175"/>
                    <a:gd name="connsiteY132" fmla="*/ 1558925 h 1655757"/>
                    <a:gd name="connsiteX133" fmla="*/ 187325 w 1146175"/>
                    <a:gd name="connsiteY133" fmla="*/ 1546225 h 1655757"/>
                    <a:gd name="connsiteX134" fmla="*/ 180975 w 1146175"/>
                    <a:gd name="connsiteY134" fmla="*/ 1530350 h 1655757"/>
                    <a:gd name="connsiteX135" fmla="*/ 161925 w 1146175"/>
                    <a:gd name="connsiteY135" fmla="*/ 1501775 h 1655757"/>
                    <a:gd name="connsiteX136" fmla="*/ 149225 w 1146175"/>
                    <a:gd name="connsiteY136" fmla="*/ 1479550 h 1655757"/>
                    <a:gd name="connsiteX137" fmla="*/ 142875 w 1146175"/>
                    <a:gd name="connsiteY137" fmla="*/ 1463675 h 1655757"/>
                    <a:gd name="connsiteX138" fmla="*/ 130175 w 1146175"/>
                    <a:gd name="connsiteY138" fmla="*/ 1460500 h 1655757"/>
                    <a:gd name="connsiteX139" fmla="*/ 101600 w 1146175"/>
                    <a:gd name="connsiteY139" fmla="*/ 1447800 h 1655757"/>
                    <a:gd name="connsiteX140" fmla="*/ 69850 w 1146175"/>
                    <a:gd name="connsiteY140" fmla="*/ 1438275 h 1655757"/>
                    <a:gd name="connsiteX141" fmla="*/ 41275 w 1146175"/>
                    <a:gd name="connsiteY141" fmla="*/ 1425575 h 1655757"/>
                    <a:gd name="connsiteX142" fmla="*/ 31750 w 1146175"/>
                    <a:gd name="connsiteY142" fmla="*/ 1419225 h 1655757"/>
                    <a:gd name="connsiteX143" fmla="*/ 15875 w 1146175"/>
                    <a:gd name="connsiteY143" fmla="*/ 1412875 h 1655757"/>
                    <a:gd name="connsiteX144" fmla="*/ 0 w 1146175"/>
                    <a:gd name="connsiteY144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85725 w 1146175"/>
                    <a:gd name="connsiteY2" fmla="*/ 187325 h 1655757"/>
                    <a:gd name="connsiteX3" fmla="*/ 127000 w 1146175"/>
                    <a:gd name="connsiteY3" fmla="*/ 165100 h 1655757"/>
                    <a:gd name="connsiteX4" fmla="*/ 139700 w 1146175"/>
                    <a:gd name="connsiteY4" fmla="*/ 158750 h 1655757"/>
                    <a:gd name="connsiteX5" fmla="*/ 155575 w 1146175"/>
                    <a:gd name="connsiteY5" fmla="*/ 155575 h 1655757"/>
                    <a:gd name="connsiteX6" fmla="*/ 168275 w 1146175"/>
                    <a:gd name="connsiteY6" fmla="*/ 142875 h 1655757"/>
                    <a:gd name="connsiteX7" fmla="*/ 180975 w 1146175"/>
                    <a:gd name="connsiteY7" fmla="*/ 127000 h 1655757"/>
                    <a:gd name="connsiteX8" fmla="*/ 193675 w 1146175"/>
                    <a:gd name="connsiteY8" fmla="*/ 107950 h 1655757"/>
                    <a:gd name="connsiteX9" fmla="*/ 206375 w 1146175"/>
                    <a:gd name="connsiteY9" fmla="*/ 73025 h 1655757"/>
                    <a:gd name="connsiteX10" fmla="*/ 209550 w 1146175"/>
                    <a:gd name="connsiteY10" fmla="*/ 60325 h 1655757"/>
                    <a:gd name="connsiteX11" fmla="*/ 228600 w 1146175"/>
                    <a:gd name="connsiteY11" fmla="*/ 28575 h 1655757"/>
                    <a:gd name="connsiteX12" fmla="*/ 238125 w 1146175"/>
                    <a:gd name="connsiteY12" fmla="*/ 9525 h 1655757"/>
                    <a:gd name="connsiteX13" fmla="*/ 269875 w 1146175"/>
                    <a:gd name="connsiteY13" fmla="*/ 0 h 1655757"/>
                    <a:gd name="connsiteX14" fmla="*/ 428625 w 1146175"/>
                    <a:gd name="connsiteY14" fmla="*/ 6350 h 1655757"/>
                    <a:gd name="connsiteX15" fmla="*/ 434975 w 1146175"/>
                    <a:gd name="connsiteY15" fmla="*/ 19050 h 1655757"/>
                    <a:gd name="connsiteX16" fmla="*/ 441325 w 1146175"/>
                    <a:gd name="connsiteY16" fmla="*/ 34925 h 1655757"/>
                    <a:gd name="connsiteX17" fmla="*/ 447675 w 1146175"/>
                    <a:gd name="connsiteY17" fmla="*/ 44450 h 1655757"/>
                    <a:gd name="connsiteX18" fmla="*/ 454025 w 1146175"/>
                    <a:gd name="connsiteY18" fmla="*/ 60325 h 1655757"/>
                    <a:gd name="connsiteX19" fmla="*/ 460375 w 1146175"/>
                    <a:gd name="connsiteY19" fmla="*/ 69850 h 1655757"/>
                    <a:gd name="connsiteX20" fmla="*/ 476250 w 1146175"/>
                    <a:gd name="connsiteY20" fmla="*/ 101600 h 1655757"/>
                    <a:gd name="connsiteX21" fmla="*/ 479425 w 1146175"/>
                    <a:gd name="connsiteY21" fmla="*/ 117475 h 1655757"/>
                    <a:gd name="connsiteX22" fmla="*/ 485775 w 1146175"/>
                    <a:gd name="connsiteY22" fmla="*/ 127000 h 1655757"/>
                    <a:gd name="connsiteX23" fmla="*/ 492125 w 1146175"/>
                    <a:gd name="connsiteY23" fmla="*/ 139700 h 1655757"/>
                    <a:gd name="connsiteX24" fmla="*/ 508000 w 1146175"/>
                    <a:gd name="connsiteY24" fmla="*/ 165100 h 1655757"/>
                    <a:gd name="connsiteX25" fmla="*/ 527050 w 1146175"/>
                    <a:gd name="connsiteY25" fmla="*/ 168275 h 1655757"/>
                    <a:gd name="connsiteX26" fmla="*/ 558800 w 1146175"/>
                    <a:gd name="connsiteY26" fmla="*/ 184150 h 1655757"/>
                    <a:gd name="connsiteX27" fmla="*/ 574675 w 1146175"/>
                    <a:gd name="connsiteY27" fmla="*/ 187325 h 1655757"/>
                    <a:gd name="connsiteX28" fmla="*/ 635000 w 1146175"/>
                    <a:gd name="connsiteY28" fmla="*/ 215900 h 1655757"/>
                    <a:gd name="connsiteX29" fmla="*/ 717550 w 1146175"/>
                    <a:gd name="connsiteY29" fmla="*/ 212725 h 1655757"/>
                    <a:gd name="connsiteX30" fmla="*/ 733425 w 1146175"/>
                    <a:gd name="connsiteY30" fmla="*/ 206375 h 1655757"/>
                    <a:gd name="connsiteX31" fmla="*/ 771525 w 1146175"/>
                    <a:gd name="connsiteY31" fmla="*/ 200025 h 1655757"/>
                    <a:gd name="connsiteX32" fmla="*/ 796925 w 1146175"/>
                    <a:gd name="connsiteY32" fmla="*/ 190500 h 1655757"/>
                    <a:gd name="connsiteX33" fmla="*/ 838200 w 1146175"/>
                    <a:gd name="connsiteY33" fmla="*/ 180975 h 1655757"/>
                    <a:gd name="connsiteX34" fmla="*/ 879475 w 1146175"/>
                    <a:gd name="connsiteY34" fmla="*/ 200025 h 1655757"/>
                    <a:gd name="connsiteX35" fmla="*/ 885825 w 1146175"/>
                    <a:gd name="connsiteY35" fmla="*/ 209550 h 1655757"/>
                    <a:gd name="connsiteX36" fmla="*/ 901700 w 1146175"/>
                    <a:gd name="connsiteY36" fmla="*/ 225425 h 1655757"/>
                    <a:gd name="connsiteX37" fmla="*/ 917575 w 1146175"/>
                    <a:gd name="connsiteY37" fmla="*/ 238125 h 1655757"/>
                    <a:gd name="connsiteX38" fmla="*/ 936625 w 1146175"/>
                    <a:gd name="connsiteY38" fmla="*/ 250825 h 1655757"/>
                    <a:gd name="connsiteX39" fmla="*/ 955675 w 1146175"/>
                    <a:gd name="connsiteY39" fmla="*/ 273050 h 1655757"/>
                    <a:gd name="connsiteX40" fmla="*/ 974725 w 1146175"/>
                    <a:gd name="connsiteY40" fmla="*/ 298450 h 1655757"/>
                    <a:gd name="connsiteX41" fmla="*/ 968375 w 1146175"/>
                    <a:gd name="connsiteY41" fmla="*/ 333375 h 1655757"/>
                    <a:gd name="connsiteX42" fmla="*/ 965200 w 1146175"/>
                    <a:gd name="connsiteY42" fmla="*/ 342900 h 1655757"/>
                    <a:gd name="connsiteX43" fmla="*/ 949325 w 1146175"/>
                    <a:gd name="connsiteY43" fmla="*/ 361950 h 1655757"/>
                    <a:gd name="connsiteX44" fmla="*/ 939800 w 1146175"/>
                    <a:gd name="connsiteY44" fmla="*/ 384175 h 1655757"/>
                    <a:gd name="connsiteX45" fmla="*/ 936625 w 1146175"/>
                    <a:gd name="connsiteY45" fmla="*/ 396875 h 1655757"/>
                    <a:gd name="connsiteX46" fmla="*/ 930275 w 1146175"/>
                    <a:gd name="connsiteY46" fmla="*/ 412750 h 1655757"/>
                    <a:gd name="connsiteX47" fmla="*/ 927100 w 1146175"/>
                    <a:gd name="connsiteY47" fmla="*/ 425450 h 1655757"/>
                    <a:gd name="connsiteX48" fmla="*/ 920750 w 1146175"/>
                    <a:gd name="connsiteY48" fmla="*/ 441325 h 1655757"/>
                    <a:gd name="connsiteX49" fmla="*/ 917575 w 1146175"/>
                    <a:gd name="connsiteY49" fmla="*/ 454025 h 1655757"/>
                    <a:gd name="connsiteX50" fmla="*/ 914400 w 1146175"/>
                    <a:gd name="connsiteY50" fmla="*/ 463550 h 1655757"/>
                    <a:gd name="connsiteX51" fmla="*/ 917575 w 1146175"/>
                    <a:gd name="connsiteY51" fmla="*/ 501650 h 1655757"/>
                    <a:gd name="connsiteX52" fmla="*/ 923925 w 1146175"/>
                    <a:gd name="connsiteY52" fmla="*/ 514350 h 1655757"/>
                    <a:gd name="connsiteX53" fmla="*/ 939800 w 1146175"/>
                    <a:gd name="connsiteY53" fmla="*/ 533400 h 1655757"/>
                    <a:gd name="connsiteX54" fmla="*/ 942975 w 1146175"/>
                    <a:gd name="connsiteY54" fmla="*/ 542925 h 1655757"/>
                    <a:gd name="connsiteX55" fmla="*/ 955675 w 1146175"/>
                    <a:gd name="connsiteY55" fmla="*/ 568325 h 1655757"/>
                    <a:gd name="connsiteX56" fmla="*/ 968375 w 1146175"/>
                    <a:gd name="connsiteY56" fmla="*/ 609600 h 1655757"/>
                    <a:gd name="connsiteX57" fmla="*/ 974725 w 1146175"/>
                    <a:gd name="connsiteY57" fmla="*/ 622300 h 1655757"/>
                    <a:gd name="connsiteX58" fmla="*/ 981075 w 1146175"/>
                    <a:gd name="connsiteY58" fmla="*/ 641350 h 1655757"/>
                    <a:gd name="connsiteX59" fmla="*/ 993775 w 1146175"/>
                    <a:gd name="connsiteY59" fmla="*/ 644525 h 1655757"/>
                    <a:gd name="connsiteX60" fmla="*/ 1012825 w 1146175"/>
                    <a:gd name="connsiteY60" fmla="*/ 647700 h 1655757"/>
                    <a:gd name="connsiteX61" fmla="*/ 1041400 w 1146175"/>
                    <a:gd name="connsiteY61" fmla="*/ 660400 h 1655757"/>
                    <a:gd name="connsiteX62" fmla="*/ 1050925 w 1146175"/>
                    <a:gd name="connsiteY62" fmla="*/ 663575 h 1655757"/>
                    <a:gd name="connsiteX63" fmla="*/ 1066800 w 1146175"/>
                    <a:gd name="connsiteY63" fmla="*/ 673100 h 1655757"/>
                    <a:gd name="connsiteX64" fmla="*/ 1089025 w 1146175"/>
                    <a:gd name="connsiteY64" fmla="*/ 682625 h 1655757"/>
                    <a:gd name="connsiteX65" fmla="*/ 1117600 w 1146175"/>
                    <a:gd name="connsiteY65" fmla="*/ 701675 h 1655757"/>
                    <a:gd name="connsiteX66" fmla="*/ 1136650 w 1146175"/>
                    <a:gd name="connsiteY66" fmla="*/ 708025 h 1655757"/>
                    <a:gd name="connsiteX67" fmla="*/ 1146175 w 1146175"/>
                    <a:gd name="connsiteY67" fmla="*/ 898525 h 1655757"/>
                    <a:gd name="connsiteX68" fmla="*/ 1127125 w 1146175"/>
                    <a:gd name="connsiteY68" fmla="*/ 908050 h 1655757"/>
                    <a:gd name="connsiteX69" fmla="*/ 1101725 w 1146175"/>
                    <a:gd name="connsiteY69" fmla="*/ 914400 h 1655757"/>
                    <a:gd name="connsiteX70" fmla="*/ 1092200 w 1146175"/>
                    <a:gd name="connsiteY70" fmla="*/ 920750 h 1655757"/>
                    <a:gd name="connsiteX71" fmla="*/ 1079500 w 1146175"/>
                    <a:gd name="connsiteY71" fmla="*/ 923925 h 1655757"/>
                    <a:gd name="connsiteX72" fmla="*/ 1069975 w 1146175"/>
                    <a:gd name="connsiteY72" fmla="*/ 933450 h 1655757"/>
                    <a:gd name="connsiteX73" fmla="*/ 1060450 w 1146175"/>
                    <a:gd name="connsiteY73" fmla="*/ 939800 h 1655757"/>
                    <a:gd name="connsiteX74" fmla="*/ 1038225 w 1146175"/>
                    <a:gd name="connsiteY74" fmla="*/ 952500 h 1655757"/>
                    <a:gd name="connsiteX75" fmla="*/ 996950 w 1146175"/>
                    <a:gd name="connsiteY75" fmla="*/ 977900 h 1655757"/>
                    <a:gd name="connsiteX76" fmla="*/ 977900 w 1146175"/>
                    <a:gd name="connsiteY76" fmla="*/ 984250 h 1655757"/>
                    <a:gd name="connsiteX77" fmla="*/ 968375 w 1146175"/>
                    <a:gd name="connsiteY77" fmla="*/ 1009650 h 1655757"/>
                    <a:gd name="connsiteX78" fmla="*/ 958850 w 1146175"/>
                    <a:gd name="connsiteY78" fmla="*/ 1035050 h 1655757"/>
                    <a:gd name="connsiteX79" fmla="*/ 955675 w 1146175"/>
                    <a:gd name="connsiteY79" fmla="*/ 1060450 h 1655757"/>
                    <a:gd name="connsiteX80" fmla="*/ 949325 w 1146175"/>
                    <a:gd name="connsiteY80" fmla="*/ 1069975 h 1655757"/>
                    <a:gd name="connsiteX81" fmla="*/ 946150 w 1146175"/>
                    <a:gd name="connsiteY81" fmla="*/ 1079500 h 1655757"/>
                    <a:gd name="connsiteX82" fmla="*/ 936625 w 1146175"/>
                    <a:gd name="connsiteY82" fmla="*/ 1095375 h 1655757"/>
                    <a:gd name="connsiteX83" fmla="*/ 923925 w 1146175"/>
                    <a:gd name="connsiteY83" fmla="*/ 1130300 h 1655757"/>
                    <a:gd name="connsiteX84" fmla="*/ 917575 w 1146175"/>
                    <a:gd name="connsiteY84" fmla="*/ 1139825 h 1655757"/>
                    <a:gd name="connsiteX85" fmla="*/ 923925 w 1146175"/>
                    <a:gd name="connsiteY85" fmla="*/ 1193800 h 1655757"/>
                    <a:gd name="connsiteX86" fmla="*/ 939800 w 1146175"/>
                    <a:gd name="connsiteY86" fmla="*/ 1216025 h 1655757"/>
                    <a:gd name="connsiteX87" fmla="*/ 946150 w 1146175"/>
                    <a:gd name="connsiteY87" fmla="*/ 1228725 h 1655757"/>
                    <a:gd name="connsiteX88" fmla="*/ 952500 w 1146175"/>
                    <a:gd name="connsiteY88" fmla="*/ 1238250 h 1655757"/>
                    <a:gd name="connsiteX89" fmla="*/ 965200 w 1146175"/>
                    <a:gd name="connsiteY89" fmla="*/ 1263650 h 1655757"/>
                    <a:gd name="connsiteX90" fmla="*/ 974725 w 1146175"/>
                    <a:gd name="connsiteY90" fmla="*/ 1285875 h 1655757"/>
                    <a:gd name="connsiteX91" fmla="*/ 977900 w 1146175"/>
                    <a:gd name="connsiteY91" fmla="*/ 1298575 h 1655757"/>
                    <a:gd name="connsiteX92" fmla="*/ 981075 w 1146175"/>
                    <a:gd name="connsiteY92" fmla="*/ 1308100 h 1655757"/>
                    <a:gd name="connsiteX93" fmla="*/ 974725 w 1146175"/>
                    <a:gd name="connsiteY93" fmla="*/ 1343025 h 1655757"/>
                    <a:gd name="connsiteX94" fmla="*/ 949325 w 1146175"/>
                    <a:gd name="connsiteY94" fmla="*/ 1374775 h 1655757"/>
                    <a:gd name="connsiteX95" fmla="*/ 939800 w 1146175"/>
                    <a:gd name="connsiteY95" fmla="*/ 1381125 h 1655757"/>
                    <a:gd name="connsiteX96" fmla="*/ 930275 w 1146175"/>
                    <a:gd name="connsiteY96" fmla="*/ 1390650 h 1655757"/>
                    <a:gd name="connsiteX97" fmla="*/ 923925 w 1146175"/>
                    <a:gd name="connsiteY97" fmla="*/ 1400175 h 1655757"/>
                    <a:gd name="connsiteX98" fmla="*/ 908050 w 1146175"/>
                    <a:gd name="connsiteY98" fmla="*/ 1409700 h 1655757"/>
                    <a:gd name="connsiteX99" fmla="*/ 895350 w 1146175"/>
                    <a:gd name="connsiteY99" fmla="*/ 1422400 h 1655757"/>
                    <a:gd name="connsiteX100" fmla="*/ 882650 w 1146175"/>
                    <a:gd name="connsiteY100" fmla="*/ 1431925 h 1655757"/>
                    <a:gd name="connsiteX101" fmla="*/ 873125 w 1146175"/>
                    <a:gd name="connsiteY101" fmla="*/ 1441450 h 1655757"/>
                    <a:gd name="connsiteX102" fmla="*/ 844550 w 1146175"/>
                    <a:gd name="connsiteY102" fmla="*/ 1457325 h 1655757"/>
                    <a:gd name="connsiteX103" fmla="*/ 835025 w 1146175"/>
                    <a:gd name="connsiteY103" fmla="*/ 1460500 h 1655757"/>
                    <a:gd name="connsiteX104" fmla="*/ 815975 w 1146175"/>
                    <a:gd name="connsiteY104" fmla="*/ 1454150 h 1655757"/>
                    <a:gd name="connsiteX105" fmla="*/ 774700 w 1146175"/>
                    <a:gd name="connsiteY105" fmla="*/ 1438275 h 1655757"/>
                    <a:gd name="connsiteX106" fmla="*/ 749300 w 1146175"/>
                    <a:gd name="connsiteY106" fmla="*/ 1431925 h 1655757"/>
                    <a:gd name="connsiteX107" fmla="*/ 717550 w 1146175"/>
                    <a:gd name="connsiteY107" fmla="*/ 1419225 h 1655757"/>
                    <a:gd name="connsiteX108" fmla="*/ 688975 w 1146175"/>
                    <a:gd name="connsiteY108" fmla="*/ 1412875 h 1655757"/>
                    <a:gd name="connsiteX109" fmla="*/ 657225 w 1146175"/>
                    <a:gd name="connsiteY109" fmla="*/ 1403350 h 1655757"/>
                    <a:gd name="connsiteX110" fmla="*/ 635000 w 1146175"/>
                    <a:gd name="connsiteY110" fmla="*/ 1406525 h 1655757"/>
                    <a:gd name="connsiteX111" fmla="*/ 622300 w 1146175"/>
                    <a:gd name="connsiteY111" fmla="*/ 1412875 h 1655757"/>
                    <a:gd name="connsiteX112" fmla="*/ 606425 w 1146175"/>
                    <a:gd name="connsiteY112" fmla="*/ 1422400 h 1655757"/>
                    <a:gd name="connsiteX113" fmla="*/ 577850 w 1146175"/>
                    <a:gd name="connsiteY113" fmla="*/ 1438275 h 1655757"/>
                    <a:gd name="connsiteX114" fmla="*/ 558800 w 1146175"/>
                    <a:gd name="connsiteY114" fmla="*/ 1441450 h 1655757"/>
                    <a:gd name="connsiteX115" fmla="*/ 501650 w 1146175"/>
                    <a:gd name="connsiteY115" fmla="*/ 1447800 h 1655757"/>
                    <a:gd name="connsiteX116" fmla="*/ 492125 w 1146175"/>
                    <a:gd name="connsiteY116" fmla="*/ 1454150 h 1655757"/>
                    <a:gd name="connsiteX117" fmla="*/ 466725 w 1146175"/>
                    <a:gd name="connsiteY117" fmla="*/ 1485900 h 1655757"/>
                    <a:gd name="connsiteX118" fmla="*/ 457200 w 1146175"/>
                    <a:gd name="connsiteY118" fmla="*/ 1504950 h 1655757"/>
                    <a:gd name="connsiteX119" fmla="*/ 454025 w 1146175"/>
                    <a:gd name="connsiteY119" fmla="*/ 1514475 h 1655757"/>
                    <a:gd name="connsiteX120" fmla="*/ 447675 w 1146175"/>
                    <a:gd name="connsiteY120" fmla="*/ 1530350 h 1655757"/>
                    <a:gd name="connsiteX121" fmla="*/ 434975 w 1146175"/>
                    <a:gd name="connsiteY121" fmla="*/ 1555750 h 1655757"/>
                    <a:gd name="connsiteX122" fmla="*/ 431800 w 1146175"/>
                    <a:gd name="connsiteY122" fmla="*/ 1571625 h 1655757"/>
                    <a:gd name="connsiteX123" fmla="*/ 425450 w 1146175"/>
                    <a:gd name="connsiteY123" fmla="*/ 1597025 h 1655757"/>
                    <a:gd name="connsiteX124" fmla="*/ 422275 w 1146175"/>
                    <a:gd name="connsiteY124" fmla="*/ 1606550 h 1655757"/>
                    <a:gd name="connsiteX125" fmla="*/ 412750 w 1146175"/>
                    <a:gd name="connsiteY125" fmla="*/ 1616075 h 1655757"/>
                    <a:gd name="connsiteX126" fmla="*/ 222250 w 1146175"/>
                    <a:gd name="connsiteY126" fmla="*/ 1622425 h 1655757"/>
                    <a:gd name="connsiteX127" fmla="*/ 215900 w 1146175"/>
                    <a:gd name="connsiteY127" fmla="*/ 1606550 h 1655757"/>
                    <a:gd name="connsiteX128" fmla="*/ 206375 w 1146175"/>
                    <a:gd name="connsiteY128" fmla="*/ 1593850 h 1655757"/>
                    <a:gd name="connsiteX129" fmla="*/ 203200 w 1146175"/>
                    <a:gd name="connsiteY129" fmla="*/ 1581150 h 1655757"/>
                    <a:gd name="connsiteX130" fmla="*/ 196850 w 1146175"/>
                    <a:gd name="connsiteY130" fmla="*/ 1568450 h 1655757"/>
                    <a:gd name="connsiteX131" fmla="*/ 193675 w 1146175"/>
                    <a:gd name="connsiteY131" fmla="*/ 1558925 h 1655757"/>
                    <a:gd name="connsiteX132" fmla="*/ 187325 w 1146175"/>
                    <a:gd name="connsiteY132" fmla="*/ 1546225 h 1655757"/>
                    <a:gd name="connsiteX133" fmla="*/ 180975 w 1146175"/>
                    <a:gd name="connsiteY133" fmla="*/ 1530350 h 1655757"/>
                    <a:gd name="connsiteX134" fmla="*/ 161925 w 1146175"/>
                    <a:gd name="connsiteY134" fmla="*/ 1501775 h 1655757"/>
                    <a:gd name="connsiteX135" fmla="*/ 149225 w 1146175"/>
                    <a:gd name="connsiteY135" fmla="*/ 1479550 h 1655757"/>
                    <a:gd name="connsiteX136" fmla="*/ 142875 w 1146175"/>
                    <a:gd name="connsiteY136" fmla="*/ 1463675 h 1655757"/>
                    <a:gd name="connsiteX137" fmla="*/ 130175 w 1146175"/>
                    <a:gd name="connsiteY137" fmla="*/ 1460500 h 1655757"/>
                    <a:gd name="connsiteX138" fmla="*/ 101600 w 1146175"/>
                    <a:gd name="connsiteY138" fmla="*/ 1447800 h 1655757"/>
                    <a:gd name="connsiteX139" fmla="*/ 69850 w 1146175"/>
                    <a:gd name="connsiteY139" fmla="*/ 1438275 h 1655757"/>
                    <a:gd name="connsiteX140" fmla="*/ 41275 w 1146175"/>
                    <a:gd name="connsiteY140" fmla="*/ 1425575 h 1655757"/>
                    <a:gd name="connsiteX141" fmla="*/ 31750 w 1146175"/>
                    <a:gd name="connsiteY141" fmla="*/ 1419225 h 1655757"/>
                    <a:gd name="connsiteX142" fmla="*/ 15875 w 1146175"/>
                    <a:gd name="connsiteY142" fmla="*/ 1412875 h 1655757"/>
                    <a:gd name="connsiteX143" fmla="*/ 0 w 1146175"/>
                    <a:gd name="connsiteY143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39700 w 1146175"/>
                    <a:gd name="connsiteY3" fmla="*/ 158750 h 1655757"/>
                    <a:gd name="connsiteX4" fmla="*/ 155575 w 1146175"/>
                    <a:gd name="connsiteY4" fmla="*/ 155575 h 1655757"/>
                    <a:gd name="connsiteX5" fmla="*/ 168275 w 1146175"/>
                    <a:gd name="connsiteY5" fmla="*/ 142875 h 1655757"/>
                    <a:gd name="connsiteX6" fmla="*/ 180975 w 1146175"/>
                    <a:gd name="connsiteY6" fmla="*/ 127000 h 1655757"/>
                    <a:gd name="connsiteX7" fmla="*/ 193675 w 1146175"/>
                    <a:gd name="connsiteY7" fmla="*/ 107950 h 1655757"/>
                    <a:gd name="connsiteX8" fmla="*/ 206375 w 1146175"/>
                    <a:gd name="connsiteY8" fmla="*/ 73025 h 1655757"/>
                    <a:gd name="connsiteX9" fmla="*/ 209550 w 1146175"/>
                    <a:gd name="connsiteY9" fmla="*/ 60325 h 1655757"/>
                    <a:gd name="connsiteX10" fmla="*/ 228600 w 1146175"/>
                    <a:gd name="connsiteY10" fmla="*/ 28575 h 1655757"/>
                    <a:gd name="connsiteX11" fmla="*/ 238125 w 1146175"/>
                    <a:gd name="connsiteY11" fmla="*/ 9525 h 1655757"/>
                    <a:gd name="connsiteX12" fmla="*/ 269875 w 1146175"/>
                    <a:gd name="connsiteY12" fmla="*/ 0 h 1655757"/>
                    <a:gd name="connsiteX13" fmla="*/ 428625 w 1146175"/>
                    <a:gd name="connsiteY13" fmla="*/ 6350 h 1655757"/>
                    <a:gd name="connsiteX14" fmla="*/ 434975 w 1146175"/>
                    <a:gd name="connsiteY14" fmla="*/ 19050 h 1655757"/>
                    <a:gd name="connsiteX15" fmla="*/ 441325 w 1146175"/>
                    <a:gd name="connsiteY15" fmla="*/ 34925 h 1655757"/>
                    <a:gd name="connsiteX16" fmla="*/ 447675 w 1146175"/>
                    <a:gd name="connsiteY16" fmla="*/ 44450 h 1655757"/>
                    <a:gd name="connsiteX17" fmla="*/ 454025 w 1146175"/>
                    <a:gd name="connsiteY17" fmla="*/ 60325 h 1655757"/>
                    <a:gd name="connsiteX18" fmla="*/ 460375 w 1146175"/>
                    <a:gd name="connsiteY18" fmla="*/ 69850 h 1655757"/>
                    <a:gd name="connsiteX19" fmla="*/ 476250 w 1146175"/>
                    <a:gd name="connsiteY19" fmla="*/ 101600 h 1655757"/>
                    <a:gd name="connsiteX20" fmla="*/ 479425 w 1146175"/>
                    <a:gd name="connsiteY20" fmla="*/ 117475 h 1655757"/>
                    <a:gd name="connsiteX21" fmla="*/ 485775 w 1146175"/>
                    <a:gd name="connsiteY21" fmla="*/ 127000 h 1655757"/>
                    <a:gd name="connsiteX22" fmla="*/ 492125 w 1146175"/>
                    <a:gd name="connsiteY22" fmla="*/ 139700 h 1655757"/>
                    <a:gd name="connsiteX23" fmla="*/ 508000 w 1146175"/>
                    <a:gd name="connsiteY23" fmla="*/ 165100 h 1655757"/>
                    <a:gd name="connsiteX24" fmla="*/ 527050 w 1146175"/>
                    <a:gd name="connsiteY24" fmla="*/ 168275 h 1655757"/>
                    <a:gd name="connsiteX25" fmla="*/ 558800 w 1146175"/>
                    <a:gd name="connsiteY25" fmla="*/ 184150 h 1655757"/>
                    <a:gd name="connsiteX26" fmla="*/ 574675 w 1146175"/>
                    <a:gd name="connsiteY26" fmla="*/ 187325 h 1655757"/>
                    <a:gd name="connsiteX27" fmla="*/ 635000 w 1146175"/>
                    <a:gd name="connsiteY27" fmla="*/ 215900 h 1655757"/>
                    <a:gd name="connsiteX28" fmla="*/ 717550 w 1146175"/>
                    <a:gd name="connsiteY28" fmla="*/ 212725 h 1655757"/>
                    <a:gd name="connsiteX29" fmla="*/ 733425 w 1146175"/>
                    <a:gd name="connsiteY29" fmla="*/ 206375 h 1655757"/>
                    <a:gd name="connsiteX30" fmla="*/ 771525 w 1146175"/>
                    <a:gd name="connsiteY30" fmla="*/ 200025 h 1655757"/>
                    <a:gd name="connsiteX31" fmla="*/ 796925 w 1146175"/>
                    <a:gd name="connsiteY31" fmla="*/ 190500 h 1655757"/>
                    <a:gd name="connsiteX32" fmla="*/ 838200 w 1146175"/>
                    <a:gd name="connsiteY32" fmla="*/ 180975 h 1655757"/>
                    <a:gd name="connsiteX33" fmla="*/ 879475 w 1146175"/>
                    <a:gd name="connsiteY33" fmla="*/ 200025 h 1655757"/>
                    <a:gd name="connsiteX34" fmla="*/ 885825 w 1146175"/>
                    <a:gd name="connsiteY34" fmla="*/ 209550 h 1655757"/>
                    <a:gd name="connsiteX35" fmla="*/ 901700 w 1146175"/>
                    <a:gd name="connsiteY35" fmla="*/ 225425 h 1655757"/>
                    <a:gd name="connsiteX36" fmla="*/ 917575 w 1146175"/>
                    <a:gd name="connsiteY36" fmla="*/ 238125 h 1655757"/>
                    <a:gd name="connsiteX37" fmla="*/ 936625 w 1146175"/>
                    <a:gd name="connsiteY37" fmla="*/ 250825 h 1655757"/>
                    <a:gd name="connsiteX38" fmla="*/ 955675 w 1146175"/>
                    <a:gd name="connsiteY38" fmla="*/ 273050 h 1655757"/>
                    <a:gd name="connsiteX39" fmla="*/ 974725 w 1146175"/>
                    <a:gd name="connsiteY39" fmla="*/ 298450 h 1655757"/>
                    <a:gd name="connsiteX40" fmla="*/ 968375 w 1146175"/>
                    <a:gd name="connsiteY40" fmla="*/ 333375 h 1655757"/>
                    <a:gd name="connsiteX41" fmla="*/ 965200 w 1146175"/>
                    <a:gd name="connsiteY41" fmla="*/ 342900 h 1655757"/>
                    <a:gd name="connsiteX42" fmla="*/ 949325 w 1146175"/>
                    <a:gd name="connsiteY42" fmla="*/ 361950 h 1655757"/>
                    <a:gd name="connsiteX43" fmla="*/ 939800 w 1146175"/>
                    <a:gd name="connsiteY43" fmla="*/ 384175 h 1655757"/>
                    <a:gd name="connsiteX44" fmla="*/ 936625 w 1146175"/>
                    <a:gd name="connsiteY44" fmla="*/ 396875 h 1655757"/>
                    <a:gd name="connsiteX45" fmla="*/ 930275 w 1146175"/>
                    <a:gd name="connsiteY45" fmla="*/ 412750 h 1655757"/>
                    <a:gd name="connsiteX46" fmla="*/ 927100 w 1146175"/>
                    <a:gd name="connsiteY46" fmla="*/ 425450 h 1655757"/>
                    <a:gd name="connsiteX47" fmla="*/ 920750 w 1146175"/>
                    <a:gd name="connsiteY47" fmla="*/ 441325 h 1655757"/>
                    <a:gd name="connsiteX48" fmla="*/ 917575 w 1146175"/>
                    <a:gd name="connsiteY48" fmla="*/ 454025 h 1655757"/>
                    <a:gd name="connsiteX49" fmla="*/ 914400 w 1146175"/>
                    <a:gd name="connsiteY49" fmla="*/ 463550 h 1655757"/>
                    <a:gd name="connsiteX50" fmla="*/ 917575 w 1146175"/>
                    <a:gd name="connsiteY50" fmla="*/ 501650 h 1655757"/>
                    <a:gd name="connsiteX51" fmla="*/ 923925 w 1146175"/>
                    <a:gd name="connsiteY51" fmla="*/ 514350 h 1655757"/>
                    <a:gd name="connsiteX52" fmla="*/ 939800 w 1146175"/>
                    <a:gd name="connsiteY52" fmla="*/ 533400 h 1655757"/>
                    <a:gd name="connsiteX53" fmla="*/ 942975 w 1146175"/>
                    <a:gd name="connsiteY53" fmla="*/ 542925 h 1655757"/>
                    <a:gd name="connsiteX54" fmla="*/ 955675 w 1146175"/>
                    <a:gd name="connsiteY54" fmla="*/ 568325 h 1655757"/>
                    <a:gd name="connsiteX55" fmla="*/ 968375 w 1146175"/>
                    <a:gd name="connsiteY55" fmla="*/ 609600 h 1655757"/>
                    <a:gd name="connsiteX56" fmla="*/ 974725 w 1146175"/>
                    <a:gd name="connsiteY56" fmla="*/ 622300 h 1655757"/>
                    <a:gd name="connsiteX57" fmla="*/ 981075 w 1146175"/>
                    <a:gd name="connsiteY57" fmla="*/ 641350 h 1655757"/>
                    <a:gd name="connsiteX58" fmla="*/ 993775 w 1146175"/>
                    <a:gd name="connsiteY58" fmla="*/ 644525 h 1655757"/>
                    <a:gd name="connsiteX59" fmla="*/ 1012825 w 1146175"/>
                    <a:gd name="connsiteY59" fmla="*/ 647700 h 1655757"/>
                    <a:gd name="connsiteX60" fmla="*/ 1041400 w 1146175"/>
                    <a:gd name="connsiteY60" fmla="*/ 660400 h 1655757"/>
                    <a:gd name="connsiteX61" fmla="*/ 1050925 w 1146175"/>
                    <a:gd name="connsiteY61" fmla="*/ 663575 h 1655757"/>
                    <a:gd name="connsiteX62" fmla="*/ 1066800 w 1146175"/>
                    <a:gd name="connsiteY62" fmla="*/ 673100 h 1655757"/>
                    <a:gd name="connsiteX63" fmla="*/ 1089025 w 1146175"/>
                    <a:gd name="connsiteY63" fmla="*/ 682625 h 1655757"/>
                    <a:gd name="connsiteX64" fmla="*/ 1117600 w 1146175"/>
                    <a:gd name="connsiteY64" fmla="*/ 701675 h 1655757"/>
                    <a:gd name="connsiteX65" fmla="*/ 1136650 w 1146175"/>
                    <a:gd name="connsiteY65" fmla="*/ 708025 h 1655757"/>
                    <a:gd name="connsiteX66" fmla="*/ 1146175 w 1146175"/>
                    <a:gd name="connsiteY66" fmla="*/ 898525 h 1655757"/>
                    <a:gd name="connsiteX67" fmla="*/ 1127125 w 1146175"/>
                    <a:gd name="connsiteY67" fmla="*/ 908050 h 1655757"/>
                    <a:gd name="connsiteX68" fmla="*/ 1101725 w 1146175"/>
                    <a:gd name="connsiteY68" fmla="*/ 914400 h 1655757"/>
                    <a:gd name="connsiteX69" fmla="*/ 1092200 w 1146175"/>
                    <a:gd name="connsiteY69" fmla="*/ 920750 h 1655757"/>
                    <a:gd name="connsiteX70" fmla="*/ 1079500 w 1146175"/>
                    <a:gd name="connsiteY70" fmla="*/ 923925 h 1655757"/>
                    <a:gd name="connsiteX71" fmla="*/ 1069975 w 1146175"/>
                    <a:gd name="connsiteY71" fmla="*/ 933450 h 1655757"/>
                    <a:gd name="connsiteX72" fmla="*/ 1060450 w 1146175"/>
                    <a:gd name="connsiteY72" fmla="*/ 939800 h 1655757"/>
                    <a:gd name="connsiteX73" fmla="*/ 1038225 w 1146175"/>
                    <a:gd name="connsiteY73" fmla="*/ 952500 h 1655757"/>
                    <a:gd name="connsiteX74" fmla="*/ 996950 w 1146175"/>
                    <a:gd name="connsiteY74" fmla="*/ 977900 h 1655757"/>
                    <a:gd name="connsiteX75" fmla="*/ 977900 w 1146175"/>
                    <a:gd name="connsiteY75" fmla="*/ 984250 h 1655757"/>
                    <a:gd name="connsiteX76" fmla="*/ 968375 w 1146175"/>
                    <a:gd name="connsiteY76" fmla="*/ 1009650 h 1655757"/>
                    <a:gd name="connsiteX77" fmla="*/ 958850 w 1146175"/>
                    <a:gd name="connsiteY77" fmla="*/ 1035050 h 1655757"/>
                    <a:gd name="connsiteX78" fmla="*/ 955675 w 1146175"/>
                    <a:gd name="connsiteY78" fmla="*/ 1060450 h 1655757"/>
                    <a:gd name="connsiteX79" fmla="*/ 949325 w 1146175"/>
                    <a:gd name="connsiteY79" fmla="*/ 1069975 h 1655757"/>
                    <a:gd name="connsiteX80" fmla="*/ 946150 w 1146175"/>
                    <a:gd name="connsiteY80" fmla="*/ 1079500 h 1655757"/>
                    <a:gd name="connsiteX81" fmla="*/ 936625 w 1146175"/>
                    <a:gd name="connsiteY81" fmla="*/ 1095375 h 1655757"/>
                    <a:gd name="connsiteX82" fmla="*/ 923925 w 1146175"/>
                    <a:gd name="connsiteY82" fmla="*/ 1130300 h 1655757"/>
                    <a:gd name="connsiteX83" fmla="*/ 917575 w 1146175"/>
                    <a:gd name="connsiteY83" fmla="*/ 1139825 h 1655757"/>
                    <a:gd name="connsiteX84" fmla="*/ 923925 w 1146175"/>
                    <a:gd name="connsiteY84" fmla="*/ 1193800 h 1655757"/>
                    <a:gd name="connsiteX85" fmla="*/ 939800 w 1146175"/>
                    <a:gd name="connsiteY85" fmla="*/ 1216025 h 1655757"/>
                    <a:gd name="connsiteX86" fmla="*/ 946150 w 1146175"/>
                    <a:gd name="connsiteY86" fmla="*/ 1228725 h 1655757"/>
                    <a:gd name="connsiteX87" fmla="*/ 952500 w 1146175"/>
                    <a:gd name="connsiteY87" fmla="*/ 1238250 h 1655757"/>
                    <a:gd name="connsiteX88" fmla="*/ 965200 w 1146175"/>
                    <a:gd name="connsiteY88" fmla="*/ 1263650 h 1655757"/>
                    <a:gd name="connsiteX89" fmla="*/ 974725 w 1146175"/>
                    <a:gd name="connsiteY89" fmla="*/ 1285875 h 1655757"/>
                    <a:gd name="connsiteX90" fmla="*/ 977900 w 1146175"/>
                    <a:gd name="connsiteY90" fmla="*/ 1298575 h 1655757"/>
                    <a:gd name="connsiteX91" fmla="*/ 981075 w 1146175"/>
                    <a:gd name="connsiteY91" fmla="*/ 1308100 h 1655757"/>
                    <a:gd name="connsiteX92" fmla="*/ 974725 w 1146175"/>
                    <a:gd name="connsiteY92" fmla="*/ 1343025 h 1655757"/>
                    <a:gd name="connsiteX93" fmla="*/ 949325 w 1146175"/>
                    <a:gd name="connsiteY93" fmla="*/ 1374775 h 1655757"/>
                    <a:gd name="connsiteX94" fmla="*/ 939800 w 1146175"/>
                    <a:gd name="connsiteY94" fmla="*/ 1381125 h 1655757"/>
                    <a:gd name="connsiteX95" fmla="*/ 930275 w 1146175"/>
                    <a:gd name="connsiteY95" fmla="*/ 1390650 h 1655757"/>
                    <a:gd name="connsiteX96" fmla="*/ 923925 w 1146175"/>
                    <a:gd name="connsiteY96" fmla="*/ 1400175 h 1655757"/>
                    <a:gd name="connsiteX97" fmla="*/ 908050 w 1146175"/>
                    <a:gd name="connsiteY97" fmla="*/ 1409700 h 1655757"/>
                    <a:gd name="connsiteX98" fmla="*/ 895350 w 1146175"/>
                    <a:gd name="connsiteY98" fmla="*/ 1422400 h 1655757"/>
                    <a:gd name="connsiteX99" fmla="*/ 882650 w 1146175"/>
                    <a:gd name="connsiteY99" fmla="*/ 1431925 h 1655757"/>
                    <a:gd name="connsiteX100" fmla="*/ 873125 w 1146175"/>
                    <a:gd name="connsiteY100" fmla="*/ 1441450 h 1655757"/>
                    <a:gd name="connsiteX101" fmla="*/ 844550 w 1146175"/>
                    <a:gd name="connsiteY101" fmla="*/ 1457325 h 1655757"/>
                    <a:gd name="connsiteX102" fmla="*/ 835025 w 1146175"/>
                    <a:gd name="connsiteY102" fmla="*/ 1460500 h 1655757"/>
                    <a:gd name="connsiteX103" fmla="*/ 815975 w 1146175"/>
                    <a:gd name="connsiteY103" fmla="*/ 1454150 h 1655757"/>
                    <a:gd name="connsiteX104" fmla="*/ 774700 w 1146175"/>
                    <a:gd name="connsiteY104" fmla="*/ 1438275 h 1655757"/>
                    <a:gd name="connsiteX105" fmla="*/ 749300 w 1146175"/>
                    <a:gd name="connsiteY105" fmla="*/ 1431925 h 1655757"/>
                    <a:gd name="connsiteX106" fmla="*/ 717550 w 1146175"/>
                    <a:gd name="connsiteY106" fmla="*/ 1419225 h 1655757"/>
                    <a:gd name="connsiteX107" fmla="*/ 688975 w 1146175"/>
                    <a:gd name="connsiteY107" fmla="*/ 1412875 h 1655757"/>
                    <a:gd name="connsiteX108" fmla="*/ 657225 w 1146175"/>
                    <a:gd name="connsiteY108" fmla="*/ 1403350 h 1655757"/>
                    <a:gd name="connsiteX109" fmla="*/ 635000 w 1146175"/>
                    <a:gd name="connsiteY109" fmla="*/ 1406525 h 1655757"/>
                    <a:gd name="connsiteX110" fmla="*/ 622300 w 1146175"/>
                    <a:gd name="connsiteY110" fmla="*/ 1412875 h 1655757"/>
                    <a:gd name="connsiteX111" fmla="*/ 606425 w 1146175"/>
                    <a:gd name="connsiteY111" fmla="*/ 1422400 h 1655757"/>
                    <a:gd name="connsiteX112" fmla="*/ 577850 w 1146175"/>
                    <a:gd name="connsiteY112" fmla="*/ 1438275 h 1655757"/>
                    <a:gd name="connsiteX113" fmla="*/ 558800 w 1146175"/>
                    <a:gd name="connsiteY113" fmla="*/ 1441450 h 1655757"/>
                    <a:gd name="connsiteX114" fmla="*/ 501650 w 1146175"/>
                    <a:gd name="connsiteY114" fmla="*/ 1447800 h 1655757"/>
                    <a:gd name="connsiteX115" fmla="*/ 492125 w 1146175"/>
                    <a:gd name="connsiteY115" fmla="*/ 1454150 h 1655757"/>
                    <a:gd name="connsiteX116" fmla="*/ 466725 w 1146175"/>
                    <a:gd name="connsiteY116" fmla="*/ 1485900 h 1655757"/>
                    <a:gd name="connsiteX117" fmla="*/ 457200 w 1146175"/>
                    <a:gd name="connsiteY117" fmla="*/ 1504950 h 1655757"/>
                    <a:gd name="connsiteX118" fmla="*/ 454025 w 1146175"/>
                    <a:gd name="connsiteY118" fmla="*/ 1514475 h 1655757"/>
                    <a:gd name="connsiteX119" fmla="*/ 447675 w 1146175"/>
                    <a:gd name="connsiteY119" fmla="*/ 1530350 h 1655757"/>
                    <a:gd name="connsiteX120" fmla="*/ 434975 w 1146175"/>
                    <a:gd name="connsiteY120" fmla="*/ 1555750 h 1655757"/>
                    <a:gd name="connsiteX121" fmla="*/ 431800 w 1146175"/>
                    <a:gd name="connsiteY121" fmla="*/ 1571625 h 1655757"/>
                    <a:gd name="connsiteX122" fmla="*/ 425450 w 1146175"/>
                    <a:gd name="connsiteY122" fmla="*/ 1597025 h 1655757"/>
                    <a:gd name="connsiteX123" fmla="*/ 422275 w 1146175"/>
                    <a:gd name="connsiteY123" fmla="*/ 1606550 h 1655757"/>
                    <a:gd name="connsiteX124" fmla="*/ 412750 w 1146175"/>
                    <a:gd name="connsiteY124" fmla="*/ 1616075 h 1655757"/>
                    <a:gd name="connsiteX125" fmla="*/ 222250 w 1146175"/>
                    <a:gd name="connsiteY125" fmla="*/ 1622425 h 1655757"/>
                    <a:gd name="connsiteX126" fmla="*/ 215900 w 1146175"/>
                    <a:gd name="connsiteY126" fmla="*/ 1606550 h 1655757"/>
                    <a:gd name="connsiteX127" fmla="*/ 206375 w 1146175"/>
                    <a:gd name="connsiteY127" fmla="*/ 1593850 h 1655757"/>
                    <a:gd name="connsiteX128" fmla="*/ 203200 w 1146175"/>
                    <a:gd name="connsiteY128" fmla="*/ 1581150 h 1655757"/>
                    <a:gd name="connsiteX129" fmla="*/ 196850 w 1146175"/>
                    <a:gd name="connsiteY129" fmla="*/ 1568450 h 1655757"/>
                    <a:gd name="connsiteX130" fmla="*/ 193675 w 1146175"/>
                    <a:gd name="connsiteY130" fmla="*/ 1558925 h 1655757"/>
                    <a:gd name="connsiteX131" fmla="*/ 187325 w 1146175"/>
                    <a:gd name="connsiteY131" fmla="*/ 1546225 h 1655757"/>
                    <a:gd name="connsiteX132" fmla="*/ 180975 w 1146175"/>
                    <a:gd name="connsiteY132" fmla="*/ 1530350 h 1655757"/>
                    <a:gd name="connsiteX133" fmla="*/ 161925 w 1146175"/>
                    <a:gd name="connsiteY133" fmla="*/ 1501775 h 1655757"/>
                    <a:gd name="connsiteX134" fmla="*/ 149225 w 1146175"/>
                    <a:gd name="connsiteY134" fmla="*/ 1479550 h 1655757"/>
                    <a:gd name="connsiteX135" fmla="*/ 142875 w 1146175"/>
                    <a:gd name="connsiteY135" fmla="*/ 1463675 h 1655757"/>
                    <a:gd name="connsiteX136" fmla="*/ 130175 w 1146175"/>
                    <a:gd name="connsiteY136" fmla="*/ 1460500 h 1655757"/>
                    <a:gd name="connsiteX137" fmla="*/ 101600 w 1146175"/>
                    <a:gd name="connsiteY137" fmla="*/ 1447800 h 1655757"/>
                    <a:gd name="connsiteX138" fmla="*/ 69850 w 1146175"/>
                    <a:gd name="connsiteY138" fmla="*/ 1438275 h 1655757"/>
                    <a:gd name="connsiteX139" fmla="*/ 41275 w 1146175"/>
                    <a:gd name="connsiteY139" fmla="*/ 1425575 h 1655757"/>
                    <a:gd name="connsiteX140" fmla="*/ 31750 w 1146175"/>
                    <a:gd name="connsiteY140" fmla="*/ 1419225 h 1655757"/>
                    <a:gd name="connsiteX141" fmla="*/ 15875 w 1146175"/>
                    <a:gd name="connsiteY141" fmla="*/ 1412875 h 1655757"/>
                    <a:gd name="connsiteX142" fmla="*/ 0 w 1146175"/>
                    <a:gd name="connsiteY142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180975 w 1146175"/>
                    <a:gd name="connsiteY5" fmla="*/ 127000 h 1655757"/>
                    <a:gd name="connsiteX6" fmla="*/ 193675 w 1146175"/>
                    <a:gd name="connsiteY6" fmla="*/ 107950 h 1655757"/>
                    <a:gd name="connsiteX7" fmla="*/ 206375 w 1146175"/>
                    <a:gd name="connsiteY7" fmla="*/ 73025 h 1655757"/>
                    <a:gd name="connsiteX8" fmla="*/ 209550 w 1146175"/>
                    <a:gd name="connsiteY8" fmla="*/ 60325 h 1655757"/>
                    <a:gd name="connsiteX9" fmla="*/ 228600 w 1146175"/>
                    <a:gd name="connsiteY9" fmla="*/ 28575 h 1655757"/>
                    <a:gd name="connsiteX10" fmla="*/ 238125 w 1146175"/>
                    <a:gd name="connsiteY10" fmla="*/ 9525 h 1655757"/>
                    <a:gd name="connsiteX11" fmla="*/ 269875 w 1146175"/>
                    <a:gd name="connsiteY11" fmla="*/ 0 h 1655757"/>
                    <a:gd name="connsiteX12" fmla="*/ 428625 w 1146175"/>
                    <a:gd name="connsiteY12" fmla="*/ 6350 h 1655757"/>
                    <a:gd name="connsiteX13" fmla="*/ 434975 w 1146175"/>
                    <a:gd name="connsiteY13" fmla="*/ 19050 h 1655757"/>
                    <a:gd name="connsiteX14" fmla="*/ 441325 w 1146175"/>
                    <a:gd name="connsiteY14" fmla="*/ 34925 h 1655757"/>
                    <a:gd name="connsiteX15" fmla="*/ 447675 w 1146175"/>
                    <a:gd name="connsiteY15" fmla="*/ 44450 h 1655757"/>
                    <a:gd name="connsiteX16" fmla="*/ 454025 w 1146175"/>
                    <a:gd name="connsiteY16" fmla="*/ 60325 h 1655757"/>
                    <a:gd name="connsiteX17" fmla="*/ 460375 w 1146175"/>
                    <a:gd name="connsiteY17" fmla="*/ 69850 h 1655757"/>
                    <a:gd name="connsiteX18" fmla="*/ 476250 w 1146175"/>
                    <a:gd name="connsiteY18" fmla="*/ 101600 h 1655757"/>
                    <a:gd name="connsiteX19" fmla="*/ 479425 w 1146175"/>
                    <a:gd name="connsiteY19" fmla="*/ 117475 h 1655757"/>
                    <a:gd name="connsiteX20" fmla="*/ 485775 w 1146175"/>
                    <a:gd name="connsiteY20" fmla="*/ 127000 h 1655757"/>
                    <a:gd name="connsiteX21" fmla="*/ 492125 w 1146175"/>
                    <a:gd name="connsiteY21" fmla="*/ 139700 h 1655757"/>
                    <a:gd name="connsiteX22" fmla="*/ 508000 w 1146175"/>
                    <a:gd name="connsiteY22" fmla="*/ 165100 h 1655757"/>
                    <a:gd name="connsiteX23" fmla="*/ 527050 w 1146175"/>
                    <a:gd name="connsiteY23" fmla="*/ 168275 h 1655757"/>
                    <a:gd name="connsiteX24" fmla="*/ 558800 w 1146175"/>
                    <a:gd name="connsiteY24" fmla="*/ 184150 h 1655757"/>
                    <a:gd name="connsiteX25" fmla="*/ 574675 w 1146175"/>
                    <a:gd name="connsiteY25" fmla="*/ 187325 h 1655757"/>
                    <a:gd name="connsiteX26" fmla="*/ 635000 w 1146175"/>
                    <a:gd name="connsiteY26" fmla="*/ 215900 h 1655757"/>
                    <a:gd name="connsiteX27" fmla="*/ 717550 w 1146175"/>
                    <a:gd name="connsiteY27" fmla="*/ 212725 h 1655757"/>
                    <a:gd name="connsiteX28" fmla="*/ 733425 w 1146175"/>
                    <a:gd name="connsiteY28" fmla="*/ 206375 h 1655757"/>
                    <a:gd name="connsiteX29" fmla="*/ 771525 w 1146175"/>
                    <a:gd name="connsiteY29" fmla="*/ 200025 h 1655757"/>
                    <a:gd name="connsiteX30" fmla="*/ 796925 w 1146175"/>
                    <a:gd name="connsiteY30" fmla="*/ 190500 h 1655757"/>
                    <a:gd name="connsiteX31" fmla="*/ 838200 w 1146175"/>
                    <a:gd name="connsiteY31" fmla="*/ 180975 h 1655757"/>
                    <a:gd name="connsiteX32" fmla="*/ 879475 w 1146175"/>
                    <a:gd name="connsiteY32" fmla="*/ 200025 h 1655757"/>
                    <a:gd name="connsiteX33" fmla="*/ 885825 w 1146175"/>
                    <a:gd name="connsiteY33" fmla="*/ 209550 h 1655757"/>
                    <a:gd name="connsiteX34" fmla="*/ 901700 w 1146175"/>
                    <a:gd name="connsiteY34" fmla="*/ 225425 h 1655757"/>
                    <a:gd name="connsiteX35" fmla="*/ 917575 w 1146175"/>
                    <a:gd name="connsiteY35" fmla="*/ 238125 h 1655757"/>
                    <a:gd name="connsiteX36" fmla="*/ 936625 w 1146175"/>
                    <a:gd name="connsiteY36" fmla="*/ 250825 h 1655757"/>
                    <a:gd name="connsiteX37" fmla="*/ 955675 w 1146175"/>
                    <a:gd name="connsiteY37" fmla="*/ 273050 h 1655757"/>
                    <a:gd name="connsiteX38" fmla="*/ 974725 w 1146175"/>
                    <a:gd name="connsiteY38" fmla="*/ 298450 h 1655757"/>
                    <a:gd name="connsiteX39" fmla="*/ 968375 w 1146175"/>
                    <a:gd name="connsiteY39" fmla="*/ 333375 h 1655757"/>
                    <a:gd name="connsiteX40" fmla="*/ 965200 w 1146175"/>
                    <a:gd name="connsiteY40" fmla="*/ 342900 h 1655757"/>
                    <a:gd name="connsiteX41" fmla="*/ 949325 w 1146175"/>
                    <a:gd name="connsiteY41" fmla="*/ 361950 h 1655757"/>
                    <a:gd name="connsiteX42" fmla="*/ 939800 w 1146175"/>
                    <a:gd name="connsiteY42" fmla="*/ 384175 h 1655757"/>
                    <a:gd name="connsiteX43" fmla="*/ 936625 w 1146175"/>
                    <a:gd name="connsiteY43" fmla="*/ 396875 h 1655757"/>
                    <a:gd name="connsiteX44" fmla="*/ 930275 w 1146175"/>
                    <a:gd name="connsiteY44" fmla="*/ 412750 h 1655757"/>
                    <a:gd name="connsiteX45" fmla="*/ 927100 w 1146175"/>
                    <a:gd name="connsiteY45" fmla="*/ 425450 h 1655757"/>
                    <a:gd name="connsiteX46" fmla="*/ 920750 w 1146175"/>
                    <a:gd name="connsiteY46" fmla="*/ 441325 h 1655757"/>
                    <a:gd name="connsiteX47" fmla="*/ 917575 w 1146175"/>
                    <a:gd name="connsiteY47" fmla="*/ 454025 h 1655757"/>
                    <a:gd name="connsiteX48" fmla="*/ 914400 w 1146175"/>
                    <a:gd name="connsiteY48" fmla="*/ 463550 h 1655757"/>
                    <a:gd name="connsiteX49" fmla="*/ 917575 w 1146175"/>
                    <a:gd name="connsiteY49" fmla="*/ 501650 h 1655757"/>
                    <a:gd name="connsiteX50" fmla="*/ 923925 w 1146175"/>
                    <a:gd name="connsiteY50" fmla="*/ 514350 h 1655757"/>
                    <a:gd name="connsiteX51" fmla="*/ 939800 w 1146175"/>
                    <a:gd name="connsiteY51" fmla="*/ 533400 h 1655757"/>
                    <a:gd name="connsiteX52" fmla="*/ 942975 w 1146175"/>
                    <a:gd name="connsiteY52" fmla="*/ 542925 h 1655757"/>
                    <a:gd name="connsiteX53" fmla="*/ 955675 w 1146175"/>
                    <a:gd name="connsiteY53" fmla="*/ 568325 h 1655757"/>
                    <a:gd name="connsiteX54" fmla="*/ 968375 w 1146175"/>
                    <a:gd name="connsiteY54" fmla="*/ 609600 h 1655757"/>
                    <a:gd name="connsiteX55" fmla="*/ 974725 w 1146175"/>
                    <a:gd name="connsiteY55" fmla="*/ 622300 h 1655757"/>
                    <a:gd name="connsiteX56" fmla="*/ 981075 w 1146175"/>
                    <a:gd name="connsiteY56" fmla="*/ 641350 h 1655757"/>
                    <a:gd name="connsiteX57" fmla="*/ 993775 w 1146175"/>
                    <a:gd name="connsiteY57" fmla="*/ 644525 h 1655757"/>
                    <a:gd name="connsiteX58" fmla="*/ 1012825 w 1146175"/>
                    <a:gd name="connsiteY58" fmla="*/ 647700 h 1655757"/>
                    <a:gd name="connsiteX59" fmla="*/ 1041400 w 1146175"/>
                    <a:gd name="connsiteY59" fmla="*/ 660400 h 1655757"/>
                    <a:gd name="connsiteX60" fmla="*/ 1050925 w 1146175"/>
                    <a:gd name="connsiteY60" fmla="*/ 663575 h 1655757"/>
                    <a:gd name="connsiteX61" fmla="*/ 1066800 w 1146175"/>
                    <a:gd name="connsiteY61" fmla="*/ 673100 h 1655757"/>
                    <a:gd name="connsiteX62" fmla="*/ 1089025 w 1146175"/>
                    <a:gd name="connsiteY62" fmla="*/ 682625 h 1655757"/>
                    <a:gd name="connsiteX63" fmla="*/ 1117600 w 1146175"/>
                    <a:gd name="connsiteY63" fmla="*/ 701675 h 1655757"/>
                    <a:gd name="connsiteX64" fmla="*/ 1136650 w 1146175"/>
                    <a:gd name="connsiteY64" fmla="*/ 708025 h 1655757"/>
                    <a:gd name="connsiteX65" fmla="*/ 1146175 w 1146175"/>
                    <a:gd name="connsiteY65" fmla="*/ 898525 h 1655757"/>
                    <a:gd name="connsiteX66" fmla="*/ 1127125 w 1146175"/>
                    <a:gd name="connsiteY66" fmla="*/ 908050 h 1655757"/>
                    <a:gd name="connsiteX67" fmla="*/ 1101725 w 1146175"/>
                    <a:gd name="connsiteY67" fmla="*/ 914400 h 1655757"/>
                    <a:gd name="connsiteX68" fmla="*/ 1092200 w 1146175"/>
                    <a:gd name="connsiteY68" fmla="*/ 920750 h 1655757"/>
                    <a:gd name="connsiteX69" fmla="*/ 1079500 w 1146175"/>
                    <a:gd name="connsiteY69" fmla="*/ 923925 h 1655757"/>
                    <a:gd name="connsiteX70" fmla="*/ 1069975 w 1146175"/>
                    <a:gd name="connsiteY70" fmla="*/ 933450 h 1655757"/>
                    <a:gd name="connsiteX71" fmla="*/ 1060450 w 1146175"/>
                    <a:gd name="connsiteY71" fmla="*/ 939800 h 1655757"/>
                    <a:gd name="connsiteX72" fmla="*/ 1038225 w 1146175"/>
                    <a:gd name="connsiteY72" fmla="*/ 952500 h 1655757"/>
                    <a:gd name="connsiteX73" fmla="*/ 996950 w 1146175"/>
                    <a:gd name="connsiteY73" fmla="*/ 977900 h 1655757"/>
                    <a:gd name="connsiteX74" fmla="*/ 977900 w 1146175"/>
                    <a:gd name="connsiteY74" fmla="*/ 984250 h 1655757"/>
                    <a:gd name="connsiteX75" fmla="*/ 968375 w 1146175"/>
                    <a:gd name="connsiteY75" fmla="*/ 1009650 h 1655757"/>
                    <a:gd name="connsiteX76" fmla="*/ 958850 w 1146175"/>
                    <a:gd name="connsiteY76" fmla="*/ 1035050 h 1655757"/>
                    <a:gd name="connsiteX77" fmla="*/ 955675 w 1146175"/>
                    <a:gd name="connsiteY77" fmla="*/ 1060450 h 1655757"/>
                    <a:gd name="connsiteX78" fmla="*/ 949325 w 1146175"/>
                    <a:gd name="connsiteY78" fmla="*/ 1069975 h 1655757"/>
                    <a:gd name="connsiteX79" fmla="*/ 946150 w 1146175"/>
                    <a:gd name="connsiteY79" fmla="*/ 1079500 h 1655757"/>
                    <a:gd name="connsiteX80" fmla="*/ 936625 w 1146175"/>
                    <a:gd name="connsiteY80" fmla="*/ 1095375 h 1655757"/>
                    <a:gd name="connsiteX81" fmla="*/ 923925 w 1146175"/>
                    <a:gd name="connsiteY81" fmla="*/ 1130300 h 1655757"/>
                    <a:gd name="connsiteX82" fmla="*/ 917575 w 1146175"/>
                    <a:gd name="connsiteY82" fmla="*/ 1139825 h 1655757"/>
                    <a:gd name="connsiteX83" fmla="*/ 923925 w 1146175"/>
                    <a:gd name="connsiteY83" fmla="*/ 1193800 h 1655757"/>
                    <a:gd name="connsiteX84" fmla="*/ 939800 w 1146175"/>
                    <a:gd name="connsiteY84" fmla="*/ 1216025 h 1655757"/>
                    <a:gd name="connsiteX85" fmla="*/ 946150 w 1146175"/>
                    <a:gd name="connsiteY85" fmla="*/ 1228725 h 1655757"/>
                    <a:gd name="connsiteX86" fmla="*/ 952500 w 1146175"/>
                    <a:gd name="connsiteY86" fmla="*/ 1238250 h 1655757"/>
                    <a:gd name="connsiteX87" fmla="*/ 965200 w 1146175"/>
                    <a:gd name="connsiteY87" fmla="*/ 1263650 h 1655757"/>
                    <a:gd name="connsiteX88" fmla="*/ 974725 w 1146175"/>
                    <a:gd name="connsiteY88" fmla="*/ 1285875 h 1655757"/>
                    <a:gd name="connsiteX89" fmla="*/ 977900 w 1146175"/>
                    <a:gd name="connsiteY89" fmla="*/ 1298575 h 1655757"/>
                    <a:gd name="connsiteX90" fmla="*/ 981075 w 1146175"/>
                    <a:gd name="connsiteY90" fmla="*/ 1308100 h 1655757"/>
                    <a:gd name="connsiteX91" fmla="*/ 974725 w 1146175"/>
                    <a:gd name="connsiteY91" fmla="*/ 1343025 h 1655757"/>
                    <a:gd name="connsiteX92" fmla="*/ 949325 w 1146175"/>
                    <a:gd name="connsiteY92" fmla="*/ 1374775 h 1655757"/>
                    <a:gd name="connsiteX93" fmla="*/ 939800 w 1146175"/>
                    <a:gd name="connsiteY93" fmla="*/ 1381125 h 1655757"/>
                    <a:gd name="connsiteX94" fmla="*/ 930275 w 1146175"/>
                    <a:gd name="connsiteY94" fmla="*/ 1390650 h 1655757"/>
                    <a:gd name="connsiteX95" fmla="*/ 923925 w 1146175"/>
                    <a:gd name="connsiteY95" fmla="*/ 1400175 h 1655757"/>
                    <a:gd name="connsiteX96" fmla="*/ 908050 w 1146175"/>
                    <a:gd name="connsiteY96" fmla="*/ 1409700 h 1655757"/>
                    <a:gd name="connsiteX97" fmla="*/ 895350 w 1146175"/>
                    <a:gd name="connsiteY97" fmla="*/ 1422400 h 1655757"/>
                    <a:gd name="connsiteX98" fmla="*/ 882650 w 1146175"/>
                    <a:gd name="connsiteY98" fmla="*/ 1431925 h 1655757"/>
                    <a:gd name="connsiteX99" fmla="*/ 873125 w 1146175"/>
                    <a:gd name="connsiteY99" fmla="*/ 1441450 h 1655757"/>
                    <a:gd name="connsiteX100" fmla="*/ 844550 w 1146175"/>
                    <a:gd name="connsiteY100" fmla="*/ 1457325 h 1655757"/>
                    <a:gd name="connsiteX101" fmla="*/ 835025 w 1146175"/>
                    <a:gd name="connsiteY101" fmla="*/ 1460500 h 1655757"/>
                    <a:gd name="connsiteX102" fmla="*/ 815975 w 1146175"/>
                    <a:gd name="connsiteY102" fmla="*/ 1454150 h 1655757"/>
                    <a:gd name="connsiteX103" fmla="*/ 774700 w 1146175"/>
                    <a:gd name="connsiteY103" fmla="*/ 1438275 h 1655757"/>
                    <a:gd name="connsiteX104" fmla="*/ 749300 w 1146175"/>
                    <a:gd name="connsiteY104" fmla="*/ 1431925 h 1655757"/>
                    <a:gd name="connsiteX105" fmla="*/ 717550 w 1146175"/>
                    <a:gd name="connsiteY105" fmla="*/ 1419225 h 1655757"/>
                    <a:gd name="connsiteX106" fmla="*/ 688975 w 1146175"/>
                    <a:gd name="connsiteY106" fmla="*/ 1412875 h 1655757"/>
                    <a:gd name="connsiteX107" fmla="*/ 657225 w 1146175"/>
                    <a:gd name="connsiteY107" fmla="*/ 1403350 h 1655757"/>
                    <a:gd name="connsiteX108" fmla="*/ 635000 w 1146175"/>
                    <a:gd name="connsiteY108" fmla="*/ 1406525 h 1655757"/>
                    <a:gd name="connsiteX109" fmla="*/ 622300 w 1146175"/>
                    <a:gd name="connsiteY109" fmla="*/ 1412875 h 1655757"/>
                    <a:gd name="connsiteX110" fmla="*/ 606425 w 1146175"/>
                    <a:gd name="connsiteY110" fmla="*/ 1422400 h 1655757"/>
                    <a:gd name="connsiteX111" fmla="*/ 577850 w 1146175"/>
                    <a:gd name="connsiteY111" fmla="*/ 1438275 h 1655757"/>
                    <a:gd name="connsiteX112" fmla="*/ 558800 w 1146175"/>
                    <a:gd name="connsiteY112" fmla="*/ 1441450 h 1655757"/>
                    <a:gd name="connsiteX113" fmla="*/ 501650 w 1146175"/>
                    <a:gd name="connsiteY113" fmla="*/ 1447800 h 1655757"/>
                    <a:gd name="connsiteX114" fmla="*/ 492125 w 1146175"/>
                    <a:gd name="connsiteY114" fmla="*/ 1454150 h 1655757"/>
                    <a:gd name="connsiteX115" fmla="*/ 466725 w 1146175"/>
                    <a:gd name="connsiteY115" fmla="*/ 1485900 h 1655757"/>
                    <a:gd name="connsiteX116" fmla="*/ 457200 w 1146175"/>
                    <a:gd name="connsiteY116" fmla="*/ 1504950 h 1655757"/>
                    <a:gd name="connsiteX117" fmla="*/ 454025 w 1146175"/>
                    <a:gd name="connsiteY117" fmla="*/ 1514475 h 1655757"/>
                    <a:gd name="connsiteX118" fmla="*/ 447675 w 1146175"/>
                    <a:gd name="connsiteY118" fmla="*/ 1530350 h 1655757"/>
                    <a:gd name="connsiteX119" fmla="*/ 434975 w 1146175"/>
                    <a:gd name="connsiteY119" fmla="*/ 1555750 h 1655757"/>
                    <a:gd name="connsiteX120" fmla="*/ 431800 w 1146175"/>
                    <a:gd name="connsiteY120" fmla="*/ 1571625 h 1655757"/>
                    <a:gd name="connsiteX121" fmla="*/ 425450 w 1146175"/>
                    <a:gd name="connsiteY121" fmla="*/ 1597025 h 1655757"/>
                    <a:gd name="connsiteX122" fmla="*/ 422275 w 1146175"/>
                    <a:gd name="connsiteY122" fmla="*/ 1606550 h 1655757"/>
                    <a:gd name="connsiteX123" fmla="*/ 412750 w 1146175"/>
                    <a:gd name="connsiteY123" fmla="*/ 1616075 h 1655757"/>
                    <a:gd name="connsiteX124" fmla="*/ 222250 w 1146175"/>
                    <a:gd name="connsiteY124" fmla="*/ 1622425 h 1655757"/>
                    <a:gd name="connsiteX125" fmla="*/ 215900 w 1146175"/>
                    <a:gd name="connsiteY125" fmla="*/ 1606550 h 1655757"/>
                    <a:gd name="connsiteX126" fmla="*/ 206375 w 1146175"/>
                    <a:gd name="connsiteY126" fmla="*/ 1593850 h 1655757"/>
                    <a:gd name="connsiteX127" fmla="*/ 203200 w 1146175"/>
                    <a:gd name="connsiteY127" fmla="*/ 1581150 h 1655757"/>
                    <a:gd name="connsiteX128" fmla="*/ 196850 w 1146175"/>
                    <a:gd name="connsiteY128" fmla="*/ 1568450 h 1655757"/>
                    <a:gd name="connsiteX129" fmla="*/ 193675 w 1146175"/>
                    <a:gd name="connsiteY129" fmla="*/ 1558925 h 1655757"/>
                    <a:gd name="connsiteX130" fmla="*/ 187325 w 1146175"/>
                    <a:gd name="connsiteY130" fmla="*/ 1546225 h 1655757"/>
                    <a:gd name="connsiteX131" fmla="*/ 180975 w 1146175"/>
                    <a:gd name="connsiteY131" fmla="*/ 1530350 h 1655757"/>
                    <a:gd name="connsiteX132" fmla="*/ 161925 w 1146175"/>
                    <a:gd name="connsiteY132" fmla="*/ 1501775 h 1655757"/>
                    <a:gd name="connsiteX133" fmla="*/ 149225 w 1146175"/>
                    <a:gd name="connsiteY133" fmla="*/ 1479550 h 1655757"/>
                    <a:gd name="connsiteX134" fmla="*/ 142875 w 1146175"/>
                    <a:gd name="connsiteY134" fmla="*/ 1463675 h 1655757"/>
                    <a:gd name="connsiteX135" fmla="*/ 130175 w 1146175"/>
                    <a:gd name="connsiteY135" fmla="*/ 1460500 h 1655757"/>
                    <a:gd name="connsiteX136" fmla="*/ 101600 w 1146175"/>
                    <a:gd name="connsiteY136" fmla="*/ 1447800 h 1655757"/>
                    <a:gd name="connsiteX137" fmla="*/ 69850 w 1146175"/>
                    <a:gd name="connsiteY137" fmla="*/ 1438275 h 1655757"/>
                    <a:gd name="connsiteX138" fmla="*/ 41275 w 1146175"/>
                    <a:gd name="connsiteY138" fmla="*/ 1425575 h 1655757"/>
                    <a:gd name="connsiteX139" fmla="*/ 31750 w 1146175"/>
                    <a:gd name="connsiteY139" fmla="*/ 1419225 h 1655757"/>
                    <a:gd name="connsiteX140" fmla="*/ 15875 w 1146175"/>
                    <a:gd name="connsiteY140" fmla="*/ 1412875 h 1655757"/>
                    <a:gd name="connsiteX141" fmla="*/ 0 w 1146175"/>
                    <a:gd name="connsiteY141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193675 w 1146175"/>
                    <a:gd name="connsiteY5" fmla="*/ 107950 h 1655757"/>
                    <a:gd name="connsiteX6" fmla="*/ 206375 w 1146175"/>
                    <a:gd name="connsiteY6" fmla="*/ 73025 h 1655757"/>
                    <a:gd name="connsiteX7" fmla="*/ 209550 w 1146175"/>
                    <a:gd name="connsiteY7" fmla="*/ 60325 h 1655757"/>
                    <a:gd name="connsiteX8" fmla="*/ 228600 w 1146175"/>
                    <a:gd name="connsiteY8" fmla="*/ 28575 h 1655757"/>
                    <a:gd name="connsiteX9" fmla="*/ 238125 w 1146175"/>
                    <a:gd name="connsiteY9" fmla="*/ 9525 h 1655757"/>
                    <a:gd name="connsiteX10" fmla="*/ 269875 w 1146175"/>
                    <a:gd name="connsiteY10" fmla="*/ 0 h 1655757"/>
                    <a:gd name="connsiteX11" fmla="*/ 428625 w 1146175"/>
                    <a:gd name="connsiteY11" fmla="*/ 6350 h 1655757"/>
                    <a:gd name="connsiteX12" fmla="*/ 434975 w 1146175"/>
                    <a:gd name="connsiteY12" fmla="*/ 19050 h 1655757"/>
                    <a:gd name="connsiteX13" fmla="*/ 441325 w 1146175"/>
                    <a:gd name="connsiteY13" fmla="*/ 34925 h 1655757"/>
                    <a:gd name="connsiteX14" fmla="*/ 447675 w 1146175"/>
                    <a:gd name="connsiteY14" fmla="*/ 44450 h 1655757"/>
                    <a:gd name="connsiteX15" fmla="*/ 454025 w 1146175"/>
                    <a:gd name="connsiteY15" fmla="*/ 60325 h 1655757"/>
                    <a:gd name="connsiteX16" fmla="*/ 460375 w 1146175"/>
                    <a:gd name="connsiteY16" fmla="*/ 69850 h 1655757"/>
                    <a:gd name="connsiteX17" fmla="*/ 476250 w 1146175"/>
                    <a:gd name="connsiteY17" fmla="*/ 101600 h 1655757"/>
                    <a:gd name="connsiteX18" fmla="*/ 479425 w 1146175"/>
                    <a:gd name="connsiteY18" fmla="*/ 117475 h 1655757"/>
                    <a:gd name="connsiteX19" fmla="*/ 485775 w 1146175"/>
                    <a:gd name="connsiteY19" fmla="*/ 127000 h 1655757"/>
                    <a:gd name="connsiteX20" fmla="*/ 492125 w 1146175"/>
                    <a:gd name="connsiteY20" fmla="*/ 139700 h 1655757"/>
                    <a:gd name="connsiteX21" fmla="*/ 508000 w 1146175"/>
                    <a:gd name="connsiteY21" fmla="*/ 165100 h 1655757"/>
                    <a:gd name="connsiteX22" fmla="*/ 527050 w 1146175"/>
                    <a:gd name="connsiteY22" fmla="*/ 168275 h 1655757"/>
                    <a:gd name="connsiteX23" fmla="*/ 558800 w 1146175"/>
                    <a:gd name="connsiteY23" fmla="*/ 184150 h 1655757"/>
                    <a:gd name="connsiteX24" fmla="*/ 574675 w 1146175"/>
                    <a:gd name="connsiteY24" fmla="*/ 187325 h 1655757"/>
                    <a:gd name="connsiteX25" fmla="*/ 635000 w 1146175"/>
                    <a:gd name="connsiteY25" fmla="*/ 215900 h 1655757"/>
                    <a:gd name="connsiteX26" fmla="*/ 717550 w 1146175"/>
                    <a:gd name="connsiteY26" fmla="*/ 212725 h 1655757"/>
                    <a:gd name="connsiteX27" fmla="*/ 733425 w 1146175"/>
                    <a:gd name="connsiteY27" fmla="*/ 206375 h 1655757"/>
                    <a:gd name="connsiteX28" fmla="*/ 771525 w 1146175"/>
                    <a:gd name="connsiteY28" fmla="*/ 200025 h 1655757"/>
                    <a:gd name="connsiteX29" fmla="*/ 796925 w 1146175"/>
                    <a:gd name="connsiteY29" fmla="*/ 190500 h 1655757"/>
                    <a:gd name="connsiteX30" fmla="*/ 838200 w 1146175"/>
                    <a:gd name="connsiteY30" fmla="*/ 180975 h 1655757"/>
                    <a:gd name="connsiteX31" fmla="*/ 879475 w 1146175"/>
                    <a:gd name="connsiteY31" fmla="*/ 200025 h 1655757"/>
                    <a:gd name="connsiteX32" fmla="*/ 885825 w 1146175"/>
                    <a:gd name="connsiteY32" fmla="*/ 209550 h 1655757"/>
                    <a:gd name="connsiteX33" fmla="*/ 901700 w 1146175"/>
                    <a:gd name="connsiteY33" fmla="*/ 225425 h 1655757"/>
                    <a:gd name="connsiteX34" fmla="*/ 917575 w 1146175"/>
                    <a:gd name="connsiteY34" fmla="*/ 238125 h 1655757"/>
                    <a:gd name="connsiteX35" fmla="*/ 936625 w 1146175"/>
                    <a:gd name="connsiteY35" fmla="*/ 250825 h 1655757"/>
                    <a:gd name="connsiteX36" fmla="*/ 955675 w 1146175"/>
                    <a:gd name="connsiteY36" fmla="*/ 273050 h 1655757"/>
                    <a:gd name="connsiteX37" fmla="*/ 974725 w 1146175"/>
                    <a:gd name="connsiteY37" fmla="*/ 298450 h 1655757"/>
                    <a:gd name="connsiteX38" fmla="*/ 968375 w 1146175"/>
                    <a:gd name="connsiteY38" fmla="*/ 333375 h 1655757"/>
                    <a:gd name="connsiteX39" fmla="*/ 965200 w 1146175"/>
                    <a:gd name="connsiteY39" fmla="*/ 342900 h 1655757"/>
                    <a:gd name="connsiteX40" fmla="*/ 949325 w 1146175"/>
                    <a:gd name="connsiteY40" fmla="*/ 361950 h 1655757"/>
                    <a:gd name="connsiteX41" fmla="*/ 939800 w 1146175"/>
                    <a:gd name="connsiteY41" fmla="*/ 384175 h 1655757"/>
                    <a:gd name="connsiteX42" fmla="*/ 936625 w 1146175"/>
                    <a:gd name="connsiteY42" fmla="*/ 396875 h 1655757"/>
                    <a:gd name="connsiteX43" fmla="*/ 930275 w 1146175"/>
                    <a:gd name="connsiteY43" fmla="*/ 412750 h 1655757"/>
                    <a:gd name="connsiteX44" fmla="*/ 927100 w 1146175"/>
                    <a:gd name="connsiteY44" fmla="*/ 425450 h 1655757"/>
                    <a:gd name="connsiteX45" fmla="*/ 920750 w 1146175"/>
                    <a:gd name="connsiteY45" fmla="*/ 441325 h 1655757"/>
                    <a:gd name="connsiteX46" fmla="*/ 917575 w 1146175"/>
                    <a:gd name="connsiteY46" fmla="*/ 454025 h 1655757"/>
                    <a:gd name="connsiteX47" fmla="*/ 914400 w 1146175"/>
                    <a:gd name="connsiteY47" fmla="*/ 463550 h 1655757"/>
                    <a:gd name="connsiteX48" fmla="*/ 917575 w 1146175"/>
                    <a:gd name="connsiteY48" fmla="*/ 501650 h 1655757"/>
                    <a:gd name="connsiteX49" fmla="*/ 923925 w 1146175"/>
                    <a:gd name="connsiteY49" fmla="*/ 514350 h 1655757"/>
                    <a:gd name="connsiteX50" fmla="*/ 939800 w 1146175"/>
                    <a:gd name="connsiteY50" fmla="*/ 533400 h 1655757"/>
                    <a:gd name="connsiteX51" fmla="*/ 942975 w 1146175"/>
                    <a:gd name="connsiteY51" fmla="*/ 542925 h 1655757"/>
                    <a:gd name="connsiteX52" fmla="*/ 955675 w 1146175"/>
                    <a:gd name="connsiteY52" fmla="*/ 568325 h 1655757"/>
                    <a:gd name="connsiteX53" fmla="*/ 968375 w 1146175"/>
                    <a:gd name="connsiteY53" fmla="*/ 609600 h 1655757"/>
                    <a:gd name="connsiteX54" fmla="*/ 974725 w 1146175"/>
                    <a:gd name="connsiteY54" fmla="*/ 622300 h 1655757"/>
                    <a:gd name="connsiteX55" fmla="*/ 981075 w 1146175"/>
                    <a:gd name="connsiteY55" fmla="*/ 641350 h 1655757"/>
                    <a:gd name="connsiteX56" fmla="*/ 993775 w 1146175"/>
                    <a:gd name="connsiteY56" fmla="*/ 644525 h 1655757"/>
                    <a:gd name="connsiteX57" fmla="*/ 1012825 w 1146175"/>
                    <a:gd name="connsiteY57" fmla="*/ 647700 h 1655757"/>
                    <a:gd name="connsiteX58" fmla="*/ 1041400 w 1146175"/>
                    <a:gd name="connsiteY58" fmla="*/ 660400 h 1655757"/>
                    <a:gd name="connsiteX59" fmla="*/ 1050925 w 1146175"/>
                    <a:gd name="connsiteY59" fmla="*/ 663575 h 1655757"/>
                    <a:gd name="connsiteX60" fmla="*/ 1066800 w 1146175"/>
                    <a:gd name="connsiteY60" fmla="*/ 673100 h 1655757"/>
                    <a:gd name="connsiteX61" fmla="*/ 1089025 w 1146175"/>
                    <a:gd name="connsiteY61" fmla="*/ 682625 h 1655757"/>
                    <a:gd name="connsiteX62" fmla="*/ 1117600 w 1146175"/>
                    <a:gd name="connsiteY62" fmla="*/ 701675 h 1655757"/>
                    <a:gd name="connsiteX63" fmla="*/ 1136650 w 1146175"/>
                    <a:gd name="connsiteY63" fmla="*/ 708025 h 1655757"/>
                    <a:gd name="connsiteX64" fmla="*/ 1146175 w 1146175"/>
                    <a:gd name="connsiteY64" fmla="*/ 898525 h 1655757"/>
                    <a:gd name="connsiteX65" fmla="*/ 1127125 w 1146175"/>
                    <a:gd name="connsiteY65" fmla="*/ 908050 h 1655757"/>
                    <a:gd name="connsiteX66" fmla="*/ 1101725 w 1146175"/>
                    <a:gd name="connsiteY66" fmla="*/ 914400 h 1655757"/>
                    <a:gd name="connsiteX67" fmla="*/ 1092200 w 1146175"/>
                    <a:gd name="connsiteY67" fmla="*/ 920750 h 1655757"/>
                    <a:gd name="connsiteX68" fmla="*/ 1079500 w 1146175"/>
                    <a:gd name="connsiteY68" fmla="*/ 923925 h 1655757"/>
                    <a:gd name="connsiteX69" fmla="*/ 1069975 w 1146175"/>
                    <a:gd name="connsiteY69" fmla="*/ 933450 h 1655757"/>
                    <a:gd name="connsiteX70" fmla="*/ 1060450 w 1146175"/>
                    <a:gd name="connsiteY70" fmla="*/ 939800 h 1655757"/>
                    <a:gd name="connsiteX71" fmla="*/ 1038225 w 1146175"/>
                    <a:gd name="connsiteY71" fmla="*/ 952500 h 1655757"/>
                    <a:gd name="connsiteX72" fmla="*/ 996950 w 1146175"/>
                    <a:gd name="connsiteY72" fmla="*/ 977900 h 1655757"/>
                    <a:gd name="connsiteX73" fmla="*/ 977900 w 1146175"/>
                    <a:gd name="connsiteY73" fmla="*/ 984250 h 1655757"/>
                    <a:gd name="connsiteX74" fmla="*/ 968375 w 1146175"/>
                    <a:gd name="connsiteY74" fmla="*/ 1009650 h 1655757"/>
                    <a:gd name="connsiteX75" fmla="*/ 958850 w 1146175"/>
                    <a:gd name="connsiteY75" fmla="*/ 1035050 h 1655757"/>
                    <a:gd name="connsiteX76" fmla="*/ 955675 w 1146175"/>
                    <a:gd name="connsiteY76" fmla="*/ 1060450 h 1655757"/>
                    <a:gd name="connsiteX77" fmla="*/ 949325 w 1146175"/>
                    <a:gd name="connsiteY77" fmla="*/ 1069975 h 1655757"/>
                    <a:gd name="connsiteX78" fmla="*/ 946150 w 1146175"/>
                    <a:gd name="connsiteY78" fmla="*/ 1079500 h 1655757"/>
                    <a:gd name="connsiteX79" fmla="*/ 936625 w 1146175"/>
                    <a:gd name="connsiteY79" fmla="*/ 1095375 h 1655757"/>
                    <a:gd name="connsiteX80" fmla="*/ 923925 w 1146175"/>
                    <a:gd name="connsiteY80" fmla="*/ 1130300 h 1655757"/>
                    <a:gd name="connsiteX81" fmla="*/ 917575 w 1146175"/>
                    <a:gd name="connsiteY81" fmla="*/ 1139825 h 1655757"/>
                    <a:gd name="connsiteX82" fmla="*/ 923925 w 1146175"/>
                    <a:gd name="connsiteY82" fmla="*/ 1193800 h 1655757"/>
                    <a:gd name="connsiteX83" fmla="*/ 939800 w 1146175"/>
                    <a:gd name="connsiteY83" fmla="*/ 1216025 h 1655757"/>
                    <a:gd name="connsiteX84" fmla="*/ 946150 w 1146175"/>
                    <a:gd name="connsiteY84" fmla="*/ 1228725 h 1655757"/>
                    <a:gd name="connsiteX85" fmla="*/ 952500 w 1146175"/>
                    <a:gd name="connsiteY85" fmla="*/ 1238250 h 1655757"/>
                    <a:gd name="connsiteX86" fmla="*/ 965200 w 1146175"/>
                    <a:gd name="connsiteY86" fmla="*/ 1263650 h 1655757"/>
                    <a:gd name="connsiteX87" fmla="*/ 974725 w 1146175"/>
                    <a:gd name="connsiteY87" fmla="*/ 1285875 h 1655757"/>
                    <a:gd name="connsiteX88" fmla="*/ 977900 w 1146175"/>
                    <a:gd name="connsiteY88" fmla="*/ 1298575 h 1655757"/>
                    <a:gd name="connsiteX89" fmla="*/ 981075 w 1146175"/>
                    <a:gd name="connsiteY89" fmla="*/ 1308100 h 1655757"/>
                    <a:gd name="connsiteX90" fmla="*/ 974725 w 1146175"/>
                    <a:gd name="connsiteY90" fmla="*/ 1343025 h 1655757"/>
                    <a:gd name="connsiteX91" fmla="*/ 949325 w 1146175"/>
                    <a:gd name="connsiteY91" fmla="*/ 1374775 h 1655757"/>
                    <a:gd name="connsiteX92" fmla="*/ 939800 w 1146175"/>
                    <a:gd name="connsiteY92" fmla="*/ 1381125 h 1655757"/>
                    <a:gd name="connsiteX93" fmla="*/ 930275 w 1146175"/>
                    <a:gd name="connsiteY93" fmla="*/ 1390650 h 1655757"/>
                    <a:gd name="connsiteX94" fmla="*/ 923925 w 1146175"/>
                    <a:gd name="connsiteY94" fmla="*/ 1400175 h 1655757"/>
                    <a:gd name="connsiteX95" fmla="*/ 908050 w 1146175"/>
                    <a:gd name="connsiteY95" fmla="*/ 1409700 h 1655757"/>
                    <a:gd name="connsiteX96" fmla="*/ 895350 w 1146175"/>
                    <a:gd name="connsiteY96" fmla="*/ 1422400 h 1655757"/>
                    <a:gd name="connsiteX97" fmla="*/ 882650 w 1146175"/>
                    <a:gd name="connsiteY97" fmla="*/ 1431925 h 1655757"/>
                    <a:gd name="connsiteX98" fmla="*/ 873125 w 1146175"/>
                    <a:gd name="connsiteY98" fmla="*/ 1441450 h 1655757"/>
                    <a:gd name="connsiteX99" fmla="*/ 844550 w 1146175"/>
                    <a:gd name="connsiteY99" fmla="*/ 1457325 h 1655757"/>
                    <a:gd name="connsiteX100" fmla="*/ 835025 w 1146175"/>
                    <a:gd name="connsiteY100" fmla="*/ 1460500 h 1655757"/>
                    <a:gd name="connsiteX101" fmla="*/ 815975 w 1146175"/>
                    <a:gd name="connsiteY101" fmla="*/ 1454150 h 1655757"/>
                    <a:gd name="connsiteX102" fmla="*/ 774700 w 1146175"/>
                    <a:gd name="connsiteY102" fmla="*/ 1438275 h 1655757"/>
                    <a:gd name="connsiteX103" fmla="*/ 749300 w 1146175"/>
                    <a:gd name="connsiteY103" fmla="*/ 1431925 h 1655757"/>
                    <a:gd name="connsiteX104" fmla="*/ 717550 w 1146175"/>
                    <a:gd name="connsiteY104" fmla="*/ 1419225 h 1655757"/>
                    <a:gd name="connsiteX105" fmla="*/ 688975 w 1146175"/>
                    <a:gd name="connsiteY105" fmla="*/ 1412875 h 1655757"/>
                    <a:gd name="connsiteX106" fmla="*/ 657225 w 1146175"/>
                    <a:gd name="connsiteY106" fmla="*/ 1403350 h 1655757"/>
                    <a:gd name="connsiteX107" fmla="*/ 635000 w 1146175"/>
                    <a:gd name="connsiteY107" fmla="*/ 1406525 h 1655757"/>
                    <a:gd name="connsiteX108" fmla="*/ 622300 w 1146175"/>
                    <a:gd name="connsiteY108" fmla="*/ 1412875 h 1655757"/>
                    <a:gd name="connsiteX109" fmla="*/ 606425 w 1146175"/>
                    <a:gd name="connsiteY109" fmla="*/ 1422400 h 1655757"/>
                    <a:gd name="connsiteX110" fmla="*/ 577850 w 1146175"/>
                    <a:gd name="connsiteY110" fmla="*/ 1438275 h 1655757"/>
                    <a:gd name="connsiteX111" fmla="*/ 558800 w 1146175"/>
                    <a:gd name="connsiteY111" fmla="*/ 1441450 h 1655757"/>
                    <a:gd name="connsiteX112" fmla="*/ 501650 w 1146175"/>
                    <a:gd name="connsiteY112" fmla="*/ 1447800 h 1655757"/>
                    <a:gd name="connsiteX113" fmla="*/ 492125 w 1146175"/>
                    <a:gd name="connsiteY113" fmla="*/ 1454150 h 1655757"/>
                    <a:gd name="connsiteX114" fmla="*/ 466725 w 1146175"/>
                    <a:gd name="connsiteY114" fmla="*/ 1485900 h 1655757"/>
                    <a:gd name="connsiteX115" fmla="*/ 457200 w 1146175"/>
                    <a:gd name="connsiteY115" fmla="*/ 1504950 h 1655757"/>
                    <a:gd name="connsiteX116" fmla="*/ 454025 w 1146175"/>
                    <a:gd name="connsiteY116" fmla="*/ 1514475 h 1655757"/>
                    <a:gd name="connsiteX117" fmla="*/ 447675 w 1146175"/>
                    <a:gd name="connsiteY117" fmla="*/ 1530350 h 1655757"/>
                    <a:gd name="connsiteX118" fmla="*/ 434975 w 1146175"/>
                    <a:gd name="connsiteY118" fmla="*/ 1555750 h 1655757"/>
                    <a:gd name="connsiteX119" fmla="*/ 431800 w 1146175"/>
                    <a:gd name="connsiteY119" fmla="*/ 1571625 h 1655757"/>
                    <a:gd name="connsiteX120" fmla="*/ 425450 w 1146175"/>
                    <a:gd name="connsiteY120" fmla="*/ 1597025 h 1655757"/>
                    <a:gd name="connsiteX121" fmla="*/ 422275 w 1146175"/>
                    <a:gd name="connsiteY121" fmla="*/ 1606550 h 1655757"/>
                    <a:gd name="connsiteX122" fmla="*/ 412750 w 1146175"/>
                    <a:gd name="connsiteY122" fmla="*/ 1616075 h 1655757"/>
                    <a:gd name="connsiteX123" fmla="*/ 222250 w 1146175"/>
                    <a:gd name="connsiteY123" fmla="*/ 1622425 h 1655757"/>
                    <a:gd name="connsiteX124" fmla="*/ 215900 w 1146175"/>
                    <a:gd name="connsiteY124" fmla="*/ 1606550 h 1655757"/>
                    <a:gd name="connsiteX125" fmla="*/ 206375 w 1146175"/>
                    <a:gd name="connsiteY125" fmla="*/ 1593850 h 1655757"/>
                    <a:gd name="connsiteX126" fmla="*/ 203200 w 1146175"/>
                    <a:gd name="connsiteY126" fmla="*/ 1581150 h 1655757"/>
                    <a:gd name="connsiteX127" fmla="*/ 196850 w 1146175"/>
                    <a:gd name="connsiteY127" fmla="*/ 1568450 h 1655757"/>
                    <a:gd name="connsiteX128" fmla="*/ 193675 w 1146175"/>
                    <a:gd name="connsiteY128" fmla="*/ 1558925 h 1655757"/>
                    <a:gd name="connsiteX129" fmla="*/ 187325 w 1146175"/>
                    <a:gd name="connsiteY129" fmla="*/ 1546225 h 1655757"/>
                    <a:gd name="connsiteX130" fmla="*/ 180975 w 1146175"/>
                    <a:gd name="connsiteY130" fmla="*/ 1530350 h 1655757"/>
                    <a:gd name="connsiteX131" fmla="*/ 161925 w 1146175"/>
                    <a:gd name="connsiteY131" fmla="*/ 1501775 h 1655757"/>
                    <a:gd name="connsiteX132" fmla="*/ 149225 w 1146175"/>
                    <a:gd name="connsiteY132" fmla="*/ 1479550 h 1655757"/>
                    <a:gd name="connsiteX133" fmla="*/ 142875 w 1146175"/>
                    <a:gd name="connsiteY133" fmla="*/ 1463675 h 1655757"/>
                    <a:gd name="connsiteX134" fmla="*/ 130175 w 1146175"/>
                    <a:gd name="connsiteY134" fmla="*/ 1460500 h 1655757"/>
                    <a:gd name="connsiteX135" fmla="*/ 101600 w 1146175"/>
                    <a:gd name="connsiteY135" fmla="*/ 1447800 h 1655757"/>
                    <a:gd name="connsiteX136" fmla="*/ 69850 w 1146175"/>
                    <a:gd name="connsiteY136" fmla="*/ 1438275 h 1655757"/>
                    <a:gd name="connsiteX137" fmla="*/ 41275 w 1146175"/>
                    <a:gd name="connsiteY137" fmla="*/ 1425575 h 1655757"/>
                    <a:gd name="connsiteX138" fmla="*/ 31750 w 1146175"/>
                    <a:gd name="connsiteY138" fmla="*/ 1419225 h 1655757"/>
                    <a:gd name="connsiteX139" fmla="*/ 15875 w 1146175"/>
                    <a:gd name="connsiteY139" fmla="*/ 1412875 h 1655757"/>
                    <a:gd name="connsiteX140" fmla="*/ 0 w 1146175"/>
                    <a:gd name="connsiteY140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6375 w 1146175"/>
                    <a:gd name="connsiteY5" fmla="*/ 73025 h 1655757"/>
                    <a:gd name="connsiteX6" fmla="*/ 209550 w 1146175"/>
                    <a:gd name="connsiteY6" fmla="*/ 60325 h 1655757"/>
                    <a:gd name="connsiteX7" fmla="*/ 228600 w 1146175"/>
                    <a:gd name="connsiteY7" fmla="*/ 28575 h 1655757"/>
                    <a:gd name="connsiteX8" fmla="*/ 238125 w 1146175"/>
                    <a:gd name="connsiteY8" fmla="*/ 9525 h 1655757"/>
                    <a:gd name="connsiteX9" fmla="*/ 269875 w 1146175"/>
                    <a:gd name="connsiteY9" fmla="*/ 0 h 1655757"/>
                    <a:gd name="connsiteX10" fmla="*/ 428625 w 1146175"/>
                    <a:gd name="connsiteY10" fmla="*/ 6350 h 1655757"/>
                    <a:gd name="connsiteX11" fmla="*/ 434975 w 1146175"/>
                    <a:gd name="connsiteY11" fmla="*/ 19050 h 1655757"/>
                    <a:gd name="connsiteX12" fmla="*/ 441325 w 1146175"/>
                    <a:gd name="connsiteY12" fmla="*/ 34925 h 1655757"/>
                    <a:gd name="connsiteX13" fmla="*/ 447675 w 1146175"/>
                    <a:gd name="connsiteY13" fmla="*/ 44450 h 1655757"/>
                    <a:gd name="connsiteX14" fmla="*/ 454025 w 1146175"/>
                    <a:gd name="connsiteY14" fmla="*/ 60325 h 1655757"/>
                    <a:gd name="connsiteX15" fmla="*/ 460375 w 1146175"/>
                    <a:gd name="connsiteY15" fmla="*/ 69850 h 1655757"/>
                    <a:gd name="connsiteX16" fmla="*/ 476250 w 1146175"/>
                    <a:gd name="connsiteY16" fmla="*/ 101600 h 1655757"/>
                    <a:gd name="connsiteX17" fmla="*/ 479425 w 1146175"/>
                    <a:gd name="connsiteY17" fmla="*/ 117475 h 1655757"/>
                    <a:gd name="connsiteX18" fmla="*/ 485775 w 1146175"/>
                    <a:gd name="connsiteY18" fmla="*/ 127000 h 1655757"/>
                    <a:gd name="connsiteX19" fmla="*/ 492125 w 1146175"/>
                    <a:gd name="connsiteY19" fmla="*/ 139700 h 1655757"/>
                    <a:gd name="connsiteX20" fmla="*/ 508000 w 1146175"/>
                    <a:gd name="connsiteY20" fmla="*/ 165100 h 1655757"/>
                    <a:gd name="connsiteX21" fmla="*/ 527050 w 1146175"/>
                    <a:gd name="connsiteY21" fmla="*/ 168275 h 1655757"/>
                    <a:gd name="connsiteX22" fmla="*/ 558800 w 1146175"/>
                    <a:gd name="connsiteY22" fmla="*/ 184150 h 1655757"/>
                    <a:gd name="connsiteX23" fmla="*/ 574675 w 1146175"/>
                    <a:gd name="connsiteY23" fmla="*/ 187325 h 1655757"/>
                    <a:gd name="connsiteX24" fmla="*/ 635000 w 1146175"/>
                    <a:gd name="connsiteY24" fmla="*/ 215900 h 1655757"/>
                    <a:gd name="connsiteX25" fmla="*/ 717550 w 1146175"/>
                    <a:gd name="connsiteY25" fmla="*/ 212725 h 1655757"/>
                    <a:gd name="connsiteX26" fmla="*/ 733425 w 1146175"/>
                    <a:gd name="connsiteY26" fmla="*/ 206375 h 1655757"/>
                    <a:gd name="connsiteX27" fmla="*/ 771525 w 1146175"/>
                    <a:gd name="connsiteY27" fmla="*/ 200025 h 1655757"/>
                    <a:gd name="connsiteX28" fmla="*/ 796925 w 1146175"/>
                    <a:gd name="connsiteY28" fmla="*/ 190500 h 1655757"/>
                    <a:gd name="connsiteX29" fmla="*/ 838200 w 1146175"/>
                    <a:gd name="connsiteY29" fmla="*/ 180975 h 1655757"/>
                    <a:gd name="connsiteX30" fmla="*/ 879475 w 1146175"/>
                    <a:gd name="connsiteY30" fmla="*/ 200025 h 1655757"/>
                    <a:gd name="connsiteX31" fmla="*/ 885825 w 1146175"/>
                    <a:gd name="connsiteY31" fmla="*/ 209550 h 1655757"/>
                    <a:gd name="connsiteX32" fmla="*/ 901700 w 1146175"/>
                    <a:gd name="connsiteY32" fmla="*/ 225425 h 1655757"/>
                    <a:gd name="connsiteX33" fmla="*/ 917575 w 1146175"/>
                    <a:gd name="connsiteY33" fmla="*/ 238125 h 1655757"/>
                    <a:gd name="connsiteX34" fmla="*/ 936625 w 1146175"/>
                    <a:gd name="connsiteY34" fmla="*/ 250825 h 1655757"/>
                    <a:gd name="connsiteX35" fmla="*/ 955675 w 1146175"/>
                    <a:gd name="connsiteY35" fmla="*/ 273050 h 1655757"/>
                    <a:gd name="connsiteX36" fmla="*/ 974725 w 1146175"/>
                    <a:gd name="connsiteY36" fmla="*/ 298450 h 1655757"/>
                    <a:gd name="connsiteX37" fmla="*/ 968375 w 1146175"/>
                    <a:gd name="connsiteY37" fmla="*/ 333375 h 1655757"/>
                    <a:gd name="connsiteX38" fmla="*/ 965200 w 1146175"/>
                    <a:gd name="connsiteY38" fmla="*/ 342900 h 1655757"/>
                    <a:gd name="connsiteX39" fmla="*/ 949325 w 1146175"/>
                    <a:gd name="connsiteY39" fmla="*/ 361950 h 1655757"/>
                    <a:gd name="connsiteX40" fmla="*/ 939800 w 1146175"/>
                    <a:gd name="connsiteY40" fmla="*/ 384175 h 1655757"/>
                    <a:gd name="connsiteX41" fmla="*/ 936625 w 1146175"/>
                    <a:gd name="connsiteY41" fmla="*/ 396875 h 1655757"/>
                    <a:gd name="connsiteX42" fmla="*/ 930275 w 1146175"/>
                    <a:gd name="connsiteY42" fmla="*/ 412750 h 1655757"/>
                    <a:gd name="connsiteX43" fmla="*/ 927100 w 1146175"/>
                    <a:gd name="connsiteY43" fmla="*/ 425450 h 1655757"/>
                    <a:gd name="connsiteX44" fmla="*/ 920750 w 1146175"/>
                    <a:gd name="connsiteY44" fmla="*/ 441325 h 1655757"/>
                    <a:gd name="connsiteX45" fmla="*/ 917575 w 1146175"/>
                    <a:gd name="connsiteY45" fmla="*/ 454025 h 1655757"/>
                    <a:gd name="connsiteX46" fmla="*/ 914400 w 1146175"/>
                    <a:gd name="connsiteY46" fmla="*/ 463550 h 1655757"/>
                    <a:gd name="connsiteX47" fmla="*/ 917575 w 1146175"/>
                    <a:gd name="connsiteY47" fmla="*/ 501650 h 1655757"/>
                    <a:gd name="connsiteX48" fmla="*/ 923925 w 1146175"/>
                    <a:gd name="connsiteY48" fmla="*/ 514350 h 1655757"/>
                    <a:gd name="connsiteX49" fmla="*/ 939800 w 1146175"/>
                    <a:gd name="connsiteY49" fmla="*/ 533400 h 1655757"/>
                    <a:gd name="connsiteX50" fmla="*/ 942975 w 1146175"/>
                    <a:gd name="connsiteY50" fmla="*/ 542925 h 1655757"/>
                    <a:gd name="connsiteX51" fmla="*/ 955675 w 1146175"/>
                    <a:gd name="connsiteY51" fmla="*/ 568325 h 1655757"/>
                    <a:gd name="connsiteX52" fmla="*/ 968375 w 1146175"/>
                    <a:gd name="connsiteY52" fmla="*/ 609600 h 1655757"/>
                    <a:gd name="connsiteX53" fmla="*/ 974725 w 1146175"/>
                    <a:gd name="connsiteY53" fmla="*/ 622300 h 1655757"/>
                    <a:gd name="connsiteX54" fmla="*/ 981075 w 1146175"/>
                    <a:gd name="connsiteY54" fmla="*/ 641350 h 1655757"/>
                    <a:gd name="connsiteX55" fmla="*/ 993775 w 1146175"/>
                    <a:gd name="connsiteY55" fmla="*/ 644525 h 1655757"/>
                    <a:gd name="connsiteX56" fmla="*/ 1012825 w 1146175"/>
                    <a:gd name="connsiteY56" fmla="*/ 647700 h 1655757"/>
                    <a:gd name="connsiteX57" fmla="*/ 1041400 w 1146175"/>
                    <a:gd name="connsiteY57" fmla="*/ 660400 h 1655757"/>
                    <a:gd name="connsiteX58" fmla="*/ 1050925 w 1146175"/>
                    <a:gd name="connsiteY58" fmla="*/ 663575 h 1655757"/>
                    <a:gd name="connsiteX59" fmla="*/ 1066800 w 1146175"/>
                    <a:gd name="connsiteY59" fmla="*/ 673100 h 1655757"/>
                    <a:gd name="connsiteX60" fmla="*/ 1089025 w 1146175"/>
                    <a:gd name="connsiteY60" fmla="*/ 682625 h 1655757"/>
                    <a:gd name="connsiteX61" fmla="*/ 1117600 w 1146175"/>
                    <a:gd name="connsiteY61" fmla="*/ 701675 h 1655757"/>
                    <a:gd name="connsiteX62" fmla="*/ 1136650 w 1146175"/>
                    <a:gd name="connsiteY62" fmla="*/ 708025 h 1655757"/>
                    <a:gd name="connsiteX63" fmla="*/ 1146175 w 1146175"/>
                    <a:gd name="connsiteY63" fmla="*/ 898525 h 1655757"/>
                    <a:gd name="connsiteX64" fmla="*/ 1127125 w 1146175"/>
                    <a:gd name="connsiteY64" fmla="*/ 908050 h 1655757"/>
                    <a:gd name="connsiteX65" fmla="*/ 1101725 w 1146175"/>
                    <a:gd name="connsiteY65" fmla="*/ 914400 h 1655757"/>
                    <a:gd name="connsiteX66" fmla="*/ 1092200 w 1146175"/>
                    <a:gd name="connsiteY66" fmla="*/ 920750 h 1655757"/>
                    <a:gd name="connsiteX67" fmla="*/ 1079500 w 1146175"/>
                    <a:gd name="connsiteY67" fmla="*/ 923925 h 1655757"/>
                    <a:gd name="connsiteX68" fmla="*/ 1069975 w 1146175"/>
                    <a:gd name="connsiteY68" fmla="*/ 933450 h 1655757"/>
                    <a:gd name="connsiteX69" fmla="*/ 1060450 w 1146175"/>
                    <a:gd name="connsiteY69" fmla="*/ 939800 h 1655757"/>
                    <a:gd name="connsiteX70" fmla="*/ 1038225 w 1146175"/>
                    <a:gd name="connsiteY70" fmla="*/ 952500 h 1655757"/>
                    <a:gd name="connsiteX71" fmla="*/ 996950 w 1146175"/>
                    <a:gd name="connsiteY71" fmla="*/ 977900 h 1655757"/>
                    <a:gd name="connsiteX72" fmla="*/ 977900 w 1146175"/>
                    <a:gd name="connsiteY72" fmla="*/ 984250 h 1655757"/>
                    <a:gd name="connsiteX73" fmla="*/ 968375 w 1146175"/>
                    <a:gd name="connsiteY73" fmla="*/ 1009650 h 1655757"/>
                    <a:gd name="connsiteX74" fmla="*/ 958850 w 1146175"/>
                    <a:gd name="connsiteY74" fmla="*/ 1035050 h 1655757"/>
                    <a:gd name="connsiteX75" fmla="*/ 955675 w 1146175"/>
                    <a:gd name="connsiteY75" fmla="*/ 1060450 h 1655757"/>
                    <a:gd name="connsiteX76" fmla="*/ 949325 w 1146175"/>
                    <a:gd name="connsiteY76" fmla="*/ 1069975 h 1655757"/>
                    <a:gd name="connsiteX77" fmla="*/ 946150 w 1146175"/>
                    <a:gd name="connsiteY77" fmla="*/ 1079500 h 1655757"/>
                    <a:gd name="connsiteX78" fmla="*/ 936625 w 1146175"/>
                    <a:gd name="connsiteY78" fmla="*/ 1095375 h 1655757"/>
                    <a:gd name="connsiteX79" fmla="*/ 923925 w 1146175"/>
                    <a:gd name="connsiteY79" fmla="*/ 1130300 h 1655757"/>
                    <a:gd name="connsiteX80" fmla="*/ 917575 w 1146175"/>
                    <a:gd name="connsiteY80" fmla="*/ 1139825 h 1655757"/>
                    <a:gd name="connsiteX81" fmla="*/ 923925 w 1146175"/>
                    <a:gd name="connsiteY81" fmla="*/ 1193800 h 1655757"/>
                    <a:gd name="connsiteX82" fmla="*/ 939800 w 1146175"/>
                    <a:gd name="connsiteY82" fmla="*/ 1216025 h 1655757"/>
                    <a:gd name="connsiteX83" fmla="*/ 946150 w 1146175"/>
                    <a:gd name="connsiteY83" fmla="*/ 1228725 h 1655757"/>
                    <a:gd name="connsiteX84" fmla="*/ 952500 w 1146175"/>
                    <a:gd name="connsiteY84" fmla="*/ 1238250 h 1655757"/>
                    <a:gd name="connsiteX85" fmla="*/ 965200 w 1146175"/>
                    <a:gd name="connsiteY85" fmla="*/ 1263650 h 1655757"/>
                    <a:gd name="connsiteX86" fmla="*/ 974725 w 1146175"/>
                    <a:gd name="connsiteY86" fmla="*/ 1285875 h 1655757"/>
                    <a:gd name="connsiteX87" fmla="*/ 977900 w 1146175"/>
                    <a:gd name="connsiteY87" fmla="*/ 1298575 h 1655757"/>
                    <a:gd name="connsiteX88" fmla="*/ 981075 w 1146175"/>
                    <a:gd name="connsiteY88" fmla="*/ 1308100 h 1655757"/>
                    <a:gd name="connsiteX89" fmla="*/ 974725 w 1146175"/>
                    <a:gd name="connsiteY89" fmla="*/ 1343025 h 1655757"/>
                    <a:gd name="connsiteX90" fmla="*/ 949325 w 1146175"/>
                    <a:gd name="connsiteY90" fmla="*/ 1374775 h 1655757"/>
                    <a:gd name="connsiteX91" fmla="*/ 939800 w 1146175"/>
                    <a:gd name="connsiteY91" fmla="*/ 1381125 h 1655757"/>
                    <a:gd name="connsiteX92" fmla="*/ 930275 w 1146175"/>
                    <a:gd name="connsiteY92" fmla="*/ 1390650 h 1655757"/>
                    <a:gd name="connsiteX93" fmla="*/ 923925 w 1146175"/>
                    <a:gd name="connsiteY93" fmla="*/ 1400175 h 1655757"/>
                    <a:gd name="connsiteX94" fmla="*/ 908050 w 1146175"/>
                    <a:gd name="connsiteY94" fmla="*/ 1409700 h 1655757"/>
                    <a:gd name="connsiteX95" fmla="*/ 895350 w 1146175"/>
                    <a:gd name="connsiteY95" fmla="*/ 1422400 h 1655757"/>
                    <a:gd name="connsiteX96" fmla="*/ 882650 w 1146175"/>
                    <a:gd name="connsiteY96" fmla="*/ 1431925 h 1655757"/>
                    <a:gd name="connsiteX97" fmla="*/ 873125 w 1146175"/>
                    <a:gd name="connsiteY97" fmla="*/ 1441450 h 1655757"/>
                    <a:gd name="connsiteX98" fmla="*/ 844550 w 1146175"/>
                    <a:gd name="connsiteY98" fmla="*/ 1457325 h 1655757"/>
                    <a:gd name="connsiteX99" fmla="*/ 835025 w 1146175"/>
                    <a:gd name="connsiteY99" fmla="*/ 1460500 h 1655757"/>
                    <a:gd name="connsiteX100" fmla="*/ 815975 w 1146175"/>
                    <a:gd name="connsiteY100" fmla="*/ 1454150 h 1655757"/>
                    <a:gd name="connsiteX101" fmla="*/ 774700 w 1146175"/>
                    <a:gd name="connsiteY101" fmla="*/ 1438275 h 1655757"/>
                    <a:gd name="connsiteX102" fmla="*/ 749300 w 1146175"/>
                    <a:gd name="connsiteY102" fmla="*/ 1431925 h 1655757"/>
                    <a:gd name="connsiteX103" fmla="*/ 717550 w 1146175"/>
                    <a:gd name="connsiteY103" fmla="*/ 1419225 h 1655757"/>
                    <a:gd name="connsiteX104" fmla="*/ 688975 w 1146175"/>
                    <a:gd name="connsiteY104" fmla="*/ 1412875 h 1655757"/>
                    <a:gd name="connsiteX105" fmla="*/ 657225 w 1146175"/>
                    <a:gd name="connsiteY105" fmla="*/ 1403350 h 1655757"/>
                    <a:gd name="connsiteX106" fmla="*/ 635000 w 1146175"/>
                    <a:gd name="connsiteY106" fmla="*/ 1406525 h 1655757"/>
                    <a:gd name="connsiteX107" fmla="*/ 622300 w 1146175"/>
                    <a:gd name="connsiteY107" fmla="*/ 1412875 h 1655757"/>
                    <a:gd name="connsiteX108" fmla="*/ 606425 w 1146175"/>
                    <a:gd name="connsiteY108" fmla="*/ 1422400 h 1655757"/>
                    <a:gd name="connsiteX109" fmla="*/ 577850 w 1146175"/>
                    <a:gd name="connsiteY109" fmla="*/ 1438275 h 1655757"/>
                    <a:gd name="connsiteX110" fmla="*/ 558800 w 1146175"/>
                    <a:gd name="connsiteY110" fmla="*/ 1441450 h 1655757"/>
                    <a:gd name="connsiteX111" fmla="*/ 501650 w 1146175"/>
                    <a:gd name="connsiteY111" fmla="*/ 1447800 h 1655757"/>
                    <a:gd name="connsiteX112" fmla="*/ 492125 w 1146175"/>
                    <a:gd name="connsiteY112" fmla="*/ 1454150 h 1655757"/>
                    <a:gd name="connsiteX113" fmla="*/ 466725 w 1146175"/>
                    <a:gd name="connsiteY113" fmla="*/ 1485900 h 1655757"/>
                    <a:gd name="connsiteX114" fmla="*/ 457200 w 1146175"/>
                    <a:gd name="connsiteY114" fmla="*/ 1504950 h 1655757"/>
                    <a:gd name="connsiteX115" fmla="*/ 454025 w 1146175"/>
                    <a:gd name="connsiteY115" fmla="*/ 1514475 h 1655757"/>
                    <a:gd name="connsiteX116" fmla="*/ 447675 w 1146175"/>
                    <a:gd name="connsiteY116" fmla="*/ 1530350 h 1655757"/>
                    <a:gd name="connsiteX117" fmla="*/ 434975 w 1146175"/>
                    <a:gd name="connsiteY117" fmla="*/ 1555750 h 1655757"/>
                    <a:gd name="connsiteX118" fmla="*/ 431800 w 1146175"/>
                    <a:gd name="connsiteY118" fmla="*/ 1571625 h 1655757"/>
                    <a:gd name="connsiteX119" fmla="*/ 425450 w 1146175"/>
                    <a:gd name="connsiteY119" fmla="*/ 1597025 h 1655757"/>
                    <a:gd name="connsiteX120" fmla="*/ 422275 w 1146175"/>
                    <a:gd name="connsiteY120" fmla="*/ 1606550 h 1655757"/>
                    <a:gd name="connsiteX121" fmla="*/ 412750 w 1146175"/>
                    <a:gd name="connsiteY121" fmla="*/ 1616075 h 1655757"/>
                    <a:gd name="connsiteX122" fmla="*/ 222250 w 1146175"/>
                    <a:gd name="connsiteY122" fmla="*/ 1622425 h 1655757"/>
                    <a:gd name="connsiteX123" fmla="*/ 215900 w 1146175"/>
                    <a:gd name="connsiteY123" fmla="*/ 1606550 h 1655757"/>
                    <a:gd name="connsiteX124" fmla="*/ 206375 w 1146175"/>
                    <a:gd name="connsiteY124" fmla="*/ 1593850 h 1655757"/>
                    <a:gd name="connsiteX125" fmla="*/ 203200 w 1146175"/>
                    <a:gd name="connsiteY125" fmla="*/ 1581150 h 1655757"/>
                    <a:gd name="connsiteX126" fmla="*/ 196850 w 1146175"/>
                    <a:gd name="connsiteY126" fmla="*/ 1568450 h 1655757"/>
                    <a:gd name="connsiteX127" fmla="*/ 193675 w 1146175"/>
                    <a:gd name="connsiteY127" fmla="*/ 1558925 h 1655757"/>
                    <a:gd name="connsiteX128" fmla="*/ 187325 w 1146175"/>
                    <a:gd name="connsiteY128" fmla="*/ 1546225 h 1655757"/>
                    <a:gd name="connsiteX129" fmla="*/ 180975 w 1146175"/>
                    <a:gd name="connsiteY129" fmla="*/ 1530350 h 1655757"/>
                    <a:gd name="connsiteX130" fmla="*/ 161925 w 1146175"/>
                    <a:gd name="connsiteY130" fmla="*/ 1501775 h 1655757"/>
                    <a:gd name="connsiteX131" fmla="*/ 149225 w 1146175"/>
                    <a:gd name="connsiteY131" fmla="*/ 1479550 h 1655757"/>
                    <a:gd name="connsiteX132" fmla="*/ 142875 w 1146175"/>
                    <a:gd name="connsiteY132" fmla="*/ 1463675 h 1655757"/>
                    <a:gd name="connsiteX133" fmla="*/ 130175 w 1146175"/>
                    <a:gd name="connsiteY133" fmla="*/ 1460500 h 1655757"/>
                    <a:gd name="connsiteX134" fmla="*/ 101600 w 1146175"/>
                    <a:gd name="connsiteY134" fmla="*/ 1447800 h 1655757"/>
                    <a:gd name="connsiteX135" fmla="*/ 69850 w 1146175"/>
                    <a:gd name="connsiteY135" fmla="*/ 1438275 h 1655757"/>
                    <a:gd name="connsiteX136" fmla="*/ 41275 w 1146175"/>
                    <a:gd name="connsiteY136" fmla="*/ 1425575 h 1655757"/>
                    <a:gd name="connsiteX137" fmla="*/ 31750 w 1146175"/>
                    <a:gd name="connsiteY137" fmla="*/ 1419225 h 1655757"/>
                    <a:gd name="connsiteX138" fmla="*/ 15875 w 1146175"/>
                    <a:gd name="connsiteY138" fmla="*/ 1412875 h 1655757"/>
                    <a:gd name="connsiteX139" fmla="*/ 0 w 1146175"/>
                    <a:gd name="connsiteY139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28600 w 1146175"/>
                    <a:gd name="connsiteY6" fmla="*/ 28575 h 1655757"/>
                    <a:gd name="connsiteX7" fmla="*/ 238125 w 1146175"/>
                    <a:gd name="connsiteY7" fmla="*/ 9525 h 1655757"/>
                    <a:gd name="connsiteX8" fmla="*/ 269875 w 1146175"/>
                    <a:gd name="connsiteY8" fmla="*/ 0 h 1655757"/>
                    <a:gd name="connsiteX9" fmla="*/ 428625 w 1146175"/>
                    <a:gd name="connsiteY9" fmla="*/ 6350 h 1655757"/>
                    <a:gd name="connsiteX10" fmla="*/ 434975 w 1146175"/>
                    <a:gd name="connsiteY10" fmla="*/ 19050 h 1655757"/>
                    <a:gd name="connsiteX11" fmla="*/ 441325 w 1146175"/>
                    <a:gd name="connsiteY11" fmla="*/ 34925 h 1655757"/>
                    <a:gd name="connsiteX12" fmla="*/ 447675 w 1146175"/>
                    <a:gd name="connsiteY12" fmla="*/ 44450 h 1655757"/>
                    <a:gd name="connsiteX13" fmla="*/ 454025 w 1146175"/>
                    <a:gd name="connsiteY13" fmla="*/ 60325 h 1655757"/>
                    <a:gd name="connsiteX14" fmla="*/ 460375 w 1146175"/>
                    <a:gd name="connsiteY14" fmla="*/ 69850 h 1655757"/>
                    <a:gd name="connsiteX15" fmla="*/ 476250 w 1146175"/>
                    <a:gd name="connsiteY15" fmla="*/ 101600 h 1655757"/>
                    <a:gd name="connsiteX16" fmla="*/ 479425 w 1146175"/>
                    <a:gd name="connsiteY16" fmla="*/ 117475 h 1655757"/>
                    <a:gd name="connsiteX17" fmla="*/ 485775 w 1146175"/>
                    <a:gd name="connsiteY17" fmla="*/ 127000 h 1655757"/>
                    <a:gd name="connsiteX18" fmla="*/ 492125 w 1146175"/>
                    <a:gd name="connsiteY18" fmla="*/ 139700 h 1655757"/>
                    <a:gd name="connsiteX19" fmla="*/ 508000 w 1146175"/>
                    <a:gd name="connsiteY19" fmla="*/ 165100 h 1655757"/>
                    <a:gd name="connsiteX20" fmla="*/ 527050 w 1146175"/>
                    <a:gd name="connsiteY20" fmla="*/ 168275 h 1655757"/>
                    <a:gd name="connsiteX21" fmla="*/ 558800 w 1146175"/>
                    <a:gd name="connsiteY21" fmla="*/ 184150 h 1655757"/>
                    <a:gd name="connsiteX22" fmla="*/ 574675 w 1146175"/>
                    <a:gd name="connsiteY22" fmla="*/ 187325 h 1655757"/>
                    <a:gd name="connsiteX23" fmla="*/ 635000 w 1146175"/>
                    <a:gd name="connsiteY23" fmla="*/ 215900 h 1655757"/>
                    <a:gd name="connsiteX24" fmla="*/ 717550 w 1146175"/>
                    <a:gd name="connsiteY24" fmla="*/ 212725 h 1655757"/>
                    <a:gd name="connsiteX25" fmla="*/ 733425 w 1146175"/>
                    <a:gd name="connsiteY25" fmla="*/ 206375 h 1655757"/>
                    <a:gd name="connsiteX26" fmla="*/ 771525 w 1146175"/>
                    <a:gd name="connsiteY26" fmla="*/ 200025 h 1655757"/>
                    <a:gd name="connsiteX27" fmla="*/ 796925 w 1146175"/>
                    <a:gd name="connsiteY27" fmla="*/ 190500 h 1655757"/>
                    <a:gd name="connsiteX28" fmla="*/ 838200 w 1146175"/>
                    <a:gd name="connsiteY28" fmla="*/ 180975 h 1655757"/>
                    <a:gd name="connsiteX29" fmla="*/ 879475 w 1146175"/>
                    <a:gd name="connsiteY29" fmla="*/ 200025 h 1655757"/>
                    <a:gd name="connsiteX30" fmla="*/ 885825 w 1146175"/>
                    <a:gd name="connsiteY30" fmla="*/ 209550 h 1655757"/>
                    <a:gd name="connsiteX31" fmla="*/ 901700 w 1146175"/>
                    <a:gd name="connsiteY31" fmla="*/ 225425 h 1655757"/>
                    <a:gd name="connsiteX32" fmla="*/ 917575 w 1146175"/>
                    <a:gd name="connsiteY32" fmla="*/ 238125 h 1655757"/>
                    <a:gd name="connsiteX33" fmla="*/ 936625 w 1146175"/>
                    <a:gd name="connsiteY33" fmla="*/ 250825 h 1655757"/>
                    <a:gd name="connsiteX34" fmla="*/ 955675 w 1146175"/>
                    <a:gd name="connsiteY34" fmla="*/ 273050 h 1655757"/>
                    <a:gd name="connsiteX35" fmla="*/ 974725 w 1146175"/>
                    <a:gd name="connsiteY35" fmla="*/ 298450 h 1655757"/>
                    <a:gd name="connsiteX36" fmla="*/ 968375 w 1146175"/>
                    <a:gd name="connsiteY36" fmla="*/ 333375 h 1655757"/>
                    <a:gd name="connsiteX37" fmla="*/ 965200 w 1146175"/>
                    <a:gd name="connsiteY37" fmla="*/ 342900 h 1655757"/>
                    <a:gd name="connsiteX38" fmla="*/ 949325 w 1146175"/>
                    <a:gd name="connsiteY38" fmla="*/ 361950 h 1655757"/>
                    <a:gd name="connsiteX39" fmla="*/ 939800 w 1146175"/>
                    <a:gd name="connsiteY39" fmla="*/ 384175 h 1655757"/>
                    <a:gd name="connsiteX40" fmla="*/ 936625 w 1146175"/>
                    <a:gd name="connsiteY40" fmla="*/ 396875 h 1655757"/>
                    <a:gd name="connsiteX41" fmla="*/ 930275 w 1146175"/>
                    <a:gd name="connsiteY41" fmla="*/ 412750 h 1655757"/>
                    <a:gd name="connsiteX42" fmla="*/ 927100 w 1146175"/>
                    <a:gd name="connsiteY42" fmla="*/ 425450 h 1655757"/>
                    <a:gd name="connsiteX43" fmla="*/ 920750 w 1146175"/>
                    <a:gd name="connsiteY43" fmla="*/ 441325 h 1655757"/>
                    <a:gd name="connsiteX44" fmla="*/ 917575 w 1146175"/>
                    <a:gd name="connsiteY44" fmla="*/ 454025 h 1655757"/>
                    <a:gd name="connsiteX45" fmla="*/ 914400 w 1146175"/>
                    <a:gd name="connsiteY45" fmla="*/ 463550 h 1655757"/>
                    <a:gd name="connsiteX46" fmla="*/ 917575 w 1146175"/>
                    <a:gd name="connsiteY46" fmla="*/ 501650 h 1655757"/>
                    <a:gd name="connsiteX47" fmla="*/ 923925 w 1146175"/>
                    <a:gd name="connsiteY47" fmla="*/ 514350 h 1655757"/>
                    <a:gd name="connsiteX48" fmla="*/ 939800 w 1146175"/>
                    <a:gd name="connsiteY48" fmla="*/ 533400 h 1655757"/>
                    <a:gd name="connsiteX49" fmla="*/ 942975 w 1146175"/>
                    <a:gd name="connsiteY49" fmla="*/ 542925 h 1655757"/>
                    <a:gd name="connsiteX50" fmla="*/ 955675 w 1146175"/>
                    <a:gd name="connsiteY50" fmla="*/ 568325 h 1655757"/>
                    <a:gd name="connsiteX51" fmla="*/ 968375 w 1146175"/>
                    <a:gd name="connsiteY51" fmla="*/ 609600 h 1655757"/>
                    <a:gd name="connsiteX52" fmla="*/ 974725 w 1146175"/>
                    <a:gd name="connsiteY52" fmla="*/ 622300 h 1655757"/>
                    <a:gd name="connsiteX53" fmla="*/ 981075 w 1146175"/>
                    <a:gd name="connsiteY53" fmla="*/ 641350 h 1655757"/>
                    <a:gd name="connsiteX54" fmla="*/ 993775 w 1146175"/>
                    <a:gd name="connsiteY54" fmla="*/ 644525 h 1655757"/>
                    <a:gd name="connsiteX55" fmla="*/ 1012825 w 1146175"/>
                    <a:gd name="connsiteY55" fmla="*/ 647700 h 1655757"/>
                    <a:gd name="connsiteX56" fmla="*/ 1041400 w 1146175"/>
                    <a:gd name="connsiteY56" fmla="*/ 660400 h 1655757"/>
                    <a:gd name="connsiteX57" fmla="*/ 1050925 w 1146175"/>
                    <a:gd name="connsiteY57" fmla="*/ 663575 h 1655757"/>
                    <a:gd name="connsiteX58" fmla="*/ 1066800 w 1146175"/>
                    <a:gd name="connsiteY58" fmla="*/ 673100 h 1655757"/>
                    <a:gd name="connsiteX59" fmla="*/ 1089025 w 1146175"/>
                    <a:gd name="connsiteY59" fmla="*/ 682625 h 1655757"/>
                    <a:gd name="connsiteX60" fmla="*/ 1117600 w 1146175"/>
                    <a:gd name="connsiteY60" fmla="*/ 701675 h 1655757"/>
                    <a:gd name="connsiteX61" fmla="*/ 1136650 w 1146175"/>
                    <a:gd name="connsiteY61" fmla="*/ 708025 h 1655757"/>
                    <a:gd name="connsiteX62" fmla="*/ 1146175 w 1146175"/>
                    <a:gd name="connsiteY62" fmla="*/ 898525 h 1655757"/>
                    <a:gd name="connsiteX63" fmla="*/ 1127125 w 1146175"/>
                    <a:gd name="connsiteY63" fmla="*/ 908050 h 1655757"/>
                    <a:gd name="connsiteX64" fmla="*/ 1101725 w 1146175"/>
                    <a:gd name="connsiteY64" fmla="*/ 914400 h 1655757"/>
                    <a:gd name="connsiteX65" fmla="*/ 1092200 w 1146175"/>
                    <a:gd name="connsiteY65" fmla="*/ 920750 h 1655757"/>
                    <a:gd name="connsiteX66" fmla="*/ 1079500 w 1146175"/>
                    <a:gd name="connsiteY66" fmla="*/ 923925 h 1655757"/>
                    <a:gd name="connsiteX67" fmla="*/ 1069975 w 1146175"/>
                    <a:gd name="connsiteY67" fmla="*/ 933450 h 1655757"/>
                    <a:gd name="connsiteX68" fmla="*/ 1060450 w 1146175"/>
                    <a:gd name="connsiteY68" fmla="*/ 939800 h 1655757"/>
                    <a:gd name="connsiteX69" fmla="*/ 1038225 w 1146175"/>
                    <a:gd name="connsiteY69" fmla="*/ 952500 h 1655757"/>
                    <a:gd name="connsiteX70" fmla="*/ 996950 w 1146175"/>
                    <a:gd name="connsiteY70" fmla="*/ 977900 h 1655757"/>
                    <a:gd name="connsiteX71" fmla="*/ 977900 w 1146175"/>
                    <a:gd name="connsiteY71" fmla="*/ 984250 h 1655757"/>
                    <a:gd name="connsiteX72" fmla="*/ 968375 w 1146175"/>
                    <a:gd name="connsiteY72" fmla="*/ 1009650 h 1655757"/>
                    <a:gd name="connsiteX73" fmla="*/ 958850 w 1146175"/>
                    <a:gd name="connsiteY73" fmla="*/ 1035050 h 1655757"/>
                    <a:gd name="connsiteX74" fmla="*/ 955675 w 1146175"/>
                    <a:gd name="connsiteY74" fmla="*/ 1060450 h 1655757"/>
                    <a:gd name="connsiteX75" fmla="*/ 949325 w 1146175"/>
                    <a:gd name="connsiteY75" fmla="*/ 1069975 h 1655757"/>
                    <a:gd name="connsiteX76" fmla="*/ 946150 w 1146175"/>
                    <a:gd name="connsiteY76" fmla="*/ 1079500 h 1655757"/>
                    <a:gd name="connsiteX77" fmla="*/ 936625 w 1146175"/>
                    <a:gd name="connsiteY77" fmla="*/ 1095375 h 1655757"/>
                    <a:gd name="connsiteX78" fmla="*/ 923925 w 1146175"/>
                    <a:gd name="connsiteY78" fmla="*/ 1130300 h 1655757"/>
                    <a:gd name="connsiteX79" fmla="*/ 917575 w 1146175"/>
                    <a:gd name="connsiteY79" fmla="*/ 1139825 h 1655757"/>
                    <a:gd name="connsiteX80" fmla="*/ 923925 w 1146175"/>
                    <a:gd name="connsiteY80" fmla="*/ 1193800 h 1655757"/>
                    <a:gd name="connsiteX81" fmla="*/ 939800 w 1146175"/>
                    <a:gd name="connsiteY81" fmla="*/ 1216025 h 1655757"/>
                    <a:gd name="connsiteX82" fmla="*/ 946150 w 1146175"/>
                    <a:gd name="connsiteY82" fmla="*/ 1228725 h 1655757"/>
                    <a:gd name="connsiteX83" fmla="*/ 952500 w 1146175"/>
                    <a:gd name="connsiteY83" fmla="*/ 1238250 h 1655757"/>
                    <a:gd name="connsiteX84" fmla="*/ 965200 w 1146175"/>
                    <a:gd name="connsiteY84" fmla="*/ 1263650 h 1655757"/>
                    <a:gd name="connsiteX85" fmla="*/ 974725 w 1146175"/>
                    <a:gd name="connsiteY85" fmla="*/ 1285875 h 1655757"/>
                    <a:gd name="connsiteX86" fmla="*/ 977900 w 1146175"/>
                    <a:gd name="connsiteY86" fmla="*/ 1298575 h 1655757"/>
                    <a:gd name="connsiteX87" fmla="*/ 981075 w 1146175"/>
                    <a:gd name="connsiteY87" fmla="*/ 1308100 h 1655757"/>
                    <a:gd name="connsiteX88" fmla="*/ 974725 w 1146175"/>
                    <a:gd name="connsiteY88" fmla="*/ 1343025 h 1655757"/>
                    <a:gd name="connsiteX89" fmla="*/ 949325 w 1146175"/>
                    <a:gd name="connsiteY89" fmla="*/ 1374775 h 1655757"/>
                    <a:gd name="connsiteX90" fmla="*/ 939800 w 1146175"/>
                    <a:gd name="connsiteY90" fmla="*/ 1381125 h 1655757"/>
                    <a:gd name="connsiteX91" fmla="*/ 930275 w 1146175"/>
                    <a:gd name="connsiteY91" fmla="*/ 1390650 h 1655757"/>
                    <a:gd name="connsiteX92" fmla="*/ 923925 w 1146175"/>
                    <a:gd name="connsiteY92" fmla="*/ 1400175 h 1655757"/>
                    <a:gd name="connsiteX93" fmla="*/ 908050 w 1146175"/>
                    <a:gd name="connsiteY93" fmla="*/ 1409700 h 1655757"/>
                    <a:gd name="connsiteX94" fmla="*/ 895350 w 1146175"/>
                    <a:gd name="connsiteY94" fmla="*/ 1422400 h 1655757"/>
                    <a:gd name="connsiteX95" fmla="*/ 882650 w 1146175"/>
                    <a:gd name="connsiteY95" fmla="*/ 1431925 h 1655757"/>
                    <a:gd name="connsiteX96" fmla="*/ 873125 w 1146175"/>
                    <a:gd name="connsiteY96" fmla="*/ 1441450 h 1655757"/>
                    <a:gd name="connsiteX97" fmla="*/ 844550 w 1146175"/>
                    <a:gd name="connsiteY97" fmla="*/ 1457325 h 1655757"/>
                    <a:gd name="connsiteX98" fmla="*/ 835025 w 1146175"/>
                    <a:gd name="connsiteY98" fmla="*/ 1460500 h 1655757"/>
                    <a:gd name="connsiteX99" fmla="*/ 815975 w 1146175"/>
                    <a:gd name="connsiteY99" fmla="*/ 1454150 h 1655757"/>
                    <a:gd name="connsiteX100" fmla="*/ 774700 w 1146175"/>
                    <a:gd name="connsiteY100" fmla="*/ 1438275 h 1655757"/>
                    <a:gd name="connsiteX101" fmla="*/ 749300 w 1146175"/>
                    <a:gd name="connsiteY101" fmla="*/ 1431925 h 1655757"/>
                    <a:gd name="connsiteX102" fmla="*/ 717550 w 1146175"/>
                    <a:gd name="connsiteY102" fmla="*/ 1419225 h 1655757"/>
                    <a:gd name="connsiteX103" fmla="*/ 688975 w 1146175"/>
                    <a:gd name="connsiteY103" fmla="*/ 1412875 h 1655757"/>
                    <a:gd name="connsiteX104" fmla="*/ 657225 w 1146175"/>
                    <a:gd name="connsiteY104" fmla="*/ 1403350 h 1655757"/>
                    <a:gd name="connsiteX105" fmla="*/ 635000 w 1146175"/>
                    <a:gd name="connsiteY105" fmla="*/ 1406525 h 1655757"/>
                    <a:gd name="connsiteX106" fmla="*/ 622300 w 1146175"/>
                    <a:gd name="connsiteY106" fmla="*/ 1412875 h 1655757"/>
                    <a:gd name="connsiteX107" fmla="*/ 606425 w 1146175"/>
                    <a:gd name="connsiteY107" fmla="*/ 1422400 h 1655757"/>
                    <a:gd name="connsiteX108" fmla="*/ 577850 w 1146175"/>
                    <a:gd name="connsiteY108" fmla="*/ 1438275 h 1655757"/>
                    <a:gd name="connsiteX109" fmla="*/ 558800 w 1146175"/>
                    <a:gd name="connsiteY109" fmla="*/ 1441450 h 1655757"/>
                    <a:gd name="connsiteX110" fmla="*/ 501650 w 1146175"/>
                    <a:gd name="connsiteY110" fmla="*/ 1447800 h 1655757"/>
                    <a:gd name="connsiteX111" fmla="*/ 492125 w 1146175"/>
                    <a:gd name="connsiteY111" fmla="*/ 1454150 h 1655757"/>
                    <a:gd name="connsiteX112" fmla="*/ 466725 w 1146175"/>
                    <a:gd name="connsiteY112" fmla="*/ 1485900 h 1655757"/>
                    <a:gd name="connsiteX113" fmla="*/ 457200 w 1146175"/>
                    <a:gd name="connsiteY113" fmla="*/ 1504950 h 1655757"/>
                    <a:gd name="connsiteX114" fmla="*/ 454025 w 1146175"/>
                    <a:gd name="connsiteY114" fmla="*/ 1514475 h 1655757"/>
                    <a:gd name="connsiteX115" fmla="*/ 447675 w 1146175"/>
                    <a:gd name="connsiteY115" fmla="*/ 1530350 h 1655757"/>
                    <a:gd name="connsiteX116" fmla="*/ 434975 w 1146175"/>
                    <a:gd name="connsiteY116" fmla="*/ 1555750 h 1655757"/>
                    <a:gd name="connsiteX117" fmla="*/ 431800 w 1146175"/>
                    <a:gd name="connsiteY117" fmla="*/ 1571625 h 1655757"/>
                    <a:gd name="connsiteX118" fmla="*/ 425450 w 1146175"/>
                    <a:gd name="connsiteY118" fmla="*/ 1597025 h 1655757"/>
                    <a:gd name="connsiteX119" fmla="*/ 422275 w 1146175"/>
                    <a:gd name="connsiteY119" fmla="*/ 1606550 h 1655757"/>
                    <a:gd name="connsiteX120" fmla="*/ 412750 w 1146175"/>
                    <a:gd name="connsiteY120" fmla="*/ 1616075 h 1655757"/>
                    <a:gd name="connsiteX121" fmla="*/ 222250 w 1146175"/>
                    <a:gd name="connsiteY121" fmla="*/ 1622425 h 1655757"/>
                    <a:gd name="connsiteX122" fmla="*/ 215900 w 1146175"/>
                    <a:gd name="connsiteY122" fmla="*/ 1606550 h 1655757"/>
                    <a:gd name="connsiteX123" fmla="*/ 206375 w 1146175"/>
                    <a:gd name="connsiteY123" fmla="*/ 1593850 h 1655757"/>
                    <a:gd name="connsiteX124" fmla="*/ 203200 w 1146175"/>
                    <a:gd name="connsiteY124" fmla="*/ 1581150 h 1655757"/>
                    <a:gd name="connsiteX125" fmla="*/ 196850 w 1146175"/>
                    <a:gd name="connsiteY125" fmla="*/ 1568450 h 1655757"/>
                    <a:gd name="connsiteX126" fmla="*/ 193675 w 1146175"/>
                    <a:gd name="connsiteY126" fmla="*/ 1558925 h 1655757"/>
                    <a:gd name="connsiteX127" fmla="*/ 187325 w 1146175"/>
                    <a:gd name="connsiteY127" fmla="*/ 1546225 h 1655757"/>
                    <a:gd name="connsiteX128" fmla="*/ 180975 w 1146175"/>
                    <a:gd name="connsiteY128" fmla="*/ 1530350 h 1655757"/>
                    <a:gd name="connsiteX129" fmla="*/ 161925 w 1146175"/>
                    <a:gd name="connsiteY129" fmla="*/ 1501775 h 1655757"/>
                    <a:gd name="connsiteX130" fmla="*/ 149225 w 1146175"/>
                    <a:gd name="connsiteY130" fmla="*/ 1479550 h 1655757"/>
                    <a:gd name="connsiteX131" fmla="*/ 142875 w 1146175"/>
                    <a:gd name="connsiteY131" fmla="*/ 1463675 h 1655757"/>
                    <a:gd name="connsiteX132" fmla="*/ 130175 w 1146175"/>
                    <a:gd name="connsiteY132" fmla="*/ 1460500 h 1655757"/>
                    <a:gd name="connsiteX133" fmla="*/ 101600 w 1146175"/>
                    <a:gd name="connsiteY133" fmla="*/ 1447800 h 1655757"/>
                    <a:gd name="connsiteX134" fmla="*/ 69850 w 1146175"/>
                    <a:gd name="connsiteY134" fmla="*/ 1438275 h 1655757"/>
                    <a:gd name="connsiteX135" fmla="*/ 41275 w 1146175"/>
                    <a:gd name="connsiteY135" fmla="*/ 1425575 h 1655757"/>
                    <a:gd name="connsiteX136" fmla="*/ 31750 w 1146175"/>
                    <a:gd name="connsiteY136" fmla="*/ 1419225 h 1655757"/>
                    <a:gd name="connsiteX137" fmla="*/ 15875 w 1146175"/>
                    <a:gd name="connsiteY137" fmla="*/ 1412875 h 1655757"/>
                    <a:gd name="connsiteX138" fmla="*/ 0 w 1146175"/>
                    <a:gd name="connsiteY138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41325 w 1146175"/>
                    <a:gd name="connsiteY10" fmla="*/ 34925 h 1655757"/>
                    <a:gd name="connsiteX11" fmla="*/ 447675 w 1146175"/>
                    <a:gd name="connsiteY11" fmla="*/ 44450 h 1655757"/>
                    <a:gd name="connsiteX12" fmla="*/ 454025 w 1146175"/>
                    <a:gd name="connsiteY12" fmla="*/ 60325 h 1655757"/>
                    <a:gd name="connsiteX13" fmla="*/ 460375 w 1146175"/>
                    <a:gd name="connsiteY13" fmla="*/ 69850 h 1655757"/>
                    <a:gd name="connsiteX14" fmla="*/ 476250 w 1146175"/>
                    <a:gd name="connsiteY14" fmla="*/ 101600 h 1655757"/>
                    <a:gd name="connsiteX15" fmla="*/ 479425 w 1146175"/>
                    <a:gd name="connsiteY15" fmla="*/ 117475 h 1655757"/>
                    <a:gd name="connsiteX16" fmla="*/ 485775 w 1146175"/>
                    <a:gd name="connsiteY16" fmla="*/ 127000 h 1655757"/>
                    <a:gd name="connsiteX17" fmla="*/ 492125 w 1146175"/>
                    <a:gd name="connsiteY17" fmla="*/ 139700 h 1655757"/>
                    <a:gd name="connsiteX18" fmla="*/ 508000 w 1146175"/>
                    <a:gd name="connsiteY18" fmla="*/ 165100 h 1655757"/>
                    <a:gd name="connsiteX19" fmla="*/ 527050 w 1146175"/>
                    <a:gd name="connsiteY19" fmla="*/ 168275 h 1655757"/>
                    <a:gd name="connsiteX20" fmla="*/ 558800 w 1146175"/>
                    <a:gd name="connsiteY20" fmla="*/ 184150 h 1655757"/>
                    <a:gd name="connsiteX21" fmla="*/ 574675 w 1146175"/>
                    <a:gd name="connsiteY21" fmla="*/ 187325 h 1655757"/>
                    <a:gd name="connsiteX22" fmla="*/ 635000 w 1146175"/>
                    <a:gd name="connsiteY22" fmla="*/ 215900 h 1655757"/>
                    <a:gd name="connsiteX23" fmla="*/ 717550 w 1146175"/>
                    <a:gd name="connsiteY23" fmla="*/ 212725 h 1655757"/>
                    <a:gd name="connsiteX24" fmla="*/ 733425 w 1146175"/>
                    <a:gd name="connsiteY24" fmla="*/ 206375 h 1655757"/>
                    <a:gd name="connsiteX25" fmla="*/ 771525 w 1146175"/>
                    <a:gd name="connsiteY25" fmla="*/ 200025 h 1655757"/>
                    <a:gd name="connsiteX26" fmla="*/ 796925 w 1146175"/>
                    <a:gd name="connsiteY26" fmla="*/ 190500 h 1655757"/>
                    <a:gd name="connsiteX27" fmla="*/ 838200 w 1146175"/>
                    <a:gd name="connsiteY27" fmla="*/ 180975 h 1655757"/>
                    <a:gd name="connsiteX28" fmla="*/ 879475 w 1146175"/>
                    <a:gd name="connsiteY28" fmla="*/ 200025 h 1655757"/>
                    <a:gd name="connsiteX29" fmla="*/ 885825 w 1146175"/>
                    <a:gd name="connsiteY29" fmla="*/ 209550 h 1655757"/>
                    <a:gd name="connsiteX30" fmla="*/ 901700 w 1146175"/>
                    <a:gd name="connsiteY30" fmla="*/ 225425 h 1655757"/>
                    <a:gd name="connsiteX31" fmla="*/ 917575 w 1146175"/>
                    <a:gd name="connsiteY31" fmla="*/ 238125 h 1655757"/>
                    <a:gd name="connsiteX32" fmla="*/ 936625 w 1146175"/>
                    <a:gd name="connsiteY32" fmla="*/ 250825 h 1655757"/>
                    <a:gd name="connsiteX33" fmla="*/ 955675 w 1146175"/>
                    <a:gd name="connsiteY33" fmla="*/ 273050 h 1655757"/>
                    <a:gd name="connsiteX34" fmla="*/ 974725 w 1146175"/>
                    <a:gd name="connsiteY34" fmla="*/ 298450 h 1655757"/>
                    <a:gd name="connsiteX35" fmla="*/ 968375 w 1146175"/>
                    <a:gd name="connsiteY35" fmla="*/ 333375 h 1655757"/>
                    <a:gd name="connsiteX36" fmla="*/ 965200 w 1146175"/>
                    <a:gd name="connsiteY36" fmla="*/ 342900 h 1655757"/>
                    <a:gd name="connsiteX37" fmla="*/ 949325 w 1146175"/>
                    <a:gd name="connsiteY37" fmla="*/ 361950 h 1655757"/>
                    <a:gd name="connsiteX38" fmla="*/ 939800 w 1146175"/>
                    <a:gd name="connsiteY38" fmla="*/ 384175 h 1655757"/>
                    <a:gd name="connsiteX39" fmla="*/ 936625 w 1146175"/>
                    <a:gd name="connsiteY39" fmla="*/ 396875 h 1655757"/>
                    <a:gd name="connsiteX40" fmla="*/ 930275 w 1146175"/>
                    <a:gd name="connsiteY40" fmla="*/ 412750 h 1655757"/>
                    <a:gd name="connsiteX41" fmla="*/ 927100 w 1146175"/>
                    <a:gd name="connsiteY41" fmla="*/ 425450 h 1655757"/>
                    <a:gd name="connsiteX42" fmla="*/ 920750 w 1146175"/>
                    <a:gd name="connsiteY42" fmla="*/ 441325 h 1655757"/>
                    <a:gd name="connsiteX43" fmla="*/ 917575 w 1146175"/>
                    <a:gd name="connsiteY43" fmla="*/ 454025 h 1655757"/>
                    <a:gd name="connsiteX44" fmla="*/ 914400 w 1146175"/>
                    <a:gd name="connsiteY44" fmla="*/ 463550 h 1655757"/>
                    <a:gd name="connsiteX45" fmla="*/ 917575 w 1146175"/>
                    <a:gd name="connsiteY45" fmla="*/ 501650 h 1655757"/>
                    <a:gd name="connsiteX46" fmla="*/ 923925 w 1146175"/>
                    <a:gd name="connsiteY46" fmla="*/ 514350 h 1655757"/>
                    <a:gd name="connsiteX47" fmla="*/ 939800 w 1146175"/>
                    <a:gd name="connsiteY47" fmla="*/ 533400 h 1655757"/>
                    <a:gd name="connsiteX48" fmla="*/ 942975 w 1146175"/>
                    <a:gd name="connsiteY48" fmla="*/ 542925 h 1655757"/>
                    <a:gd name="connsiteX49" fmla="*/ 955675 w 1146175"/>
                    <a:gd name="connsiteY49" fmla="*/ 568325 h 1655757"/>
                    <a:gd name="connsiteX50" fmla="*/ 968375 w 1146175"/>
                    <a:gd name="connsiteY50" fmla="*/ 609600 h 1655757"/>
                    <a:gd name="connsiteX51" fmla="*/ 974725 w 1146175"/>
                    <a:gd name="connsiteY51" fmla="*/ 622300 h 1655757"/>
                    <a:gd name="connsiteX52" fmla="*/ 981075 w 1146175"/>
                    <a:gd name="connsiteY52" fmla="*/ 641350 h 1655757"/>
                    <a:gd name="connsiteX53" fmla="*/ 993775 w 1146175"/>
                    <a:gd name="connsiteY53" fmla="*/ 644525 h 1655757"/>
                    <a:gd name="connsiteX54" fmla="*/ 1012825 w 1146175"/>
                    <a:gd name="connsiteY54" fmla="*/ 647700 h 1655757"/>
                    <a:gd name="connsiteX55" fmla="*/ 1041400 w 1146175"/>
                    <a:gd name="connsiteY55" fmla="*/ 660400 h 1655757"/>
                    <a:gd name="connsiteX56" fmla="*/ 1050925 w 1146175"/>
                    <a:gd name="connsiteY56" fmla="*/ 663575 h 1655757"/>
                    <a:gd name="connsiteX57" fmla="*/ 1066800 w 1146175"/>
                    <a:gd name="connsiteY57" fmla="*/ 673100 h 1655757"/>
                    <a:gd name="connsiteX58" fmla="*/ 1089025 w 1146175"/>
                    <a:gd name="connsiteY58" fmla="*/ 682625 h 1655757"/>
                    <a:gd name="connsiteX59" fmla="*/ 1117600 w 1146175"/>
                    <a:gd name="connsiteY59" fmla="*/ 701675 h 1655757"/>
                    <a:gd name="connsiteX60" fmla="*/ 1136650 w 1146175"/>
                    <a:gd name="connsiteY60" fmla="*/ 708025 h 1655757"/>
                    <a:gd name="connsiteX61" fmla="*/ 1146175 w 1146175"/>
                    <a:gd name="connsiteY61" fmla="*/ 898525 h 1655757"/>
                    <a:gd name="connsiteX62" fmla="*/ 1127125 w 1146175"/>
                    <a:gd name="connsiteY62" fmla="*/ 908050 h 1655757"/>
                    <a:gd name="connsiteX63" fmla="*/ 1101725 w 1146175"/>
                    <a:gd name="connsiteY63" fmla="*/ 914400 h 1655757"/>
                    <a:gd name="connsiteX64" fmla="*/ 1092200 w 1146175"/>
                    <a:gd name="connsiteY64" fmla="*/ 920750 h 1655757"/>
                    <a:gd name="connsiteX65" fmla="*/ 1079500 w 1146175"/>
                    <a:gd name="connsiteY65" fmla="*/ 923925 h 1655757"/>
                    <a:gd name="connsiteX66" fmla="*/ 1069975 w 1146175"/>
                    <a:gd name="connsiteY66" fmla="*/ 933450 h 1655757"/>
                    <a:gd name="connsiteX67" fmla="*/ 1060450 w 1146175"/>
                    <a:gd name="connsiteY67" fmla="*/ 939800 h 1655757"/>
                    <a:gd name="connsiteX68" fmla="*/ 1038225 w 1146175"/>
                    <a:gd name="connsiteY68" fmla="*/ 952500 h 1655757"/>
                    <a:gd name="connsiteX69" fmla="*/ 996950 w 1146175"/>
                    <a:gd name="connsiteY69" fmla="*/ 977900 h 1655757"/>
                    <a:gd name="connsiteX70" fmla="*/ 977900 w 1146175"/>
                    <a:gd name="connsiteY70" fmla="*/ 984250 h 1655757"/>
                    <a:gd name="connsiteX71" fmla="*/ 968375 w 1146175"/>
                    <a:gd name="connsiteY71" fmla="*/ 1009650 h 1655757"/>
                    <a:gd name="connsiteX72" fmla="*/ 958850 w 1146175"/>
                    <a:gd name="connsiteY72" fmla="*/ 1035050 h 1655757"/>
                    <a:gd name="connsiteX73" fmla="*/ 955675 w 1146175"/>
                    <a:gd name="connsiteY73" fmla="*/ 1060450 h 1655757"/>
                    <a:gd name="connsiteX74" fmla="*/ 949325 w 1146175"/>
                    <a:gd name="connsiteY74" fmla="*/ 1069975 h 1655757"/>
                    <a:gd name="connsiteX75" fmla="*/ 946150 w 1146175"/>
                    <a:gd name="connsiteY75" fmla="*/ 1079500 h 1655757"/>
                    <a:gd name="connsiteX76" fmla="*/ 936625 w 1146175"/>
                    <a:gd name="connsiteY76" fmla="*/ 1095375 h 1655757"/>
                    <a:gd name="connsiteX77" fmla="*/ 923925 w 1146175"/>
                    <a:gd name="connsiteY77" fmla="*/ 1130300 h 1655757"/>
                    <a:gd name="connsiteX78" fmla="*/ 917575 w 1146175"/>
                    <a:gd name="connsiteY78" fmla="*/ 1139825 h 1655757"/>
                    <a:gd name="connsiteX79" fmla="*/ 923925 w 1146175"/>
                    <a:gd name="connsiteY79" fmla="*/ 1193800 h 1655757"/>
                    <a:gd name="connsiteX80" fmla="*/ 939800 w 1146175"/>
                    <a:gd name="connsiteY80" fmla="*/ 1216025 h 1655757"/>
                    <a:gd name="connsiteX81" fmla="*/ 946150 w 1146175"/>
                    <a:gd name="connsiteY81" fmla="*/ 1228725 h 1655757"/>
                    <a:gd name="connsiteX82" fmla="*/ 952500 w 1146175"/>
                    <a:gd name="connsiteY82" fmla="*/ 1238250 h 1655757"/>
                    <a:gd name="connsiteX83" fmla="*/ 965200 w 1146175"/>
                    <a:gd name="connsiteY83" fmla="*/ 1263650 h 1655757"/>
                    <a:gd name="connsiteX84" fmla="*/ 974725 w 1146175"/>
                    <a:gd name="connsiteY84" fmla="*/ 1285875 h 1655757"/>
                    <a:gd name="connsiteX85" fmla="*/ 977900 w 1146175"/>
                    <a:gd name="connsiteY85" fmla="*/ 1298575 h 1655757"/>
                    <a:gd name="connsiteX86" fmla="*/ 981075 w 1146175"/>
                    <a:gd name="connsiteY86" fmla="*/ 1308100 h 1655757"/>
                    <a:gd name="connsiteX87" fmla="*/ 974725 w 1146175"/>
                    <a:gd name="connsiteY87" fmla="*/ 1343025 h 1655757"/>
                    <a:gd name="connsiteX88" fmla="*/ 949325 w 1146175"/>
                    <a:gd name="connsiteY88" fmla="*/ 1374775 h 1655757"/>
                    <a:gd name="connsiteX89" fmla="*/ 939800 w 1146175"/>
                    <a:gd name="connsiteY89" fmla="*/ 1381125 h 1655757"/>
                    <a:gd name="connsiteX90" fmla="*/ 930275 w 1146175"/>
                    <a:gd name="connsiteY90" fmla="*/ 1390650 h 1655757"/>
                    <a:gd name="connsiteX91" fmla="*/ 923925 w 1146175"/>
                    <a:gd name="connsiteY91" fmla="*/ 1400175 h 1655757"/>
                    <a:gd name="connsiteX92" fmla="*/ 908050 w 1146175"/>
                    <a:gd name="connsiteY92" fmla="*/ 1409700 h 1655757"/>
                    <a:gd name="connsiteX93" fmla="*/ 895350 w 1146175"/>
                    <a:gd name="connsiteY93" fmla="*/ 1422400 h 1655757"/>
                    <a:gd name="connsiteX94" fmla="*/ 882650 w 1146175"/>
                    <a:gd name="connsiteY94" fmla="*/ 1431925 h 1655757"/>
                    <a:gd name="connsiteX95" fmla="*/ 873125 w 1146175"/>
                    <a:gd name="connsiteY95" fmla="*/ 1441450 h 1655757"/>
                    <a:gd name="connsiteX96" fmla="*/ 844550 w 1146175"/>
                    <a:gd name="connsiteY96" fmla="*/ 1457325 h 1655757"/>
                    <a:gd name="connsiteX97" fmla="*/ 835025 w 1146175"/>
                    <a:gd name="connsiteY97" fmla="*/ 1460500 h 1655757"/>
                    <a:gd name="connsiteX98" fmla="*/ 815975 w 1146175"/>
                    <a:gd name="connsiteY98" fmla="*/ 1454150 h 1655757"/>
                    <a:gd name="connsiteX99" fmla="*/ 774700 w 1146175"/>
                    <a:gd name="connsiteY99" fmla="*/ 1438275 h 1655757"/>
                    <a:gd name="connsiteX100" fmla="*/ 749300 w 1146175"/>
                    <a:gd name="connsiteY100" fmla="*/ 1431925 h 1655757"/>
                    <a:gd name="connsiteX101" fmla="*/ 717550 w 1146175"/>
                    <a:gd name="connsiteY101" fmla="*/ 1419225 h 1655757"/>
                    <a:gd name="connsiteX102" fmla="*/ 688975 w 1146175"/>
                    <a:gd name="connsiteY102" fmla="*/ 1412875 h 1655757"/>
                    <a:gd name="connsiteX103" fmla="*/ 657225 w 1146175"/>
                    <a:gd name="connsiteY103" fmla="*/ 1403350 h 1655757"/>
                    <a:gd name="connsiteX104" fmla="*/ 635000 w 1146175"/>
                    <a:gd name="connsiteY104" fmla="*/ 1406525 h 1655757"/>
                    <a:gd name="connsiteX105" fmla="*/ 622300 w 1146175"/>
                    <a:gd name="connsiteY105" fmla="*/ 1412875 h 1655757"/>
                    <a:gd name="connsiteX106" fmla="*/ 606425 w 1146175"/>
                    <a:gd name="connsiteY106" fmla="*/ 1422400 h 1655757"/>
                    <a:gd name="connsiteX107" fmla="*/ 577850 w 1146175"/>
                    <a:gd name="connsiteY107" fmla="*/ 1438275 h 1655757"/>
                    <a:gd name="connsiteX108" fmla="*/ 558800 w 1146175"/>
                    <a:gd name="connsiteY108" fmla="*/ 1441450 h 1655757"/>
                    <a:gd name="connsiteX109" fmla="*/ 501650 w 1146175"/>
                    <a:gd name="connsiteY109" fmla="*/ 1447800 h 1655757"/>
                    <a:gd name="connsiteX110" fmla="*/ 492125 w 1146175"/>
                    <a:gd name="connsiteY110" fmla="*/ 1454150 h 1655757"/>
                    <a:gd name="connsiteX111" fmla="*/ 466725 w 1146175"/>
                    <a:gd name="connsiteY111" fmla="*/ 1485900 h 1655757"/>
                    <a:gd name="connsiteX112" fmla="*/ 457200 w 1146175"/>
                    <a:gd name="connsiteY112" fmla="*/ 1504950 h 1655757"/>
                    <a:gd name="connsiteX113" fmla="*/ 454025 w 1146175"/>
                    <a:gd name="connsiteY113" fmla="*/ 1514475 h 1655757"/>
                    <a:gd name="connsiteX114" fmla="*/ 447675 w 1146175"/>
                    <a:gd name="connsiteY114" fmla="*/ 1530350 h 1655757"/>
                    <a:gd name="connsiteX115" fmla="*/ 434975 w 1146175"/>
                    <a:gd name="connsiteY115" fmla="*/ 1555750 h 1655757"/>
                    <a:gd name="connsiteX116" fmla="*/ 431800 w 1146175"/>
                    <a:gd name="connsiteY116" fmla="*/ 1571625 h 1655757"/>
                    <a:gd name="connsiteX117" fmla="*/ 425450 w 1146175"/>
                    <a:gd name="connsiteY117" fmla="*/ 1597025 h 1655757"/>
                    <a:gd name="connsiteX118" fmla="*/ 422275 w 1146175"/>
                    <a:gd name="connsiteY118" fmla="*/ 1606550 h 1655757"/>
                    <a:gd name="connsiteX119" fmla="*/ 412750 w 1146175"/>
                    <a:gd name="connsiteY119" fmla="*/ 1616075 h 1655757"/>
                    <a:gd name="connsiteX120" fmla="*/ 222250 w 1146175"/>
                    <a:gd name="connsiteY120" fmla="*/ 1622425 h 1655757"/>
                    <a:gd name="connsiteX121" fmla="*/ 215900 w 1146175"/>
                    <a:gd name="connsiteY121" fmla="*/ 1606550 h 1655757"/>
                    <a:gd name="connsiteX122" fmla="*/ 206375 w 1146175"/>
                    <a:gd name="connsiteY122" fmla="*/ 1593850 h 1655757"/>
                    <a:gd name="connsiteX123" fmla="*/ 203200 w 1146175"/>
                    <a:gd name="connsiteY123" fmla="*/ 1581150 h 1655757"/>
                    <a:gd name="connsiteX124" fmla="*/ 196850 w 1146175"/>
                    <a:gd name="connsiteY124" fmla="*/ 1568450 h 1655757"/>
                    <a:gd name="connsiteX125" fmla="*/ 193675 w 1146175"/>
                    <a:gd name="connsiteY125" fmla="*/ 1558925 h 1655757"/>
                    <a:gd name="connsiteX126" fmla="*/ 187325 w 1146175"/>
                    <a:gd name="connsiteY126" fmla="*/ 1546225 h 1655757"/>
                    <a:gd name="connsiteX127" fmla="*/ 180975 w 1146175"/>
                    <a:gd name="connsiteY127" fmla="*/ 1530350 h 1655757"/>
                    <a:gd name="connsiteX128" fmla="*/ 161925 w 1146175"/>
                    <a:gd name="connsiteY128" fmla="*/ 1501775 h 1655757"/>
                    <a:gd name="connsiteX129" fmla="*/ 149225 w 1146175"/>
                    <a:gd name="connsiteY129" fmla="*/ 1479550 h 1655757"/>
                    <a:gd name="connsiteX130" fmla="*/ 142875 w 1146175"/>
                    <a:gd name="connsiteY130" fmla="*/ 1463675 h 1655757"/>
                    <a:gd name="connsiteX131" fmla="*/ 130175 w 1146175"/>
                    <a:gd name="connsiteY131" fmla="*/ 1460500 h 1655757"/>
                    <a:gd name="connsiteX132" fmla="*/ 101600 w 1146175"/>
                    <a:gd name="connsiteY132" fmla="*/ 1447800 h 1655757"/>
                    <a:gd name="connsiteX133" fmla="*/ 69850 w 1146175"/>
                    <a:gd name="connsiteY133" fmla="*/ 1438275 h 1655757"/>
                    <a:gd name="connsiteX134" fmla="*/ 41275 w 1146175"/>
                    <a:gd name="connsiteY134" fmla="*/ 1425575 h 1655757"/>
                    <a:gd name="connsiteX135" fmla="*/ 31750 w 1146175"/>
                    <a:gd name="connsiteY135" fmla="*/ 1419225 h 1655757"/>
                    <a:gd name="connsiteX136" fmla="*/ 15875 w 1146175"/>
                    <a:gd name="connsiteY136" fmla="*/ 1412875 h 1655757"/>
                    <a:gd name="connsiteX137" fmla="*/ 0 w 1146175"/>
                    <a:gd name="connsiteY137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41325 w 1146175"/>
                    <a:gd name="connsiteY10" fmla="*/ 34925 h 1655757"/>
                    <a:gd name="connsiteX11" fmla="*/ 454025 w 1146175"/>
                    <a:gd name="connsiteY11" fmla="*/ 60325 h 1655757"/>
                    <a:gd name="connsiteX12" fmla="*/ 460375 w 1146175"/>
                    <a:gd name="connsiteY12" fmla="*/ 69850 h 1655757"/>
                    <a:gd name="connsiteX13" fmla="*/ 476250 w 1146175"/>
                    <a:gd name="connsiteY13" fmla="*/ 101600 h 1655757"/>
                    <a:gd name="connsiteX14" fmla="*/ 479425 w 1146175"/>
                    <a:gd name="connsiteY14" fmla="*/ 117475 h 1655757"/>
                    <a:gd name="connsiteX15" fmla="*/ 485775 w 1146175"/>
                    <a:gd name="connsiteY15" fmla="*/ 127000 h 1655757"/>
                    <a:gd name="connsiteX16" fmla="*/ 492125 w 1146175"/>
                    <a:gd name="connsiteY16" fmla="*/ 139700 h 1655757"/>
                    <a:gd name="connsiteX17" fmla="*/ 508000 w 1146175"/>
                    <a:gd name="connsiteY17" fmla="*/ 165100 h 1655757"/>
                    <a:gd name="connsiteX18" fmla="*/ 527050 w 1146175"/>
                    <a:gd name="connsiteY18" fmla="*/ 168275 h 1655757"/>
                    <a:gd name="connsiteX19" fmla="*/ 558800 w 1146175"/>
                    <a:gd name="connsiteY19" fmla="*/ 184150 h 1655757"/>
                    <a:gd name="connsiteX20" fmla="*/ 574675 w 1146175"/>
                    <a:gd name="connsiteY20" fmla="*/ 187325 h 1655757"/>
                    <a:gd name="connsiteX21" fmla="*/ 635000 w 1146175"/>
                    <a:gd name="connsiteY21" fmla="*/ 215900 h 1655757"/>
                    <a:gd name="connsiteX22" fmla="*/ 717550 w 1146175"/>
                    <a:gd name="connsiteY22" fmla="*/ 212725 h 1655757"/>
                    <a:gd name="connsiteX23" fmla="*/ 733425 w 1146175"/>
                    <a:gd name="connsiteY23" fmla="*/ 206375 h 1655757"/>
                    <a:gd name="connsiteX24" fmla="*/ 771525 w 1146175"/>
                    <a:gd name="connsiteY24" fmla="*/ 200025 h 1655757"/>
                    <a:gd name="connsiteX25" fmla="*/ 796925 w 1146175"/>
                    <a:gd name="connsiteY25" fmla="*/ 190500 h 1655757"/>
                    <a:gd name="connsiteX26" fmla="*/ 838200 w 1146175"/>
                    <a:gd name="connsiteY26" fmla="*/ 180975 h 1655757"/>
                    <a:gd name="connsiteX27" fmla="*/ 879475 w 1146175"/>
                    <a:gd name="connsiteY27" fmla="*/ 200025 h 1655757"/>
                    <a:gd name="connsiteX28" fmla="*/ 885825 w 1146175"/>
                    <a:gd name="connsiteY28" fmla="*/ 209550 h 1655757"/>
                    <a:gd name="connsiteX29" fmla="*/ 901700 w 1146175"/>
                    <a:gd name="connsiteY29" fmla="*/ 225425 h 1655757"/>
                    <a:gd name="connsiteX30" fmla="*/ 917575 w 1146175"/>
                    <a:gd name="connsiteY30" fmla="*/ 238125 h 1655757"/>
                    <a:gd name="connsiteX31" fmla="*/ 936625 w 1146175"/>
                    <a:gd name="connsiteY31" fmla="*/ 250825 h 1655757"/>
                    <a:gd name="connsiteX32" fmla="*/ 955675 w 1146175"/>
                    <a:gd name="connsiteY32" fmla="*/ 273050 h 1655757"/>
                    <a:gd name="connsiteX33" fmla="*/ 974725 w 1146175"/>
                    <a:gd name="connsiteY33" fmla="*/ 298450 h 1655757"/>
                    <a:gd name="connsiteX34" fmla="*/ 968375 w 1146175"/>
                    <a:gd name="connsiteY34" fmla="*/ 333375 h 1655757"/>
                    <a:gd name="connsiteX35" fmla="*/ 965200 w 1146175"/>
                    <a:gd name="connsiteY35" fmla="*/ 342900 h 1655757"/>
                    <a:gd name="connsiteX36" fmla="*/ 949325 w 1146175"/>
                    <a:gd name="connsiteY36" fmla="*/ 361950 h 1655757"/>
                    <a:gd name="connsiteX37" fmla="*/ 939800 w 1146175"/>
                    <a:gd name="connsiteY37" fmla="*/ 384175 h 1655757"/>
                    <a:gd name="connsiteX38" fmla="*/ 936625 w 1146175"/>
                    <a:gd name="connsiteY38" fmla="*/ 396875 h 1655757"/>
                    <a:gd name="connsiteX39" fmla="*/ 930275 w 1146175"/>
                    <a:gd name="connsiteY39" fmla="*/ 412750 h 1655757"/>
                    <a:gd name="connsiteX40" fmla="*/ 927100 w 1146175"/>
                    <a:gd name="connsiteY40" fmla="*/ 425450 h 1655757"/>
                    <a:gd name="connsiteX41" fmla="*/ 920750 w 1146175"/>
                    <a:gd name="connsiteY41" fmla="*/ 441325 h 1655757"/>
                    <a:gd name="connsiteX42" fmla="*/ 917575 w 1146175"/>
                    <a:gd name="connsiteY42" fmla="*/ 454025 h 1655757"/>
                    <a:gd name="connsiteX43" fmla="*/ 914400 w 1146175"/>
                    <a:gd name="connsiteY43" fmla="*/ 463550 h 1655757"/>
                    <a:gd name="connsiteX44" fmla="*/ 917575 w 1146175"/>
                    <a:gd name="connsiteY44" fmla="*/ 501650 h 1655757"/>
                    <a:gd name="connsiteX45" fmla="*/ 923925 w 1146175"/>
                    <a:gd name="connsiteY45" fmla="*/ 514350 h 1655757"/>
                    <a:gd name="connsiteX46" fmla="*/ 939800 w 1146175"/>
                    <a:gd name="connsiteY46" fmla="*/ 533400 h 1655757"/>
                    <a:gd name="connsiteX47" fmla="*/ 942975 w 1146175"/>
                    <a:gd name="connsiteY47" fmla="*/ 542925 h 1655757"/>
                    <a:gd name="connsiteX48" fmla="*/ 955675 w 1146175"/>
                    <a:gd name="connsiteY48" fmla="*/ 568325 h 1655757"/>
                    <a:gd name="connsiteX49" fmla="*/ 968375 w 1146175"/>
                    <a:gd name="connsiteY49" fmla="*/ 609600 h 1655757"/>
                    <a:gd name="connsiteX50" fmla="*/ 974725 w 1146175"/>
                    <a:gd name="connsiteY50" fmla="*/ 622300 h 1655757"/>
                    <a:gd name="connsiteX51" fmla="*/ 981075 w 1146175"/>
                    <a:gd name="connsiteY51" fmla="*/ 641350 h 1655757"/>
                    <a:gd name="connsiteX52" fmla="*/ 993775 w 1146175"/>
                    <a:gd name="connsiteY52" fmla="*/ 644525 h 1655757"/>
                    <a:gd name="connsiteX53" fmla="*/ 1012825 w 1146175"/>
                    <a:gd name="connsiteY53" fmla="*/ 647700 h 1655757"/>
                    <a:gd name="connsiteX54" fmla="*/ 1041400 w 1146175"/>
                    <a:gd name="connsiteY54" fmla="*/ 660400 h 1655757"/>
                    <a:gd name="connsiteX55" fmla="*/ 1050925 w 1146175"/>
                    <a:gd name="connsiteY55" fmla="*/ 663575 h 1655757"/>
                    <a:gd name="connsiteX56" fmla="*/ 1066800 w 1146175"/>
                    <a:gd name="connsiteY56" fmla="*/ 673100 h 1655757"/>
                    <a:gd name="connsiteX57" fmla="*/ 1089025 w 1146175"/>
                    <a:gd name="connsiteY57" fmla="*/ 682625 h 1655757"/>
                    <a:gd name="connsiteX58" fmla="*/ 1117600 w 1146175"/>
                    <a:gd name="connsiteY58" fmla="*/ 701675 h 1655757"/>
                    <a:gd name="connsiteX59" fmla="*/ 1136650 w 1146175"/>
                    <a:gd name="connsiteY59" fmla="*/ 708025 h 1655757"/>
                    <a:gd name="connsiteX60" fmla="*/ 1146175 w 1146175"/>
                    <a:gd name="connsiteY60" fmla="*/ 898525 h 1655757"/>
                    <a:gd name="connsiteX61" fmla="*/ 1127125 w 1146175"/>
                    <a:gd name="connsiteY61" fmla="*/ 908050 h 1655757"/>
                    <a:gd name="connsiteX62" fmla="*/ 1101725 w 1146175"/>
                    <a:gd name="connsiteY62" fmla="*/ 914400 h 1655757"/>
                    <a:gd name="connsiteX63" fmla="*/ 1092200 w 1146175"/>
                    <a:gd name="connsiteY63" fmla="*/ 920750 h 1655757"/>
                    <a:gd name="connsiteX64" fmla="*/ 1079500 w 1146175"/>
                    <a:gd name="connsiteY64" fmla="*/ 923925 h 1655757"/>
                    <a:gd name="connsiteX65" fmla="*/ 1069975 w 1146175"/>
                    <a:gd name="connsiteY65" fmla="*/ 933450 h 1655757"/>
                    <a:gd name="connsiteX66" fmla="*/ 1060450 w 1146175"/>
                    <a:gd name="connsiteY66" fmla="*/ 939800 h 1655757"/>
                    <a:gd name="connsiteX67" fmla="*/ 1038225 w 1146175"/>
                    <a:gd name="connsiteY67" fmla="*/ 952500 h 1655757"/>
                    <a:gd name="connsiteX68" fmla="*/ 996950 w 1146175"/>
                    <a:gd name="connsiteY68" fmla="*/ 977900 h 1655757"/>
                    <a:gd name="connsiteX69" fmla="*/ 977900 w 1146175"/>
                    <a:gd name="connsiteY69" fmla="*/ 984250 h 1655757"/>
                    <a:gd name="connsiteX70" fmla="*/ 968375 w 1146175"/>
                    <a:gd name="connsiteY70" fmla="*/ 1009650 h 1655757"/>
                    <a:gd name="connsiteX71" fmla="*/ 958850 w 1146175"/>
                    <a:gd name="connsiteY71" fmla="*/ 1035050 h 1655757"/>
                    <a:gd name="connsiteX72" fmla="*/ 955675 w 1146175"/>
                    <a:gd name="connsiteY72" fmla="*/ 1060450 h 1655757"/>
                    <a:gd name="connsiteX73" fmla="*/ 949325 w 1146175"/>
                    <a:gd name="connsiteY73" fmla="*/ 1069975 h 1655757"/>
                    <a:gd name="connsiteX74" fmla="*/ 946150 w 1146175"/>
                    <a:gd name="connsiteY74" fmla="*/ 1079500 h 1655757"/>
                    <a:gd name="connsiteX75" fmla="*/ 936625 w 1146175"/>
                    <a:gd name="connsiteY75" fmla="*/ 1095375 h 1655757"/>
                    <a:gd name="connsiteX76" fmla="*/ 923925 w 1146175"/>
                    <a:gd name="connsiteY76" fmla="*/ 1130300 h 1655757"/>
                    <a:gd name="connsiteX77" fmla="*/ 917575 w 1146175"/>
                    <a:gd name="connsiteY77" fmla="*/ 1139825 h 1655757"/>
                    <a:gd name="connsiteX78" fmla="*/ 923925 w 1146175"/>
                    <a:gd name="connsiteY78" fmla="*/ 1193800 h 1655757"/>
                    <a:gd name="connsiteX79" fmla="*/ 939800 w 1146175"/>
                    <a:gd name="connsiteY79" fmla="*/ 1216025 h 1655757"/>
                    <a:gd name="connsiteX80" fmla="*/ 946150 w 1146175"/>
                    <a:gd name="connsiteY80" fmla="*/ 1228725 h 1655757"/>
                    <a:gd name="connsiteX81" fmla="*/ 952500 w 1146175"/>
                    <a:gd name="connsiteY81" fmla="*/ 1238250 h 1655757"/>
                    <a:gd name="connsiteX82" fmla="*/ 965200 w 1146175"/>
                    <a:gd name="connsiteY82" fmla="*/ 1263650 h 1655757"/>
                    <a:gd name="connsiteX83" fmla="*/ 974725 w 1146175"/>
                    <a:gd name="connsiteY83" fmla="*/ 1285875 h 1655757"/>
                    <a:gd name="connsiteX84" fmla="*/ 977900 w 1146175"/>
                    <a:gd name="connsiteY84" fmla="*/ 1298575 h 1655757"/>
                    <a:gd name="connsiteX85" fmla="*/ 981075 w 1146175"/>
                    <a:gd name="connsiteY85" fmla="*/ 1308100 h 1655757"/>
                    <a:gd name="connsiteX86" fmla="*/ 974725 w 1146175"/>
                    <a:gd name="connsiteY86" fmla="*/ 1343025 h 1655757"/>
                    <a:gd name="connsiteX87" fmla="*/ 949325 w 1146175"/>
                    <a:gd name="connsiteY87" fmla="*/ 1374775 h 1655757"/>
                    <a:gd name="connsiteX88" fmla="*/ 939800 w 1146175"/>
                    <a:gd name="connsiteY88" fmla="*/ 1381125 h 1655757"/>
                    <a:gd name="connsiteX89" fmla="*/ 930275 w 1146175"/>
                    <a:gd name="connsiteY89" fmla="*/ 1390650 h 1655757"/>
                    <a:gd name="connsiteX90" fmla="*/ 923925 w 1146175"/>
                    <a:gd name="connsiteY90" fmla="*/ 1400175 h 1655757"/>
                    <a:gd name="connsiteX91" fmla="*/ 908050 w 1146175"/>
                    <a:gd name="connsiteY91" fmla="*/ 1409700 h 1655757"/>
                    <a:gd name="connsiteX92" fmla="*/ 895350 w 1146175"/>
                    <a:gd name="connsiteY92" fmla="*/ 1422400 h 1655757"/>
                    <a:gd name="connsiteX93" fmla="*/ 882650 w 1146175"/>
                    <a:gd name="connsiteY93" fmla="*/ 1431925 h 1655757"/>
                    <a:gd name="connsiteX94" fmla="*/ 873125 w 1146175"/>
                    <a:gd name="connsiteY94" fmla="*/ 1441450 h 1655757"/>
                    <a:gd name="connsiteX95" fmla="*/ 844550 w 1146175"/>
                    <a:gd name="connsiteY95" fmla="*/ 1457325 h 1655757"/>
                    <a:gd name="connsiteX96" fmla="*/ 835025 w 1146175"/>
                    <a:gd name="connsiteY96" fmla="*/ 1460500 h 1655757"/>
                    <a:gd name="connsiteX97" fmla="*/ 815975 w 1146175"/>
                    <a:gd name="connsiteY97" fmla="*/ 1454150 h 1655757"/>
                    <a:gd name="connsiteX98" fmla="*/ 774700 w 1146175"/>
                    <a:gd name="connsiteY98" fmla="*/ 1438275 h 1655757"/>
                    <a:gd name="connsiteX99" fmla="*/ 749300 w 1146175"/>
                    <a:gd name="connsiteY99" fmla="*/ 1431925 h 1655757"/>
                    <a:gd name="connsiteX100" fmla="*/ 717550 w 1146175"/>
                    <a:gd name="connsiteY100" fmla="*/ 1419225 h 1655757"/>
                    <a:gd name="connsiteX101" fmla="*/ 688975 w 1146175"/>
                    <a:gd name="connsiteY101" fmla="*/ 1412875 h 1655757"/>
                    <a:gd name="connsiteX102" fmla="*/ 657225 w 1146175"/>
                    <a:gd name="connsiteY102" fmla="*/ 1403350 h 1655757"/>
                    <a:gd name="connsiteX103" fmla="*/ 635000 w 1146175"/>
                    <a:gd name="connsiteY103" fmla="*/ 1406525 h 1655757"/>
                    <a:gd name="connsiteX104" fmla="*/ 622300 w 1146175"/>
                    <a:gd name="connsiteY104" fmla="*/ 1412875 h 1655757"/>
                    <a:gd name="connsiteX105" fmla="*/ 606425 w 1146175"/>
                    <a:gd name="connsiteY105" fmla="*/ 1422400 h 1655757"/>
                    <a:gd name="connsiteX106" fmla="*/ 577850 w 1146175"/>
                    <a:gd name="connsiteY106" fmla="*/ 1438275 h 1655757"/>
                    <a:gd name="connsiteX107" fmla="*/ 558800 w 1146175"/>
                    <a:gd name="connsiteY107" fmla="*/ 1441450 h 1655757"/>
                    <a:gd name="connsiteX108" fmla="*/ 501650 w 1146175"/>
                    <a:gd name="connsiteY108" fmla="*/ 1447800 h 1655757"/>
                    <a:gd name="connsiteX109" fmla="*/ 492125 w 1146175"/>
                    <a:gd name="connsiteY109" fmla="*/ 1454150 h 1655757"/>
                    <a:gd name="connsiteX110" fmla="*/ 466725 w 1146175"/>
                    <a:gd name="connsiteY110" fmla="*/ 1485900 h 1655757"/>
                    <a:gd name="connsiteX111" fmla="*/ 457200 w 1146175"/>
                    <a:gd name="connsiteY111" fmla="*/ 1504950 h 1655757"/>
                    <a:gd name="connsiteX112" fmla="*/ 454025 w 1146175"/>
                    <a:gd name="connsiteY112" fmla="*/ 1514475 h 1655757"/>
                    <a:gd name="connsiteX113" fmla="*/ 447675 w 1146175"/>
                    <a:gd name="connsiteY113" fmla="*/ 1530350 h 1655757"/>
                    <a:gd name="connsiteX114" fmla="*/ 434975 w 1146175"/>
                    <a:gd name="connsiteY114" fmla="*/ 1555750 h 1655757"/>
                    <a:gd name="connsiteX115" fmla="*/ 431800 w 1146175"/>
                    <a:gd name="connsiteY115" fmla="*/ 1571625 h 1655757"/>
                    <a:gd name="connsiteX116" fmla="*/ 425450 w 1146175"/>
                    <a:gd name="connsiteY116" fmla="*/ 1597025 h 1655757"/>
                    <a:gd name="connsiteX117" fmla="*/ 422275 w 1146175"/>
                    <a:gd name="connsiteY117" fmla="*/ 1606550 h 1655757"/>
                    <a:gd name="connsiteX118" fmla="*/ 412750 w 1146175"/>
                    <a:gd name="connsiteY118" fmla="*/ 1616075 h 1655757"/>
                    <a:gd name="connsiteX119" fmla="*/ 222250 w 1146175"/>
                    <a:gd name="connsiteY119" fmla="*/ 1622425 h 1655757"/>
                    <a:gd name="connsiteX120" fmla="*/ 215900 w 1146175"/>
                    <a:gd name="connsiteY120" fmla="*/ 1606550 h 1655757"/>
                    <a:gd name="connsiteX121" fmla="*/ 206375 w 1146175"/>
                    <a:gd name="connsiteY121" fmla="*/ 1593850 h 1655757"/>
                    <a:gd name="connsiteX122" fmla="*/ 203200 w 1146175"/>
                    <a:gd name="connsiteY122" fmla="*/ 1581150 h 1655757"/>
                    <a:gd name="connsiteX123" fmla="*/ 196850 w 1146175"/>
                    <a:gd name="connsiteY123" fmla="*/ 1568450 h 1655757"/>
                    <a:gd name="connsiteX124" fmla="*/ 193675 w 1146175"/>
                    <a:gd name="connsiteY124" fmla="*/ 1558925 h 1655757"/>
                    <a:gd name="connsiteX125" fmla="*/ 187325 w 1146175"/>
                    <a:gd name="connsiteY125" fmla="*/ 1546225 h 1655757"/>
                    <a:gd name="connsiteX126" fmla="*/ 180975 w 1146175"/>
                    <a:gd name="connsiteY126" fmla="*/ 1530350 h 1655757"/>
                    <a:gd name="connsiteX127" fmla="*/ 161925 w 1146175"/>
                    <a:gd name="connsiteY127" fmla="*/ 1501775 h 1655757"/>
                    <a:gd name="connsiteX128" fmla="*/ 149225 w 1146175"/>
                    <a:gd name="connsiteY128" fmla="*/ 1479550 h 1655757"/>
                    <a:gd name="connsiteX129" fmla="*/ 142875 w 1146175"/>
                    <a:gd name="connsiteY129" fmla="*/ 1463675 h 1655757"/>
                    <a:gd name="connsiteX130" fmla="*/ 130175 w 1146175"/>
                    <a:gd name="connsiteY130" fmla="*/ 1460500 h 1655757"/>
                    <a:gd name="connsiteX131" fmla="*/ 101600 w 1146175"/>
                    <a:gd name="connsiteY131" fmla="*/ 1447800 h 1655757"/>
                    <a:gd name="connsiteX132" fmla="*/ 69850 w 1146175"/>
                    <a:gd name="connsiteY132" fmla="*/ 1438275 h 1655757"/>
                    <a:gd name="connsiteX133" fmla="*/ 41275 w 1146175"/>
                    <a:gd name="connsiteY133" fmla="*/ 1425575 h 1655757"/>
                    <a:gd name="connsiteX134" fmla="*/ 31750 w 1146175"/>
                    <a:gd name="connsiteY134" fmla="*/ 1419225 h 1655757"/>
                    <a:gd name="connsiteX135" fmla="*/ 15875 w 1146175"/>
                    <a:gd name="connsiteY135" fmla="*/ 1412875 h 1655757"/>
                    <a:gd name="connsiteX136" fmla="*/ 0 w 1146175"/>
                    <a:gd name="connsiteY136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54025 w 1146175"/>
                    <a:gd name="connsiteY10" fmla="*/ 60325 h 1655757"/>
                    <a:gd name="connsiteX11" fmla="*/ 460375 w 1146175"/>
                    <a:gd name="connsiteY11" fmla="*/ 69850 h 1655757"/>
                    <a:gd name="connsiteX12" fmla="*/ 476250 w 1146175"/>
                    <a:gd name="connsiteY12" fmla="*/ 101600 h 1655757"/>
                    <a:gd name="connsiteX13" fmla="*/ 479425 w 1146175"/>
                    <a:gd name="connsiteY13" fmla="*/ 117475 h 1655757"/>
                    <a:gd name="connsiteX14" fmla="*/ 485775 w 1146175"/>
                    <a:gd name="connsiteY14" fmla="*/ 127000 h 1655757"/>
                    <a:gd name="connsiteX15" fmla="*/ 492125 w 1146175"/>
                    <a:gd name="connsiteY15" fmla="*/ 139700 h 1655757"/>
                    <a:gd name="connsiteX16" fmla="*/ 508000 w 1146175"/>
                    <a:gd name="connsiteY16" fmla="*/ 165100 h 1655757"/>
                    <a:gd name="connsiteX17" fmla="*/ 527050 w 1146175"/>
                    <a:gd name="connsiteY17" fmla="*/ 168275 h 1655757"/>
                    <a:gd name="connsiteX18" fmla="*/ 558800 w 1146175"/>
                    <a:gd name="connsiteY18" fmla="*/ 184150 h 1655757"/>
                    <a:gd name="connsiteX19" fmla="*/ 574675 w 1146175"/>
                    <a:gd name="connsiteY19" fmla="*/ 187325 h 1655757"/>
                    <a:gd name="connsiteX20" fmla="*/ 635000 w 1146175"/>
                    <a:gd name="connsiteY20" fmla="*/ 215900 h 1655757"/>
                    <a:gd name="connsiteX21" fmla="*/ 717550 w 1146175"/>
                    <a:gd name="connsiteY21" fmla="*/ 212725 h 1655757"/>
                    <a:gd name="connsiteX22" fmla="*/ 733425 w 1146175"/>
                    <a:gd name="connsiteY22" fmla="*/ 206375 h 1655757"/>
                    <a:gd name="connsiteX23" fmla="*/ 771525 w 1146175"/>
                    <a:gd name="connsiteY23" fmla="*/ 200025 h 1655757"/>
                    <a:gd name="connsiteX24" fmla="*/ 796925 w 1146175"/>
                    <a:gd name="connsiteY24" fmla="*/ 190500 h 1655757"/>
                    <a:gd name="connsiteX25" fmla="*/ 838200 w 1146175"/>
                    <a:gd name="connsiteY25" fmla="*/ 180975 h 1655757"/>
                    <a:gd name="connsiteX26" fmla="*/ 879475 w 1146175"/>
                    <a:gd name="connsiteY26" fmla="*/ 200025 h 1655757"/>
                    <a:gd name="connsiteX27" fmla="*/ 885825 w 1146175"/>
                    <a:gd name="connsiteY27" fmla="*/ 209550 h 1655757"/>
                    <a:gd name="connsiteX28" fmla="*/ 901700 w 1146175"/>
                    <a:gd name="connsiteY28" fmla="*/ 225425 h 1655757"/>
                    <a:gd name="connsiteX29" fmla="*/ 917575 w 1146175"/>
                    <a:gd name="connsiteY29" fmla="*/ 238125 h 1655757"/>
                    <a:gd name="connsiteX30" fmla="*/ 936625 w 1146175"/>
                    <a:gd name="connsiteY30" fmla="*/ 250825 h 1655757"/>
                    <a:gd name="connsiteX31" fmla="*/ 955675 w 1146175"/>
                    <a:gd name="connsiteY31" fmla="*/ 273050 h 1655757"/>
                    <a:gd name="connsiteX32" fmla="*/ 974725 w 1146175"/>
                    <a:gd name="connsiteY32" fmla="*/ 298450 h 1655757"/>
                    <a:gd name="connsiteX33" fmla="*/ 968375 w 1146175"/>
                    <a:gd name="connsiteY33" fmla="*/ 333375 h 1655757"/>
                    <a:gd name="connsiteX34" fmla="*/ 965200 w 1146175"/>
                    <a:gd name="connsiteY34" fmla="*/ 342900 h 1655757"/>
                    <a:gd name="connsiteX35" fmla="*/ 949325 w 1146175"/>
                    <a:gd name="connsiteY35" fmla="*/ 361950 h 1655757"/>
                    <a:gd name="connsiteX36" fmla="*/ 939800 w 1146175"/>
                    <a:gd name="connsiteY36" fmla="*/ 384175 h 1655757"/>
                    <a:gd name="connsiteX37" fmla="*/ 936625 w 1146175"/>
                    <a:gd name="connsiteY37" fmla="*/ 396875 h 1655757"/>
                    <a:gd name="connsiteX38" fmla="*/ 930275 w 1146175"/>
                    <a:gd name="connsiteY38" fmla="*/ 412750 h 1655757"/>
                    <a:gd name="connsiteX39" fmla="*/ 927100 w 1146175"/>
                    <a:gd name="connsiteY39" fmla="*/ 425450 h 1655757"/>
                    <a:gd name="connsiteX40" fmla="*/ 920750 w 1146175"/>
                    <a:gd name="connsiteY40" fmla="*/ 441325 h 1655757"/>
                    <a:gd name="connsiteX41" fmla="*/ 917575 w 1146175"/>
                    <a:gd name="connsiteY41" fmla="*/ 454025 h 1655757"/>
                    <a:gd name="connsiteX42" fmla="*/ 914400 w 1146175"/>
                    <a:gd name="connsiteY42" fmla="*/ 463550 h 1655757"/>
                    <a:gd name="connsiteX43" fmla="*/ 917575 w 1146175"/>
                    <a:gd name="connsiteY43" fmla="*/ 501650 h 1655757"/>
                    <a:gd name="connsiteX44" fmla="*/ 923925 w 1146175"/>
                    <a:gd name="connsiteY44" fmla="*/ 514350 h 1655757"/>
                    <a:gd name="connsiteX45" fmla="*/ 939800 w 1146175"/>
                    <a:gd name="connsiteY45" fmla="*/ 533400 h 1655757"/>
                    <a:gd name="connsiteX46" fmla="*/ 942975 w 1146175"/>
                    <a:gd name="connsiteY46" fmla="*/ 542925 h 1655757"/>
                    <a:gd name="connsiteX47" fmla="*/ 955675 w 1146175"/>
                    <a:gd name="connsiteY47" fmla="*/ 568325 h 1655757"/>
                    <a:gd name="connsiteX48" fmla="*/ 968375 w 1146175"/>
                    <a:gd name="connsiteY48" fmla="*/ 609600 h 1655757"/>
                    <a:gd name="connsiteX49" fmla="*/ 974725 w 1146175"/>
                    <a:gd name="connsiteY49" fmla="*/ 622300 h 1655757"/>
                    <a:gd name="connsiteX50" fmla="*/ 981075 w 1146175"/>
                    <a:gd name="connsiteY50" fmla="*/ 641350 h 1655757"/>
                    <a:gd name="connsiteX51" fmla="*/ 993775 w 1146175"/>
                    <a:gd name="connsiteY51" fmla="*/ 644525 h 1655757"/>
                    <a:gd name="connsiteX52" fmla="*/ 1012825 w 1146175"/>
                    <a:gd name="connsiteY52" fmla="*/ 647700 h 1655757"/>
                    <a:gd name="connsiteX53" fmla="*/ 1041400 w 1146175"/>
                    <a:gd name="connsiteY53" fmla="*/ 660400 h 1655757"/>
                    <a:gd name="connsiteX54" fmla="*/ 1050925 w 1146175"/>
                    <a:gd name="connsiteY54" fmla="*/ 663575 h 1655757"/>
                    <a:gd name="connsiteX55" fmla="*/ 1066800 w 1146175"/>
                    <a:gd name="connsiteY55" fmla="*/ 673100 h 1655757"/>
                    <a:gd name="connsiteX56" fmla="*/ 1089025 w 1146175"/>
                    <a:gd name="connsiteY56" fmla="*/ 682625 h 1655757"/>
                    <a:gd name="connsiteX57" fmla="*/ 1117600 w 1146175"/>
                    <a:gd name="connsiteY57" fmla="*/ 701675 h 1655757"/>
                    <a:gd name="connsiteX58" fmla="*/ 1136650 w 1146175"/>
                    <a:gd name="connsiteY58" fmla="*/ 708025 h 1655757"/>
                    <a:gd name="connsiteX59" fmla="*/ 1146175 w 1146175"/>
                    <a:gd name="connsiteY59" fmla="*/ 898525 h 1655757"/>
                    <a:gd name="connsiteX60" fmla="*/ 1127125 w 1146175"/>
                    <a:gd name="connsiteY60" fmla="*/ 908050 h 1655757"/>
                    <a:gd name="connsiteX61" fmla="*/ 1101725 w 1146175"/>
                    <a:gd name="connsiteY61" fmla="*/ 914400 h 1655757"/>
                    <a:gd name="connsiteX62" fmla="*/ 1092200 w 1146175"/>
                    <a:gd name="connsiteY62" fmla="*/ 920750 h 1655757"/>
                    <a:gd name="connsiteX63" fmla="*/ 1079500 w 1146175"/>
                    <a:gd name="connsiteY63" fmla="*/ 923925 h 1655757"/>
                    <a:gd name="connsiteX64" fmla="*/ 1069975 w 1146175"/>
                    <a:gd name="connsiteY64" fmla="*/ 933450 h 1655757"/>
                    <a:gd name="connsiteX65" fmla="*/ 1060450 w 1146175"/>
                    <a:gd name="connsiteY65" fmla="*/ 939800 h 1655757"/>
                    <a:gd name="connsiteX66" fmla="*/ 1038225 w 1146175"/>
                    <a:gd name="connsiteY66" fmla="*/ 952500 h 1655757"/>
                    <a:gd name="connsiteX67" fmla="*/ 996950 w 1146175"/>
                    <a:gd name="connsiteY67" fmla="*/ 977900 h 1655757"/>
                    <a:gd name="connsiteX68" fmla="*/ 977900 w 1146175"/>
                    <a:gd name="connsiteY68" fmla="*/ 984250 h 1655757"/>
                    <a:gd name="connsiteX69" fmla="*/ 968375 w 1146175"/>
                    <a:gd name="connsiteY69" fmla="*/ 1009650 h 1655757"/>
                    <a:gd name="connsiteX70" fmla="*/ 958850 w 1146175"/>
                    <a:gd name="connsiteY70" fmla="*/ 1035050 h 1655757"/>
                    <a:gd name="connsiteX71" fmla="*/ 955675 w 1146175"/>
                    <a:gd name="connsiteY71" fmla="*/ 1060450 h 1655757"/>
                    <a:gd name="connsiteX72" fmla="*/ 949325 w 1146175"/>
                    <a:gd name="connsiteY72" fmla="*/ 1069975 h 1655757"/>
                    <a:gd name="connsiteX73" fmla="*/ 946150 w 1146175"/>
                    <a:gd name="connsiteY73" fmla="*/ 1079500 h 1655757"/>
                    <a:gd name="connsiteX74" fmla="*/ 936625 w 1146175"/>
                    <a:gd name="connsiteY74" fmla="*/ 1095375 h 1655757"/>
                    <a:gd name="connsiteX75" fmla="*/ 923925 w 1146175"/>
                    <a:gd name="connsiteY75" fmla="*/ 1130300 h 1655757"/>
                    <a:gd name="connsiteX76" fmla="*/ 917575 w 1146175"/>
                    <a:gd name="connsiteY76" fmla="*/ 1139825 h 1655757"/>
                    <a:gd name="connsiteX77" fmla="*/ 923925 w 1146175"/>
                    <a:gd name="connsiteY77" fmla="*/ 1193800 h 1655757"/>
                    <a:gd name="connsiteX78" fmla="*/ 939800 w 1146175"/>
                    <a:gd name="connsiteY78" fmla="*/ 1216025 h 1655757"/>
                    <a:gd name="connsiteX79" fmla="*/ 946150 w 1146175"/>
                    <a:gd name="connsiteY79" fmla="*/ 1228725 h 1655757"/>
                    <a:gd name="connsiteX80" fmla="*/ 952500 w 1146175"/>
                    <a:gd name="connsiteY80" fmla="*/ 1238250 h 1655757"/>
                    <a:gd name="connsiteX81" fmla="*/ 965200 w 1146175"/>
                    <a:gd name="connsiteY81" fmla="*/ 1263650 h 1655757"/>
                    <a:gd name="connsiteX82" fmla="*/ 974725 w 1146175"/>
                    <a:gd name="connsiteY82" fmla="*/ 1285875 h 1655757"/>
                    <a:gd name="connsiteX83" fmla="*/ 977900 w 1146175"/>
                    <a:gd name="connsiteY83" fmla="*/ 1298575 h 1655757"/>
                    <a:gd name="connsiteX84" fmla="*/ 981075 w 1146175"/>
                    <a:gd name="connsiteY84" fmla="*/ 1308100 h 1655757"/>
                    <a:gd name="connsiteX85" fmla="*/ 974725 w 1146175"/>
                    <a:gd name="connsiteY85" fmla="*/ 1343025 h 1655757"/>
                    <a:gd name="connsiteX86" fmla="*/ 949325 w 1146175"/>
                    <a:gd name="connsiteY86" fmla="*/ 1374775 h 1655757"/>
                    <a:gd name="connsiteX87" fmla="*/ 939800 w 1146175"/>
                    <a:gd name="connsiteY87" fmla="*/ 1381125 h 1655757"/>
                    <a:gd name="connsiteX88" fmla="*/ 930275 w 1146175"/>
                    <a:gd name="connsiteY88" fmla="*/ 1390650 h 1655757"/>
                    <a:gd name="connsiteX89" fmla="*/ 923925 w 1146175"/>
                    <a:gd name="connsiteY89" fmla="*/ 1400175 h 1655757"/>
                    <a:gd name="connsiteX90" fmla="*/ 908050 w 1146175"/>
                    <a:gd name="connsiteY90" fmla="*/ 1409700 h 1655757"/>
                    <a:gd name="connsiteX91" fmla="*/ 895350 w 1146175"/>
                    <a:gd name="connsiteY91" fmla="*/ 1422400 h 1655757"/>
                    <a:gd name="connsiteX92" fmla="*/ 882650 w 1146175"/>
                    <a:gd name="connsiteY92" fmla="*/ 1431925 h 1655757"/>
                    <a:gd name="connsiteX93" fmla="*/ 873125 w 1146175"/>
                    <a:gd name="connsiteY93" fmla="*/ 1441450 h 1655757"/>
                    <a:gd name="connsiteX94" fmla="*/ 844550 w 1146175"/>
                    <a:gd name="connsiteY94" fmla="*/ 1457325 h 1655757"/>
                    <a:gd name="connsiteX95" fmla="*/ 835025 w 1146175"/>
                    <a:gd name="connsiteY95" fmla="*/ 1460500 h 1655757"/>
                    <a:gd name="connsiteX96" fmla="*/ 815975 w 1146175"/>
                    <a:gd name="connsiteY96" fmla="*/ 1454150 h 1655757"/>
                    <a:gd name="connsiteX97" fmla="*/ 774700 w 1146175"/>
                    <a:gd name="connsiteY97" fmla="*/ 1438275 h 1655757"/>
                    <a:gd name="connsiteX98" fmla="*/ 749300 w 1146175"/>
                    <a:gd name="connsiteY98" fmla="*/ 1431925 h 1655757"/>
                    <a:gd name="connsiteX99" fmla="*/ 717550 w 1146175"/>
                    <a:gd name="connsiteY99" fmla="*/ 1419225 h 1655757"/>
                    <a:gd name="connsiteX100" fmla="*/ 688975 w 1146175"/>
                    <a:gd name="connsiteY100" fmla="*/ 1412875 h 1655757"/>
                    <a:gd name="connsiteX101" fmla="*/ 657225 w 1146175"/>
                    <a:gd name="connsiteY101" fmla="*/ 1403350 h 1655757"/>
                    <a:gd name="connsiteX102" fmla="*/ 635000 w 1146175"/>
                    <a:gd name="connsiteY102" fmla="*/ 1406525 h 1655757"/>
                    <a:gd name="connsiteX103" fmla="*/ 622300 w 1146175"/>
                    <a:gd name="connsiteY103" fmla="*/ 1412875 h 1655757"/>
                    <a:gd name="connsiteX104" fmla="*/ 606425 w 1146175"/>
                    <a:gd name="connsiteY104" fmla="*/ 1422400 h 1655757"/>
                    <a:gd name="connsiteX105" fmla="*/ 577850 w 1146175"/>
                    <a:gd name="connsiteY105" fmla="*/ 1438275 h 1655757"/>
                    <a:gd name="connsiteX106" fmla="*/ 558800 w 1146175"/>
                    <a:gd name="connsiteY106" fmla="*/ 1441450 h 1655757"/>
                    <a:gd name="connsiteX107" fmla="*/ 501650 w 1146175"/>
                    <a:gd name="connsiteY107" fmla="*/ 1447800 h 1655757"/>
                    <a:gd name="connsiteX108" fmla="*/ 492125 w 1146175"/>
                    <a:gd name="connsiteY108" fmla="*/ 1454150 h 1655757"/>
                    <a:gd name="connsiteX109" fmla="*/ 466725 w 1146175"/>
                    <a:gd name="connsiteY109" fmla="*/ 1485900 h 1655757"/>
                    <a:gd name="connsiteX110" fmla="*/ 457200 w 1146175"/>
                    <a:gd name="connsiteY110" fmla="*/ 1504950 h 1655757"/>
                    <a:gd name="connsiteX111" fmla="*/ 454025 w 1146175"/>
                    <a:gd name="connsiteY111" fmla="*/ 1514475 h 1655757"/>
                    <a:gd name="connsiteX112" fmla="*/ 447675 w 1146175"/>
                    <a:gd name="connsiteY112" fmla="*/ 1530350 h 1655757"/>
                    <a:gd name="connsiteX113" fmla="*/ 434975 w 1146175"/>
                    <a:gd name="connsiteY113" fmla="*/ 1555750 h 1655757"/>
                    <a:gd name="connsiteX114" fmla="*/ 431800 w 1146175"/>
                    <a:gd name="connsiteY114" fmla="*/ 1571625 h 1655757"/>
                    <a:gd name="connsiteX115" fmla="*/ 425450 w 1146175"/>
                    <a:gd name="connsiteY115" fmla="*/ 1597025 h 1655757"/>
                    <a:gd name="connsiteX116" fmla="*/ 422275 w 1146175"/>
                    <a:gd name="connsiteY116" fmla="*/ 1606550 h 1655757"/>
                    <a:gd name="connsiteX117" fmla="*/ 412750 w 1146175"/>
                    <a:gd name="connsiteY117" fmla="*/ 1616075 h 1655757"/>
                    <a:gd name="connsiteX118" fmla="*/ 222250 w 1146175"/>
                    <a:gd name="connsiteY118" fmla="*/ 1622425 h 1655757"/>
                    <a:gd name="connsiteX119" fmla="*/ 215900 w 1146175"/>
                    <a:gd name="connsiteY119" fmla="*/ 1606550 h 1655757"/>
                    <a:gd name="connsiteX120" fmla="*/ 206375 w 1146175"/>
                    <a:gd name="connsiteY120" fmla="*/ 1593850 h 1655757"/>
                    <a:gd name="connsiteX121" fmla="*/ 203200 w 1146175"/>
                    <a:gd name="connsiteY121" fmla="*/ 1581150 h 1655757"/>
                    <a:gd name="connsiteX122" fmla="*/ 196850 w 1146175"/>
                    <a:gd name="connsiteY122" fmla="*/ 1568450 h 1655757"/>
                    <a:gd name="connsiteX123" fmla="*/ 193675 w 1146175"/>
                    <a:gd name="connsiteY123" fmla="*/ 1558925 h 1655757"/>
                    <a:gd name="connsiteX124" fmla="*/ 187325 w 1146175"/>
                    <a:gd name="connsiteY124" fmla="*/ 1546225 h 1655757"/>
                    <a:gd name="connsiteX125" fmla="*/ 180975 w 1146175"/>
                    <a:gd name="connsiteY125" fmla="*/ 1530350 h 1655757"/>
                    <a:gd name="connsiteX126" fmla="*/ 161925 w 1146175"/>
                    <a:gd name="connsiteY126" fmla="*/ 1501775 h 1655757"/>
                    <a:gd name="connsiteX127" fmla="*/ 149225 w 1146175"/>
                    <a:gd name="connsiteY127" fmla="*/ 1479550 h 1655757"/>
                    <a:gd name="connsiteX128" fmla="*/ 142875 w 1146175"/>
                    <a:gd name="connsiteY128" fmla="*/ 1463675 h 1655757"/>
                    <a:gd name="connsiteX129" fmla="*/ 130175 w 1146175"/>
                    <a:gd name="connsiteY129" fmla="*/ 1460500 h 1655757"/>
                    <a:gd name="connsiteX130" fmla="*/ 101600 w 1146175"/>
                    <a:gd name="connsiteY130" fmla="*/ 1447800 h 1655757"/>
                    <a:gd name="connsiteX131" fmla="*/ 69850 w 1146175"/>
                    <a:gd name="connsiteY131" fmla="*/ 1438275 h 1655757"/>
                    <a:gd name="connsiteX132" fmla="*/ 41275 w 1146175"/>
                    <a:gd name="connsiteY132" fmla="*/ 1425575 h 1655757"/>
                    <a:gd name="connsiteX133" fmla="*/ 31750 w 1146175"/>
                    <a:gd name="connsiteY133" fmla="*/ 1419225 h 1655757"/>
                    <a:gd name="connsiteX134" fmla="*/ 15875 w 1146175"/>
                    <a:gd name="connsiteY134" fmla="*/ 1412875 h 1655757"/>
                    <a:gd name="connsiteX135" fmla="*/ 0 w 1146175"/>
                    <a:gd name="connsiteY135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54025 w 1146175"/>
                    <a:gd name="connsiteY10" fmla="*/ 60325 h 1655757"/>
                    <a:gd name="connsiteX11" fmla="*/ 476250 w 1146175"/>
                    <a:gd name="connsiteY11" fmla="*/ 101600 h 1655757"/>
                    <a:gd name="connsiteX12" fmla="*/ 479425 w 1146175"/>
                    <a:gd name="connsiteY12" fmla="*/ 117475 h 1655757"/>
                    <a:gd name="connsiteX13" fmla="*/ 485775 w 1146175"/>
                    <a:gd name="connsiteY13" fmla="*/ 127000 h 1655757"/>
                    <a:gd name="connsiteX14" fmla="*/ 492125 w 1146175"/>
                    <a:gd name="connsiteY14" fmla="*/ 139700 h 1655757"/>
                    <a:gd name="connsiteX15" fmla="*/ 508000 w 1146175"/>
                    <a:gd name="connsiteY15" fmla="*/ 165100 h 1655757"/>
                    <a:gd name="connsiteX16" fmla="*/ 527050 w 1146175"/>
                    <a:gd name="connsiteY16" fmla="*/ 168275 h 1655757"/>
                    <a:gd name="connsiteX17" fmla="*/ 558800 w 1146175"/>
                    <a:gd name="connsiteY17" fmla="*/ 184150 h 1655757"/>
                    <a:gd name="connsiteX18" fmla="*/ 574675 w 1146175"/>
                    <a:gd name="connsiteY18" fmla="*/ 187325 h 1655757"/>
                    <a:gd name="connsiteX19" fmla="*/ 635000 w 1146175"/>
                    <a:gd name="connsiteY19" fmla="*/ 215900 h 1655757"/>
                    <a:gd name="connsiteX20" fmla="*/ 717550 w 1146175"/>
                    <a:gd name="connsiteY20" fmla="*/ 212725 h 1655757"/>
                    <a:gd name="connsiteX21" fmla="*/ 733425 w 1146175"/>
                    <a:gd name="connsiteY21" fmla="*/ 206375 h 1655757"/>
                    <a:gd name="connsiteX22" fmla="*/ 771525 w 1146175"/>
                    <a:gd name="connsiteY22" fmla="*/ 200025 h 1655757"/>
                    <a:gd name="connsiteX23" fmla="*/ 796925 w 1146175"/>
                    <a:gd name="connsiteY23" fmla="*/ 190500 h 1655757"/>
                    <a:gd name="connsiteX24" fmla="*/ 838200 w 1146175"/>
                    <a:gd name="connsiteY24" fmla="*/ 180975 h 1655757"/>
                    <a:gd name="connsiteX25" fmla="*/ 879475 w 1146175"/>
                    <a:gd name="connsiteY25" fmla="*/ 200025 h 1655757"/>
                    <a:gd name="connsiteX26" fmla="*/ 885825 w 1146175"/>
                    <a:gd name="connsiteY26" fmla="*/ 209550 h 1655757"/>
                    <a:gd name="connsiteX27" fmla="*/ 901700 w 1146175"/>
                    <a:gd name="connsiteY27" fmla="*/ 225425 h 1655757"/>
                    <a:gd name="connsiteX28" fmla="*/ 917575 w 1146175"/>
                    <a:gd name="connsiteY28" fmla="*/ 238125 h 1655757"/>
                    <a:gd name="connsiteX29" fmla="*/ 936625 w 1146175"/>
                    <a:gd name="connsiteY29" fmla="*/ 250825 h 1655757"/>
                    <a:gd name="connsiteX30" fmla="*/ 955675 w 1146175"/>
                    <a:gd name="connsiteY30" fmla="*/ 273050 h 1655757"/>
                    <a:gd name="connsiteX31" fmla="*/ 974725 w 1146175"/>
                    <a:gd name="connsiteY31" fmla="*/ 298450 h 1655757"/>
                    <a:gd name="connsiteX32" fmla="*/ 968375 w 1146175"/>
                    <a:gd name="connsiteY32" fmla="*/ 333375 h 1655757"/>
                    <a:gd name="connsiteX33" fmla="*/ 965200 w 1146175"/>
                    <a:gd name="connsiteY33" fmla="*/ 342900 h 1655757"/>
                    <a:gd name="connsiteX34" fmla="*/ 949325 w 1146175"/>
                    <a:gd name="connsiteY34" fmla="*/ 361950 h 1655757"/>
                    <a:gd name="connsiteX35" fmla="*/ 939800 w 1146175"/>
                    <a:gd name="connsiteY35" fmla="*/ 384175 h 1655757"/>
                    <a:gd name="connsiteX36" fmla="*/ 936625 w 1146175"/>
                    <a:gd name="connsiteY36" fmla="*/ 396875 h 1655757"/>
                    <a:gd name="connsiteX37" fmla="*/ 930275 w 1146175"/>
                    <a:gd name="connsiteY37" fmla="*/ 412750 h 1655757"/>
                    <a:gd name="connsiteX38" fmla="*/ 927100 w 1146175"/>
                    <a:gd name="connsiteY38" fmla="*/ 425450 h 1655757"/>
                    <a:gd name="connsiteX39" fmla="*/ 920750 w 1146175"/>
                    <a:gd name="connsiteY39" fmla="*/ 441325 h 1655757"/>
                    <a:gd name="connsiteX40" fmla="*/ 917575 w 1146175"/>
                    <a:gd name="connsiteY40" fmla="*/ 454025 h 1655757"/>
                    <a:gd name="connsiteX41" fmla="*/ 914400 w 1146175"/>
                    <a:gd name="connsiteY41" fmla="*/ 463550 h 1655757"/>
                    <a:gd name="connsiteX42" fmla="*/ 917575 w 1146175"/>
                    <a:gd name="connsiteY42" fmla="*/ 501650 h 1655757"/>
                    <a:gd name="connsiteX43" fmla="*/ 923925 w 1146175"/>
                    <a:gd name="connsiteY43" fmla="*/ 514350 h 1655757"/>
                    <a:gd name="connsiteX44" fmla="*/ 939800 w 1146175"/>
                    <a:gd name="connsiteY44" fmla="*/ 533400 h 1655757"/>
                    <a:gd name="connsiteX45" fmla="*/ 942975 w 1146175"/>
                    <a:gd name="connsiteY45" fmla="*/ 542925 h 1655757"/>
                    <a:gd name="connsiteX46" fmla="*/ 955675 w 1146175"/>
                    <a:gd name="connsiteY46" fmla="*/ 568325 h 1655757"/>
                    <a:gd name="connsiteX47" fmla="*/ 968375 w 1146175"/>
                    <a:gd name="connsiteY47" fmla="*/ 609600 h 1655757"/>
                    <a:gd name="connsiteX48" fmla="*/ 974725 w 1146175"/>
                    <a:gd name="connsiteY48" fmla="*/ 622300 h 1655757"/>
                    <a:gd name="connsiteX49" fmla="*/ 981075 w 1146175"/>
                    <a:gd name="connsiteY49" fmla="*/ 641350 h 1655757"/>
                    <a:gd name="connsiteX50" fmla="*/ 993775 w 1146175"/>
                    <a:gd name="connsiteY50" fmla="*/ 644525 h 1655757"/>
                    <a:gd name="connsiteX51" fmla="*/ 1012825 w 1146175"/>
                    <a:gd name="connsiteY51" fmla="*/ 647700 h 1655757"/>
                    <a:gd name="connsiteX52" fmla="*/ 1041400 w 1146175"/>
                    <a:gd name="connsiteY52" fmla="*/ 660400 h 1655757"/>
                    <a:gd name="connsiteX53" fmla="*/ 1050925 w 1146175"/>
                    <a:gd name="connsiteY53" fmla="*/ 663575 h 1655757"/>
                    <a:gd name="connsiteX54" fmla="*/ 1066800 w 1146175"/>
                    <a:gd name="connsiteY54" fmla="*/ 673100 h 1655757"/>
                    <a:gd name="connsiteX55" fmla="*/ 1089025 w 1146175"/>
                    <a:gd name="connsiteY55" fmla="*/ 682625 h 1655757"/>
                    <a:gd name="connsiteX56" fmla="*/ 1117600 w 1146175"/>
                    <a:gd name="connsiteY56" fmla="*/ 701675 h 1655757"/>
                    <a:gd name="connsiteX57" fmla="*/ 1136650 w 1146175"/>
                    <a:gd name="connsiteY57" fmla="*/ 708025 h 1655757"/>
                    <a:gd name="connsiteX58" fmla="*/ 1146175 w 1146175"/>
                    <a:gd name="connsiteY58" fmla="*/ 898525 h 1655757"/>
                    <a:gd name="connsiteX59" fmla="*/ 1127125 w 1146175"/>
                    <a:gd name="connsiteY59" fmla="*/ 908050 h 1655757"/>
                    <a:gd name="connsiteX60" fmla="*/ 1101725 w 1146175"/>
                    <a:gd name="connsiteY60" fmla="*/ 914400 h 1655757"/>
                    <a:gd name="connsiteX61" fmla="*/ 1092200 w 1146175"/>
                    <a:gd name="connsiteY61" fmla="*/ 920750 h 1655757"/>
                    <a:gd name="connsiteX62" fmla="*/ 1079500 w 1146175"/>
                    <a:gd name="connsiteY62" fmla="*/ 923925 h 1655757"/>
                    <a:gd name="connsiteX63" fmla="*/ 1069975 w 1146175"/>
                    <a:gd name="connsiteY63" fmla="*/ 933450 h 1655757"/>
                    <a:gd name="connsiteX64" fmla="*/ 1060450 w 1146175"/>
                    <a:gd name="connsiteY64" fmla="*/ 939800 h 1655757"/>
                    <a:gd name="connsiteX65" fmla="*/ 1038225 w 1146175"/>
                    <a:gd name="connsiteY65" fmla="*/ 952500 h 1655757"/>
                    <a:gd name="connsiteX66" fmla="*/ 996950 w 1146175"/>
                    <a:gd name="connsiteY66" fmla="*/ 977900 h 1655757"/>
                    <a:gd name="connsiteX67" fmla="*/ 977900 w 1146175"/>
                    <a:gd name="connsiteY67" fmla="*/ 984250 h 1655757"/>
                    <a:gd name="connsiteX68" fmla="*/ 968375 w 1146175"/>
                    <a:gd name="connsiteY68" fmla="*/ 1009650 h 1655757"/>
                    <a:gd name="connsiteX69" fmla="*/ 958850 w 1146175"/>
                    <a:gd name="connsiteY69" fmla="*/ 1035050 h 1655757"/>
                    <a:gd name="connsiteX70" fmla="*/ 955675 w 1146175"/>
                    <a:gd name="connsiteY70" fmla="*/ 1060450 h 1655757"/>
                    <a:gd name="connsiteX71" fmla="*/ 949325 w 1146175"/>
                    <a:gd name="connsiteY71" fmla="*/ 1069975 h 1655757"/>
                    <a:gd name="connsiteX72" fmla="*/ 946150 w 1146175"/>
                    <a:gd name="connsiteY72" fmla="*/ 1079500 h 1655757"/>
                    <a:gd name="connsiteX73" fmla="*/ 936625 w 1146175"/>
                    <a:gd name="connsiteY73" fmla="*/ 1095375 h 1655757"/>
                    <a:gd name="connsiteX74" fmla="*/ 923925 w 1146175"/>
                    <a:gd name="connsiteY74" fmla="*/ 1130300 h 1655757"/>
                    <a:gd name="connsiteX75" fmla="*/ 917575 w 1146175"/>
                    <a:gd name="connsiteY75" fmla="*/ 1139825 h 1655757"/>
                    <a:gd name="connsiteX76" fmla="*/ 923925 w 1146175"/>
                    <a:gd name="connsiteY76" fmla="*/ 1193800 h 1655757"/>
                    <a:gd name="connsiteX77" fmla="*/ 939800 w 1146175"/>
                    <a:gd name="connsiteY77" fmla="*/ 1216025 h 1655757"/>
                    <a:gd name="connsiteX78" fmla="*/ 946150 w 1146175"/>
                    <a:gd name="connsiteY78" fmla="*/ 1228725 h 1655757"/>
                    <a:gd name="connsiteX79" fmla="*/ 952500 w 1146175"/>
                    <a:gd name="connsiteY79" fmla="*/ 1238250 h 1655757"/>
                    <a:gd name="connsiteX80" fmla="*/ 965200 w 1146175"/>
                    <a:gd name="connsiteY80" fmla="*/ 1263650 h 1655757"/>
                    <a:gd name="connsiteX81" fmla="*/ 974725 w 1146175"/>
                    <a:gd name="connsiteY81" fmla="*/ 1285875 h 1655757"/>
                    <a:gd name="connsiteX82" fmla="*/ 977900 w 1146175"/>
                    <a:gd name="connsiteY82" fmla="*/ 1298575 h 1655757"/>
                    <a:gd name="connsiteX83" fmla="*/ 981075 w 1146175"/>
                    <a:gd name="connsiteY83" fmla="*/ 1308100 h 1655757"/>
                    <a:gd name="connsiteX84" fmla="*/ 974725 w 1146175"/>
                    <a:gd name="connsiteY84" fmla="*/ 1343025 h 1655757"/>
                    <a:gd name="connsiteX85" fmla="*/ 949325 w 1146175"/>
                    <a:gd name="connsiteY85" fmla="*/ 1374775 h 1655757"/>
                    <a:gd name="connsiteX86" fmla="*/ 939800 w 1146175"/>
                    <a:gd name="connsiteY86" fmla="*/ 1381125 h 1655757"/>
                    <a:gd name="connsiteX87" fmla="*/ 930275 w 1146175"/>
                    <a:gd name="connsiteY87" fmla="*/ 1390650 h 1655757"/>
                    <a:gd name="connsiteX88" fmla="*/ 923925 w 1146175"/>
                    <a:gd name="connsiteY88" fmla="*/ 1400175 h 1655757"/>
                    <a:gd name="connsiteX89" fmla="*/ 908050 w 1146175"/>
                    <a:gd name="connsiteY89" fmla="*/ 1409700 h 1655757"/>
                    <a:gd name="connsiteX90" fmla="*/ 895350 w 1146175"/>
                    <a:gd name="connsiteY90" fmla="*/ 1422400 h 1655757"/>
                    <a:gd name="connsiteX91" fmla="*/ 882650 w 1146175"/>
                    <a:gd name="connsiteY91" fmla="*/ 1431925 h 1655757"/>
                    <a:gd name="connsiteX92" fmla="*/ 873125 w 1146175"/>
                    <a:gd name="connsiteY92" fmla="*/ 1441450 h 1655757"/>
                    <a:gd name="connsiteX93" fmla="*/ 844550 w 1146175"/>
                    <a:gd name="connsiteY93" fmla="*/ 1457325 h 1655757"/>
                    <a:gd name="connsiteX94" fmla="*/ 835025 w 1146175"/>
                    <a:gd name="connsiteY94" fmla="*/ 1460500 h 1655757"/>
                    <a:gd name="connsiteX95" fmla="*/ 815975 w 1146175"/>
                    <a:gd name="connsiteY95" fmla="*/ 1454150 h 1655757"/>
                    <a:gd name="connsiteX96" fmla="*/ 774700 w 1146175"/>
                    <a:gd name="connsiteY96" fmla="*/ 1438275 h 1655757"/>
                    <a:gd name="connsiteX97" fmla="*/ 749300 w 1146175"/>
                    <a:gd name="connsiteY97" fmla="*/ 1431925 h 1655757"/>
                    <a:gd name="connsiteX98" fmla="*/ 717550 w 1146175"/>
                    <a:gd name="connsiteY98" fmla="*/ 1419225 h 1655757"/>
                    <a:gd name="connsiteX99" fmla="*/ 688975 w 1146175"/>
                    <a:gd name="connsiteY99" fmla="*/ 1412875 h 1655757"/>
                    <a:gd name="connsiteX100" fmla="*/ 657225 w 1146175"/>
                    <a:gd name="connsiteY100" fmla="*/ 1403350 h 1655757"/>
                    <a:gd name="connsiteX101" fmla="*/ 635000 w 1146175"/>
                    <a:gd name="connsiteY101" fmla="*/ 1406525 h 1655757"/>
                    <a:gd name="connsiteX102" fmla="*/ 622300 w 1146175"/>
                    <a:gd name="connsiteY102" fmla="*/ 1412875 h 1655757"/>
                    <a:gd name="connsiteX103" fmla="*/ 606425 w 1146175"/>
                    <a:gd name="connsiteY103" fmla="*/ 1422400 h 1655757"/>
                    <a:gd name="connsiteX104" fmla="*/ 577850 w 1146175"/>
                    <a:gd name="connsiteY104" fmla="*/ 1438275 h 1655757"/>
                    <a:gd name="connsiteX105" fmla="*/ 558800 w 1146175"/>
                    <a:gd name="connsiteY105" fmla="*/ 1441450 h 1655757"/>
                    <a:gd name="connsiteX106" fmla="*/ 501650 w 1146175"/>
                    <a:gd name="connsiteY106" fmla="*/ 1447800 h 1655757"/>
                    <a:gd name="connsiteX107" fmla="*/ 492125 w 1146175"/>
                    <a:gd name="connsiteY107" fmla="*/ 1454150 h 1655757"/>
                    <a:gd name="connsiteX108" fmla="*/ 466725 w 1146175"/>
                    <a:gd name="connsiteY108" fmla="*/ 1485900 h 1655757"/>
                    <a:gd name="connsiteX109" fmla="*/ 457200 w 1146175"/>
                    <a:gd name="connsiteY109" fmla="*/ 1504950 h 1655757"/>
                    <a:gd name="connsiteX110" fmla="*/ 454025 w 1146175"/>
                    <a:gd name="connsiteY110" fmla="*/ 1514475 h 1655757"/>
                    <a:gd name="connsiteX111" fmla="*/ 447675 w 1146175"/>
                    <a:gd name="connsiteY111" fmla="*/ 1530350 h 1655757"/>
                    <a:gd name="connsiteX112" fmla="*/ 434975 w 1146175"/>
                    <a:gd name="connsiteY112" fmla="*/ 1555750 h 1655757"/>
                    <a:gd name="connsiteX113" fmla="*/ 431800 w 1146175"/>
                    <a:gd name="connsiteY113" fmla="*/ 1571625 h 1655757"/>
                    <a:gd name="connsiteX114" fmla="*/ 425450 w 1146175"/>
                    <a:gd name="connsiteY114" fmla="*/ 1597025 h 1655757"/>
                    <a:gd name="connsiteX115" fmla="*/ 422275 w 1146175"/>
                    <a:gd name="connsiteY115" fmla="*/ 1606550 h 1655757"/>
                    <a:gd name="connsiteX116" fmla="*/ 412750 w 1146175"/>
                    <a:gd name="connsiteY116" fmla="*/ 1616075 h 1655757"/>
                    <a:gd name="connsiteX117" fmla="*/ 222250 w 1146175"/>
                    <a:gd name="connsiteY117" fmla="*/ 1622425 h 1655757"/>
                    <a:gd name="connsiteX118" fmla="*/ 215900 w 1146175"/>
                    <a:gd name="connsiteY118" fmla="*/ 1606550 h 1655757"/>
                    <a:gd name="connsiteX119" fmla="*/ 206375 w 1146175"/>
                    <a:gd name="connsiteY119" fmla="*/ 1593850 h 1655757"/>
                    <a:gd name="connsiteX120" fmla="*/ 203200 w 1146175"/>
                    <a:gd name="connsiteY120" fmla="*/ 1581150 h 1655757"/>
                    <a:gd name="connsiteX121" fmla="*/ 196850 w 1146175"/>
                    <a:gd name="connsiteY121" fmla="*/ 1568450 h 1655757"/>
                    <a:gd name="connsiteX122" fmla="*/ 193675 w 1146175"/>
                    <a:gd name="connsiteY122" fmla="*/ 1558925 h 1655757"/>
                    <a:gd name="connsiteX123" fmla="*/ 187325 w 1146175"/>
                    <a:gd name="connsiteY123" fmla="*/ 1546225 h 1655757"/>
                    <a:gd name="connsiteX124" fmla="*/ 180975 w 1146175"/>
                    <a:gd name="connsiteY124" fmla="*/ 1530350 h 1655757"/>
                    <a:gd name="connsiteX125" fmla="*/ 161925 w 1146175"/>
                    <a:gd name="connsiteY125" fmla="*/ 1501775 h 1655757"/>
                    <a:gd name="connsiteX126" fmla="*/ 149225 w 1146175"/>
                    <a:gd name="connsiteY126" fmla="*/ 1479550 h 1655757"/>
                    <a:gd name="connsiteX127" fmla="*/ 142875 w 1146175"/>
                    <a:gd name="connsiteY127" fmla="*/ 1463675 h 1655757"/>
                    <a:gd name="connsiteX128" fmla="*/ 130175 w 1146175"/>
                    <a:gd name="connsiteY128" fmla="*/ 1460500 h 1655757"/>
                    <a:gd name="connsiteX129" fmla="*/ 101600 w 1146175"/>
                    <a:gd name="connsiteY129" fmla="*/ 1447800 h 1655757"/>
                    <a:gd name="connsiteX130" fmla="*/ 69850 w 1146175"/>
                    <a:gd name="connsiteY130" fmla="*/ 1438275 h 1655757"/>
                    <a:gd name="connsiteX131" fmla="*/ 41275 w 1146175"/>
                    <a:gd name="connsiteY131" fmla="*/ 1425575 h 1655757"/>
                    <a:gd name="connsiteX132" fmla="*/ 31750 w 1146175"/>
                    <a:gd name="connsiteY132" fmla="*/ 1419225 h 1655757"/>
                    <a:gd name="connsiteX133" fmla="*/ 15875 w 1146175"/>
                    <a:gd name="connsiteY133" fmla="*/ 1412875 h 1655757"/>
                    <a:gd name="connsiteX134" fmla="*/ 0 w 1146175"/>
                    <a:gd name="connsiteY134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54025 w 1146175"/>
                    <a:gd name="connsiteY9" fmla="*/ 60325 h 1655757"/>
                    <a:gd name="connsiteX10" fmla="*/ 476250 w 1146175"/>
                    <a:gd name="connsiteY10" fmla="*/ 101600 h 1655757"/>
                    <a:gd name="connsiteX11" fmla="*/ 479425 w 1146175"/>
                    <a:gd name="connsiteY11" fmla="*/ 117475 h 1655757"/>
                    <a:gd name="connsiteX12" fmla="*/ 485775 w 1146175"/>
                    <a:gd name="connsiteY12" fmla="*/ 127000 h 1655757"/>
                    <a:gd name="connsiteX13" fmla="*/ 492125 w 1146175"/>
                    <a:gd name="connsiteY13" fmla="*/ 139700 h 1655757"/>
                    <a:gd name="connsiteX14" fmla="*/ 508000 w 1146175"/>
                    <a:gd name="connsiteY14" fmla="*/ 165100 h 1655757"/>
                    <a:gd name="connsiteX15" fmla="*/ 527050 w 1146175"/>
                    <a:gd name="connsiteY15" fmla="*/ 168275 h 1655757"/>
                    <a:gd name="connsiteX16" fmla="*/ 558800 w 1146175"/>
                    <a:gd name="connsiteY16" fmla="*/ 184150 h 1655757"/>
                    <a:gd name="connsiteX17" fmla="*/ 574675 w 1146175"/>
                    <a:gd name="connsiteY17" fmla="*/ 187325 h 1655757"/>
                    <a:gd name="connsiteX18" fmla="*/ 635000 w 1146175"/>
                    <a:gd name="connsiteY18" fmla="*/ 215900 h 1655757"/>
                    <a:gd name="connsiteX19" fmla="*/ 717550 w 1146175"/>
                    <a:gd name="connsiteY19" fmla="*/ 212725 h 1655757"/>
                    <a:gd name="connsiteX20" fmla="*/ 733425 w 1146175"/>
                    <a:gd name="connsiteY20" fmla="*/ 206375 h 1655757"/>
                    <a:gd name="connsiteX21" fmla="*/ 771525 w 1146175"/>
                    <a:gd name="connsiteY21" fmla="*/ 200025 h 1655757"/>
                    <a:gd name="connsiteX22" fmla="*/ 796925 w 1146175"/>
                    <a:gd name="connsiteY22" fmla="*/ 190500 h 1655757"/>
                    <a:gd name="connsiteX23" fmla="*/ 838200 w 1146175"/>
                    <a:gd name="connsiteY23" fmla="*/ 180975 h 1655757"/>
                    <a:gd name="connsiteX24" fmla="*/ 879475 w 1146175"/>
                    <a:gd name="connsiteY24" fmla="*/ 200025 h 1655757"/>
                    <a:gd name="connsiteX25" fmla="*/ 885825 w 1146175"/>
                    <a:gd name="connsiteY25" fmla="*/ 209550 h 1655757"/>
                    <a:gd name="connsiteX26" fmla="*/ 901700 w 1146175"/>
                    <a:gd name="connsiteY26" fmla="*/ 225425 h 1655757"/>
                    <a:gd name="connsiteX27" fmla="*/ 917575 w 1146175"/>
                    <a:gd name="connsiteY27" fmla="*/ 238125 h 1655757"/>
                    <a:gd name="connsiteX28" fmla="*/ 936625 w 1146175"/>
                    <a:gd name="connsiteY28" fmla="*/ 250825 h 1655757"/>
                    <a:gd name="connsiteX29" fmla="*/ 955675 w 1146175"/>
                    <a:gd name="connsiteY29" fmla="*/ 273050 h 1655757"/>
                    <a:gd name="connsiteX30" fmla="*/ 974725 w 1146175"/>
                    <a:gd name="connsiteY30" fmla="*/ 298450 h 1655757"/>
                    <a:gd name="connsiteX31" fmla="*/ 968375 w 1146175"/>
                    <a:gd name="connsiteY31" fmla="*/ 333375 h 1655757"/>
                    <a:gd name="connsiteX32" fmla="*/ 965200 w 1146175"/>
                    <a:gd name="connsiteY32" fmla="*/ 342900 h 1655757"/>
                    <a:gd name="connsiteX33" fmla="*/ 949325 w 1146175"/>
                    <a:gd name="connsiteY33" fmla="*/ 361950 h 1655757"/>
                    <a:gd name="connsiteX34" fmla="*/ 939800 w 1146175"/>
                    <a:gd name="connsiteY34" fmla="*/ 384175 h 1655757"/>
                    <a:gd name="connsiteX35" fmla="*/ 936625 w 1146175"/>
                    <a:gd name="connsiteY35" fmla="*/ 396875 h 1655757"/>
                    <a:gd name="connsiteX36" fmla="*/ 930275 w 1146175"/>
                    <a:gd name="connsiteY36" fmla="*/ 412750 h 1655757"/>
                    <a:gd name="connsiteX37" fmla="*/ 927100 w 1146175"/>
                    <a:gd name="connsiteY37" fmla="*/ 425450 h 1655757"/>
                    <a:gd name="connsiteX38" fmla="*/ 920750 w 1146175"/>
                    <a:gd name="connsiteY38" fmla="*/ 441325 h 1655757"/>
                    <a:gd name="connsiteX39" fmla="*/ 917575 w 1146175"/>
                    <a:gd name="connsiteY39" fmla="*/ 454025 h 1655757"/>
                    <a:gd name="connsiteX40" fmla="*/ 914400 w 1146175"/>
                    <a:gd name="connsiteY40" fmla="*/ 463550 h 1655757"/>
                    <a:gd name="connsiteX41" fmla="*/ 917575 w 1146175"/>
                    <a:gd name="connsiteY41" fmla="*/ 501650 h 1655757"/>
                    <a:gd name="connsiteX42" fmla="*/ 923925 w 1146175"/>
                    <a:gd name="connsiteY42" fmla="*/ 514350 h 1655757"/>
                    <a:gd name="connsiteX43" fmla="*/ 939800 w 1146175"/>
                    <a:gd name="connsiteY43" fmla="*/ 533400 h 1655757"/>
                    <a:gd name="connsiteX44" fmla="*/ 942975 w 1146175"/>
                    <a:gd name="connsiteY44" fmla="*/ 542925 h 1655757"/>
                    <a:gd name="connsiteX45" fmla="*/ 955675 w 1146175"/>
                    <a:gd name="connsiteY45" fmla="*/ 568325 h 1655757"/>
                    <a:gd name="connsiteX46" fmla="*/ 968375 w 1146175"/>
                    <a:gd name="connsiteY46" fmla="*/ 609600 h 1655757"/>
                    <a:gd name="connsiteX47" fmla="*/ 974725 w 1146175"/>
                    <a:gd name="connsiteY47" fmla="*/ 622300 h 1655757"/>
                    <a:gd name="connsiteX48" fmla="*/ 981075 w 1146175"/>
                    <a:gd name="connsiteY48" fmla="*/ 641350 h 1655757"/>
                    <a:gd name="connsiteX49" fmla="*/ 993775 w 1146175"/>
                    <a:gd name="connsiteY49" fmla="*/ 644525 h 1655757"/>
                    <a:gd name="connsiteX50" fmla="*/ 1012825 w 1146175"/>
                    <a:gd name="connsiteY50" fmla="*/ 647700 h 1655757"/>
                    <a:gd name="connsiteX51" fmla="*/ 1041400 w 1146175"/>
                    <a:gd name="connsiteY51" fmla="*/ 660400 h 1655757"/>
                    <a:gd name="connsiteX52" fmla="*/ 1050925 w 1146175"/>
                    <a:gd name="connsiteY52" fmla="*/ 663575 h 1655757"/>
                    <a:gd name="connsiteX53" fmla="*/ 1066800 w 1146175"/>
                    <a:gd name="connsiteY53" fmla="*/ 673100 h 1655757"/>
                    <a:gd name="connsiteX54" fmla="*/ 1089025 w 1146175"/>
                    <a:gd name="connsiteY54" fmla="*/ 682625 h 1655757"/>
                    <a:gd name="connsiteX55" fmla="*/ 1117600 w 1146175"/>
                    <a:gd name="connsiteY55" fmla="*/ 701675 h 1655757"/>
                    <a:gd name="connsiteX56" fmla="*/ 1136650 w 1146175"/>
                    <a:gd name="connsiteY56" fmla="*/ 708025 h 1655757"/>
                    <a:gd name="connsiteX57" fmla="*/ 1146175 w 1146175"/>
                    <a:gd name="connsiteY57" fmla="*/ 898525 h 1655757"/>
                    <a:gd name="connsiteX58" fmla="*/ 1127125 w 1146175"/>
                    <a:gd name="connsiteY58" fmla="*/ 908050 h 1655757"/>
                    <a:gd name="connsiteX59" fmla="*/ 1101725 w 1146175"/>
                    <a:gd name="connsiteY59" fmla="*/ 914400 h 1655757"/>
                    <a:gd name="connsiteX60" fmla="*/ 1092200 w 1146175"/>
                    <a:gd name="connsiteY60" fmla="*/ 920750 h 1655757"/>
                    <a:gd name="connsiteX61" fmla="*/ 1079500 w 1146175"/>
                    <a:gd name="connsiteY61" fmla="*/ 923925 h 1655757"/>
                    <a:gd name="connsiteX62" fmla="*/ 1069975 w 1146175"/>
                    <a:gd name="connsiteY62" fmla="*/ 933450 h 1655757"/>
                    <a:gd name="connsiteX63" fmla="*/ 1060450 w 1146175"/>
                    <a:gd name="connsiteY63" fmla="*/ 939800 h 1655757"/>
                    <a:gd name="connsiteX64" fmla="*/ 1038225 w 1146175"/>
                    <a:gd name="connsiteY64" fmla="*/ 952500 h 1655757"/>
                    <a:gd name="connsiteX65" fmla="*/ 996950 w 1146175"/>
                    <a:gd name="connsiteY65" fmla="*/ 977900 h 1655757"/>
                    <a:gd name="connsiteX66" fmla="*/ 977900 w 1146175"/>
                    <a:gd name="connsiteY66" fmla="*/ 984250 h 1655757"/>
                    <a:gd name="connsiteX67" fmla="*/ 968375 w 1146175"/>
                    <a:gd name="connsiteY67" fmla="*/ 1009650 h 1655757"/>
                    <a:gd name="connsiteX68" fmla="*/ 958850 w 1146175"/>
                    <a:gd name="connsiteY68" fmla="*/ 1035050 h 1655757"/>
                    <a:gd name="connsiteX69" fmla="*/ 955675 w 1146175"/>
                    <a:gd name="connsiteY69" fmla="*/ 1060450 h 1655757"/>
                    <a:gd name="connsiteX70" fmla="*/ 949325 w 1146175"/>
                    <a:gd name="connsiteY70" fmla="*/ 1069975 h 1655757"/>
                    <a:gd name="connsiteX71" fmla="*/ 946150 w 1146175"/>
                    <a:gd name="connsiteY71" fmla="*/ 1079500 h 1655757"/>
                    <a:gd name="connsiteX72" fmla="*/ 936625 w 1146175"/>
                    <a:gd name="connsiteY72" fmla="*/ 1095375 h 1655757"/>
                    <a:gd name="connsiteX73" fmla="*/ 923925 w 1146175"/>
                    <a:gd name="connsiteY73" fmla="*/ 1130300 h 1655757"/>
                    <a:gd name="connsiteX74" fmla="*/ 917575 w 1146175"/>
                    <a:gd name="connsiteY74" fmla="*/ 1139825 h 1655757"/>
                    <a:gd name="connsiteX75" fmla="*/ 923925 w 1146175"/>
                    <a:gd name="connsiteY75" fmla="*/ 1193800 h 1655757"/>
                    <a:gd name="connsiteX76" fmla="*/ 939800 w 1146175"/>
                    <a:gd name="connsiteY76" fmla="*/ 1216025 h 1655757"/>
                    <a:gd name="connsiteX77" fmla="*/ 946150 w 1146175"/>
                    <a:gd name="connsiteY77" fmla="*/ 1228725 h 1655757"/>
                    <a:gd name="connsiteX78" fmla="*/ 952500 w 1146175"/>
                    <a:gd name="connsiteY78" fmla="*/ 1238250 h 1655757"/>
                    <a:gd name="connsiteX79" fmla="*/ 965200 w 1146175"/>
                    <a:gd name="connsiteY79" fmla="*/ 1263650 h 1655757"/>
                    <a:gd name="connsiteX80" fmla="*/ 974725 w 1146175"/>
                    <a:gd name="connsiteY80" fmla="*/ 1285875 h 1655757"/>
                    <a:gd name="connsiteX81" fmla="*/ 977900 w 1146175"/>
                    <a:gd name="connsiteY81" fmla="*/ 1298575 h 1655757"/>
                    <a:gd name="connsiteX82" fmla="*/ 981075 w 1146175"/>
                    <a:gd name="connsiteY82" fmla="*/ 1308100 h 1655757"/>
                    <a:gd name="connsiteX83" fmla="*/ 974725 w 1146175"/>
                    <a:gd name="connsiteY83" fmla="*/ 1343025 h 1655757"/>
                    <a:gd name="connsiteX84" fmla="*/ 949325 w 1146175"/>
                    <a:gd name="connsiteY84" fmla="*/ 1374775 h 1655757"/>
                    <a:gd name="connsiteX85" fmla="*/ 939800 w 1146175"/>
                    <a:gd name="connsiteY85" fmla="*/ 1381125 h 1655757"/>
                    <a:gd name="connsiteX86" fmla="*/ 930275 w 1146175"/>
                    <a:gd name="connsiteY86" fmla="*/ 1390650 h 1655757"/>
                    <a:gd name="connsiteX87" fmla="*/ 923925 w 1146175"/>
                    <a:gd name="connsiteY87" fmla="*/ 1400175 h 1655757"/>
                    <a:gd name="connsiteX88" fmla="*/ 908050 w 1146175"/>
                    <a:gd name="connsiteY88" fmla="*/ 1409700 h 1655757"/>
                    <a:gd name="connsiteX89" fmla="*/ 895350 w 1146175"/>
                    <a:gd name="connsiteY89" fmla="*/ 1422400 h 1655757"/>
                    <a:gd name="connsiteX90" fmla="*/ 882650 w 1146175"/>
                    <a:gd name="connsiteY90" fmla="*/ 1431925 h 1655757"/>
                    <a:gd name="connsiteX91" fmla="*/ 873125 w 1146175"/>
                    <a:gd name="connsiteY91" fmla="*/ 1441450 h 1655757"/>
                    <a:gd name="connsiteX92" fmla="*/ 844550 w 1146175"/>
                    <a:gd name="connsiteY92" fmla="*/ 1457325 h 1655757"/>
                    <a:gd name="connsiteX93" fmla="*/ 835025 w 1146175"/>
                    <a:gd name="connsiteY93" fmla="*/ 1460500 h 1655757"/>
                    <a:gd name="connsiteX94" fmla="*/ 815975 w 1146175"/>
                    <a:gd name="connsiteY94" fmla="*/ 1454150 h 1655757"/>
                    <a:gd name="connsiteX95" fmla="*/ 774700 w 1146175"/>
                    <a:gd name="connsiteY95" fmla="*/ 1438275 h 1655757"/>
                    <a:gd name="connsiteX96" fmla="*/ 749300 w 1146175"/>
                    <a:gd name="connsiteY96" fmla="*/ 1431925 h 1655757"/>
                    <a:gd name="connsiteX97" fmla="*/ 717550 w 1146175"/>
                    <a:gd name="connsiteY97" fmla="*/ 1419225 h 1655757"/>
                    <a:gd name="connsiteX98" fmla="*/ 688975 w 1146175"/>
                    <a:gd name="connsiteY98" fmla="*/ 1412875 h 1655757"/>
                    <a:gd name="connsiteX99" fmla="*/ 657225 w 1146175"/>
                    <a:gd name="connsiteY99" fmla="*/ 1403350 h 1655757"/>
                    <a:gd name="connsiteX100" fmla="*/ 635000 w 1146175"/>
                    <a:gd name="connsiteY100" fmla="*/ 1406525 h 1655757"/>
                    <a:gd name="connsiteX101" fmla="*/ 622300 w 1146175"/>
                    <a:gd name="connsiteY101" fmla="*/ 1412875 h 1655757"/>
                    <a:gd name="connsiteX102" fmla="*/ 606425 w 1146175"/>
                    <a:gd name="connsiteY102" fmla="*/ 1422400 h 1655757"/>
                    <a:gd name="connsiteX103" fmla="*/ 577850 w 1146175"/>
                    <a:gd name="connsiteY103" fmla="*/ 1438275 h 1655757"/>
                    <a:gd name="connsiteX104" fmla="*/ 558800 w 1146175"/>
                    <a:gd name="connsiteY104" fmla="*/ 1441450 h 1655757"/>
                    <a:gd name="connsiteX105" fmla="*/ 501650 w 1146175"/>
                    <a:gd name="connsiteY105" fmla="*/ 1447800 h 1655757"/>
                    <a:gd name="connsiteX106" fmla="*/ 492125 w 1146175"/>
                    <a:gd name="connsiteY106" fmla="*/ 1454150 h 1655757"/>
                    <a:gd name="connsiteX107" fmla="*/ 466725 w 1146175"/>
                    <a:gd name="connsiteY107" fmla="*/ 1485900 h 1655757"/>
                    <a:gd name="connsiteX108" fmla="*/ 457200 w 1146175"/>
                    <a:gd name="connsiteY108" fmla="*/ 1504950 h 1655757"/>
                    <a:gd name="connsiteX109" fmla="*/ 454025 w 1146175"/>
                    <a:gd name="connsiteY109" fmla="*/ 1514475 h 1655757"/>
                    <a:gd name="connsiteX110" fmla="*/ 447675 w 1146175"/>
                    <a:gd name="connsiteY110" fmla="*/ 1530350 h 1655757"/>
                    <a:gd name="connsiteX111" fmla="*/ 434975 w 1146175"/>
                    <a:gd name="connsiteY111" fmla="*/ 1555750 h 1655757"/>
                    <a:gd name="connsiteX112" fmla="*/ 431800 w 1146175"/>
                    <a:gd name="connsiteY112" fmla="*/ 1571625 h 1655757"/>
                    <a:gd name="connsiteX113" fmla="*/ 425450 w 1146175"/>
                    <a:gd name="connsiteY113" fmla="*/ 1597025 h 1655757"/>
                    <a:gd name="connsiteX114" fmla="*/ 422275 w 1146175"/>
                    <a:gd name="connsiteY114" fmla="*/ 1606550 h 1655757"/>
                    <a:gd name="connsiteX115" fmla="*/ 412750 w 1146175"/>
                    <a:gd name="connsiteY115" fmla="*/ 1616075 h 1655757"/>
                    <a:gd name="connsiteX116" fmla="*/ 222250 w 1146175"/>
                    <a:gd name="connsiteY116" fmla="*/ 1622425 h 1655757"/>
                    <a:gd name="connsiteX117" fmla="*/ 215900 w 1146175"/>
                    <a:gd name="connsiteY117" fmla="*/ 1606550 h 1655757"/>
                    <a:gd name="connsiteX118" fmla="*/ 206375 w 1146175"/>
                    <a:gd name="connsiteY118" fmla="*/ 1593850 h 1655757"/>
                    <a:gd name="connsiteX119" fmla="*/ 203200 w 1146175"/>
                    <a:gd name="connsiteY119" fmla="*/ 1581150 h 1655757"/>
                    <a:gd name="connsiteX120" fmla="*/ 196850 w 1146175"/>
                    <a:gd name="connsiteY120" fmla="*/ 1568450 h 1655757"/>
                    <a:gd name="connsiteX121" fmla="*/ 193675 w 1146175"/>
                    <a:gd name="connsiteY121" fmla="*/ 1558925 h 1655757"/>
                    <a:gd name="connsiteX122" fmla="*/ 187325 w 1146175"/>
                    <a:gd name="connsiteY122" fmla="*/ 1546225 h 1655757"/>
                    <a:gd name="connsiteX123" fmla="*/ 180975 w 1146175"/>
                    <a:gd name="connsiteY123" fmla="*/ 1530350 h 1655757"/>
                    <a:gd name="connsiteX124" fmla="*/ 161925 w 1146175"/>
                    <a:gd name="connsiteY124" fmla="*/ 1501775 h 1655757"/>
                    <a:gd name="connsiteX125" fmla="*/ 149225 w 1146175"/>
                    <a:gd name="connsiteY125" fmla="*/ 1479550 h 1655757"/>
                    <a:gd name="connsiteX126" fmla="*/ 142875 w 1146175"/>
                    <a:gd name="connsiteY126" fmla="*/ 1463675 h 1655757"/>
                    <a:gd name="connsiteX127" fmla="*/ 130175 w 1146175"/>
                    <a:gd name="connsiteY127" fmla="*/ 1460500 h 1655757"/>
                    <a:gd name="connsiteX128" fmla="*/ 101600 w 1146175"/>
                    <a:gd name="connsiteY128" fmla="*/ 1447800 h 1655757"/>
                    <a:gd name="connsiteX129" fmla="*/ 69850 w 1146175"/>
                    <a:gd name="connsiteY129" fmla="*/ 1438275 h 1655757"/>
                    <a:gd name="connsiteX130" fmla="*/ 41275 w 1146175"/>
                    <a:gd name="connsiteY130" fmla="*/ 1425575 h 1655757"/>
                    <a:gd name="connsiteX131" fmla="*/ 31750 w 1146175"/>
                    <a:gd name="connsiteY131" fmla="*/ 1419225 h 1655757"/>
                    <a:gd name="connsiteX132" fmla="*/ 15875 w 1146175"/>
                    <a:gd name="connsiteY132" fmla="*/ 1412875 h 1655757"/>
                    <a:gd name="connsiteX133" fmla="*/ 0 w 1146175"/>
                    <a:gd name="connsiteY133" fmla="*/ 1397000 h 1655757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79425 w 1146175"/>
                    <a:gd name="connsiteY10" fmla="*/ 120072 h 1658354"/>
                    <a:gd name="connsiteX11" fmla="*/ 485775 w 1146175"/>
                    <a:gd name="connsiteY11" fmla="*/ 129597 h 1658354"/>
                    <a:gd name="connsiteX12" fmla="*/ 492125 w 1146175"/>
                    <a:gd name="connsiteY12" fmla="*/ 142297 h 1658354"/>
                    <a:gd name="connsiteX13" fmla="*/ 508000 w 1146175"/>
                    <a:gd name="connsiteY13" fmla="*/ 167697 h 1658354"/>
                    <a:gd name="connsiteX14" fmla="*/ 527050 w 1146175"/>
                    <a:gd name="connsiteY14" fmla="*/ 170872 h 1658354"/>
                    <a:gd name="connsiteX15" fmla="*/ 558800 w 1146175"/>
                    <a:gd name="connsiteY15" fmla="*/ 186747 h 1658354"/>
                    <a:gd name="connsiteX16" fmla="*/ 574675 w 1146175"/>
                    <a:gd name="connsiteY16" fmla="*/ 189922 h 1658354"/>
                    <a:gd name="connsiteX17" fmla="*/ 635000 w 1146175"/>
                    <a:gd name="connsiteY17" fmla="*/ 218497 h 1658354"/>
                    <a:gd name="connsiteX18" fmla="*/ 717550 w 1146175"/>
                    <a:gd name="connsiteY18" fmla="*/ 215322 h 1658354"/>
                    <a:gd name="connsiteX19" fmla="*/ 733425 w 1146175"/>
                    <a:gd name="connsiteY19" fmla="*/ 208972 h 1658354"/>
                    <a:gd name="connsiteX20" fmla="*/ 771525 w 1146175"/>
                    <a:gd name="connsiteY20" fmla="*/ 202622 h 1658354"/>
                    <a:gd name="connsiteX21" fmla="*/ 796925 w 1146175"/>
                    <a:gd name="connsiteY21" fmla="*/ 193097 h 1658354"/>
                    <a:gd name="connsiteX22" fmla="*/ 838200 w 1146175"/>
                    <a:gd name="connsiteY22" fmla="*/ 183572 h 1658354"/>
                    <a:gd name="connsiteX23" fmla="*/ 879475 w 1146175"/>
                    <a:gd name="connsiteY23" fmla="*/ 202622 h 1658354"/>
                    <a:gd name="connsiteX24" fmla="*/ 885825 w 1146175"/>
                    <a:gd name="connsiteY24" fmla="*/ 212147 h 1658354"/>
                    <a:gd name="connsiteX25" fmla="*/ 901700 w 1146175"/>
                    <a:gd name="connsiteY25" fmla="*/ 228022 h 1658354"/>
                    <a:gd name="connsiteX26" fmla="*/ 917575 w 1146175"/>
                    <a:gd name="connsiteY26" fmla="*/ 240722 h 1658354"/>
                    <a:gd name="connsiteX27" fmla="*/ 936625 w 1146175"/>
                    <a:gd name="connsiteY27" fmla="*/ 253422 h 1658354"/>
                    <a:gd name="connsiteX28" fmla="*/ 955675 w 1146175"/>
                    <a:gd name="connsiteY28" fmla="*/ 275647 h 1658354"/>
                    <a:gd name="connsiteX29" fmla="*/ 974725 w 1146175"/>
                    <a:gd name="connsiteY29" fmla="*/ 301047 h 1658354"/>
                    <a:gd name="connsiteX30" fmla="*/ 968375 w 1146175"/>
                    <a:gd name="connsiteY30" fmla="*/ 335972 h 1658354"/>
                    <a:gd name="connsiteX31" fmla="*/ 965200 w 1146175"/>
                    <a:gd name="connsiteY31" fmla="*/ 345497 h 1658354"/>
                    <a:gd name="connsiteX32" fmla="*/ 949325 w 1146175"/>
                    <a:gd name="connsiteY32" fmla="*/ 364547 h 1658354"/>
                    <a:gd name="connsiteX33" fmla="*/ 939800 w 1146175"/>
                    <a:gd name="connsiteY33" fmla="*/ 386772 h 1658354"/>
                    <a:gd name="connsiteX34" fmla="*/ 936625 w 1146175"/>
                    <a:gd name="connsiteY34" fmla="*/ 399472 h 1658354"/>
                    <a:gd name="connsiteX35" fmla="*/ 930275 w 1146175"/>
                    <a:gd name="connsiteY35" fmla="*/ 415347 h 1658354"/>
                    <a:gd name="connsiteX36" fmla="*/ 927100 w 1146175"/>
                    <a:gd name="connsiteY36" fmla="*/ 428047 h 1658354"/>
                    <a:gd name="connsiteX37" fmla="*/ 920750 w 1146175"/>
                    <a:gd name="connsiteY37" fmla="*/ 443922 h 1658354"/>
                    <a:gd name="connsiteX38" fmla="*/ 917575 w 1146175"/>
                    <a:gd name="connsiteY38" fmla="*/ 456622 h 1658354"/>
                    <a:gd name="connsiteX39" fmla="*/ 914400 w 1146175"/>
                    <a:gd name="connsiteY39" fmla="*/ 466147 h 1658354"/>
                    <a:gd name="connsiteX40" fmla="*/ 917575 w 1146175"/>
                    <a:gd name="connsiteY40" fmla="*/ 504247 h 1658354"/>
                    <a:gd name="connsiteX41" fmla="*/ 923925 w 1146175"/>
                    <a:gd name="connsiteY41" fmla="*/ 516947 h 1658354"/>
                    <a:gd name="connsiteX42" fmla="*/ 939800 w 1146175"/>
                    <a:gd name="connsiteY42" fmla="*/ 535997 h 1658354"/>
                    <a:gd name="connsiteX43" fmla="*/ 942975 w 1146175"/>
                    <a:gd name="connsiteY43" fmla="*/ 545522 h 1658354"/>
                    <a:gd name="connsiteX44" fmla="*/ 955675 w 1146175"/>
                    <a:gd name="connsiteY44" fmla="*/ 570922 h 1658354"/>
                    <a:gd name="connsiteX45" fmla="*/ 968375 w 1146175"/>
                    <a:gd name="connsiteY45" fmla="*/ 612197 h 1658354"/>
                    <a:gd name="connsiteX46" fmla="*/ 974725 w 1146175"/>
                    <a:gd name="connsiteY46" fmla="*/ 624897 h 1658354"/>
                    <a:gd name="connsiteX47" fmla="*/ 981075 w 1146175"/>
                    <a:gd name="connsiteY47" fmla="*/ 643947 h 1658354"/>
                    <a:gd name="connsiteX48" fmla="*/ 993775 w 1146175"/>
                    <a:gd name="connsiteY48" fmla="*/ 647122 h 1658354"/>
                    <a:gd name="connsiteX49" fmla="*/ 1012825 w 1146175"/>
                    <a:gd name="connsiteY49" fmla="*/ 650297 h 1658354"/>
                    <a:gd name="connsiteX50" fmla="*/ 1041400 w 1146175"/>
                    <a:gd name="connsiteY50" fmla="*/ 662997 h 1658354"/>
                    <a:gd name="connsiteX51" fmla="*/ 1050925 w 1146175"/>
                    <a:gd name="connsiteY51" fmla="*/ 666172 h 1658354"/>
                    <a:gd name="connsiteX52" fmla="*/ 1066800 w 1146175"/>
                    <a:gd name="connsiteY52" fmla="*/ 675697 h 1658354"/>
                    <a:gd name="connsiteX53" fmla="*/ 1089025 w 1146175"/>
                    <a:gd name="connsiteY53" fmla="*/ 685222 h 1658354"/>
                    <a:gd name="connsiteX54" fmla="*/ 1117600 w 1146175"/>
                    <a:gd name="connsiteY54" fmla="*/ 704272 h 1658354"/>
                    <a:gd name="connsiteX55" fmla="*/ 1136650 w 1146175"/>
                    <a:gd name="connsiteY55" fmla="*/ 710622 h 1658354"/>
                    <a:gd name="connsiteX56" fmla="*/ 1146175 w 1146175"/>
                    <a:gd name="connsiteY56" fmla="*/ 901122 h 1658354"/>
                    <a:gd name="connsiteX57" fmla="*/ 1127125 w 1146175"/>
                    <a:gd name="connsiteY57" fmla="*/ 910647 h 1658354"/>
                    <a:gd name="connsiteX58" fmla="*/ 1101725 w 1146175"/>
                    <a:gd name="connsiteY58" fmla="*/ 916997 h 1658354"/>
                    <a:gd name="connsiteX59" fmla="*/ 1092200 w 1146175"/>
                    <a:gd name="connsiteY59" fmla="*/ 923347 h 1658354"/>
                    <a:gd name="connsiteX60" fmla="*/ 1079500 w 1146175"/>
                    <a:gd name="connsiteY60" fmla="*/ 926522 h 1658354"/>
                    <a:gd name="connsiteX61" fmla="*/ 1069975 w 1146175"/>
                    <a:gd name="connsiteY61" fmla="*/ 936047 h 1658354"/>
                    <a:gd name="connsiteX62" fmla="*/ 1060450 w 1146175"/>
                    <a:gd name="connsiteY62" fmla="*/ 942397 h 1658354"/>
                    <a:gd name="connsiteX63" fmla="*/ 1038225 w 1146175"/>
                    <a:gd name="connsiteY63" fmla="*/ 955097 h 1658354"/>
                    <a:gd name="connsiteX64" fmla="*/ 996950 w 1146175"/>
                    <a:gd name="connsiteY64" fmla="*/ 980497 h 1658354"/>
                    <a:gd name="connsiteX65" fmla="*/ 977900 w 1146175"/>
                    <a:gd name="connsiteY65" fmla="*/ 986847 h 1658354"/>
                    <a:gd name="connsiteX66" fmla="*/ 968375 w 1146175"/>
                    <a:gd name="connsiteY66" fmla="*/ 1012247 h 1658354"/>
                    <a:gd name="connsiteX67" fmla="*/ 958850 w 1146175"/>
                    <a:gd name="connsiteY67" fmla="*/ 1037647 h 1658354"/>
                    <a:gd name="connsiteX68" fmla="*/ 955675 w 1146175"/>
                    <a:gd name="connsiteY68" fmla="*/ 1063047 h 1658354"/>
                    <a:gd name="connsiteX69" fmla="*/ 949325 w 1146175"/>
                    <a:gd name="connsiteY69" fmla="*/ 1072572 h 1658354"/>
                    <a:gd name="connsiteX70" fmla="*/ 946150 w 1146175"/>
                    <a:gd name="connsiteY70" fmla="*/ 1082097 h 1658354"/>
                    <a:gd name="connsiteX71" fmla="*/ 936625 w 1146175"/>
                    <a:gd name="connsiteY71" fmla="*/ 1097972 h 1658354"/>
                    <a:gd name="connsiteX72" fmla="*/ 923925 w 1146175"/>
                    <a:gd name="connsiteY72" fmla="*/ 1132897 h 1658354"/>
                    <a:gd name="connsiteX73" fmla="*/ 917575 w 1146175"/>
                    <a:gd name="connsiteY73" fmla="*/ 1142422 h 1658354"/>
                    <a:gd name="connsiteX74" fmla="*/ 923925 w 1146175"/>
                    <a:gd name="connsiteY74" fmla="*/ 1196397 h 1658354"/>
                    <a:gd name="connsiteX75" fmla="*/ 939800 w 1146175"/>
                    <a:gd name="connsiteY75" fmla="*/ 1218622 h 1658354"/>
                    <a:gd name="connsiteX76" fmla="*/ 946150 w 1146175"/>
                    <a:gd name="connsiteY76" fmla="*/ 1231322 h 1658354"/>
                    <a:gd name="connsiteX77" fmla="*/ 952500 w 1146175"/>
                    <a:gd name="connsiteY77" fmla="*/ 1240847 h 1658354"/>
                    <a:gd name="connsiteX78" fmla="*/ 965200 w 1146175"/>
                    <a:gd name="connsiteY78" fmla="*/ 1266247 h 1658354"/>
                    <a:gd name="connsiteX79" fmla="*/ 974725 w 1146175"/>
                    <a:gd name="connsiteY79" fmla="*/ 1288472 h 1658354"/>
                    <a:gd name="connsiteX80" fmla="*/ 977900 w 1146175"/>
                    <a:gd name="connsiteY80" fmla="*/ 1301172 h 1658354"/>
                    <a:gd name="connsiteX81" fmla="*/ 981075 w 1146175"/>
                    <a:gd name="connsiteY81" fmla="*/ 1310697 h 1658354"/>
                    <a:gd name="connsiteX82" fmla="*/ 974725 w 1146175"/>
                    <a:gd name="connsiteY82" fmla="*/ 1345622 h 1658354"/>
                    <a:gd name="connsiteX83" fmla="*/ 949325 w 1146175"/>
                    <a:gd name="connsiteY83" fmla="*/ 1377372 h 1658354"/>
                    <a:gd name="connsiteX84" fmla="*/ 939800 w 1146175"/>
                    <a:gd name="connsiteY84" fmla="*/ 1383722 h 1658354"/>
                    <a:gd name="connsiteX85" fmla="*/ 930275 w 1146175"/>
                    <a:gd name="connsiteY85" fmla="*/ 1393247 h 1658354"/>
                    <a:gd name="connsiteX86" fmla="*/ 923925 w 1146175"/>
                    <a:gd name="connsiteY86" fmla="*/ 1402772 h 1658354"/>
                    <a:gd name="connsiteX87" fmla="*/ 908050 w 1146175"/>
                    <a:gd name="connsiteY87" fmla="*/ 1412297 h 1658354"/>
                    <a:gd name="connsiteX88" fmla="*/ 895350 w 1146175"/>
                    <a:gd name="connsiteY88" fmla="*/ 1424997 h 1658354"/>
                    <a:gd name="connsiteX89" fmla="*/ 882650 w 1146175"/>
                    <a:gd name="connsiteY89" fmla="*/ 1434522 h 1658354"/>
                    <a:gd name="connsiteX90" fmla="*/ 873125 w 1146175"/>
                    <a:gd name="connsiteY90" fmla="*/ 1444047 h 1658354"/>
                    <a:gd name="connsiteX91" fmla="*/ 844550 w 1146175"/>
                    <a:gd name="connsiteY91" fmla="*/ 1459922 h 1658354"/>
                    <a:gd name="connsiteX92" fmla="*/ 835025 w 1146175"/>
                    <a:gd name="connsiteY92" fmla="*/ 1463097 h 1658354"/>
                    <a:gd name="connsiteX93" fmla="*/ 815975 w 1146175"/>
                    <a:gd name="connsiteY93" fmla="*/ 1456747 h 1658354"/>
                    <a:gd name="connsiteX94" fmla="*/ 774700 w 1146175"/>
                    <a:gd name="connsiteY94" fmla="*/ 1440872 h 1658354"/>
                    <a:gd name="connsiteX95" fmla="*/ 749300 w 1146175"/>
                    <a:gd name="connsiteY95" fmla="*/ 1434522 h 1658354"/>
                    <a:gd name="connsiteX96" fmla="*/ 717550 w 1146175"/>
                    <a:gd name="connsiteY96" fmla="*/ 1421822 h 1658354"/>
                    <a:gd name="connsiteX97" fmla="*/ 688975 w 1146175"/>
                    <a:gd name="connsiteY97" fmla="*/ 1415472 h 1658354"/>
                    <a:gd name="connsiteX98" fmla="*/ 657225 w 1146175"/>
                    <a:gd name="connsiteY98" fmla="*/ 1405947 h 1658354"/>
                    <a:gd name="connsiteX99" fmla="*/ 635000 w 1146175"/>
                    <a:gd name="connsiteY99" fmla="*/ 1409122 h 1658354"/>
                    <a:gd name="connsiteX100" fmla="*/ 622300 w 1146175"/>
                    <a:gd name="connsiteY100" fmla="*/ 1415472 h 1658354"/>
                    <a:gd name="connsiteX101" fmla="*/ 606425 w 1146175"/>
                    <a:gd name="connsiteY101" fmla="*/ 1424997 h 1658354"/>
                    <a:gd name="connsiteX102" fmla="*/ 577850 w 1146175"/>
                    <a:gd name="connsiteY102" fmla="*/ 1440872 h 1658354"/>
                    <a:gd name="connsiteX103" fmla="*/ 558800 w 1146175"/>
                    <a:gd name="connsiteY103" fmla="*/ 1444047 h 1658354"/>
                    <a:gd name="connsiteX104" fmla="*/ 501650 w 1146175"/>
                    <a:gd name="connsiteY104" fmla="*/ 1450397 h 1658354"/>
                    <a:gd name="connsiteX105" fmla="*/ 492125 w 1146175"/>
                    <a:gd name="connsiteY105" fmla="*/ 1456747 h 1658354"/>
                    <a:gd name="connsiteX106" fmla="*/ 466725 w 1146175"/>
                    <a:gd name="connsiteY106" fmla="*/ 1488497 h 1658354"/>
                    <a:gd name="connsiteX107" fmla="*/ 457200 w 1146175"/>
                    <a:gd name="connsiteY107" fmla="*/ 1507547 h 1658354"/>
                    <a:gd name="connsiteX108" fmla="*/ 454025 w 1146175"/>
                    <a:gd name="connsiteY108" fmla="*/ 1517072 h 1658354"/>
                    <a:gd name="connsiteX109" fmla="*/ 447675 w 1146175"/>
                    <a:gd name="connsiteY109" fmla="*/ 1532947 h 1658354"/>
                    <a:gd name="connsiteX110" fmla="*/ 434975 w 1146175"/>
                    <a:gd name="connsiteY110" fmla="*/ 1558347 h 1658354"/>
                    <a:gd name="connsiteX111" fmla="*/ 431800 w 1146175"/>
                    <a:gd name="connsiteY111" fmla="*/ 1574222 h 1658354"/>
                    <a:gd name="connsiteX112" fmla="*/ 425450 w 1146175"/>
                    <a:gd name="connsiteY112" fmla="*/ 1599622 h 1658354"/>
                    <a:gd name="connsiteX113" fmla="*/ 422275 w 1146175"/>
                    <a:gd name="connsiteY113" fmla="*/ 1609147 h 1658354"/>
                    <a:gd name="connsiteX114" fmla="*/ 412750 w 1146175"/>
                    <a:gd name="connsiteY114" fmla="*/ 1618672 h 1658354"/>
                    <a:gd name="connsiteX115" fmla="*/ 222250 w 1146175"/>
                    <a:gd name="connsiteY115" fmla="*/ 1625022 h 1658354"/>
                    <a:gd name="connsiteX116" fmla="*/ 215900 w 1146175"/>
                    <a:gd name="connsiteY116" fmla="*/ 1609147 h 1658354"/>
                    <a:gd name="connsiteX117" fmla="*/ 206375 w 1146175"/>
                    <a:gd name="connsiteY117" fmla="*/ 1596447 h 1658354"/>
                    <a:gd name="connsiteX118" fmla="*/ 203200 w 1146175"/>
                    <a:gd name="connsiteY118" fmla="*/ 1583747 h 1658354"/>
                    <a:gd name="connsiteX119" fmla="*/ 196850 w 1146175"/>
                    <a:gd name="connsiteY119" fmla="*/ 1571047 h 1658354"/>
                    <a:gd name="connsiteX120" fmla="*/ 193675 w 1146175"/>
                    <a:gd name="connsiteY120" fmla="*/ 1561522 h 1658354"/>
                    <a:gd name="connsiteX121" fmla="*/ 187325 w 1146175"/>
                    <a:gd name="connsiteY121" fmla="*/ 1548822 h 1658354"/>
                    <a:gd name="connsiteX122" fmla="*/ 180975 w 1146175"/>
                    <a:gd name="connsiteY122" fmla="*/ 1532947 h 1658354"/>
                    <a:gd name="connsiteX123" fmla="*/ 161925 w 1146175"/>
                    <a:gd name="connsiteY123" fmla="*/ 1504372 h 1658354"/>
                    <a:gd name="connsiteX124" fmla="*/ 149225 w 1146175"/>
                    <a:gd name="connsiteY124" fmla="*/ 1482147 h 1658354"/>
                    <a:gd name="connsiteX125" fmla="*/ 142875 w 1146175"/>
                    <a:gd name="connsiteY125" fmla="*/ 1466272 h 1658354"/>
                    <a:gd name="connsiteX126" fmla="*/ 130175 w 1146175"/>
                    <a:gd name="connsiteY126" fmla="*/ 1463097 h 1658354"/>
                    <a:gd name="connsiteX127" fmla="*/ 101600 w 1146175"/>
                    <a:gd name="connsiteY127" fmla="*/ 1450397 h 1658354"/>
                    <a:gd name="connsiteX128" fmla="*/ 69850 w 1146175"/>
                    <a:gd name="connsiteY128" fmla="*/ 1440872 h 1658354"/>
                    <a:gd name="connsiteX129" fmla="*/ 41275 w 1146175"/>
                    <a:gd name="connsiteY129" fmla="*/ 1428172 h 1658354"/>
                    <a:gd name="connsiteX130" fmla="*/ 31750 w 1146175"/>
                    <a:gd name="connsiteY130" fmla="*/ 1421822 h 1658354"/>
                    <a:gd name="connsiteX131" fmla="*/ 15875 w 1146175"/>
                    <a:gd name="connsiteY131" fmla="*/ 1415472 h 1658354"/>
                    <a:gd name="connsiteX132" fmla="*/ 0 w 1146175"/>
                    <a:gd name="connsiteY132" fmla="*/ 1399597 h 1658354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79425 w 1146175"/>
                    <a:gd name="connsiteY10" fmla="*/ 120072 h 1658354"/>
                    <a:gd name="connsiteX11" fmla="*/ 492125 w 1146175"/>
                    <a:gd name="connsiteY11" fmla="*/ 142297 h 1658354"/>
                    <a:gd name="connsiteX12" fmla="*/ 508000 w 1146175"/>
                    <a:gd name="connsiteY12" fmla="*/ 167697 h 1658354"/>
                    <a:gd name="connsiteX13" fmla="*/ 527050 w 1146175"/>
                    <a:gd name="connsiteY13" fmla="*/ 170872 h 1658354"/>
                    <a:gd name="connsiteX14" fmla="*/ 558800 w 1146175"/>
                    <a:gd name="connsiteY14" fmla="*/ 186747 h 1658354"/>
                    <a:gd name="connsiteX15" fmla="*/ 574675 w 1146175"/>
                    <a:gd name="connsiteY15" fmla="*/ 189922 h 1658354"/>
                    <a:gd name="connsiteX16" fmla="*/ 635000 w 1146175"/>
                    <a:gd name="connsiteY16" fmla="*/ 218497 h 1658354"/>
                    <a:gd name="connsiteX17" fmla="*/ 717550 w 1146175"/>
                    <a:gd name="connsiteY17" fmla="*/ 215322 h 1658354"/>
                    <a:gd name="connsiteX18" fmla="*/ 733425 w 1146175"/>
                    <a:gd name="connsiteY18" fmla="*/ 208972 h 1658354"/>
                    <a:gd name="connsiteX19" fmla="*/ 771525 w 1146175"/>
                    <a:gd name="connsiteY19" fmla="*/ 202622 h 1658354"/>
                    <a:gd name="connsiteX20" fmla="*/ 796925 w 1146175"/>
                    <a:gd name="connsiteY20" fmla="*/ 193097 h 1658354"/>
                    <a:gd name="connsiteX21" fmla="*/ 838200 w 1146175"/>
                    <a:gd name="connsiteY21" fmla="*/ 183572 h 1658354"/>
                    <a:gd name="connsiteX22" fmla="*/ 879475 w 1146175"/>
                    <a:gd name="connsiteY22" fmla="*/ 202622 h 1658354"/>
                    <a:gd name="connsiteX23" fmla="*/ 885825 w 1146175"/>
                    <a:gd name="connsiteY23" fmla="*/ 212147 h 1658354"/>
                    <a:gd name="connsiteX24" fmla="*/ 901700 w 1146175"/>
                    <a:gd name="connsiteY24" fmla="*/ 228022 h 1658354"/>
                    <a:gd name="connsiteX25" fmla="*/ 917575 w 1146175"/>
                    <a:gd name="connsiteY25" fmla="*/ 240722 h 1658354"/>
                    <a:gd name="connsiteX26" fmla="*/ 936625 w 1146175"/>
                    <a:gd name="connsiteY26" fmla="*/ 253422 h 1658354"/>
                    <a:gd name="connsiteX27" fmla="*/ 955675 w 1146175"/>
                    <a:gd name="connsiteY27" fmla="*/ 275647 h 1658354"/>
                    <a:gd name="connsiteX28" fmla="*/ 974725 w 1146175"/>
                    <a:gd name="connsiteY28" fmla="*/ 301047 h 1658354"/>
                    <a:gd name="connsiteX29" fmla="*/ 968375 w 1146175"/>
                    <a:gd name="connsiteY29" fmla="*/ 335972 h 1658354"/>
                    <a:gd name="connsiteX30" fmla="*/ 965200 w 1146175"/>
                    <a:gd name="connsiteY30" fmla="*/ 345497 h 1658354"/>
                    <a:gd name="connsiteX31" fmla="*/ 949325 w 1146175"/>
                    <a:gd name="connsiteY31" fmla="*/ 364547 h 1658354"/>
                    <a:gd name="connsiteX32" fmla="*/ 939800 w 1146175"/>
                    <a:gd name="connsiteY32" fmla="*/ 386772 h 1658354"/>
                    <a:gd name="connsiteX33" fmla="*/ 936625 w 1146175"/>
                    <a:gd name="connsiteY33" fmla="*/ 399472 h 1658354"/>
                    <a:gd name="connsiteX34" fmla="*/ 930275 w 1146175"/>
                    <a:gd name="connsiteY34" fmla="*/ 415347 h 1658354"/>
                    <a:gd name="connsiteX35" fmla="*/ 927100 w 1146175"/>
                    <a:gd name="connsiteY35" fmla="*/ 428047 h 1658354"/>
                    <a:gd name="connsiteX36" fmla="*/ 920750 w 1146175"/>
                    <a:gd name="connsiteY36" fmla="*/ 443922 h 1658354"/>
                    <a:gd name="connsiteX37" fmla="*/ 917575 w 1146175"/>
                    <a:gd name="connsiteY37" fmla="*/ 456622 h 1658354"/>
                    <a:gd name="connsiteX38" fmla="*/ 914400 w 1146175"/>
                    <a:gd name="connsiteY38" fmla="*/ 466147 h 1658354"/>
                    <a:gd name="connsiteX39" fmla="*/ 917575 w 1146175"/>
                    <a:gd name="connsiteY39" fmla="*/ 504247 h 1658354"/>
                    <a:gd name="connsiteX40" fmla="*/ 923925 w 1146175"/>
                    <a:gd name="connsiteY40" fmla="*/ 516947 h 1658354"/>
                    <a:gd name="connsiteX41" fmla="*/ 939800 w 1146175"/>
                    <a:gd name="connsiteY41" fmla="*/ 535997 h 1658354"/>
                    <a:gd name="connsiteX42" fmla="*/ 942975 w 1146175"/>
                    <a:gd name="connsiteY42" fmla="*/ 545522 h 1658354"/>
                    <a:gd name="connsiteX43" fmla="*/ 955675 w 1146175"/>
                    <a:gd name="connsiteY43" fmla="*/ 570922 h 1658354"/>
                    <a:gd name="connsiteX44" fmla="*/ 968375 w 1146175"/>
                    <a:gd name="connsiteY44" fmla="*/ 612197 h 1658354"/>
                    <a:gd name="connsiteX45" fmla="*/ 974725 w 1146175"/>
                    <a:gd name="connsiteY45" fmla="*/ 624897 h 1658354"/>
                    <a:gd name="connsiteX46" fmla="*/ 981075 w 1146175"/>
                    <a:gd name="connsiteY46" fmla="*/ 643947 h 1658354"/>
                    <a:gd name="connsiteX47" fmla="*/ 993775 w 1146175"/>
                    <a:gd name="connsiteY47" fmla="*/ 647122 h 1658354"/>
                    <a:gd name="connsiteX48" fmla="*/ 1012825 w 1146175"/>
                    <a:gd name="connsiteY48" fmla="*/ 650297 h 1658354"/>
                    <a:gd name="connsiteX49" fmla="*/ 1041400 w 1146175"/>
                    <a:gd name="connsiteY49" fmla="*/ 662997 h 1658354"/>
                    <a:gd name="connsiteX50" fmla="*/ 1050925 w 1146175"/>
                    <a:gd name="connsiteY50" fmla="*/ 666172 h 1658354"/>
                    <a:gd name="connsiteX51" fmla="*/ 1066800 w 1146175"/>
                    <a:gd name="connsiteY51" fmla="*/ 675697 h 1658354"/>
                    <a:gd name="connsiteX52" fmla="*/ 1089025 w 1146175"/>
                    <a:gd name="connsiteY52" fmla="*/ 685222 h 1658354"/>
                    <a:gd name="connsiteX53" fmla="*/ 1117600 w 1146175"/>
                    <a:gd name="connsiteY53" fmla="*/ 704272 h 1658354"/>
                    <a:gd name="connsiteX54" fmla="*/ 1136650 w 1146175"/>
                    <a:gd name="connsiteY54" fmla="*/ 710622 h 1658354"/>
                    <a:gd name="connsiteX55" fmla="*/ 1146175 w 1146175"/>
                    <a:gd name="connsiteY55" fmla="*/ 901122 h 1658354"/>
                    <a:gd name="connsiteX56" fmla="*/ 1127125 w 1146175"/>
                    <a:gd name="connsiteY56" fmla="*/ 910647 h 1658354"/>
                    <a:gd name="connsiteX57" fmla="*/ 1101725 w 1146175"/>
                    <a:gd name="connsiteY57" fmla="*/ 916997 h 1658354"/>
                    <a:gd name="connsiteX58" fmla="*/ 1092200 w 1146175"/>
                    <a:gd name="connsiteY58" fmla="*/ 923347 h 1658354"/>
                    <a:gd name="connsiteX59" fmla="*/ 1079500 w 1146175"/>
                    <a:gd name="connsiteY59" fmla="*/ 926522 h 1658354"/>
                    <a:gd name="connsiteX60" fmla="*/ 1069975 w 1146175"/>
                    <a:gd name="connsiteY60" fmla="*/ 936047 h 1658354"/>
                    <a:gd name="connsiteX61" fmla="*/ 1060450 w 1146175"/>
                    <a:gd name="connsiteY61" fmla="*/ 942397 h 1658354"/>
                    <a:gd name="connsiteX62" fmla="*/ 1038225 w 1146175"/>
                    <a:gd name="connsiteY62" fmla="*/ 955097 h 1658354"/>
                    <a:gd name="connsiteX63" fmla="*/ 996950 w 1146175"/>
                    <a:gd name="connsiteY63" fmla="*/ 980497 h 1658354"/>
                    <a:gd name="connsiteX64" fmla="*/ 977900 w 1146175"/>
                    <a:gd name="connsiteY64" fmla="*/ 986847 h 1658354"/>
                    <a:gd name="connsiteX65" fmla="*/ 968375 w 1146175"/>
                    <a:gd name="connsiteY65" fmla="*/ 1012247 h 1658354"/>
                    <a:gd name="connsiteX66" fmla="*/ 958850 w 1146175"/>
                    <a:gd name="connsiteY66" fmla="*/ 1037647 h 1658354"/>
                    <a:gd name="connsiteX67" fmla="*/ 955675 w 1146175"/>
                    <a:gd name="connsiteY67" fmla="*/ 1063047 h 1658354"/>
                    <a:gd name="connsiteX68" fmla="*/ 949325 w 1146175"/>
                    <a:gd name="connsiteY68" fmla="*/ 1072572 h 1658354"/>
                    <a:gd name="connsiteX69" fmla="*/ 946150 w 1146175"/>
                    <a:gd name="connsiteY69" fmla="*/ 1082097 h 1658354"/>
                    <a:gd name="connsiteX70" fmla="*/ 936625 w 1146175"/>
                    <a:gd name="connsiteY70" fmla="*/ 1097972 h 1658354"/>
                    <a:gd name="connsiteX71" fmla="*/ 923925 w 1146175"/>
                    <a:gd name="connsiteY71" fmla="*/ 1132897 h 1658354"/>
                    <a:gd name="connsiteX72" fmla="*/ 917575 w 1146175"/>
                    <a:gd name="connsiteY72" fmla="*/ 1142422 h 1658354"/>
                    <a:gd name="connsiteX73" fmla="*/ 923925 w 1146175"/>
                    <a:gd name="connsiteY73" fmla="*/ 1196397 h 1658354"/>
                    <a:gd name="connsiteX74" fmla="*/ 939800 w 1146175"/>
                    <a:gd name="connsiteY74" fmla="*/ 1218622 h 1658354"/>
                    <a:gd name="connsiteX75" fmla="*/ 946150 w 1146175"/>
                    <a:gd name="connsiteY75" fmla="*/ 1231322 h 1658354"/>
                    <a:gd name="connsiteX76" fmla="*/ 952500 w 1146175"/>
                    <a:gd name="connsiteY76" fmla="*/ 1240847 h 1658354"/>
                    <a:gd name="connsiteX77" fmla="*/ 965200 w 1146175"/>
                    <a:gd name="connsiteY77" fmla="*/ 1266247 h 1658354"/>
                    <a:gd name="connsiteX78" fmla="*/ 974725 w 1146175"/>
                    <a:gd name="connsiteY78" fmla="*/ 1288472 h 1658354"/>
                    <a:gd name="connsiteX79" fmla="*/ 977900 w 1146175"/>
                    <a:gd name="connsiteY79" fmla="*/ 1301172 h 1658354"/>
                    <a:gd name="connsiteX80" fmla="*/ 981075 w 1146175"/>
                    <a:gd name="connsiteY80" fmla="*/ 1310697 h 1658354"/>
                    <a:gd name="connsiteX81" fmla="*/ 974725 w 1146175"/>
                    <a:gd name="connsiteY81" fmla="*/ 1345622 h 1658354"/>
                    <a:gd name="connsiteX82" fmla="*/ 949325 w 1146175"/>
                    <a:gd name="connsiteY82" fmla="*/ 1377372 h 1658354"/>
                    <a:gd name="connsiteX83" fmla="*/ 939800 w 1146175"/>
                    <a:gd name="connsiteY83" fmla="*/ 1383722 h 1658354"/>
                    <a:gd name="connsiteX84" fmla="*/ 930275 w 1146175"/>
                    <a:gd name="connsiteY84" fmla="*/ 1393247 h 1658354"/>
                    <a:gd name="connsiteX85" fmla="*/ 923925 w 1146175"/>
                    <a:gd name="connsiteY85" fmla="*/ 1402772 h 1658354"/>
                    <a:gd name="connsiteX86" fmla="*/ 908050 w 1146175"/>
                    <a:gd name="connsiteY86" fmla="*/ 1412297 h 1658354"/>
                    <a:gd name="connsiteX87" fmla="*/ 895350 w 1146175"/>
                    <a:gd name="connsiteY87" fmla="*/ 1424997 h 1658354"/>
                    <a:gd name="connsiteX88" fmla="*/ 882650 w 1146175"/>
                    <a:gd name="connsiteY88" fmla="*/ 1434522 h 1658354"/>
                    <a:gd name="connsiteX89" fmla="*/ 873125 w 1146175"/>
                    <a:gd name="connsiteY89" fmla="*/ 1444047 h 1658354"/>
                    <a:gd name="connsiteX90" fmla="*/ 844550 w 1146175"/>
                    <a:gd name="connsiteY90" fmla="*/ 1459922 h 1658354"/>
                    <a:gd name="connsiteX91" fmla="*/ 835025 w 1146175"/>
                    <a:gd name="connsiteY91" fmla="*/ 1463097 h 1658354"/>
                    <a:gd name="connsiteX92" fmla="*/ 815975 w 1146175"/>
                    <a:gd name="connsiteY92" fmla="*/ 1456747 h 1658354"/>
                    <a:gd name="connsiteX93" fmla="*/ 774700 w 1146175"/>
                    <a:gd name="connsiteY93" fmla="*/ 1440872 h 1658354"/>
                    <a:gd name="connsiteX94" fmla="*/ 749300 w 1146175"/>
                    <a:gd name="connsiteY94" fmla="*/ 1434522 h 1658354"/>
                    <a:gd name="connsiteX95" fmla="*/ 717550 w 1146175"/>
                    <a:gd name="connsiteY95" fmla="*/ 1421822 h 1658354"/>
                    <a:gd name="connsiteX96" fmla="*/ 688975 w 1146175"/>
                    <a:gd name="connsiteY96" fmla="*/ 1415472 h 1658354"/>
                    <a:gd name="connsiteX97" fmla="*/ 657225 w 1146175"/>
                    <a:gd name="connsiteY97" fmla="*/ 1405947 h 1658354"/>
                    <a:gd name="connsiteX98" fmla="*/ 635000 w 1146175"/>
                    <a:gd name="connsiteY98" fmla="*/ 1409122 h 1658354"/>
                    <a:gd name="connsiteX99" fmla="*/ 622300 w 1146175"/>
                    <a:gd name="connsiteY99" fmla="*/ 1415472 h 1658354"/>
                    <a:gd name="connsiteX100" fmla="*/ 606425 w 1146175"/>
                    <a:gd name="connsiteY100" fmla="*/ 1424997 h 1658354"/>
                    <a:gd name="connsiteX101" fmla="*/ 577850 w 1146175"/>
                    <a:gd name="connsiteY101" fmla="*/ 1440872 h 1658354"/>
                    <a:gd name="connsiteX102" fmla="*/ 558800 w 1146175"/>
                    <a:gd name="connsiteY102" fmla="*/ 1444047 h 1658354"/>
                    <a:gd name="connsiteX103" fmla="*/ 501650 w 1146175"/>
                    <a:gd name="connsiteY103" fmla="*/ 1450397 h 1658354"/>
                    <a:gd name="connsiteX104" fmla="*/ 492125 w 1146175"/>
                    <a:gd name="connsiteY104" fmla="*/ 1456747 h 1658354"/>
                    <a:gd name="connsiteX105" fmla="*/ 466725 w 1146175"/>
                    <a:gd name="connsiteY105" fmla="*/ 1488497 h 1658354"/>
                    <a:gd name="connsiteX106" fmla="*/ 457200 w 1146175"/>
                    <a:gd name="connsiteY106" fmla="*/ 1507547 h 1658354"/>
                    <a:gd name="connsiteX107" fmla="*/ 454025 w 1146175"/>
                    <a:gd name="connsiteY107" fmla="*/ 1517072 h 1658354"/>
                    <a:gd name="connsiteX108" fmla="*/ 447675 w 1146175"/>
                    <a:gd name="connsiteY108" fmla="*/ 1532947 h 1658354"/>
                    <a:gd name="connsiteX109" fmla="*/ 434975 w 1146175"/>
                    <a:gd name="connsiteY109" fmla="*/ 1558347 h 1658354"/>
                    <a:gd name="connsiteX110" fmla="*/ 431800 w 1146175"/>
                    <a:gd name="connsiteY110" fmla="*/ 1574222 h 1658354"/>
                    <a:gd name="connsiteX111" fmla="*/ 425450 w 1146175"/>
                    <a:gd name="connsiteY111" fmla="*/ 1599622 h 1658354"/>
                    <a:gd name="connsiteX112" fmla="*/ 422275 w 1146175"/>
                    <a:gd name="connsiteY112" fmla="*/ 1609147 h 1658354"/>
                    <a:gd name="connsiteX113" fmla="*/ 412750 w 1146175"/>
                    <a:gd name="connsiteY113" fmla="*/ 1618672 h 1658354"/>
                    <a:gd name="connsiteX114" fmla="*/ 222250 w 1146175"/>
                    <a:gd name="connsiteY114" fmla="*/ 1625022 h 1658354"/>
                    <a:gd name="connsiteX115" fmla="*/ 215900 w 1146175"/>
                    <a:gd name="connsiteY115" fmla="*/ 1609147 h 1658354"/>
                    <a:gd name="connsiteX116" fmla="*/ 206375 w 1146175"/>
                    <a:gd name="connsiteY116" fmla="*/ 1596447 h 1658354"/>
                    <a:gd name="connsiteX117" fmla="*/ 203200 w 1146175"/>
                    <a:gd name="connsiteY117" fmla="*/ 1583747 h 1658354"/>
                    <a:gd name="connsiteX118" fmla="*/ 196850 w 1146175"/>
                    <a:gd name="connsiteY118" fmla="*/ 1571047 h 1658354"/>
                    <a:gd name="connsiteX119" fmla="*/ 193675 w 1146175"/>
                    <a:gd name="connsiteY119" fmla="*/ 1561522 h 1658354"/>
                    <a:gd name="connsiteX120" fmla="*/ 187325 w 1146175"/>
                    <a:gd name="connsiteY120" fmla="*/ 1548822 h 1658354"/>
                    <a:gd name="connsiteX121" fmla="*/ 180975 w 1146175"/>
                    <a:gd name="connsiteY121" fmla="*/ 1532947 h 1658354"/>
                    <a:gd name="connsiteX122" fmla="*/ 161925 w 1146175"/>
                    <a:gd name="connsiteY122" fmla="*/ 1504372 h 1658354"/>
                    <a:gd name="connsiteX123" fmla="*/ 149225 w 1146175"/>
                    <a:gd name="connsiteY123" fmla="*/ 1482147 h 1658354"/>
                    <a:gd name="connsiteX124" fmla="*/ 142875 w 1146175"/>
                    <a:gd name="connsiteY124" fmla="*/ 1466272 h 1658354"/>
                    <a:gd name="connsiteX125" fmla="*/ 130175 w 1146175"/>
                    <a:gd name="connsiteY125" fmla="*/ 1463097 h 1658354"/>
                    <a:gd name="connsiteX126" fmla="*/ 101600 w 1146175"/>
                    <a:gd name="connsiteY126" fmla="*/ 1450397 h 1658354"/>
                    <a:gd name="connsiteX127" fmla="*/ 69850 w 1146175"/>
                    <a:gd name="connsiteY127" fmla="*/ 1440872 h 1658354"/>
                    <a:gd name="connsiteX128" fmla="*/ 41275 w 1146175"/>
                    <a:gd name="connsiteY128" fmla="*/ 1428172 h 1658354"/>
                    <a:gd name="connsiteX129" fmla="*/ 31750 w 1146175"/>
                    <a:gd name="connsiteY129" fmla="*/ 1421822 h 1658354"/>
                    <a:gd name="connsiteX130" fmla="*/ 15875 w 1146175"/>
                    <a:gd name="connsiteY130" fmla="*/ 1415472 h 1658354"/>
                    <a:gd name="connsiteX131" fmla="*/ 0 w 1146175"/>
                    <a:gd name="connsiteY131" fmla="*/ 1399597 h 1658354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92125 w 1146175"/>
                    <a:gd name="connsiteY10" fmla="*/ 142297 h 1658354"/>
                    <a:gd name="connsiteX11" fmla="*/ 508000 w 1146175"/>
                    <a:gd name="connsiteY11" fmla="*/ 167697 h 1658354"/>
                    <a:gd name="connsiteX12" fmla="*/ 527050 w 1146175"/>
                    <a:gd name="connsiteY12" fmla="*/ 170872 h 1658354"/>
                    <a:gd name="connsiteX13" fmla="*/ 558800 w 1146175"/>
                    <a:gd name="connsiteY13" fmla="*/ 186747 h 1658354"/>
                    <a:gd name="connsiteX14" fmla="*/ 574675 w 1146175"/>
                    <a:gd name="connsiteY14" fmla="*/ 189922 h 1658354"/>
                    <a:gd name="connsiteX15" fmla="*/ 635000 w 1146175"/>
                    <a:gd name="connsiteY15" fmla="*/ 218497 h 1658354"/>
                    <a:gd name="connsiteX16" fmla="*/ 717550 w 1146175"/>
                    <a:gd name="connsiteY16" fmla="*/ 215322 h 1658354"/>
                    <a:gd name="connsiteX17" fmla="*/ 733425 w 1146175"/>
                    <a:gd name="connsiteY17" fmla="*/ 208972 h 1658354"/>
                    <a:gd name="connsiteX18" fmla="*/ 771525 w 1146175"/>
                    <a:gd name="connsiteY18" fmla="*/ 202622 h 1658354"/>
                    <a:gd name="connsiteX19" fmla="*/ 796925 w 1146175"/>
                    <a:gd name="connsiteY19" fmla="*/ 193097 h 1658354"/>
                    <a:gd name="connsiteX20" fmla="*/ 838200 w 1146175"/>
                    <a:gd name="connsiteY20" fmla="*/ 183572 h 1658354"/>
                    <a:gd name="connsiteX21" fmla="*/ 879475 w 1146175"/>
                    <a:gd name="connsiteY21" fmla="*/ 202622 h 1658354"/>
                    <a:gd name="connsiteX22" fmla="*/ 885825 w 1146175"/>
                    <a:gd name="connsiteY22" fmla="*/ 212147 h 1658354"/>
                    <a:gd name="connsiteX23" fmla="*/ 901700 w 1146175"/>
                    <a:gd name="connsiteY23" fmla="*/ 228022 h 1658354"/>
                    <a:gd name="connsiteX24" fmla="*/ 917575 w 1146175"/>
                    <a:gd name="connsiteY24" fmla="*/ 240722 h 1658354"/>
                    <a:gd name="connsiteX25" fmla="*/ 936625 w 1146175"/>
                    <a:gd name="connsiteY25" fmla="*/ 253422 h 1658354"/>
                    <a:gd name="connsiteX26" fmla="*/ 955675 w 1146175"/>
                    <a:gd name="connsiteY26" fmla="*/ 275647 h 1658354"/>
                    <a:gd name="connsiteX27" fmla="*/ 974725 w 1146175"/>
                    <a:gd name="connsiteY27" fmla="*/ 301047 h 1658354"/>
                    <a:gd name="connsiteX28" fmla="*/ 968375 w 1146175"/>
                    <a:gd name="connsiteY28" fmla="*/ 335972 h 1658354"/>
                    <a:gd name="connsiteX29" fmla="*/ 965200 w 1146175"/>
                    <a:gd name="connsiteY29" fmla="*/ 345497 h 1658354"/>
                    <a:gd name="connsiteX30" fmla="*/ 949325 w 1146175"/>
                    <a:gd name="connsiteY30" fmla="*/ 364547 h 1658354"/>
                    <a:gd name="connsiteX31" fmla="*/ 939800 w 1146175"/>
                    <a:gd name="connsiteY31" fmla="*/ 386772 h 1658354"/>
                    <a:gd name="connsiteX32" fmla="*/ 936625 w 1146175"/>
                    <a:gd name="connsiteY32" fmla="*/ 399472 h 1658354"/>
                    <a:gd name="connsiteX33" fmla="*/ 930275 w 1146175"/>
                    <a:gd name="connsiteY33" fmla="*/ 415347 h 1658354"/>
                    <a:gd name="connsiteX34" fmla="*/ 927100 w 1146175"/>
                    <a:gd name="connsiteY34" fmla="*/ 428047 h 1658354"/>
                    <a:gd name="connsiteX35" fmla="*/ 920750 w 1146175"/>
                    <a:gd name="connsiteY35" fmla="*/ 443922 h 1658354"/>
                    <a:gd name="connsiteX36" fmla="*/ 917575 w 1146175"/>
                    <a:gd name="connsiteY36" fmla="*/ 456622 h 1658354"/>
                    <a:gd name="connsiteX37" fmla="*/ 914400 w 1146175"/>
                    <a:gd name="connsiteY37" fmla="*/ 466147 h 1658354"/>
                    <a:gd name="connsiteX38" fmla="*/ 917575 w 1146175"/>
                    <a:gd name="connsiteY38" fmla="*/ 504247 h 1658354"/>
                    <a:gd name="connsiteX39" fmla="*/ 923925 w 1146175"/>
                    <a:gd name="connsiteY39" fmla="*/ 516947 h 1658354"/>
                    <a:gd name="connsiteX40" fmla="*/ 939800 w 1146175"/>
                    <a:gd name="connsiteY40" fmla="*/ 535997 h 1658354"/>
                    <a:gd name="connsiteX41" fmla="*/ 942975 w 1146175"/>
                    <a:gd name="connsiteY41" fmla="*/ 545522 h 1658354"/>
                    <a:gd name="connsiteX42" fmla="*/ 955675 w 1146175"/>
                    <a:gd name="connsiteY42" fmla="*/ 570922 h 1658354"/>
                    <a:gd name="connsiteX43" fmla="*/ 968375 w 1146175"/>
                    <a:gd name="connsiteY43" fmla="*/ 612197 h 1658354"/>
                    <a:gd name="connsiteX44" fmla="*/ 974725 w 1146175"/>
                    <a:gd name="connsiteY44" fmla="*/ 624897 h 1658354"/>
                    <a:gd name="connsiteX45" fmla="*/ 981075 w 1146175"/>
                    <a:gd name="connsiteY45" fmla="*/ 643947 h 1658354"/>
                    <a:gd name="connsiteX46" fmla="*/ 993775 w 1146175"/>
                    <a:gd name="connsiteY46" fmla="*/ 647122 h 1658354"/>
                    <a:gd name="connsiteX47" fmla="*/ 1012825 w 1146175"/>
                    <a:gd name="connsiteY47" fmla="*/ 650297 h 1658354"/>
                    <a:gd name="connsiteX48" fmla="*/ 1041400 w 1146175"/>
                    <a:gd name="connsiteY48" fmla="*/ 662997 h 1658354"/>
                    <a:gd name="connsiteX49" fmla="*/ 1050925 w 1146175"/>
                    <a:gd name="connsiteY49" fmla="*/ 666172 h 1658354"/>
                    <a:gd name="connsiteX50" fmla="*/ 1066800 w 1146175"/>
                    <a:gd name="connsiteY50" fmla="*/ 675697 h 1658354"/>
                    <a:gd name="connsiteX51" fmla="*/ 1089025 w 1146175"/>
                    <a:gd name="connsiteY51" fmla="*/ 685222 h 1658354"/>
                    <a:gd name="connsiteX52" fmla="*/ 1117600 w 1146175"/>
                    <a:gd name="connsiteY52" fmla="*/ 704272 h 1658354"/>
                    <a:gd name="connsiteX53" fmla="*/ 1136650 w 1146175"/>
                    <a:gd name="connsiteY53" fmla="*/ 710622 h 1658354"/>
                    <a:gd name="connsiteX54" fmla="*/ 1146175 w 1146175"/>
                    <a:gd name="connsiteY54" fmla="*/ 901122 h 1658354"/>
                    <a:gd name="connsiteX55" fmla="*/ 1127125 w 1146175"/>
                    <a:gd name="connsiteY55" fmla="*/ 910647 h 1658354"/>
                    <a:gd name="connsiteX56" fmla="*/ 1101725 w 1146175"/>
                    <a:gd name="connsiteY56" fmla="*/ 916997 h 1658354"/>
                    <a:gd name="connsiteX57" fmla="*/ 1092200 w 1146175"/>
                    <a:gd name="connsiteY57" fmla="*/ 923347 h 1658354"/>
                    <a:gd name="connsiteX58" fmla="*/ 1079500 w 1146175"/>
                    <a:gd name="connsiteY58" fmla="*/ 926522 h 1658354"/>
                    <a:gd name="connsiteX59" fmla="*/ 1069975 w 1146175"/>
                    <a:gd name="connsiteY59" fmla="*/ 936047 h 1658354"/>
                    <a:gd name="connsiteX60" fmla="*/ 1060450 w 1146175"/>
                    <a:gd name="connsiteY60" fmla="*/ 942397 h 1658354"/>
                    <a:gd name="connsiteX61" fmla="*/ 1038225 w 1146175"/>
                    <a:gd name="connsiteY61" fmla="*/ 955097 h 1658354"/>
                    <a:gd name="connsiteX62" fmla="*/ 996950 w 1146175"/>
                    <a:gd name="connsiteY62" fmla="*/ 980497 h 1658354"/>
                    <a:gd name="connsiteX63" fmla="*/ 977900 w 1146175"/>
                    <a:gd name="connsiteY63" fmla="*/ 986847 h 1658354"/>
                    <a:gd name="connsiteX64" fmla="*/ 968375 w 1146175"/>
                    <a:gd name="connsiteY64" fmla="*/ 1012247 h 1658354"/>
                    <a:gd name="connsiteX65" fmla="*/ 958850 w 1146175"/>
                    <a:gd name="connsiteY65" fmla="*/ 1037647 h 1658354"/>
                    <a:gd name="connsiteX66" fmla="*/ 955675 w 1146175"/>
                    <a:gd name="connsiteY66" fmla="*/ 1063047 h 1658354"/>
                    <a:gd name="connsiteX67" fmla="*/ 949325 w 1146175"/>
                    <a:gd name="connsiteY67" fmla="*/ 1072572 h 1658354"/>
                    <a:gd name="connsiteX68" fmla="*/ 946150 w 1146175"/>
                    <a:gd name="connsiteY68" fmla="*/ 1082097 h 1658354"/>
                    <a:gd name="connsiteX69" fmla="*/ 936625 w 1146175"/>
                    <a:gd name="connsiteY69" fmla="*/ 1097972 h 1658354"/>
                    <a:gd name="connsiteX70" fmla="*/ 923925 w 1146175"/>
                    <a:gd name="connsiteY70" fmla="*/ 1132897 h 1658354"/>
                    <a:gd name="connsiteX71" fmla="*/ 917575 w 1146175"/>
                    <a:gd name="connsiteY71" fmla="*/ 1142422 h 1658354"/>
                    <a:gd name="connsiteX72" fmla="*/ 923925 w 1146175"/>
                    <a:gd name="connsiteY72" fmla="*/ 1196397 h 1658354"/>
                    <a:gd name="connsiteX73" fmla="*/ 939800 w 1146175"/>
                    <a:gd name="connsiteY73" fmla="*/ 1218622 h 1658354"/>
                    <a:gd name="connsiteX74" fmla="*/ 946150 w 1146175"/>
                    <a:gd name="connsiteY74" fmla="*/ 1231322 h 1658354"/>
                    <a:gd name="connsiteX75" fmla="*/ 952500 w 1146175"/>
                    <a:gd name="connsiteY75" fmla="*/ 1240847 h 1658354"/>
                    <a:gd name="connsiteX76" fmla="*/ 965200 w 1146175"/>
                    <a:gd name="connsiteY76" fmla="*/ 1266247 h 1658354"/>
                    <a:gd name="connsiteX77" fmla="*/ 974725 w 1146175"/>
                    <a:gd name="connsiteY77" fmla="*/ 1288472 h 1658354"/>
                    <a:gd name="connsiteX78" fmla="*/ 977900 w 1146175"/>
                    <a:gd name="connsiteY78" fmla="*/ 1301172 h 1658354"/>
                    <a:gd name="connsiteX79" fmla="*/ 981075 w 1146175"/>
                    <a:gd name="connsiteY79" fmla="*/ 1310697 h 1658354"/>
                    <a:gd name="connsiteX80" fmla="*/ 974725 w 1146175"/>
                    <a:gd name="connsiteY80" fmla="*/ 1345622 h 1658354"/>
                    <a:gd name="connsiteX81" fmla="*/ 949325 w 1146175"/>
                    <a:gd name="connsiteY81" fmla="*/ 1377372 h 1658354"/>
                    <a:gd name="connsiteX82" fmla="*/ 939800 w 1146175"/>
                    <a:gd name="connsiteY82" fmla="*/ 1383722 h 1658354"/>
                    <a:gd name="connsiteX83" fmla="*/ 930275 w 1146175"/>
                    <a:gd name="connsiteY83" fmla="*/ 1393247 h 1658354"/>
                    <a:gd name="connsiteX84" fmla="*/ 923925 w 1146175"/>
                    <a:gd name="connsiteY84" fmla="*/ 1402772 h 1658354"/>
                    <a:gd name="connsiteX85" fmla="*/ 908050 w 1146175"/>
                    <a:gd name="connsiteY85" fmla="*/ 1412297 h 1658354"/>
                    <a:gd name="connsiteX86" fmla="*/ 895350 w 1146175"/>
                    <a:gd name="connsiteY86" fmla="*/ 1424997 h 1658354"/>
                    <a:gd name="connsiteX87" fmla="*/ 882650 w 1146175"/>
                    <a:gd name="connsiteY87" fmla="*/ 1434522 h 1658354"/>
                    <a:gd name="connsiteX88" fmla="*/ 873125 w 1146175"/>
                    <a:gd name="connsiteY88" fmla="*/ 1444047 h 1658354"/>
                    <a:gd name="connsiteX89" fmla="*/ 844550 w 1146175"/>
                    <a:gd name="connsiteY89" fmla="*/ 1459922 h 1658354"/>
                    <a:gd name="connsiteX90" fmla="*/ 835025 w 1146175"/>
                    <a:gd name="connsiteY90" fmla="*/ 1463097 h 1658354"/>
                    <a:gd name="connsiteX91" fmla="*/ 815975 w 1146175"/>
                    <a:gd name="connsiteY91" fmla="*/ 1456747 h 1658354"/>
                    <a:gd name="connsiteX92" fmla="*/ 774700 w 1146175"/>
                    <a:gd name="connsiteY92" fmla="*/ 1440872 h 1658354"/>
                    <a:gd name="connsiteX93" fmla="*/ 749300 w 1146175"/>
                    <a:gd name="connsiteY93" fmla="*/ 1434522 h 1658354"/>
                    <a:gd name="connsiteX94" fmla="*/ 717550 w 1146175"/>
                    <a:gd name="connsiteY94" fmla="*/ 1421822 h 1658354"/>
                    <a:gd name="connsiteX95" fmla="*/ 688975 w 1146175"/>
                    <a:gd name="connsiteY95" fmla="*/ 1415472 h 1658354"/>
                    <a:gd name="connsiteX96" fmla="*/ 657225 w 1146175"/>
                    <a:gd name="connsiteY96" fmla="*/ 1405947 h 1658354"/>
                    <a:gd name="connsiteX97" fmla="*/ 635000 w 1146175"/>
                    <a:gd name="connsiteY97" fmla="*/ 1409122 h 1658354"/>
                    <a:gd name="connsiteX98" fmla="*/ 622300 w 1146175"/>
                    <a:gd name="connsiteY98" fmla="*/ 1415472 h 1658354"/>
                    <a:gd name="connsiteX99" fmla="*/ 606425 w 1146175"/>
                    <a:gd name="connsiteY99" fmla="*/ 1424997 h 1658354"/>
                    <a:gd name="connsiteX100" fmla="*/ 577850 w 1146175"/>
                    <a:gd name="connsiteY100" fmla="*/ 1440872 h 1658354"/>
                    <a:gd name="connsiteX101" fmla="*/ 558800 w 1146175"/>
                    <a:gd name="connsiteY101" fmla="*/ 1444047 h 1658354"/>
                    <a:gd name="connsiteX102" fmla="*/ 501650 w 1146175"/>
                    <a:gd name="connsiteY102" fmla="*/ 1450397 h 1658354"/>
                    <a:gd name="connsiteX103" fmla="*/ 492125 w 1146175"/>
                    <a:gd name="connsiteY103" fmla="*/ 1456747 h 1658354"/>
                    <a:gd name="connsiteX104" fmla="*/ 466725 w 1146175"/>
                    <a:gd name="connsiteY104" fmla="*/ 1488497 h 1658354"/>
                    <a:gd name="connsiteX105" fmla="*/ 457200 w 1146175"/>
                    <a:gd name="connsiteY105" fmla="*/ 1507547 h 1658354"/>
                    <a:gd name="connsiteX106" fmla="*/ 454025 w 1146175"/>
                    <a:gd name="connsiteY106" fmla="*/ 1517072 h 1658354"/>
                    <a:gd name="connsiteX107" fmla="*/ 447675 w 1146175"/>
                    <a:gd name="connsiteY107" fmla="*/ 1532947 h 1658354"/>
                    <a:gd name="connsiteX108" fmla="*/ 434975 w 1146175"/>
                    <a:gd name="connsiteY108" fmla="*/ 1558347 h 1658354"/>
                    <a:gd name="connsiteX109" fmla="*/ 431800 w 1146175"/>
                    <a:gd name="connsiteY109" fmla="*/ 1574222 h 1658354"/>
                    <a:gd name="connsiteX110" fmla="*/ 425450 w 1146175"/>
                    <a:gd name="connsiteY110" fmla="*/ 1599622 h 1658354"/>
                    <a:gd name="connsiteX111" fmla="*/ 422275 w 1146175"/>
                    <a:gd name="connsiteY111" fmla="*/ 1609147 h 1658354"/>
                    <a:gd name="connsiteX112" fmla="*/ 412750 w 1146175"/>
                    <a:gd name="connsiteY112" fmla="*/ 1618672 h 1658354"/>
                    <a:gd name="connsiteX113" fmla="*/ 222250 w 1146175"/>
                    <a:gd name="connsiteY113" fmla="*/ 1625022 h 1658354"/>
                    <a:gd name="connsiteX114" fmla="*/ 215900 w 1146175"/>
                    <a:gd name="connsiteY114" fmla="*/ 1609147 h 1658354"/>
                    <a:gd name="connsiteX115" fmla="*/ 206375 w 1146175"/>
                    <a:gd name="connsiteY115" fmla="*/ 1596447 h 1658354"/>
                    <a:gd name="connsiteX116" fmla="*/ 203200 w 1146175"/>
                    <a:gd name="connsiteY116" fmla="*/ 1583747 h 1658354"/>
                    <a:gd name="connsiteX117" fmla="*/ 196850 w 1146175"/>
                    <a:gd name="connsiteY117" fmla="*/ 1571047 h 1658354"/>
                    <a:gd name="connsiteX118" fmla="*/ 193675 w 1146175"/>
                    <a:gd name="connsiteY118" fmla="*/ 1561522 h 1658354"/>
                    <a:gd name="connsiteX119" fmla="*/ 187325 w 1146175"/>
                    <a:gd name="connsiteY119" fmla="*/ 1548822 h 1658354"/>
                    <a:gd name="connsiteX120" fmla="*/ 180975 w 1146175"/>
                    <a:gd name="connsiteY120" fmla="*/ 1532947 h 1658354"/>
                    <a:gd name="connsiteX121" fmla="*/ 161925 w 1146175"/>
                    <a:gd name="connsiteY121" fmla="*/ 1504372 h 1658354"/>
                    <a:gd name="connsiteX122" fmla="*/ 149225 w 1146175"/>
                    <a:gd name="connsiteY122" fmla="*/ 1482147 h 1658354"/>
                    <a:gd name="connsiteX123" fmla="*/ 142875 w 1146175"/>
                    <a:gd name="connsiteY123" fmla="*/ 1466272 h 1658354"/>
                    <a:gd name="connsiteX124" fmla="*/ 130175 w 1146175"/>
                    <a:gd name="connsiteY124" fmla="*/ 1463097 h 1658354"/>
                    <a:gd name="connsiteX125" fmla="*/ 101600 w 1146175"/>
                    <a:gd name="connsiteY125" fmla="*/ 1450397 h 1658354"/>
                    <a:gd name="connsiteX126" fmla="*/ 69850 w 1146175"/>
                    <a:gd name="connsiteY126" fmla="*/ 1440872 h 1658354"/>
                    <a:gd name="connsiteX127" fmla="*/ 41275 w 1146175"/>
                    <a:gd name="connsiteY127" fmla="*/ 1428172 h 1658354"/>
                    <a:gd name="connsiteX128" fmla="*/ 31750 w 1146175"/>
                    <a:gd name="connsiteY128" fmla="*/ 1421822 h 1658354"/>
                    <a:gd name="connsiteX129" fmla="*/ 15875 w 1146175"/>
                    <a:gd name="connsiteY129" fmla="*/ 1415472 h 1658354"/>
                    <a:gd name="connsiteX130" fmla="*/ 0 w 1146175"/>
                    <a:gd name="connsiteY130" fmla="*/ 1399597 h 1658354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27050 w 1146175"/>
                    <a:gd name="connsiteY11" fmla="*/ 173616 h 1661098"/>
                    <a:gd name="connsiteX12" fmla="*/ 558800 w 1146175"/>
                    <a:gd name="connsiteY12" fmla="*/ 189491 h 1661098"/>
                    <a:gd name="connsiteX13" fmla="*/ 574675 w 1146175"/>
                    <a:gd name="connsiteY13" fmla="*/ 192666 h 1661098"/>
                    <a:gd name="connsiteX14" fmla="*/ 635000 w 1146175"/>
                    <a:gd name="connsiteY14" fmla="*/ 221241 h 1661098"/>
                    <a:gd name="connsiteX15" fmla="*/ 717550 w 1146175"/>
                    <a:gd name="connsiteY15" fmla="*/ 218066 h 1661098"/>
                    <a:gd name="connsiteX16" fmla="*/ 733425 w 1146175"/>
                    <a:gd name="connsiteY16" fmla="*/ 211716 h 1661098"/>
                    <a:gd name="connsiteX17" fmla="*/ 771525 w 1146175"/>
                    <a:gd name="connsiteY17" fmla="*/ 205366 h 1661098"/>
                    <a:gd name="connsiteX18" fmla="*/ 796925 w 1146175"/>
                    <a:gd name="connsiteY18" fmla="*/ 195841 h 1661098"/>
                    <a:gd name="connsiteX19" fmla="*/ 838200 w 1146175"/>
                    <a:gd name="connsiteY19" fmla="*/ 186316 h 1661098"/>
                    <a:gd name="connsiteX20" fmla="*/ 879475 w 1146175"/>
                    <a:gd name="connsiteY20" fmla="*/ 205366 h 1661098"/>
                    <a:gd name="connsiteX21" fmla="*/ 885825 w 1146175"/>
                    <a:gd name="connsiteY21" fmla="*/ 214891 h 1661098"/>
                    <a:gd name="connsiteX22" fmla="*/ 901700 w 1146175"/>
                    <a:gd name="connsiteY22" fmla="*/ 230766 h 1661098"/>
                    <a:gd name="connsiteX23" fmla="*/ 917575 w 1146175"/>
                    <a:gd name="connsiteY23" fmla="*/ 243466 h 1661098"/>
                    <a:gd name="connsiteX24" fmla="*/ 936625 w 1146175"/>
                    <a:gd name="connsiteY24" fmla="*/ 256166 h 1661098"/>
                    <a:gd name="connsiteX25" fmla="*/ 955675 w 1146175"/>
                    <a:gd name="connsiteY25" fmla="*/ 278391 h 1661098"/>
                    <a:gd name="connsiteX26" fmla="*/ 974725 w 1146175"/>
                    <a:gd name="connsiteY26" fmla="*/ 303791 h 1661098"/>
                    <a:gd name="connsiteX27" fmla="*/ 968375 w 1146175"/>
                    <a:gd name="connsiteY27" fmla="*/ 338716 h 1661098"/>
                    <a:gd name="connsiteX28" fmla="*/ 965200 w 1146175"/>
                    <a:gd name="connsiteY28" fmla="*/ 348241 h 1661098"/>
                    <a:gd name="connsiteX29" fmla="*/ 949325 w 1146175"/>
                    <a:gd name="connsiteY29" fmla="*/ 367291 h 1661098"/>
                    <a:gd name="connsiteX30" fmla="*/ 939800 w 1146175"/>
                    <a:gd name="connsiteY30" fmla="*/ 389516 h 1661098"/>
                    <a:gd name="connsiteX31" fmla="*/ 936625 w 1146175"/>
                    <a:gd name="connsiteY31" fmla="*/ 402216 h 1661098"/>
                    <a:gd name="connsiteX32" fmla="*/ 930275 w 1146175"/>
                    <a:gd name="connsiteY32" fmla="*/ 418091 h 1661098"/>
                    <a:gd name="connsiteX33" fmla="*/ 927100 w 1146175"/>
                    <a:gd name="connsiteY33" fmla="*/ 430791 h 1661098"/>
                    <a:gd name="connsiteX34" fmla="*/ 920750 w 1146175"/>
                    <a:gd name="connsiteY34" fmla="*/ 446666 h 1661098"/>
                    <a:gd name="connsiteX35" fmla="*/ 917575 w 1146175"/>
                    <a:gd name="connsiteY35" fmla="*/ 459366 h 1661098"/>
                    <a:gd name="connsiteX36" fmla="*/ 914400 w 1146175"/>
                    <a:gd name="connsiteY36" fmla="*/ 468891 h 1661098"/>
                    <a:gd name="connsiteX37" fmla="*/ 917575 w 1146175"/>
                    <a:gd name="connsiteY37" fmla="*/ 506991 h 1661098"/>
                    <a:gd name="connsiteX38" fmla="*/ 923925 w 1146175"/>
                    <a:gd name="connsiteY38" fmla="*/ 519691 h 1661098"/>
                    <a:gd name="connsiteX39" fmla="*/ 939800 w 1146175"/>
                    <a:gd name="connsiteY39" fmla="*/ 538741 h 1661098"/>
                    <a:gd name="connsiteX40" fmla="*/ 942975 w 1146175"/>
                    <a:gd name="connsiteY40" fmla="*/ 548266 h 1661098"/>
                    <a:gd name="connsiteX41" fmla="*/ 955675 w 1146175"/>
                    <a:gd name="connsiteY41" fmla="*/ 573666 h 1661098"/>
                    <a:gd name="connsiteX42" fmla="*/ 968375 w 1146175"/>
                    <a:gd name="connsiteY42" fmla="*/ 614941 h 1661098"/>
                    <a:gd name="connsiteX43" fmla="*/ 974725 w 1146175"/>
                    <a:gd name="connsiteY43" fmla="*/ 627641 h 1661098"/>
                    <a:gd name="connsiteX44" fmla="*/ 981075 w 1146175"/>
                    <a:gd name="connsiteY44" fmla="*/ 646691 h 1661098"/>
                    <a:gd name="connsiteX45" fmla="*/ 993775 w 1146175"/>
                    <a:gd name="connsiteY45" fmla="*/ 649866 h 1661098"/>
                    <a:gd name="connsiteX46" fmla="*/ 1012825 w 1146175"/>
                    <a:gd name="connsiteY46" fmla="*/ 653041 h 1661098"/>
                    <a:gd name="connsiteX47" fmla="*/ 1041400 w 1146175"/>
                    <a:gd name="connsiteY47" fmla="*/ 665741 h 1661098"/>
                    <a:gd name="connsiteX48" fmla="*/ 1050925 w 1146175"/>
                    <a:gd name="connsiteY48" fmla="*/ 668916 h 1661098"/>
                    <a:gd name="connsiteX49" fmla="*/ 1066800 w 1146175"/>
                    <a:gd name="connsiteY49" fmla="*/ 678441 h 1661098"/>
                    <a:gd name="connsiteX50" fmla="*/ 1089025 w 1146175"/>
                    <a:gd name="connsiteY50" fmla="*/ 687966 h 1661098"/>
                    <a:gd name="connsiteX51" fmla="*/ 1117600 w 1146175"/>
                    <a:gd name="connsiteY51" fmla="*/ 707016 h 1661098"/>
                    <a:gd name="connsiteX52" fmla="*/ 1136650 w 1146175"/>
                    <a:gd name="connsiteY52" fmla="*/ 713366 h 1661098"/>
                    <a:gd name="connsiteX53" fmla="*/ 1146175 w 1146175"/>
                    <a:gd name="connsiteY53" fmla="*/ 903866 h 1661098"/>
                    <a:gd name="connsiteX54" fmla="*/ 1127125 w 1146175"/>
                    <a:gd name="connsiteY54" fmla="*/ 913391 h 1661098"/>
                    <a:gd name="connsiteX55" fmla="*/ 1101725 w 1146175"/>
                    <a:gd name="connsiteY55" fmla="*/ 919741 h 1661098"/>
                    <a:gd name="connsiteX56" fmla="*/ 1092200 w 1146175"/>
                    <a:gd name="connsiteY56" fmla="*/ 926091 h 1661098"/>
                    <a:gd name="connsiteX57" fmla="*/ 1079500 w 1146175"/>
                    <a:gd name="connsiteY57" fmla="*/ 929266 h 1661098"/>
                    <a:gd name="connsiteX58" fmla="*/ 1069975 w 1146175"/>
                    <a:gd name="connsiteY58" fmla="*/ 938791 h 1661098"/>
                    <a:gd name="connsiteX59" fmla="*/ 1060450 w 1146175"/>
                    <a:gd name="connsiteY59" fmla="*/ 945141 h 1661098"/>
                    <a:gd name="connsiteX60" fmla="*/ 1038225 w 1146175"/>
                    <a:gd name="connsiteY60" fmla="*/ 957841 h 1661098"/>
                    <a:gd name="connsiteX61" fmla="*/ 996950 w 1146175"/>
                    <a:gd name="connsiteY61" fmla="*/ 983241 h 1661098"/>
                    <a:gd name="connsiteX62" fmla="*/ 977900 w 1146175"/>
                    <a:gd name="connsiteY62" fmla="*/ 989591 h 1661098"/>
                    <a:gd name="connsiteX63" fmla="*/ 968375 w 1146175"/>
                    <a:gd name="connsiteY63" fmla="*/ 1014991 h 1661098"/>
                    <a:gd name="connsiteX64" fmla="*/ 958850 w 1146175"/>
                    <a:gd name="connsiteY64" fmla="*/ 1040391 h 1661098"/>
                    <a:gd name="connsiteX65" fmla="*/ 955675 w 1146175"/>
                    <a:gd name="connsiteY65" fmla="*/ 1065791 h 1661098"/>
                    <a:gd name="connsiteX66" fmla="*/ 949325 w 1146175"/>
                    <a:gd name="connsiteY66" fmla="*/ 1075316 h 1661098"/>
                    <a:gd name="connsiteX67" fmla="*/ 946150 w 1146175"/>
                    <a:gd name="connsiteY67" fmla="*/ 1084841 h 1661098"/>
                    <a:gd name="connsiteX68" fmla="*/ 936625 w 1146175"/>
                    <a:gd name="connsiteY68" fmla="*/ 1100716 h 1661098"/>
                    <a:gd name="connsiteX69" fmla="*/ 923925 w 1146175"/>
                    <a:gd name="connsiteY69" fmla="*/ 1135641 h 1661098"/>
                    <a:gd name="connsiteX70" fmla="*/ 917575 w 1146175"/>
                    <a:gd name="connsiteY70" fmla="*/ 1145166 h 1661098"/>
                    <a:gd name="connsiteX71" fmla="*/ 923925 w 1146175"/>
                    <a:gd name="connsiteY71" fmla="*/ 1199141 h 1661098"/>
                    <a:gd name="connsiteX72" fmla="*/ 939800 w 1146175"/>
                    <a:gd name="connsiteY72" fmla="*/ 1221366 h 1661098"/>
                    <a:gd name="connsiteX73" fmla="*/ 946150 w 1146175"/>
                    <a:gd name="connsiteY73" fmla="*/ 1234066 h 1661098"/>
                    <a:gd name="connsiteX74" fmla="*/ 952500 w 1146175"/>
                    <a:gd name="connsiteY74" fmla="*/ 1243591 h 1661098"/>
                    <a:gd name="connsiteX75" fmla="*/ 965200 w 1146175"/>
                    <a:gd name="connsiteY75" fmla="*/ 1268991 h 1661098"/>
                    <a:gd name="connsiteX76" fmla="*/ 974725 w 1146175"/>
                    <a:gd name="connsiteY76" fmla="*/ 1291216 h 1661098"/>
                    <a:gd name="connsiteX77" fmla="*/ 977900 w 1146175"/>
                    <a:gd name="connsiteY77" fmla="*/ 1303916 h 1661098"/>
                    <a:gd name="connsiteX78" fmla="*/ 981075 w 1146175"/>
                    <a:gd name="connsiteY78" fmla="*/ 1313441 h 1661098"/>
                    <a:gd name="connsiteX79" fmla="*/ 974725 w 1146175"/>
                    <a:gd name="connsiteY79" fmla="*/ 1348366 h 1661098"/>
                    <a:gd name="connsiteX80" fmla="*/ 949325 w 1146175"/>
                    <a:gd name="connsiteY80" fmla="*/ 1380116 h 1661098"/>
                    <a:gd name="connsiteX81" fmla="*/ 939800 w 1146175"/>
                    <a:gd name="connsiteY81" fmla="*/ 1386466 h 1661098"/>
                    <a:gd name="connsiteX82" fmla="*/ 930275 w 1146175"/>
                    <a:gd name="connsiteY82" fmla="*/ 1395991 h 1661098"/>
                    <a:gd name="connsiteX83" fmla="*/ 923925 w 1146175"/>
                    <a:gd name="connsiteY83" fmla="*/ 1405516 h 1661098"/>
                    <a:gd name="connsiteX84" fmla="*/ 908050 w 1146175"/>
                    <a:gd name="connsiteY84" fmla="*/ 1415041 h 1661098"/>
                    <a:gd name="connsiteX85" fmla="*/ 895350 w 1146175"/>
                    <a:gd name="connsiteY85" fmla="*/ 1427741 h 1661098"/>
                    <a:gd name="connsiteX86" fmla="*/ 882650 w 1146175"/>
                    <a:gd name="connsiteY86" fmla="*/ 1437266 h 1661098"/>
                    <a:gd name="connsiteX87" fmla="*/ 873125 w 1146175"/>
                    <a:gd name="connsiteY87" fmla="*/ 1446791 h 1661098"/>
                    <a:gd name="connsiteX88" fmla="*/ 844550 w 1146175"/>
                    <a:gd name="connsiteY88" fmla="*/ 1462666 h 1661098"/>
                    <a:gd name="connsiteX89" fmla="*/ 835025 w 1146175"/>
                    <a:gd name="connsiteY89" fmla="*/ 1465841 h 1661098"/>
                    <a:gd name="connsiteX90" fmla="*/ 815975 w 1146175"/>
                    <a:gd name="connsiteY90" fmla="*/ 1459491 h 1661098"/>
                    <a:gd name="connsiteX91" fmla="*/ 774700 w 1146175"/>
                    <a:gd name="connsiteY91" fmla="*/ 1443616 h 1661098"/>
                    <a:gd name="connsiteX92" fmla="*/ 749300 w 1146175"/>
                    <a:gd name="connsiteY92" fmla="*/ 1437266 h 1661098"/>
                    <a:gd name="connsiteX93" fmla="*/ 717550 w 1146175"/>
                    <a:gd name="connsiteY93" fmla="*/ 1424566 h 1661098"/>
                    <a:gd name="connsiteX94" fmla="*/ 688975 w 1146175"/>
                    <a:gd name="connsiteY94" fmla="*/ 1418216 h 1661098"/>
                    <a:gd name="connsiteX95" fmla="*/ 657225 w 1146175"/>
                    <a:gd name="connsiteY95" fmla="*/ 1408691 h 1661098"/>
                    <a:gd name="connsiteX96" fmla="*/ 635000 w 1146175"/>
                    <a:gd name="connsiteY96" fmla="*/ 1411866 h 1661098"/>
                    <a:gd name="connsiteX97" fmla="*/ 622300 w 1146175"/>
                    <a:gd name="connsiteY97" fmla="*/ 1418216 h 1661098"/>
                    <a:gd name="connsiteX98" fmla="*/ 606425 w 1146175"/>
                    <a:gd name="connsiteY98" fmla="*/ 1427741 h 1661098"/>
                    <a:gd name="connsiteX99" fmla="*/ 577850 w 1146175"/>
                    <a:gd name="connsiteY99" fmla="*/ 1443616 h 1661098"/>
                    <a:gd name="connsiteX100" fmla="*/ 558800 w 1146175"/>
                    <a:gd name="connsiteY100" fmla="*/ 1446791 h 1661098"/>
                    <a:gd name="connsiteX101" fmla="*/ 501650 w 1146175"/>
                    <a:gd name="connsiteY101" fmla="*/ 1453141 h 1661098"/>
                    <a:gd name="connsiteX102" fmla="*/ 492125 w 1146175"/>
                    <a:gd name="connsiteY102" fmla="*/ 1459491 h 1661098"/>
                    <a:gd name="connsiteX103" fmla="*/ 466725 w 1146175"/>
                    <a:gd name="connsiteY103" fmla="*/ 1491241 h 1661098"/>
                    <a:gd name="connsiteX104" fmla="*/ 457200 w 1146175"/>
                    <a:gd name="connsiteY104" fmla="*/ 1510291 h 1661098"/>
                    <a:gd name="connsiteX105" fmla="*/ 454025 w 1146175"/>
                    <a:gd name="connsiteY105" fmla="*/ 1519816 h 1661098"/>
                    <a:gd name="connsiteX106" fmla="*/ 447675 w 1146175"/>
                    <a:gd name="connsiteY106" fmla="*/ 1535691 h 1661098"/>
                    <a:gd name="connsiteX107" fmla="*/ 434975 w 1146175"/>
                    <a:gd name="connsiteY107" fmla="*/ 1561091 h 1661098"/>
                    <a:gd name="connsiteX108" fmla="*/ 431800 w 1146175"/>
                    <a:gd name="connsiteY108" fmla="*/ 1576966 h 1661098"/>
                    <a:gd name="connsiteX109" fmla="*/ 425450 w 1146175"/>
                    <a:gd name="connsiteY109" fmla="*/ 1602366 h 1661098"/>
                    <a:gd name="connsiteX110" fmla="*/ 422275 w 1146175"/>
                    <a:gd name="connsiteY110" fmla="*/ 1611891 h 1661098"/>
                    <a:gd name="connsiteX111" fmla="*/ 412750 w 1146175"/>
                    <a:gd name="connsiteY111" fmla="*/ 1621416 h 1661098"/>
                    <a:gd name="connsiteX112" fmla="*/ 222250 w 1146175"/>
                    <a:gd name="connsiteY112" fmla="*/ 1627766 h 1661098"/>
                    <a:gd name="connsiteX113" fmla="*/ 215900 w 1146175"/>
                    <a:gd name="connsiteY113" fmla="*/ 1611891 h 1661098"/>
                    <a:gd name="connsiteX114" fmla="*/ 206375 w 1146175"/>
                    <a:gd name="connsiteY114" fmla="*/ 1599191 h 1661098"/>
                    <a:gd name="connsiteX115" fmla="*/ 203200 w 1146175"/>
                    <a:gd name="connsiteY115" fmla="*/ 1586491 h 1661098"/>
                    <a:gd name="connsiteX116" fmla="*/ 196850 w 1146175"/>
                    <a:gd name="connsiteY116" fmla="*/ 1573791 h 1661098"/>
                    <a:gd name="connsiteX117" fmla="*/ 193675 w 1146175"/>
                    <a:gd name="connsiteY117" fmla="*/ 1564266 h 1661098"/>
                    <a:gd name="connsiteX118" fmla="*/ 187325 w 1146175"/>
                    <a:gd name="connsiteY118" fmla="*/ 1551566 h 1661098"/>
                    <a:gd name="connsiteX119" fmla="*/ 180975 w 1146175"/>
                    <a:gd name="connsiteY119" fmla="*/ 1535691 h 1661098"/>
                    <a:gd name="connsiteX120" fmla="*/ 161925 w 1146175"/>
                    <a:gd name="connsiteY120" fmla="*/ 1507116 h 1661098"/>
                    <a:gd name="connsiteX121" fmla="*/ 149225 w 1146175"/>
                    <a:gd name="connsiteY121" fmla="*/ 1484891 h 1661098"/>
                    <a:gd name="connsiteX122" fmla="*/ 142875 w 1146175"/>
                    <a:gd name="connsiteY122" fmla="*/ 1469016 h 1661098"/>
                    <a:gd name="connsiteX123" fmla="*/ 130175 w 1146175"/>
                    <a:gd name="connsiteY123" fmla="*/ 1465841 h 1661098"/>
                    <a:gd name="connsiteX124" fmla="*/ 101600 w 1146175"/>
                    <a:gd name="connsiteY124" fmla="*/ 1453141 h 1661098"/>
                    <a:gd name="connsiteX125" fmla="*/ 69850 w 1146175"/>
                    <a:gd name="connsiteY125" fmla="*/ 1443616 h 1661098"/>
                    <a:gd name="connsiteX126" fmla="*/ 41275 w 1146175"/>
                    <a:gd name="connsiteY126" fmla="*/ 1430916 h 1661098"/>
                    <a:gd name="connsiteX127" fmla="*/ 31750 w 1146175"/>
                    <a:gd name="connsiteY127" fmla="*/ 1424566 h 1661098"/>
                    <a:gd name="connsiteX128" fmla="*/ 15875 w 1146175"/>
                    <a:gd name="connsiteY128" fmla="*/ 1418216 h 1661098"/>
                    <a:gd name="connsiteX129" fmla="*/ 0 w 1146175"/>
                    <a:gd name="connsiteY12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27050 w 1146175"/>
                    <a:gd name="connsiteY11" fmla="*/ 173616 h 1661098"/>
                    <a:gd name="connsiteX12" fmla="*/ 558800 w 1146175"/>
                    <a:gd name="connsiteY12" fmla="*/ 189491 h 1661098"/>
                    <a:gd name="connsiteX13" fmla="*/ 635000 w 1146175"/>
                    <a:gd name="connsiteY13" fmla="*/ 221241 h 1661098"/>
                    <a:gd name="connsiteX14" fmla="*/ 717550 w 1146175"/>
                    <a:gd name="connsiteY14" fmla="*/ 218066 h 1661098"/>
                    <a:gd name="connsiteX15" fmla="*/ 733425 w 1146175"/>
                    <a:gd name="connsiteY15" fmla="*/ 211716 h 1661098"/>
                    <a:gd name="connsiteX16" fmla="*/ 771525 w 1146175"/>
                    <a:gd name="connsiteY16" fmla="*/ 205366 h 1661098"/>
                    <a:gd name="connsiteX17" fmla="*/ 796925 w 1146175"/>
                    <a:gd name="connsiteY17" fmla="*/ 195841 h 1661098"/>
                    <a:gd name="connsiteX18" fmla="*/ 838200 w 1146175"/>
                    <a:gd name="connsiteY18" fmla="*/ 186316 h 1661098"/>
                    <a:gd name="connsiteX19" fmla="*/ 879475 w 1146175"/>
                    <a:gd name="connsiteY19" fmla="*/ 205366 h 1661098"/>
                    <a:gd name="connsiteX20" fmla="*/ 885825 w 1146175"/>
                    <a:gd name="connsiteY20" fmla="*/ 214891 h 1661098"/>
                    <a:gd name="connsiteX21" fmla="*/ 901700 w 1146175"/>
                    <a:gd name="connsiteY21" fmla="*/ 230766 h 1661098"/>
                    <a:gd name="connsiteX22" fmla="*/ 917575 w 1146175"/>
                    <a:gd name="connsiteY22" fmla="*/ 243466 h 1661098"/>
                    <a:gd name="connsiteX23" fmla="*/ 936625 w 1146175"/>
                    <a:gd name="connsiteY23" fmla="*/ 256166 h 1661098"/>
                    <a:gd name="connsiteX24" fmla="*/ 955675 w 1146175"/>
                    <a:gd name="connsiteY24" fmla="*/ 278391 h 1661098"/>
                    <a:gd name="connsiteX25" fmla="*/ 974725 w 1146175"/>
                    <a:gd name="connsiteY25" fmla="*/ 303791 h 1661098"/>
                    <a:gd name="connsiteX26" fmla="*/ 968375 w 1146175"/>
                    <a:gd name="connsiteY26" fmla="*/ 338716 h 1661098"/>
                    <a:gd name="connsiteX27" fmla="*/ 965200 w 1146175"/>
                    <a:gd name="connsiteY27" fmla="*/ 348241 h 1661098"/>
                    <a:gd name="connsiteX28" fmla="*/ 949325 w 1146175"/>
                    <a:gd name="connsiteY28" fmla="*/ 367291 h 1661098"/>
                    <a:gd name="connsiteX29" fmla="*/ 939800 w 1146175"/>
                    <a:gd name="connsiteY29" fmla="*/ 389516 h 1661098"/>
                    <a:gd name="connsiteX30" fmla="*/ 936625 w 1146175"/>
                    <a:gd name="connsiteY30" fmla="*/ 402216 h 1661098"/>
                    <a:gd name="connsiteX31" fmla="*/ 930275 w 1146175"/>
                    <a:gd name="connsiteY31" fmla="*/ 418091 h 1661098"/>
                    <a:gd name="connsiteX32" fmla="*/ 927100 w 1146175"/>
                    <a:gd name="connsiteY32" fmla="*/ 430791 h 1661098"/>
                    <a:gd name="connsiteX33" fmla="*/ 920750 w 1146175"/>
                    <a:gd name="connsiteY33" fmla="*/ 446666 h 1661098"/>
                    <a:gd name="connsiteX34" fmla="*/ 917575 w 1146175"/>
                    <a:gd name="connsiteY34" fmla="*/ 459366 h 1661098"/>
                    <a:gd name="connsiteX35" fmla="*/ 914400 w 1146175"/>
                    <a:gd name="connsiteY35" fmla="*/ 468891 h 1661098"/>
                    <a:gd name="connsiteX36" fmla="*/ 917575 w 1146175"/>
                    <a:gd name="connsiteY36" fmla="*/ 506991 h 1661098"/>
                    <a:gd name="connsiteX37" fmla="*/ 923925 w 1146175"/>
                    <a:gd name="connsiteY37" fmla="*/ 519691 h 1661098"/>
                    <a:gd name="connsiteX38" fmla="*/ 939800 w 1146175"/>
                    <a:gd name="connsiteY38" fmla="*/ 538741 h 1661098"/>
                    <a:gd name="connsiteX39" fmla="*/ 942975 w 1146175"/>
                    <a:gd name="connsiteY39" fmla="*/ 548266 h 1661098"/>
                    <a:gd name="connsiteX40" fmla="*/ 955675 w 1146175"/>
                    <a:gd name="connsiteY40" fmla="*/ 573666 h 1661098"/>
                    <a:gd name="connsiteX41" fmla="*/ 968375 w 1146175"/>
                    <a:gd name="connsiteY41" fmla="*/ 614941 h 1661098"/>
                    <a:gd name="connsiteX42" fmla="*/ 974725 w 1146175"/>
                    <a:gd name="connsiteY42" fmla="*/ 627641 h 1661098"/>
                    <a:gd name="connsiteX43" fmla="*/ 981075 w 1146175"/>
                    <a:gd name="connsiteY43" fmla="*/ 646691 h 1661098"/>
                    <a:gd name="connsiteX44" fmla="*/ 993775 w 1146175"/>
                    <a:gd name="connsiteY44" fmla="*/ 649866 h 1661098"/>
                    <a:gd name="connsiteX45" fmla="*/ 1012825 w 1146175"/>
                    <a:gd name="connsiteY45" fmla="*/ 653041 h 1661098"/>
                    <a:gd name="connsiteX46" fmla="*/ 1041400 w 1146175"/>
                    <a:gd name="connsiteY46" fmla="*/ 665741 h 1661098"/>
                    <a:gd name="connsiteX47" fmla="*/ 1050925 w 1146175"/>
                    <a:gd name="connsiteY47" fmla="*/ 668916 h 1661098"/>
                    <a:gd name="connsiteX48" fmla="*/ 1066800 w 1146175"/>
                    <a:gd name="connsiteY48" fmla="*/ 678441 h 1661098"/>
                    <a:gd name="connsiteX49" fmla="*/ 1089025 w 1146175"/>
                    <a:gd name="connsiteY49" fmla="*/ 687966 h 1661098"/>
                    <a:gd name="connsiteX50" fmla="*/ 1117600 w 1146175"/>
                    <a:gd name="connsiteY50" fmla="*/ 707016 h 1661098"/>
                    <a:gd name="connsiteX51" fmla="*/ 1136650 w 1146175"/>
                    <a:gd name="connsiteY51" fmla="*/ 713366 h 1661098"/>
                    <a:gd name="connsiteX52" fmla="*/ 1146175 w 1146175"/>
                    <a:gd name="connsiteY52" fmla="*/ 903866 h 1661098"/>
                    <a:gd name="connsiteX53" fmla="*/ 1127125 w 1146175"/>
                    <a:gd name="connsiteY53" fmla="*/ 913391 h 1661098"/>
                    <a:gd name="connsiteX54" fmla="*/ 1101725 w 1146175"/>
                    <a:gd name="connsiteY54" fmla="*/ 919741 h 1661098"/>
                    <a:gd name="connsiteX55" fmla="*/ 1092200 w 1146175"/>
                    <a:gd name="connsiteY55" fmla="*/ 926091 h 1661098"/>
                    <a:gd name="connsiteX56" fmla="*/ 1079500 w 1146175"/>
                    <a:gd name="connsiteY56" fmla="*/ 929266 h 1661098"/>
                    <a:gd name="connsiteX57" fmla="*/ 1069975 w 1146175"/>
                    <a:gd name="connsiteY57" fmla="*/ 938791 h 1661098"/>
                    <a:gd name="connsiteX58" fmla="*/ 1060450 w 1146175"/>
                    <a:gd name="connsiteY58" fmla="*/ 945141 h 1661098"/>
                    <a:gd name="connsiteX59" fmla="*/ 1038225 w 1146175"/>
                    <a:gd name="connsiteY59" fmla="*/ 957841 h 1661098"/>
                    <a:gd name="connsiteX60" fmla="*/ 996950 w 1146175"/>
                    <a:gd name="connsiteY60" fmla="*/ 983241 h 1661098"/>
                    <a:gd name="connsiteX61" fmla="*/ 977900 w 1146175"/>
                    <a:gd name="connsiteY61" fmla="*/ 989591 h 1661098"/>
                    <a:gd name="connsiteX62" fmla="*/ 968375 w 1146175"/>
                    <a:gd name="connsiteY62" fmla="*/ 1014991 h 1661098"/>
                    <a:gd name="connsiteX63" fmla="*/ 958850 w 1146175"/>
                    <a:gd name="connsiteY63" fmla="*/ 1040391 h 1661098"/>
                    <a:gd name="connsiteX64" fmla="*/ 955675 w 1146175"/>
                    <a:gd name="connsiteY64" fmla="*/ 1065791 h 1661098"/>
                    <a:gd name="connsiteX65" fmla="*/ 949325 w 1146175"/>
                    <a:gd name="connsiteY65" fmla="*/ 1075316 h 1661098"/>
                    <a:gd name="connsiteX66" fmla="*/ 946150 w 1146175"/>
                    <a:gd name="connsiteY66" fmla="*/ 1084841 h 1661098"/>
                    <a:gd name="connsiteX67" fmla="*/ 936625 w 1146175"/>
                    <a:gd name="connsiteY67" fmla="*/ 1100716 h 1661098"/>
                    <a:gd name="connsiteX68" fmla="*/ 923925 w 1146175"/>
                    <a:gd name="connsiteY68" fmla="*/ 1135641 h 1661098"/>
                    <a:gd name="connsiteX69" fmla="*/ 917575 w 1146175"/>
                    <a:gd name="connsiteY69" fmla="*/ 1145166 h 1661098"/>
                    <a:gd name="connsiteX70" fmla="*/ 923925 w 1146175"/>
                    <a:gd name="connsiteY70" fmla="*/ 1199141 h 1661098"/>
                    <a:gd name="connsiteX71" fmla="*/ 939800 w 1146175"/>
                    <a:gd name="connsiteY71" fmla="*/ 1221366 h 1661098"/>
                    <a:gd name="connsiteX72" fmla="*/ 946150 w 1146175"/>
                    <a:gd name="connsiteY72" fmla="*/ 1234066 h 1661098"/>
                    <a:gd name="connsiteX73" fmla="*/ 952500 w 1146175"/>
                    <a:gd name="connsiteY73" fmla="*/ 1243591 h 1661098"/>
                    <a:gd name="connsiteX74" fmla="*/ 965200 w 1146175"/>
                    <a:gd name="connsiteY74" fmla="*/ 1268991 h 1661098"/>
                    <a:gd name="connsiteX75" fmla="*/ 974725 w 1146175"/>
                    <a:gd name="connsiteY75" fmla="*/ 1291216 h 1661098"/>
                    <a:gd name="connsiteX76" fmla="*/ 977900 w 1146175"/>
                    <a:gd name="connsiteY76" fmla="*/ 1303916 h 1661098"/>
                    <a:gd name="connsiteX77" fmla="*/ 981075 w 1146175"/>
                    <a:gd name="connsiteY77" fmla="*/ 1313441 h 1661098"/>
                    <a:gd name="connsiteX78" fmla="*/ 974725 w 1146175"/>
                    <a:gd name="connsiteY78" fmla="*/ 1348366 h 1661098"/>
                    <a:gd name="connsiteX79" fmla="*/ 949325 w 1146175"/>
                    <a:gd name="connsiteY79" fmla="*/ 1380116 h 1661098"/>
                    <a:gd name="connsiteX80" fmla="*/ 939800 w 1146175"/>
                    <a:gd name="connsiteY80" fmla="*/ 1386466 h 1661098"/>
                    <a:gd name="connsiteX81" fmla="*/ 930275 w 1146175"/>
                    <a:gd name="connsiteY81" fmla="*/ 1395991 h 1661098"/>
                    <a:gd name="connsiteX82" fmla="*/ 923925 w 1146175"/>
                    <a:gd name="connsiteY82" fmla="*/ 1405516 h 1661098"/>
                    <a:gd name="connsiteX83" fmla="*/ 908050 w 1146175"/>
                    <a:gd name="connsiteY83" fmla="*/ 1415041 h 1661098"/>
                    <a:gd name="connsiteX84" fmla="*/ 895350 w 1146175"/>
                    <a:gd name="connsiteY84" fmla="*/ 1427741 h 1661098"/>
                    <a:gd name="connsiteX85" fmla="*/ 882650 w 1146175"/>
                    <a:gd name="connsiteY85" fmla="*/ 1437266 h 1661098"/>
                    <a:gd name="connsiteX86" fmla="*/ 873125 w 1146175"/>
                    <a:gd name="connsiteY86" fmla="*/ 1446791 h 1661098"/>
                    <a:gd name="connsiteX87" fmla="*/ 844550 w 1146175"/>
                    <a:gd name="connsiteY87" fmla="*/ 1462666 h 1661098"/>
                    <a:gd name="connsiteX88" fmla="*/ 835025 w 1146175"/>
                    <a:gd name="connsiteY88" fmla="*/ 1465841 h 1661098"/>
                    <a:gd name="connsiteX89" fmla="*/ 815975 w 1146175"/>
                    <a:gd name="connsiteY89" fmla="*/ 1459491 h 1661098"/>
                    <a:gd name="connsiteX90" fmla="*/ 774700 w 1146175"/>
                    <a:gd name="connsiteY90" fmla="*/ 1443616 h 1661098"/>
                    <a:gd name="connsiteX91" fmla="*/ 749300 w 1146175"/>
                    <a:gd name="connsiteY91" fmla="*/ 1437266 h 1661098"/>
                    <a:gd name="connsiteX92" fmla="*/ 717550 w 1146175"/>
                    <a:gd name="connsiteY92" fmla="*/ 1424566 h 1661098"/>
                    <a:gd name="connsiteX93" fmla="*/ 688975 w 1146175"/>
                    <a:gd name="connsiteY93" fmla="*/ 1418216 h 1661098"/>
                    <a:gd name="connsiteX94" fmla="*/ 657225 w 1146175"/>
                    <a:gd name="connsiteY94" fmla="*/ 1408691 h 1661098"/>
                    <a:gd name="connsiteX95" fmla="*/ 635000 w 1146175"/>
                    <a:gd name="connsiteY95" fmla="*/ 1411866 h 1661098"/>
                    <a:gd name="connsiteX96" fmla="*/ 622300 w 1146175"/>
                    <a:gd name="connsiteY96" fmla="*/ 1418216 h 1661098"/>
                    <a:gd name="connsiteX97" fmla="*/ 606425 w 1146175"/>
                    <a:gd name="connsiteY97" fmla="*/ 1427741 h 1661098"/>
                    <a:gd name="connsiteX98" fmla="*/ 577850 w 1146175"/>
                    <a:gd name="connsiteY98" fmla="*/ 1443616 h 1661098"/>
                    <a:gd name="connsiteX99" fmla="*/ 558800 w 1146175"/>
                    <a:gd name="connsiteY99" fmla="*/ 1446791 h 1661098"/>
                    <a:gd name="connsiteX100" fmla="*/ 501650 w 1146175"/>
                    <a:gd name="connsiteY100" fmla="*/ 1453141 h 1661098"/>
                    <a:gd name="connsiteX101" fmla="*/ 492125 w 1146175"/>
                    <a:gd name="connsiteY101" fmla="*/ 1459491 h 1661098"/>
                    <a:gd name="connsiteX102" fmla="*/ 466725 w 1146175"/>
                    <a:gd name="connsiteY102" fmla="*/ 1491241 h 1661098"/>
                    <a:gd name="connsiteX103" fmla="*/ 457200 w 1146175"/>
                    <a:gd name="connsiteY103" fmla="*/ 1510291 h 1661098"/>
                    <a:gd name="connsiteX104" fmla="*/ 454025 w 1146175"/>
                    <a:gd name="connsiteY104" fmla="*/ 1519816 h 1661098"/>
                    <a:gd name="connsiteX105" fmla="*/ 447675 w 1146175"/>
                    <a:gd name="connsiteY105" fmla="*/ 1535691 h 1661098"/>
                    <a:gd name="connsiteX106" fmla="*/ 434975 w 1146175"/>
                    <a:gd name="connsiteY106" fmla="*/ 1561091 h 1661098"/>
                    <a:gd name="connsiteX107" fmla="*/ 431800 w 1146175"/>
                    <a:gd name="connsiteY107" fmla="*/ 1576966 h 1661098"/>
                    <a:gd name="connsiteX108" fmla="*/ 425450 w 1146175"/>
                    <a:gd name="connsiteY108" fmla="*/ 1602366 h 1661098"/>
                    <a:gd name="connsiteX109" fmla="*/ 422275 w 1146175"/>
                    <a:gd name="connsiteY109" fmla="*/ 1611891 h 1661098"/>
                    <a:gd name="connsiteX110" fmla="*/ 412750 w 1146175"/>
                    <a:gd name="connsiteY110" fmla="*/ 1621416 h 1661098"/>
                    <a:gd name="connsiteX111" fmla="*/ 222250 w 1146175"/>
                    <a:gd name="connsiteY111" fmla="*/ 1627766 h 1661098"/>
                    <a:gd name="connsiteX112" fmla="*/ 215900 w 1146175"/>
                    <a:gd name="connsiteY112" fmla="*/ 1611891 h 1661098"/>
                    <a:gd name="connsiteX113" fmla="*/ 206375 w 1146175"/>
                    <a:gd name="connsiteY113" fmla="*/ 1599191 h 1661098"/>
                    <a:gd name="connsiteX114" fmla="*/ 203200 w 1146175"/>
                    <a:gd name="connsiteY114" fmla="*/ 1586491 h 1661098"/>
                    <a:gd name="connsiteX115" fmla="*/ 196850 w 1146175"/>
                    <a:gd name="connsiteY115" fmla="*/ 1573791 h 1661098"/>
                    <a:gd name="connsiteX116" fmla="*/ 193675 w 1146175"/>
                    <a:gd name="connsiteY116" fmla="*/ 1564266 h 1661098"/>
                    <a:gd name="connsiteX117" fmla="*/ 187325 w 1146175"/>
                    <a:gd name="connsiteY117" fmla="*/ 1551566 h 1661098"/>
                    <a:gd name="connsiteX118" fmla="*/ 180975 w 1146175"/>
                    <a:gd name="connsiteY118" fmla="*/ 1535691 h 1661098"/>
                    <a:gd name="connsiteX119" fmla="*/ 161925 w 1146175"/>
                    <a:gd name="connsiteY119" fmla="*/ 1507116 h 1661098"/>
                    <a:gd name="connsiteX120" fmla="*/ 149225 w 1146175"/>
                    <a:gd name="connsiteY120" fmla="*/ 1484891 h 1661098"/>
                    <a:gd name="connsiteX121" fmla="*/ 142875 w 1146175"/>
                    <a:gd name="connsiteY121" fmla="*/ 1469016 h 1661098"/>
                    <a:gd name="connsiteX122" fmla="*/ 130175 w 1146175"/>
                    <a:gd name="connsiteY122" fmla="*/ 1465841 h 1661098"/>
                    <a:gd name="connsiteX123" fmla="*/ 101600 w 1146175"/>
                    <a:gd name="connsiteY123" fmla="*/ 1453141 h 1661098"/>
                    <a:gd name="connsiteX124" fmla="*/ 69850 w 1146175"/>
                    <a:gd name="connsiteY124" fmla="*/ 1443616 h 1661098"/>
                    <a:gd name="connsiteX125" fmla="*/ 41275 w 1146175"/>
                    <a:gd name="connsiteY125" fmla="*/ 1430916 h 1661098"/>
                    <a:gd name="connsiteX126" fmla="*/ 31750 w 1146175"/>
                    <a:gd name="connsiteY126" fmla="*/ 1424566 h 1661098"/>
                    <a:gd name="connsiteX127" fmla="*/ 15875 w 1146175"/>
                    <a:gd name="connsiteY127" fmla="*/ 1418216 h 1661098"/>
                    <a:gd name="connsiteX128" fmla="*/ 0 w 1146175"/>
                    <a:gd name="connsiteY12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33425 w 1146175"/>
                    <a:gd name="connsiteY14" fmla="*/ 211716 h 1661098"/>
                    <a:gd name="connsiteX15" fmla="*/ 771525 w 1146175"/>
                    <a:gd name="connsiteY15" fmla="*/ 205366 h 1661098"/>
                    <a:gd name="connsiteX16" fmla="*/ 796925 w 1146175"/>
                    <a:gd name="connsiteY16" fmla="*/ 195841 h 1661098"/>
                    <a:gd name="connsiteX17" fmla="*/ 838200 w 1146175"/>
                    <a:gd name="connsiteY17" fmla="*/ 186316 h 1661098"/>
                    <a:gd name="connsiteX18" fmla="*/ 879475 w 1146175"/>
                    <a:gd name="connsiteY18" fmla="*/ 205366 h 1661098"/>
                    <a:gd name="connsiteX19" fmla="*/ 885825 w 1146175"/>
                    <a:gd name="connsiteY19" fmla="*/ 214891 h 1661098"/>
                    <a:gd name="connsiteX20" fmla="*/ 901700 w 1146175"/>
                    <a:gd name="connsiteY20" fmla="*/ 230766 h 1661098"/>
                    <a:gd name="connsiteX21" fmla="*/ 917575 w 1146175"/>
                    <a:gd name="connsiteY21" fmla="*/ 243466 h 1661098"/>
                    <a:gd name="connsiteX22" fmla="*/ 936625 w 1146175"/>
                    <a:gd name="connsiteY22" fmla="*/ 256166 h 1661098"/>
                    <a:gd name="connsiteX23" fmla="*/ 955675 w 1146175"/>
                    <a:gd name="connsiteY23" fmla="*/ 278391 h 1661098"/>
                    <a:gd name="connsiteX24" fmla="*/ 974725 w 1146175"/>
                    <a:gd name="connsiteY24" fmla="*/ 303791 h 1661098"/>
                    <a:gd name="connsiteX25" fmla="*/ 968375 w 1146175"/>
                    <a:gd name="connsiteY25" fmla="*/ 338716 h 1661098"/>
                    <a:gd name="connsiteX26" fmla="*/ 965200 w 1146175"/>
                    <a:gd name="connsiteY26" fmla="*/ 348241 h 1661098"/>
                    <a:gd name="connsiteX27" fmla="*/ 949325 w 1146175"/>
                    <a:gd name="connsiteY27" fmla="*/ 367291 h 1661098"/>
                    <a:gd name="connsiteX28" fmla="*/ 939800 w 1146175"/>
                    <a:gd name="connsiteY28" fmla="*/ 389516 h 1661098"/>
                    <a:gd name="connsiteX29" fmla="*/ 936625 w 1146175"/>
                    <a:gd name="connsiteY29" fmla="*/ 402216 h 1661098"/>
                    <a:gd name="connsiteX30" fmla="*/ 930275 w 1146175"/>
                    <a:gd name="connsiteY30" fmla="*/ 418091 h 1661098"/>
                    <a:gd name="connsiteX31" fmla="*/ 927100 w 1146175"/>
                    <a:gd name="connsiteY31" fmla="*/ 430791 h 1661098"/>
                    <a:gd name="connsiteX32" fmla="*/ 920750 w 1146175"/>
                    <a:gd name="connsiteY32" fmla="*/ 446666 h 1661098"/>
                    <a:gd name="connsiteX33" fmla="*/ 917575 w 1146175"/>
                    <a:gd name="connsiteY33" fmla="*/ 459366 h 1661098"/>
                    <a:gd name="connsiteX34" fmla="*/ 914400 w 1146175"/>
                    <a:gd name="connsiteY34" fmla="*/ 468891 h 1661098"/>
                    <a:gd name="connsiteX35" fmla="*/ 917575 w 1146175"/>
                    <a:gd name="connsiteY35" fmla="*/ 506991 h 1661098"/>
                    <a:gd name="connsiteX36" fmla="*/ 923925 w 1146175"/>
                    <a:gd name="connsiteY36" fmla="*/ 519691 h 1661098"/>
                    <a:gd name="connsiteX37" fmla="*/ 939800 w 1146175"/>
                    <a:gd name="connsiteY37" fmla="*/ 538741 h 1661098"/>
                    <a:gd name="connsiteX38" fmla="*/ 942975 w 1146175"/>
                    <a:gd name="connsiteY38" fmla="*/ 548266 h 1661098"/>
                    <a:gd name="connsiteX39" fmla="*/ 955675 w 1146175"/>
                    <a:gd name="connsiteY39" fmla="*/ 573666 h 1661098"/>
                    <a:gd name="connsiteX40" fmla="*/ 968375 w 1146175"/>
                    <a:gd name="connsiteY40" fmla="*/ 614941 h 1661098"/>
                    <a:gd name="connsiteX41" fmla="*/ 974725 w 1146175"/>
                    <a:gd name="connsiteY41" fmla="*/ 627641 h 1661098"/>
                    <a:gd name="connsiteX42" fmla="*/ 981075 w 1146175"/>
                    <a:gd name="connsiteY42" fmla="*/ 646691 h 1661098"/>
                    <a:gd name="connsiteX43" fmla="*/ 993775 w 1146175"/>
                    <a:gd name="connsiteY43" fmla="*/ 649866 h 1661098"/>
                    <a:gd name="connsiteX44" fmla="*/ 1012825 w 1146175"/>
                    <a:gd name="connsiteY44" fmla="*/ 653041 h 1661098"/>
                    <a:gd name="connsiteX45" fmla="*/ 1041400 w 1146175"/>
                    <a:gd name="connsiteY45" fmla="*/ 665741 h 1661098"/>
                    <a:gd name="connsiteX46" fmla="*/ 1050925 w 1146175"/>
                    <a:gd name="connsiteY46" fmla="*/ 668916 h 1661098"/>
                    <a:gd name="connsiteX47" fmla="*/ 1066800 w 1146175"/>
                    <a:gd name="connsiteY47" fmla="*/ 678441 h 1661098"/>
                    <a:gd name="connsiteX48" fmla="*/ 1089025 w 1146175"/>
                    <a:gd name="connsiteY48" fmla="*/ 687966 h 1661098"/>
                    <a:gd name="connsiteX49" fmla="*/ 1117600 w 1146175"/>
                    <a:gd name="connsiteY49" fmla="*/ 707016 h 1661098"/>
                    <a:gd name="connsiteX50" fmla="*/ 1136650 w 1146175"/>
                    <a:gd name="connsiteY50" fmla="*/ 713366 h 1661098"/>
                    <a:gd name="connsiteX51" fmla="*/ 1146175 w 1146175"/>
                    <a:gd name="connsiteY51" fmla="*/ 903866 h 1661098"/>
                    <a:gd name="connsiteX52" fmla="*/ 1127125 w 1146175"/>
                    <a:gd name="connsiteY52" fmla="*/ 913391 h 1661098"/>
                    <a:gd name="connsiteX53" fmla="*/ 1101725 w 1146175"/>
                    <a:gd name="connsiteY53" fmla="*/ 919741 h 1661098"/>
                    <a:gd name="connsiteX54" fmla="*/ 1092200 w 1146175"/>
                    <a:gd name="connsiteY54" fmla="*/ 926091 h 1661098"/>
                    <a:gd name="connsiteX55" fmla="*/ 1079500 w 1146175"/>
                    <a:gd name="connsiteY55" fmla="*/ 929266 h 1661098"/>
                    <a:gd name="connsiteX56" fmla="*/ 1069975 w 1146175"/>
                    <a:gd name="connsiteY56" fmla="*/ 938791 h 1661098"/>
                    <a:gd name="connsiteX57" fmla="*/ 1060450 w 1146175"/>
                    <a:gd name="connsiteY57" fmla="*/ 945141 h 1661098"/>
                    <a:gd name="connsiteX58" fmla="*/ 1038225 w 1146175"/>
                    <a:gd name="connsiteY58" fmla="*/ 957841 h 1661098"/>
                    <a:gd name="connsiteX59" fmla="*/ 996950 w 1146175"/>
                    <a:gd name="connsiteY59" fmla="*/ 983241 h 1661098"/>
                    <a:gd name="connsiteX60" fmla="*/ 977900 w 1146175"/>
                    <a:gd name="connsiteY60" fmla="*/ 989591 h 1661098"/>
                    <a:gd name="connsiteX61" fmla="*/ 968375 w 1146175"/>
                    <a:gd name="connsiteY61" fmla="*/ 1014991 h 1661098"/>
                    <a:gd name="connsiteX62" fmla="*/ 958850 w 1146175"/>
                    <a:gd name="connsiteY62" fmla="*/ 1040391 h 1661098"/>
                    <a:gd name="connsiteX63" fmla="*/ 955675 w 1146175"/>
                    <a:gd name="connsiteY63" fmla="*/ 1065791 h 1661098"/>
                    <a:gd name="connsiteX64" fmla="*/ 949325 w 1146175"/>
                    <a:gd name="connsiteY64" fmla="*/ 1075316 h 1661098"/>
                    <a:gd name="connsiteX65" fmla="*/ 946150 w 1146175"/>
                    <a:gd name="connsiteY65" fmla="*/ 1084841 h 1661098"/>
                    <a:gd name="connsiteX66" fmla="*/ 936625 w 1146175"/>
                    <a:gd name="connsiteY66" fmla="*/ 1100716 h 1661098"/>
                    <a:gd name="connsiteX67" fmla="*/ 923925 w 1146175"/>
                    <a:gd name="connsiteY67" fmla="*/ 1135641 h 1661098"/>
                    <a:gd name="connsiteX68" fmla="*/ 917575 w 1146175"/>
                    <a:gd name="connsiteY68" fmla="*/ 1145166 h 1661098"/>
                    <a:gd name="connsiteX69" fmla="*/ 923925 w 1146175"/>
                    <a:gd name="connsiteY69" fmla="*/ 1199141 h 1661098"/>
                    <a:gd name="connsiteX70" fmla="*/ 939800 w 1146175"/>
                    <a:gd name="connsiteY70" fmla="*/ 1221366 h 1661098"/>
                    <a:gd name="connsiteX71" fmla="*/ 946150 w 1146175"/>
                    <a:gd name="connsiteY71" fmla="*/ 1234066 h 1661098"/>
                    <a:gd name="connsiteX72" fmla="*/ 952500 w 1146175"/>
                    <a:gd name="connsiteY72" fmla="*/ 1243591 h 1661098"/>
                    <a:gd name="connsiteX73" fmla="*/ 965200 w 1146175"/>
                    <a:gd name="connsiteY73" fmla="*/ 1268991 h 1661098"/>
                    <a:gd name="connsiteX74" fmla="*/ 974725 w 1146175"/>
                    <a:gd name="connsiteY74" fmla="*/ 1291216 h 1661098"/>
                    <a:gd name="connsiteX75" fmla="*/ 977900 w 1146175"/>
                    <a:gd name="connsiteY75" fmla="*/ 1303916 h 1661098"/>
                    <a:gd name="connsiteX76" fmla="*/ 981075 w 1146175"/>
                    <a:gd name="connsiteY76" fmla="*/ 1313441 h 1661098"/>
                    <a:gd name="connsiteX77" fmla="*/ 974725 w 1146175"/>
                    <a:gd name="connsiteY77" fmla="*/ 1348366 h 1661098"/>
                    <a:gd name="connsiteX78" fmla="*/ 949325 w 1146175"/>
                    <a:gd name="connsiteY78" fmla="*/ 1380116 h 1661098"/>
                    <a:gd name="connsiteX79" fmla="*/ 939800 w 1146175"/>
                    <a:gd name="connsiteY79" fmla="*/ 1386466 h 1661098"/>
                    <a:gd name="connsiteX80" fmla="*/ 930275 w 1146175"/>
                    <a:gd name="connsiteY80" fmla="*/ 1395991 h 1661098"/>
                    <a:gd name="connsiteX81" fmla="*/ 923925 w 1146175"/>
                    <a:gd name="connsiteY81" fmla="*/ 1405516 h 1661098"/>
                    <a:gd name="connsiteX82" fmla="*/ 908050 w 1146175"/>
                    <a:gd name="connsiteY82" fmla="*/ 1415041 h 1661098"/>
                    <a:gd name="connsiteX83" fmla="*/ 895350 w 1146175"/>
                    <a:gd name="connsiteY83" fmla="*/ 1427741 h 1661098"/>
                    <a:gd name="connsiteX84" fmla="*/ 882650 w 1146175"/>
                    <a:gd name="connsiteY84" fmla="*/ 1437266 h 1661098"/>
                    <a:gd name="connsiteX85" fmla="*/ 873125 w 1146175"/>
                    <a:gd name="connsiteY85" fmla="*/ 1446791 h 1661098"/>
                    <a:gd name="connsiteX86" fmla="*/ 844550 w 1146175"/>
                    <a:gd name="connsiteY86" fmla="*/ 1462666 h 1661098"/>
                    <a:gd name="connsiteX87" fmla="*/ 835025 w 1146175"/>
                    <a:gd name="connsiteY87" fmla="*/ 1465841 h 1661098"/>
                    <a:gd name="connsiteX88" fmla="*/ 815975 w 1146175"/>
                    <a:gd name="connsiteY88" fmla="*/ 1459491 h 1661098"/>
                    <a:gd name="connsiteX89" fmla="*/ 774700 w 1146175"/>
                    <a:gd name="connsiteY89" fmla="*/ 1443616 h 1661098"/>
                    <a:gd name="connsiteX90" fmla="*/ 749300 w 1146175"/>
                    <a:gd name="connsiteY90" fmla="*/ 1437266 h 1661098"/>
                    <a:gd name="connsiteX91" fmla="*/ 717550 w 1146175"/>
                    <a:gd name="connsiteY91" fmla="*/ 1424566 h 1661098"/>
                    <a:gd name="connsiteX92" fmla="*/ 688975 w 1146175"/>
                    <a:gd name="connsiteY92" fmla="*/ 1418216 h 1661098"/>
                    <a:gd name="connsiteX93" fmla="*/ 657225 w 1146175"/>
                    <a:gd name="connsiteY93" fmla="*/ 1408691 h 1661098"/>
                    <a:gd name="connsiteX94" fmla="*/ 635000 w 1146175"/>
                    <a:gd name="connsiteY94" fmla="*/ 1411866 h 1661098"/>
                    <a:gd name="connsiteX95" fmla="*/ 622300 w 1146175"/>
                    <a:gd name="connsiteY95" fmla="*/ 1418216 h 1661098"/>
                    <a:gd name="connsiteX96" fmla="*/ 606425 w 1146175"/>
                    <a:gd name="connsiteY96" fmla="*/ 1427741 h 1661098"/>
                    <a:gd name="connsiteX97" fmla="*/ 577850 w 1146175"/>
                    <a:gd name="connsiteY97" fmla="*/ 1443616 h 1661098"/>
                    <a:gd name="connsiteX98" fmla="*/ 558800 w 1146175"/>
                    <a:gd name="connsiteY98" fmla="*/ 1446791 h 1661098"/>
                    <a:gd name="connsiteX99" fmla="*/ 501650 w 1146175"/>
                    <a:gd name="connsiteY99" fmla="*/ 1453141 h 1661098"/>
                    <a:gd name="connsiteX100" fmla="*/ 492125 w 1146175"/>
                    <a:gd name="connsiteY100" fmla="*/ 1459491 h 1661098"/>
                    <a:gd name="connsiteX101" fmla="*/ 466725 w 1146175"/>
                    <a:gd name="connsiteY101" fmla="*/ 1491241 h 1661098"/>
                    <a:gd name="connsiteX102" fmla="*/ 457200 w 1146175"/>
                    <a:gd name="connsiteY102" fmla="*/ 1510291 h 1661098"/>
                    <a:gd name="connsiteX103" fmla="*/ 454025 w 1146175"/>
                    <a:gd name="connsiteY103" fmla="*/ 1519816 h 1661098"/>
                    <a:gd name="connsiteX104" fmla="*/ 447675 w 1146175"/>
                    <a:gd name="connsiteY104" fmla="*/ 1535691 h 1661098"/>
                    <a:gd name="connsiteX105" fmla="*/ 434975 w 1146175"/>
                    <a:gd name="connsiteY105" fmla="*/ 1561091 h 1661098"/>
                    <a:gd name="connsiteX106" fmla="*/ 431800 w 1146175"/>
                    <a:gd name="connsiteY106" fmla="*/ 1576966 h 1661098"/>
                    <a:gd name="connsiteX107" fmla="*/ 425450 w 1146175"/>
                    <a:gd name="connsiteY107" fmla="*/ 1602366 h 1661098"/>
                    <a:gd name="connsiteX108" fmla="*/ 422275 w 1146175"/>
                    <a:gd name="connsiteY108" fmla="*/ 1611891 h 1661098"/>
                    <a:gd name="connsiteX109" fmla="*/ 412750 w 1146175"/>
                    <a:gd name="connsiteY109" fmla="*/ 1621416 h 1661098"/>
                    <a:gd name="connsiteX110" fmla="*/ 222250 w 1146175"/>
                    <a:gd name="connsiteY110" fmla="*/ 1627766 h 1661098"/>
                    <a:gd name="connsiteX111" fmla="*/ 215900 w 1146175"/>
                    <a:gd name="connsiteY111" fmla="*/ 1611891 h 1661098"/>
                    <a:gd name="connsiteX112" fmla="*/ 206375 w 1146175"/>
                    <a:gd name="connsiteY112" fmla="*/ 1599191 h 1661098"/>
                    <a:gd name="connsiteX113" fmla="*/ 203200 w 1146175"/>
                    <a:gd name="connsiteY113" fmla="*/ 1586491 h 1661098"/>
                    <a:gd name="connsiteX114" fmla="*/ 196850 w 1146175"/>
                    <a:gd name="connsiteY114" fmla="*/ 1573791 h 1661098"/>
                    <a:gd name="connsiteX115" fmla="*/ 193675 w 1146175"/>
                    <a:gd name="connsiteY115" fmla="*/ 1564266 h 1661098"/>
                    <a:gd name="connsiteX116" fmla="*/ 187325 w 1146175"/>
                    <a:gd name="connsiteY116" fmla="*/ 1551566 h 1661098"/>
                    <a:gd name="connsiteX117" fmla="*/ 180975 w 1146175"/>
                    <a:gd name="connsiteY117" fmla="*/ 1535691 h 1661098"/>
                    <a:gd name="connsiteX118" fmla="*/ 161925 w 1146175"/>
                    <a:gd name="connsiteY118" fmla="*/ 1507116 h 1661098"/>
                    <a:gd name="connsiteX119" fmla="*/ 149225 w 1146175"/>
                    <a:gd name="connsiteY119" fmla="*/ 1484891 h 1661098"/>
                    <a:gd name="connsiteX120" fmla="*/ 142875 w 1146175"/>
                    <a:gd name="connsiteY120" fmla="*/ 1469016 h 1661098"/>
                    <a:gd name="connsiteX121" fmla="*/ 130175 w 1146175"/>
                    <a:gd name="connsiteY121" fmla="*/ 1465841 h 1661098"/>
                    <a:gd name="connsiteX122" fmla="*/ 101600 w 1146175"/>
                    <a:gd name="connsiteY122" fmla="*/ 1453141 h 1661098"/>
                    <a:gd name="connsiteX123" fmla="*/ 69850 w 1146175"/>
                    <a:gd name="connsiteY123" fmla="*/ 1443616 h 1661098"/>
                    <a:gd name="connsiteX124" fmla="*/ 41275 w 1146175"/>
                    <a:gd name="connsiteY124" fmla="*/ 1430916 h 1661098"/>
                    <a:gd name="connsiteX125" fmla="*/ 31750 w 1146175"/>
                    <a:gd name="connsiteY125" fmla="*/ 1424566 h 1661098"/>
                    <a:gd name="connsiteX126" fmla="*/ 15875 w 1146175"/>
                    <a:gd name="connsiteY126" fmla="*/ 1418216 h 1661098"/>
                    <a:gd name="connsiteX127" fmla="*/ 0 w 1146175"/>
                    <a:gd name="connsiteY12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33425 w 1146175"/>
                    <a:gd name="connsiteY14" fmla="*/ 211716 h 1661098"/>
                    <a:gd name="connsiteX15" fmla="*/ 796925 w 1146175"/>
                    <a:gd name="connsiteY15" fmla="*/ 195841 h 1661098"/>
                    <a:gd name="connsiteX16" fmla="*/ 838200 w 1146175"/>
                    <a:gd name="connsiteY16" fmla="*/ 186316 h 1661098"/>
                    <a:gd name="connsiteX17" fmla="*/ 879475 w 1146175"/>
                    <a:gd name="connsiteY17" fmla="*/ 205366 h 1661098"/>
                    <a:gd name="connsiteX18" fmla="*/ 885825 w 1146175"/>
                    <a:gd name="connsiteY18" fmla="*/ 214891 h 1661098"/>
                    <a:gd name="connsiteX19" fmla="*/ 901700 w 1146175"/>
                    <a:gd name="connsiteY19" fmla="*/ 230766 h 1661098"/>
                    <a:gd name="connsiteX20" fmla="*/ 917575 w 1146175"/>
                    <a:gd name="connsiteY20" fmla="*/ 243466 h 1661098"/>
                    <a:gd name="connsiteX21" fmla="*/ 936625 w 1146175"/>
                    <a:gd name="connsiteY21" fmla="*/ 256166 h 1661098"/>
                    <a:gd name="connsiteX22" fmla="*/ 955675 w 1146175"/>
                    <a:gd name="connsiteY22" fmla="*/ 278391 h 1661098"/>
                    <a:gd name="connsiteX23" fmla="*/ 974725 w 1146175"/>
                    <a:gd name="connsiteY23" fmla="*/ 303791 h 1661098"/>
                    <a:gd name="connsiteX24" fmla="*/ 968375 w 1146175"/>
                    <a:gd name="connsiteY24" fmla="*/ 338716 h 1661098"/>
                    <a:gd name="connsiteX25" fmla="*/ 965200 w 1146175"/>
                    <a:gd name="connsiteY25" fmla="*/ 348241 h 1661098"/>
                    <a:gd name="connsiteX26" fmla="*/ 949325 w 1146175"/>
                    <a:gd name="connsiteY26" fmla="*/ 367291 h 1661098"/>
                    <a:gd name="connsiteX27" fmla="*/ 939800 w 1146175"/>
                    <a:gd name="connsiteY27" fmla="*/ 389516 h 1661098"/>
                    <a:gd name="connsiteX28" fmla="*/ 936625 w 1146175"/>
                    <a:gd name="connsiteY28" fmla="*/ 402216 h 1661098"/>
                    <a:gd name="connsiteX29" fmla="*/ 930275 w 1146175"/>
                    <a:gd name="connsiteY29" fmla="*/ 418091 h 1661098"/>
                    <a:gd name="connsiteX30" fmla="*/ 927100 w 1146175"/>
                    <a:gd name="connsiteY30" fmla="*/ 430791 h 1661098"/>
                    <a:gd name="connsiteX31" fmla="*/ 920750 w 1146175"/>
                    <a:gd name="connsiteY31" fmla="*/ 446666 h 1661098"/>
                    <a:gd name="connsiteX32" fmla="*/ 917575 w 1146175"/>
                    <a:gd name="connsiteY32" fmla="*/ 459366 h 1661098"/>
                    <a:gd name="connsiteX33" fmla="*/ 914400 w 1146175"/>
                    <a:gd name="connsiteY33" fmla="*/ 468891 h 1661098"/>
                    <a:gd name="connsiteX34" fmla="*/ 917575 w 1146175"/>
                    <a:gd name="connsiteY34" fmla="*/ 506991 h 1661098"/>
                    <a:gd name="connsiteX35" fmla="*/ 923925 w 1146175"/>
                    <a:gd name="connsiteY35" fmla="*/ 519691 h 1661098"/>
                    <a:gd name="connsiteX36" fmla="*/ 939800 w 1146175"/>
                    <a:gd name="connsiteY36" fmla="*/ 538741 h 1661098"/>
                    <a:gd name="connsiteX37" fmla="*/ 942975 w 1146175"/>
                    <a:gd name="connsiteY37" fmla="*/ 548266 h 1661098"/>
                    <a:gd name="connsiteX38" fmla="*/ 955675 w 1146175"/>
                    <a:gd name="connsiteY38" fmla="*/ 573666 h 1661098"/>
                    <a:gd name="connsiteX39" fmla="*/ 968375 w 1146175"/>
                    <a:gd name="connsiteY39" fmla="*/ 614941 h 1661098"/>
                    <a:gd name="connsiteX40" fmla="*/ 974725 w 1146175"/>
                    <a:gd name="connsiteY40" fmla="*/ 627641 h 1661098"/>
                    <a:gd name="connsiteX41" fmla="*/ 981075 w 1146175"/>
                    <a:gd name="connsiteY41" fmla="*/ 646691 h 1661098"/>
                    <a:gd name="connsiteX42" fmla="*/ 993775 w 1146175"/>
                    <a:gd name="connsiteY42" fmla="*/ 649866 h 1661098"/>
                    <a:gd name="connsiteX43" fmla="*/ 1012825 w 1146175"/>
                    <a:gd name="connsiteY43" fmla="*/ 653041 h 1661098"/>
                    <a:gd name="connsiteX44" fmla="*/ 1041400 w 1146175"/>
                    <a:gd name="connsiteY44" fmla="*/ 665741 h 1661098"/>
                    <a:gd name="connsiteX45" fmla="*/ 1050925 w 1146175"/>
                    <a:gd name="connsiteY45" fmla="*/ 668916 h 1661098"/>
                    <a:gd name="connsiteX46" fmla="*/ 1066800 w 1146175"/>
                    <a:gd name="connsiteY46" fmla="*/ 678441 h 1661098"/>
                    <a:gd name="connsiteX47" fmla="*/ 1089025 w 1146175"/>
                    <a:gd name="connsiteY47" fmla="*/ 687966 h 1661098"/>
                    <a:gd name="connsiteX48" fmla="*/ 1117600 w 1146175"/>
                    <a:gd name="connsiteY48" fmla="*/ 707016 h 1661098"/>
                    <a:gd name="connsiteX49" fmla="*/ 1136650 w 1146175"/>
                    <a:gd name="connsiteY49" fmla="*/ 713366 h 1661098"/>
                    <a:gd name="connsiteX50" fmla="*/ 1146175 w 1146175"/>
                    <a:gd name="connsiteY50" fmla="*/ 903866 h 1661098"/>
                    <a:gd name="connsiteX51" fmla="*/ 1127125 w 1146175"/>
                    <a:gd name="connsiteY51" fmla="*/ 913391 h 1661098"/>
                    <a:gd name="connsiteX52" fmla="*/ 1101725 w 1146175"/>
                    <a:gd name="connsiteY52" fmla="*/ 919741 h 1661098"/>
                    <a:gd name="connsiteX53" fmla="*/ 1092200 w 1146175"/>
                    <a:gd name="connsiteY53" fmla="*/ 926091 h 1661098"/>
                    <a:gd name="connsiteX54" fmla="*/ 1079500 w 1146175"/>
                    <a:gd name="connsiteY54" fmla="*/ 929266 h 1661098"/>
                    <a:gd name="connsiteX55" fmla="*/ 1069975 w 1146175"/>
                    <a:gd name="connsiteY55" fmla="*/ 938791 h 1661098"/>
                    <a:gd name="connsiteX56" fmla="*/ 1060450 w 1146175"/>
                    <a:gd name="connsiteY56" fmla="*/ 945141 h 1661098"/>
                    <a:gd name="connsiteX57" fmla="*/ 1038225 w 1146175"/>
                    <a:gd name="connsiteY57" fmla="*/ 957841 h 1661098"/>
                    <a:gd name="connsiteX58" fmla="*/ 996950 w 1146175"/>
                    <a:gd name="connsiteY58" fmla="*/ 983241 h 1661098"/>
                    <a:gd name="connsiteX59" fmla="*/ 977900 w 1146175"/>
                    <a:gd name="connsiteY59" fmla="*/ 989591 h 1661098"/>
                    <a:gd name="connsiteX60" fmla="*/ 968375 w 1146175"/>
                    <a:gd name="connsiteY60" fmla="*/ 1014991 h 1661098"/>
                    <a:gd name="connsiteX61" fmla="*/ 958850 w 1146175"/>
                    <a:gd name="connsiteY61" fmla="*/ 1040391 h 1661098"/>
                    <a:gd name="connsiteX62" fmla="*/ 955675 w 1146175"/>
                    <a:gd name="connsiteY62" fmla="*/ 1065791 h 1661098"/>
                    <a:gd name="connsiteX63" fmla="*/ 949325 w 1146175"/>
                    <a:gd name="connsiteY63" fmla="*/ 1075316 h 1661098"/>
                    <a:gd name="connsiteX64" fmla="*/ 946150 w 1146175"/>
                    <a:gd name="connsiteY64" fmla="*/ 1084841 h 1661098"/>
                    <a:gd name="connsiteX65" fmla="*/ 936625 w 1146175"/>
                    <a:gd name="connsiteY65" fmla="*/ 1100716 h 1661098"/>
                    <a:gd name="connsiteX66" fmla="*/ 923925 w 1146175"/>
                    <a:gd name="connsiteY66" fmla="*/ 1135641 h 1661098"/>
                    <a:gd name="connsiteX67" fmla="*/ 917575 w 1146175"/>
                    <a:gd name="connsiteY67" fmla="*/ 1145166 h 1661098"/>
                    <a:gd name="connsiteX68" fmla="*/ 923925 w 1146175"/>
                    <a:gd name="connsiteY68" fmla="*/ 1199141 h 1661098"/>
                    <a:gd name="connsiteX69" fmla="*/ 939800 w 1146175"/>
                    <a:gd name="connsiteY69" fmla="*/ 1221366 h 1661098"/>
                    <a:gd name="connsiteX70" fmla="*/ 946150 w 1146175"/>
                    <a:gd name="connsiteY70" fmla="*/ 1234066 h 1661098"/>
                    <a:gd name="connsiteX71" fmla="*/ 952500 w 1146175"/>
                    <a:gd name="connsiteY71" fmla="*/ 1243591 h 1661098"/>
                    <a:gd name="connsiteX72" fmla="*/ 965200 w 1146175"/>
                    <a:gd name="connsiteY72" fmla="*/ 1268991 h 1661098"/>
                    <a:gd name="connsiteX73" fmla="*/ 974725 w 1146175"/>
                    <a:gd name="connsiteY73" fmla="*/ 1291216 h 1661098"/>
                    <a:gd name="connsiteX74" fmla="*/ 977900 w 1146175"/>
                    <a:gd name="connsiteY74" fmla="*/ 1303916 h 1661098"/>
                    <a:gd name="connsiteX75" fmla="*/ 981075 w 1146175"/>
                    <a:gd name="connsiteY75" fmla="*/ 1313441 h 1661098"/>
                    <a:gd name="connsiteX76" fmla="*/ 974725 w 1146175"/>
                    <a:gd name="connsiteY76" fmla="*/ 1348366 h 1661098"/>
                    <a:gd name="connsiteX77" fmla="*/ 949325 w 1146175"/>
                    <a:gd name="connsiteY77" fmla="*/ 1380116 h 1661098"/>
                    <a:gd name="connsiteX78" fmla="*/ 939800 w 1146175"/>
                    <a:gd name="connsiteY78" fmla="*/ 1386466 h 1661098"/>
                    <a:gd name="connsiteX79" fmla="*/ 930275 w 1146175"/>
                    <a:gd name="connsiteY79" fmla="*/ 1395991 h 1661098"/>
                    <a:gd name="connsiteX80" fmla="*/ 923925 w 1146175"/>
                    <a:gd name="connsiteY80" fmla="*/ 1405516 h 1661098"/>
                    <a:gd name="connsiteX81" fmla="*/ 908050 w 1146175"/>
                    <a:gd name="connsiteY81" fmla="*/ 1415041 h 1661098"/>
                    <a:gd name="connsiteX82" fmla="*/ 895350 w 1146175"/>
                    <a:gd name="connsiteY82" fmla="*/ 1427741 h 1661098"/>
                    <a:gd name="connsiteX83" fmla="*/ 882650 w 1146175"/>
                    <a:gd name="connsiteY83" fmla="*/ 1437266 h 1661098"/>
                    <a:gd name="connsiteX84" fmla="*/ 873125 w 1146175"/>
                    <a:gd name="connsiteY84" fmla="*/ 1446791 h 1661098"/>
                    <a:gd name="connsiteX85" fmla="*/ 844550 w 1146175"/>
                    <a:gd name="connsiteY85" fmla="*/ 1462666 h 1661098"/>
                    <a:gd name="connsiteX86" fmla="*/ 835025 w 1146175"/>
                    <a:gd name="connsiteY86" fmla="*/ 1465841 h 1661098"/>
                    <a:gd name="connsiteX87" fmla="*/ 815975 w 1146175"/>
                    <a:gd name="connsiteY87" fmla="*/ 1459491 h 1661098"/>
                    <a:gd name="connsiteX88" fmla="*/ 774700 w 1146175"/>
                    <a:gd name="connsiteY88" fmla="*/ 1443616 h 1661098"/>
                    <a:gd name="connsiteX89" fmla="*/ 749300 w 1146175"/>
                    <a:gd name="connsiteY89" fmla="*/ 1437266 h 1661098"/>
                    <a:gd name="connsiteX90" fmla="*/ 717550 w 1146175"/>
                    <a:gd name="connsiteY90" fmla="*/ 1424566 h 1661098"/>
                    <a:gd name="connsiteX91" fmla="*/ 688975 w 1146175"/>
                    <a:gd name="connsiteY91" fmla="*/ 1418216 h 1661098"/>
                    <a:gd name="connsiteX92" fmla="*/ 657225 w 1146175"/>
                    <a:gd name="connsiteY92" fmla="*/ 1408691 h 1661098"/>
                    <a:gd name="connsiteX93" fmla="*/ 635000 w 1146175"/>
                    <a:gd name="connsiteY93" fmla="*/ 1411866 h 1661098"/>
                    <a:gd name="connsiteX94" fmla="*/ 622300 w 1146175"/>
                    <a:gd name="connsiteY94" fmla="*/ 1418216 h 1661098"/>
                    <a:gd name="connsiteX95" fmla="*/ 606425 w 1146175"/>
                    <a:gd name="connsiteY95" fmla="*/ 1427741 h 1661098"/>
                    <a:gd name="connsiteX96" fmla="*/ 577850 w 1146175"/>
                    <a:gd name="connsiteY96" fmla="*/ 1443616 h 1661098"/>
                    <a:gd name="connsiteX97" fmla="*/ 558800 w 1146175"/>
                    <a:gd name="connsiteY97" fmla="*/ 1446791 h 1661098"/>
                    <a:gd name="connsiteX98" fmla="*/ 501650 w 1146175"/>
                    <a:gd name="connsiteY98" fmla="*/ 1453141 h 1661098"/>
                    <a:gd name="connsiteX99" fmla="*/ 492125 w 1146175"/>
                    <a:gd name="connsiteY99" fmla="*/ 1459491 h 1661098"/>
                    <a:gd name="connsiteX100" fmla="*/ 466725 w 1146175"/>
                    <a:gd name="connsiteY100" fmla="*/ 1491241 h 1661098"/>
                    <a:gd name="connsiteX101" fmla="*/ 457200 w 1146175"/>
                    <a:gd name="connsiteY101" fmla="*/ 1510291 h 1661098"/>
                    <a:gd name="connsiteX102" fmla="*/ 454025 w 1146175"/>
                    <a:gd name="connsiteY102" fmla="*/ 1519816 h 1661098"/>
                    <a:gd name="connsiteX103" fmla="*/ 447675 w 1146175"/>
                    <a:gd name="connsiteY103" fmla="*/ 1535691 h 1661098"/>
                    <a:gd name="connsiteX104" fmla="*/ 434975 w 1146175"/>
                    <a:gd name="connsiteY104" fmla="*/ 1561091 h 1661098"/>
                    <a:gd name="connsiteX105" fmla="*/ 431800 w 1146175"/>
                    <a:gd name="connsiteY105" fmla="*/ 1576966 h 1661098"/>
                    <a:gd name="connsiteX106" fmla="*/ 425450 w 1146175"/>
                    <a:gd name="connsiteY106" fmla="*/ 1602366 h 1661098"/>
                    <a:gd name="connsiteX107" fmla="*/ 422275 w 1146175"/>
                    <a:gd name="connsiteY107" fmla="*/ 1611891 h 1661098"/>
                    <a:gd name="connsiteX108" fmla="*/ 412750 w 1146175"/>
                    <a:gd name="connsiteY108" fmla="*/ 1621416 h 1661098"/>
                    <a:gd name="connsiteX109" fmla="*/ 222250 w 1146175"/>
                    <a:gd name="connsiteY109" fmla="*/ 1627766 h 1661098"/>
                    <a:gd name="connsiteX110" fmla="*/ 215900 w 1146175"/>
                    <a:gd name="connsiteY110" fmla="*/ 1611891 h 1661098"/>
                    <a:gd name="connsiteX111" fmla="*/ 206375 w 1146175"/>
                    <a:gd name="connsiteY111" fmla="*/ 1599191 h 1661098"/>
                    <a:gd name="connsiteX112" fmla="*/ 203200 w 1146175"/>
                    <a:gd name="connsiteY112" fmla="*/ 1586491 h 1661098"/>
                    <a:gd name="connsiteX113" fmla="*/ 196850 w 1146175"/>
                    <a:gd name="connsiteY113" fmla="*/ 1573791 h 1661098"/>
                    <a:gd name="connsiteX114" fmla="*/ 193675 w 1146175"/>
                    <a:gd name="connsiteY114" fmla="*/ 1564266 h 1661098"/>
                    <a:gd name="connsiteX115" fmla="*/ 187325 w 1146175"/>
                    <a:gd name="connsiteY115" fmla="*/ 1551566 h 1661098"/>
                    <a:gd name="connsiteX116" fmla="*/ 180975 w 1146175"/>
                    <a:gd name="connsiteY116" fmla="*/ 1535691 h 1661098"/>
                    <a:gd name="connsiteX117" fmla="*/ 161925 w 1146175"/>
                    <a:gd name="connsiteY117" fmla="*/ 1507116 h 1661098"/>
                    <a:gd name="connsiteX118" fmla="*/ 149225 w 1146175"/>
                    <a:gd name="connsiteY118" fmla="*/ 1484891 h 1661098"/>
                    <a:gd name="connsiteX119" fmla="*/ 142875 w 1146175"/>
                    <a:gd name="connsiteY119" fmla="*/ 1469016 h 1661098"/>
                    <a:gd name="connsiteX120" fmla="*/ 130175 w 1146175"/>
                    <a:gd name="connsiteY120" fmla="*/ 1465841 h 1661098"/>
                    <a:gd name="connsiteX121" fmla="*/ 101600 w 1146175"/>
                    <a:gd name="connsiteY121" fmla="*/ 1453141 h 1661098"/>
                    <a:gd name="connsiteX122" fmla="*/ 69850 w 1146175"/>
                    <a:gd name="connsiteY122" fmla="*/ 1443616 h 1661098"/>
                    <a:gd name="connsiteX123" fmla="*/ 41275 w 1146175"/>
                    <a:gd name="connsiteY123" fmla="*/ 1430916 h 1661098"/>
                    <a:gd name="connsiteX124" fmla="*/ 31750 w 1146175"/>
                    <a:gd name="connsiteY124" fmla="*/ 1424566 h 1661098"/>
                    <a:gd name="connsiteX125" fmla="*/ 15875 w 1146175"/>
                    <a:gd name="connsiteY125" fmla="*/ 1418216 h 1661098"/>
                    <a:gd name="connsiteX126" fmla="*/ 0 w 1146175"/>
                    <a:gd name="connsiteY12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96925 w 1146175"/>
                    <a:gd name="connsiteY14" fmla="*/ 195841 h 1661098"/>
                    <a:gd name="connsiteX15" fmla="*/ 838200 w 1146175"/>
                    <a:gd name="connsiteY15" fmla="*/ 186316 h 1661098"/>
                    <a:gd name="connsiteX16" fmla="*/ 879475 w 1146175"/>
                    <a:gd name="connsiteY16" fmla="*/ 205366 h 1661098"/>
                    <a:gd name="connsiteX17" fmla="*/ 885825 w 1146175"/>
                    <a:gd name="connsiteY17" fmla="*/ 214891 h 1661098"/>
                    <a:gd name="connsiteX18" fmla="*/ 901700 w 1146175"/>
                    <a:gd name="connsiteY18" fmla="*/ 230766 h 1661098"/>
                    <a:gd name="connsiteX19" fmla="*/ 917575 w 1146175"/>
                    <a:gd name="connsiteY19" fmla="*/ 243466 h 1661098"/>
                    <a:gd name="connsiteX20" fmla="*/ 936625 w 1146175"/>
                    <a:gd name="connsiteY20" fmla="*/ 256166 h 1661098"/>
                    <a:gd name="connsiteX21" fmla="*/ 955675 w 1146175"/>
                    <a:gd name="connsiteY21" fmla="*/ 278391 h 1661098"/>
                    <a:gd name="connsiteX22" fmla="*/ 974725 w 1146175"/>
                    <a:gd name="connsiteY22" fmla="*/ 303791 h 1661098"/>
                    <a:gd name="connsiteX23" fmla="*/ 968375 w 1146175"/>
                    <a:gd name="connsiteY23" fmla="*/ 338716 h 1661098"/>
                    <a:gd name="connsiteX24" fmla="*/ 965200 w 1146175"/>
                    <a:gd name="connsiteY24" fmla="*/ 348241 h 1661098"/>
                    <a:gd name="connsiteX25" fmla="*/ 949325 w 1146175"/>
                    <a:gd name="connsiteY25" fmla="*/ 367291 h 1661098"/>
                    <a:gd name="connsiteX26" fmla="*/ 939800 w 1146175"/>
                    <a:gd name="connsiteY26" fmla="*/ 389516 h 1661098"/>
                    <a:gd name="connsiteX27" fmla="*/ 936625 w 1146175"/>
                    <a:gd name="connsiteY27" fmla="*/ 402216 h 1661098"/>
                    <a:gd name="connsiteX28" fmla="*/ 930275 w 1146175"/>
                    <a:gd name="connsiteY28" fmla="*/ 418091 h 1661098"/>
                    <a:gd name="connsiteX29" fmla="*/ 927100 w 1146175"/>
                    <a:gd name="connsiteY29" fmla="*/ 430791 h 1661098"/>
                    <a:gd name="connsiteX30" fmla="*/ 920750 w 1146175"/>
                    <a:gd name="connsiteY30" fmla="*/ 446666 h 1661098"/>
                    <a:gd name="connsiteX31" fmla="*/ 917575 w 1146175"/>
                    <a:gd name="connsiteY31" fmla="*/ 459366 h 1661098"/>
                    <a:gd name="connsiteX32" fmla="*/ 914400 w 1146175"/>
                    <a:gd name="connsiteY32" fmla="*/ 468891 h 1661098"/>
                    <a:gd name="connsiteX33" fmla="*/ 917575 w 1146175"/>
                    <a:gd name="connsiteY33" fmla="*/ 506991 h 1661098"/>
                    <a:gd name="connsiteX34" fmla="*/ 923925 w 1146175"/>
                    <a:gd name="connsiteY34" fmla="*/ 519691 h 1661098"/>
                    <a:gd name="connsiteX35" fmla="*/ 939800 w 1146175"/>
                    <a:gd name="connsiteY35" fmla="*/ 538741 h 1661098"/>
                    <a:gd name="connsiteX36" fmla="*/ 942975 w 1146175"/>
                    <a:gd name="connsiteY36" fmla="*/ 548266 h 1661098"/>
                    <a:gd name="connsiteX37" fmla="*/ 955675 w 1146175"/>
                    <a:gd name="connsiteY37" fmla="*/ 573666 h 1661098"/>
                    <a:gd name="connsiteX38" fmla="*/ 968375 w 1146175"/>
                    <a:gd name="connsiteY38" fmla="*/ 614941 h 1661098"/>
                    <a:gd name="connsiteX39" fmla="*/ 974725 w 1146175"/>
                    <a:gd name="connsiteY39" fmla="*/ 627641 h 1661098"/>
                    <a:gd name="connsiteX40" fmla="*/ 981075 w 1146175"/>
                    <a:gd name="connsiteY40" fmla="*/ 646691 h 1661098"/>
                    <a:gd name="connsiteX41" fmla="*/ 993775 w 1146175"/>
                    <a:gd name="connsiteY41" fmla="*/ 649866 h 1661098"/>
                    <a:gd name="connsiteX42" fmla="*/ 1012825 w 1146175"/>
                    <a:gd name="connsiteY42" fmla="*/ 653041 h 1661098"/>
                    <a:gd name="connsiteX43" fmla="*/ 1041400 w 1146175"/>
                    <a:gd name="connsiteY43" fmla="*/ 665741 h 1661098"/>
                    <a:gd name="connsiteX44" fmla="*/ 1050925 w 1146175"/>
                    <a:gd name="connsiteY44" fmla="*/ 668916 h 1661098"/>
                    <a:gd name="connsiteX45" fmla="*/ 1066800 w 1146175"/>
                    <a:gd name="connsiteY45" fmla="*/ 678441 h 1661098"/>
                    <a:gd name="connsiteX46" fmla="*/ 1089025 w 1146175"/>
                    <a:gd name="connsiteY46" fmla="*/ 687966 h 1661098"/>
                    <a:gd name="connsiteX47" fmla="*/ 1117600 w 1146175"/>
                    <a:gd name="connsiteY47" fmla="*/ 707016 h 1661098"/>
                    <a:gd name="connsiteX48" fmla="*/ 1136650 w 1146175"/>
                    <a:gd name="connsiteY48" fmla="*/ 713366 h 1661098"/>
                    <a:gd name="connsiteX49" fmla="*/ 1146175 w 1146175"/>
                    <a:gd name="connsiteY49" fmla="*/ 903866 h 1661098"/>
                    <a:gd name="connsiteX50" fmla="*/ 1127125 w 1146175"/>
                    <a:gd name="connsiteY50" fmla="*/ 913391 h 1661098"/>
                    <a:gd name="connsiteX51" fmla="*/ 1101725 w 1146175"/>
                    <a:gd name="connsiteY51" fmla="*/ 919741 h 1661098"/>
                    <a:gd name="connsiteX52" fmla="*/ 1092200 w 1146175"/>
                    <a:gd name="connsiteY52" fmla="*/ 926091 h 1661098"/>
                    <a:gd name="connsiteX53" fmla="*/ 1079500 w 1146175"/>
                    <a:gd name="connsiteY53" fmla="*/ 929266 h 1661098"/>
                    <a:gd name="connsiteX54" fmla="*/ 1069975 w 1146175"/>
                    <a:gd name="connsiteY54" fmla="*/ 938791 h 1661098"/>
                    <a:gd name="connsiteX55" fmla="*/ 1060450 w 1146175"/>
                    <a:gd name="connsiteY55" fmla="*/ 945141 h 1661098"/>
                    <a:gd name="connsiteX56" fmla="*/ 1038225 w 1146175"/>
                    <a:gd name="connsiteY56" fmla="*/ 957841 h 1661098"/>
                    <a:gd name="connsiteX57" fmla="*/ 996950 w 1146175"/>
                    <a:gd name="connsiteY57" fmla="*/ 983241 h 1661098"/>
                    <a:gd name="connsiteX58" fmla="*/ 977900 w 1146175"/>
                    <a:gd name="connsiteY58" fmla="*/ 989591 h 1661098"/>
                    <a:gd name="connsiteX59" fmla="*/ 968375 w 1146175"/>
                    <a:gd name="connsiteY59" fmla="*/ 1014991 h 1661098"/>
                    <a:gd name="connsiteX60" fmla="*/ 958850 w 1146175"/>
                    <a:gd name="connsiteY60" fmla="*/ 1040391 h 1661098"/>
                    <a:gd name="connsiteX61" fmla="*/ 955675 w 1146175"/>
                    <a:gd name="connsiteY61" fmla="*/ 1065791 h 1661098"/>
                    <a:gd name="connsiteX62" fmla="*/ 949325 w 1146175"/>
                    <a:gd name="connsiteY62" fmla="*/ 1075316 h 1661098"/>
                    <a:gd name="connsiteX63" fmla="*/ 946150 w 1146175"/>
                    <a:gd name="connsiteY63" fmla="*/ 1084841 h 1661098"/>
                    <a:gd name="connsiteX64" fmla="*/ 936625 w 1146175"/>
                    <a:gd name="connsiteY64" fmla="*/ 1100716 h 1661098"/>
                    <a:gd name="connsiteX65" fmla="*/ 923925 w 1146175"/>
                    <a:gd name="connsiteY65" fmla="*/ 1135641 h 1661098"/>
                    <a:gd name="connsiteX66" fmla="*/ 917575 w 1146175"/>
                    <a:gd name="connsiteY66" fmla="*/ 1145166 h 1661098"/>
                    <a:gd name="connsiteX67" fmla="*/ 923925 w 1146175"/>
                    <a:gd name="connsiteY67" fmla="*/ 1199141 h 1661098"/>
                    <a:gd name="connsiteX68" fmla="*/ 939800 w 1146175"/>
                    <a:gd name="connsiteY68" fmla="*/ 1221366 h 1661098"/>
                    <a:gd name="connsiteX69" fmla="*/ 946150 w 1146175"/>
                    <a:gd name="connsiteY69" fmla="*/ 1234066 h 1661098"/>
                    <a:gd name="connsiteX70" fmla="*/ 952500 w 1146175"/>
                    <a:gd name="connsiteY70" fmla="*/ 1243591 h 1661098"/>
                    <a:gd name="connsiteX71" fmla="*/ 965200 w 1146175"/>
                    <a:gd name="connsiteY71" fmla="*/ 1268991 h 1661098"/>
                    <a:gd name="connsiteX72" fmla="*/ 974725 w 1146175"/>
                    <a:gd name="connsiteY72" fmla="*/ 1291216 h 1661098"/>
                    <a:gd name="connsiteX73" fmla="*/ 977900 w 1146175"/>
                    <a:gd name="connsiteY73" fmla="*/ 1303916 h 1661098"/>
                    <a:gd name="connsiteX74" fmla="*/ 981075 w 1146175"/>
                    <a:gd name="connsiteY74" fmla="*/ 1313441 h 1661098"/>
                    <a:gd name="connsiteX75" fmla="*/ 974725 w 1146175"/>
                    <a:gd name="connsiteY75" fmla="*/ 1348366 h 1661098"/>
                    <a:gd name="connsiteX76" fmla="*/ 949325 w 1146175"/>
                    <a:gd name="connsiteY76" fmla="*/ 1380116 h 1661098"/>
                    <a:gd name="connsiteX77" fmla="*/ 939800 w 1146175"/>
                    <a:gd name="connsiteY77" fmla="*/ 1386466 h 1661098"/>
                    <a:gd name="connsiteX78" fmla="*/ 930275 w 1146175"/>
                    <a:gd name="connsiteY78" fmla="*/ 1395991 h 1661098"/>
                    <a:gd name="connsiteX79" fmla="*/ 923925 w 1146175"/>
                    <a:gd name="connsiteY79" fmla="*/ 1405516 h 1661098"/>
                    <a:gd name="connsiteX80" fmla="*/ 908050 w 1146175"/>
                    <a:gd name="connsiteY80" fmla="*/ 1415041 h 1661098"/>
                    <a:gd name="connsiteX81" fmla="*/ 895350 w 1146175"/>
                    <a:gd name="connsiteY81" fmla="*/ 1427741 h 1661098"/>
                    <a:gd name="connsiteX82" fmla="*/ 882650 w 1146175"/>
                    <a:gd name="connsiteY82" fmla="*/ 1437266 h 1661098"/>
                    <a:gd name="connsiteX83" fmla="*/ 873125 w 1146175"/>
                    <a:gd name="connsiteY83" fmla="*/ 1446791 h 1661098"/>
                    <a:gd name="connsiteX84" fmla="*/ 844550 w 1146175"/>
                    <a:gd name="connsiteY84" fmla="*/ 1462666 h 1661098"/>
                    <a:gd name="connsiteX85" fmla="*/ 835025 w 1146175"/>
                    <a:gd name="connsiteY85" fmla="*/ 1465841 h 1661098"/>
                    <a:gd name="connsiteX86" fmla="*/ 815975 w 1146175"/>
                    <a:gd name="connsiteY86" fmla="*/ 1459491 h 1661098"/>
                    <a:gd name="connsiteX87" fmla="*/ 774700 w 1146175"/>
                    <a:gd name="connsiteY87" fmla="*/ 1443616 h 1661098"/>
                    <a:gd name="connsiteX88" fmla="*/ 749300 w 1146175"/>
                    <a:gd name="connsiteY88" fmla="*/ 1437266 h 1661098"/>
                    <a:gd name="connsiteX89" fmla="*/ 717550 w 1146175"/>
                    <a:gd name="connsiteY89" fmla="*/ 1424566 h 1661098"/>
                    <a:gd name="connsiteX90" fmla="*/ 688975 w 1146175"/>
                    <a:gd name="connsiteY90" fmla="*/ 1418216 h 1661098"/>
                    <a:gd name="connsiteX91" fmla="*/ 657225 w 1146175"/>
                    <a:gd name="connsiteY91" fmla="*/ 1408691 h 1661098"/>
                    <a:gd name="connsiteX92" fmla="*/ 635000 w 1146175"/>
                    <a:gd name="connsiteY92" fmla="*/ 1411866 h 1661098"/>
                    <a:gd name="connsiteX93" fmla="*/ 622300 w 1146175"/>
                    <a:gd name="connsiteY93" fmla="*/ 1418216 h 1661098"/>
                    <a:gd name="connsiteX94" fmla="*/ 606425 w 1146175"/>
                    <a:gd name="connsiteY94" fmla="*/ 1427741 h 1661098"/>
                    <a:gd name="connsiteX95" fmla="*/ 577850 w 1146175"/>
                    <a:gd name="connsiteY95" fmla="*/ 1443616 h 1661098"/>
                    <a:gd name="connsiteX96" fmla="*/ 558800 w 1146175"/>
                    <a:gd name="connsiteY96" fmla="*/ 1446791 h 1661098"/>
                    <a:gd name="connsiteX97" fmla="*/ 501650 w 1146175"/>
                    <a:gd name="connsiteY97" fmla="*/ 1453141 h 1661098"/>
                    <a:gd name="connsiteX98" fmla="*/ 492125 w 1146175"/>
                    <a:gd name="connsiteY98" fmla="*/ 1459491 h 1661098"/>
                    <a:gd name="connsiteX99" fmla="*/ 466725 w 1146175"/>
                    <a:gd name="connsiteY99" fmla="*/ 1491241 h 1661098"/>
                    <a:gd name="connsiteX100" fmla="*/ 457200 w 1146175"/>
                    <a:gd name="connsiteY100" fmla="*/ 1510291 h 1661098"/>
                    <a:gd name="connsiteX101" fmla="*/ 454025 w 1146175"/>
                    <a:gd name="connsiteY101" fmla="*/ 1519816 h 1661098"/>
                    <a:gd name="connsiteX102" fmla="*/ 447675 w 1146175"/>
                    <a:gd name="connsiteY102" fmla="*/ 1535691 h 1661098"/>
                    <a:gd name="connsiteX103" fmla="*/ 434975 w 1146175"/>
                    <a:gd name="connsiteY103" fmla="*/ 1561091 h 1661098"/>
                    <a:gd name="connsiteX104" fmla="*/ 431800 w 1146175"/>
                    <a:gd name="connsiteY104" fmla="*/ 1576966 h 1661098"/>
                    <a:gd name="connsiteX105" fmla="*/ 425450 w 1146175"/>
                    <a:gd name="connsiteY105" fmla="*/ 1602366 h 1661098"/>
                    <a:gd name="connsiteX106" fmla="*/ 422275 w 1146175"/>
                    <a:gd name="connsiteY106" fmla="*/ 1611891 h 1661098"/>
                    <a:gd name="connsiteX107" fmla="*/ 412750 w 1146175"/>
                    <a:gd name="connsiteY107" fmla="*/ 1621416 h 1661098"/>
                    <a:gd name="connsiteX108" fmla="*/ 222250 w 1146175"/>
                    <a:gd name="connsiteY108" fmla="*/ 1627766 h 1661098"/>
                    <a:gd name="connsiteX109" fmla="*/ 215900 w 1146175"/>
                    <a:gd name="connsiteY109" fmla="*/ 1611891 h 1661098"/>
                    <a:gd name="connsiteX110" fmla="*/ 206375 w 1146175"/>
                    <a:gd name="connsiteY110" fmla="*/ 1599191 h 1661098"/>
                    <a:gd name="connsiteX111" fmla="*/ 203200 w 1146175"/>
                    <a:gd name="connsiteY111" fmla="*/ 1586491 h 1661098"/>
                    <a:gd name="connsiteX112" fmla="*/ 196850 w 1146175"/>
                    <a:gd name="connsiteY112" fmla="*/ 1573791 h 1661098"/>
                    <a:gd name="connsiteX113" fmla="*/ 193675 w 1146175"/>
                    <a:gd name="connsiteY113" fmla="*/ 1564266 h 1661098"/>
                    <a:gd name="connsiteX114" fmla="*/ 187325 w 1146175"/>
                    <a:gd name="connsiteY114" fmla="*/ 1551566 h 1661098"/>
                    <a:gd name="connsiteX115" fmla="*/ 180975 w 1146175"/>
                    <a:gd name="connsiteY115" fmla="*/ 1535691 h 1661098"/>
                    <a:gd name="connsiteX116" fmla="*/ 161925 w 1146175"/>
                    <a:gd name="connsiteY116" fmla="*/ 1507116 h 1661098"/>
                    <a:gd name="connsiteX117" fmla="*/ 149225 w 1146175"/>
                    <a:gd name="connsiteY117" fmla="*/ 1484891 h 1661098"/>
                    <a:gd name="connsiteX118" fmla="*/ 142875 w 1146175"/>
                    <a:gd name="connsiteY118" fmla="*/ 1469016 h 1661098"/>
                    <a:gd name="connsiteX119" fmla="*/ 130175 w 1146175"/>
                    <a:gd name="connsiteY119" fmla="*/ 1465841 h 1661098"/>
                    <a:gd name="connsiteX120" fmla="*/ 101600 w 1146175"/>
                    <a:gd name="connsiteY120" fmla="*/ 1453141 h 1661098"/>
                    <a:gd name="connsiteX121" fmla="*/ 69850 w 1146175"/>
                    <a:gd name="connsiteY121" fmla="*/ 1443616 h 1661098"/>
                    <a:gd name="connsiteX122" fmla="*/ 41275 w 1146175"/>
                    <a:gd name="connsiteY122" fmla="*/ 1430916 h 1661098"/>
                    <a:gd name="connsiteX123" fmla="*/ 31750 w 1146175"/>
                    <a:gd name="connsiteY123" fmla="*/ 1424566 h 1661098"/>
                    <a:gd name="connsiteX124" fmla="*/ 15875 w 1146175"/>
                    <a:gd name="connsiteY124" fmla="*/ 1418216 h 1661098"/>
                    <a:gd name="connsiteX125" fmla="*/ 0 w 1146175"/>
                    <a:gd name="connsiteY12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885825 w 1146175"/>
                    <a:gd name="connsiteY16" fmla="*/ 214891 h 1661098"/>
                    <a:gd name="connsiteX17" fmla="*/ 901700 w 1146175"/>
                    <a:gd name="connsiteY17" fmla="*/ 230766 h 1661098"/>
                    <a:gd name="connsiteX18" fmla="*/ 917575 w 1146175"/>
                    <a:gd name="connsiteY18" fmla="*/ 243466 h 1661098"/>
                    <a:gd name="connsiteX19" fmla="*/ 936625 w 1146175"/>
                    <a:gd name="connsiteY19" fmla="*/ 256166 h 1661098"/>
                    <a:gd name="connsiteX20" fmla="*/ 955675 w 1146175"/>
                    <a:gd name="connsiteY20" fmla="*/ 278391 h 1661098"/>
                    <a:gd name="connsiteX21" fmla="*/ 974725 w 1146175"/>
                    <a:gd name="connsiteY21" fmla="*/ 303791 h 1661098"/>
                    <a:gd name="connsiteX22" fmla="*/ 968375 w 1146175"/>
                    <a:gd name="connsiteY22" fmla="*/ 338716 h 1661098"/>
                    <a:gd name="connsiteX23" fmla="*/ 965200 w 1146175"/>
                    <a:gd name="connsiteY23" fmla="*/ 348241 h 1661098"/>
                    <a:gd name="connsiteX24" fmla="*/ 949325 w 1146175"/>
                    <a:gd name="connsiteY24" fmla="*/ 367291 h 1661098"/>
                    <a:gd name="connsiteX25" fmla="*/ 939800 w 1146175"/>
                    <a:gd name="connsiteY25" fmla="*/ 389516 h 1661098"/>
                    <a:gd name="connsiteX26" fmla="*/ 936625 w 1146175"/>
                    <a:gd name="connsiteY26" fmla="*/ 402216 h 1661098"/>
                    <a:gd name="connsiteX27" fmla="*/ 930275 w 1146175"/>
                    <a:gd name="connsiteY27" fmla="*/ 418091 h 1661098"/>
                    <a:gd name="connsiteX28" fmla="*/ 927100 w 1146175"/>
                    <a:gd name="connsiteY28" fmla="*/ 430791 h 1661098"/>
                    <a:gd name="connsiteX29" fmla="*/ 920750 w 1146175"/>
                    <a:gd name="connsiteY29" fmla="*/ 446666 h 1661098"/>
                    <a:gd name="connsiteX30" fmla="*/ 917575 w 1146175"/>
                    <a:gd name="connsiteY30" fmla="*/ 459366 h 1661098"/>
                    <a:gd name="connsiteX31" fmla="*/ 914400 w 1146175"/>
                    <a:gd name="connsiteY31" fmla="*/ 468891 h 1661098"/>
                    <a:gd name="connsiteX32" fmla="*/ 917575 w 1146175"/>
                    <a:gd name="connsiteY32" fmla="*/ 506991 h 1661098"/>
                    <a:gd name="connsiteX33" fmla="*/ 923925 w 1146175"/>
                    <a:gd name="connsiteY33" fmla="*/ 519691 h 1661098"/>
                    <a:gd name="connsiteX34" fmla="*/ 939800 w 1146175"/>
                    <a:gd name="connsiteY34" fmla="*/ 538741 h 1661098"/>
                    <a:gd name="connsiteX35" fmla="*/ 942975 w 1146175"/>
                    <a:gd name="connsiteY35" fmla="*/ 548266 h 1661098"/>
                    <a:gd name="connsiteX36" fmla="*/ 955675 w 1146175"/>
                    <a:gd name="connsiteY36" fmla="*/ 573666 h 1661098"/>
                    <a:gd name="connsiteX37" fmla="*/ 968375 w 1146175"/>
                    <a:gd name="connsiteY37" fmla="*/ 614941 h 1661098"/>
                    <a:gd name="connsiteX38" fmla="*/ 974725 w 1146175"/>
                    <a:gd name="connsiteY38" fmla="*/ 627641 h 1661098"/>
                    <a:gd name="connsiteX39" fmla="*/ 981075 w 1146175"/>
                    <a:gd name="connsiteY39" fmla="*/ 646691 h 1661098"/>
                    <a:gd name="connsiteX40" fmla="*/ 993775 w 1146175"/>
                    <a:gd name="connsiteY40" fmla="*/ 649866 h 1661098"/>
                    <a:gd name="connsiteX41" fmla="*/ 1012825 w 1146175"/>
                    <a:gd name="connsiteY41" fmla="*/ 653041 h 1661098"/>
                    <a:gd name="connsiteX42" fmla="*/ 1041400 w 1146175"/>
                    <a:gd name="connsiteY42" fmla="*/ 665741 h 1661098"/>
                    <a:gd name="connsiteX43" fmla="*/ 1050925 w 1146175"/>
                    <a:gd name="connsiteY43" fmla="*/ 668916 h 1661098"/>
                    <a:gd name="connsiteX44" fmla="*/ 1066800 w 1146175"/>
                    <a:gd name="connsiteY44" fmla="*/ 678441 h 1661098"/>
                    <a:gd name="connsiteX45" fmla="*/ 1089025 w 1146175"/>
                    <a:gd name="connsiteY45" fmla="*/ 687966 h 1661098"/>
                    <a:gd name="connsiteX46" fmla="*/ 1117600 w 1146175"/>
                    <a:gd name="connsiteY46" fmla="*/ 707016 h 1661098"/>
                    <a:gd name="connsiteX47" fmla="*/ 1136650 w 1146175"/>
                    <a:gd name="connsiteY47" fmla="*/ 713366 h 1661098"/>
                    <a:gd name="connsiteX48" fmla="*/ 1146175 w 1146175"/>
                    <a:gd name="connsiteY48" fmla="*/ 903866 h 1661098"/>
                    <a:gd name="connsiteX49" fmla="*/ 1127125 w 1146175"/>
                    <a:gd name="connsiteY49" fmla="*/ 913391 h 1661098"/>
                    <a:gd name="connsiteX50" fmla="*/ 1101725 w 1146175"/>
                    <a:gd name="connsiteY50" fmla="*/ 919741 h 1661098"/>
                    <a:gd name="connsiteX51" fmla="*/ 1092200 w 1146175"/>
                    <a:gd name="connsiteY51" fmla="*/ 926091 h 1661098"/>
                    <a:gd name="connsiteX52" fmla="*/ 1079500 w 1146175"/>
                    <a:gd name="connsiteY52" fmla="*/ 929266 h 1661098"/>
                    <a:gd name="connsiteX53" fmla="*/ 1069975 w 1146175"/>
                    <a:gd name="connsiteY53" fmla="*/ 938791 h 1661098"/>
                    <a:gd name="connsiteX54" fmla="*/ 1060450 w 1146175"/>
                    <a:gd name="connsiteY54" fmla="*/ 945141 h 1661098"/>
                    <a:gd name="connsiteX55" fmla="*/ 1038225 w 1146175"/>
                    <a:gd name="connsiteY55" fmla="*/ 957841 h 1661098"/>
                    <a:gd name="connsiteX56" fmla="*/ 996950 w 1146175"/>
                    <a:gd name="connsiteY56" fmla="*/ 983241 h 1661098"/>
                    <a:gd name="connsiteX57" fmla="*/ 977900 w 1146175"/>
                    <a:gd name="connsiteY57" fmla="*/ 989591 h 1661098"/>
                    <a:gd name="connsiteX58" fmla="*/ 968375 w 1146175"/>
                    <a:gd name="connsiteY58" fmla="*/ 1014991 h 1661098"/>
                    <a:gd name="connsiteX59" fmla="*/ 958850 w 1146175"/>
                    <a:gd name="connsiteY59" fmla="*/ 1040391 h 1661098"/>
                    <a:gd name="connsiteX60" fmla="*/ 955675 w 1146175"/>
                    <a:gd name="connsiteY60" fmla="*/ 1065791 h 1661098"/>
                    <a:gd name="connsiteX61" fmla="*/ 949325 w 1146175"/>
                    <a:gd name="connsiteY61" fmla="*/ 1075316 h 1661098"/>
                    <a:gd name="connsiteX62" fmla="*/ 946150 w 1146175"/>
                    <a:gd name="connsiteY62" fmla="*/ 1084841 h 1661098"/>
                    <a:gd name="connsiteX63" fmla="*/ 936625 w 1146175"/>
                    <a:gd name="connsiteY63" fmla="*/ 1100716 h 1661098"/>
                    <a:gd name="connsiteX64" fmla="*/ 923925 w 1146175"/>
                    <a:gd name="connsiteY64" fmla="*/ 1135641 h 1661098"/>
                    <a:gd name="connsiteX65" fmla="*/ 917575 w 1146175"/>
                    <a:gd name="connsiteY65" fmla="*/ 1145166 h 1661098"/>
                    <a:gd name="connsiteX66" fmla="*/ 923925 w 1146175"/>
                    <a:gd name="connsiteY66" fmla="*/ 1199141 h 1661098"/>
                    <a:gd name="connsiteX67" fmla="*/ 939800 w 1146175"/>
                    <a:gd name="connsiteY67" fmla="*/ 1221366 h 1661098"/>
                    <a:gd name="connsiteX68" fmla="*/ 946150 w 1146175"/>
                    <a:gd name="connsiteY68" fmla="*/ 1234066 h 1661098"/>
                    <a:gd name="connsiteX69" fmla="*/ 952500 w 1146175"/>
                    <a:gd name="connsiteY69" fmla="*/ 1243591 h 1661098"/>
                    <a:gd name="connsiteX70" fmla="*/ 965200 w 1146175"/>
                    <a:gd name="connsiteY70" fmla="*/ 1268991 h 1661098"/>
                    <a:gd name="connsiteX71" fmla="*/ 974725 w 1146175"/>
                    <a:gd name="connsiteY71" fmla="*/ 1291216 h 1661098"/>
                    <a:gd name="connsiteX72" fmla="*/ 977900 w 1146175"/>
                    <a:gd name="connsiteY72" fmla="*/ 1303916 h 1661098"/>
                    <a:gd name="connsiteX73" fmla="*/ 981075 w 1146175"/>
                    <a:gd name="connsiteY73" fmla="*/ 1313441 h 1661098"/>
                    <a:gd name="connsiteX74" fmla="*/ 974725 w 1146175"/>
                    <a:gd name="connsiteY74" fmla="*/ 1348366 h 1661098"/>
                    <a:gd name="connsiteX75" fmla="*/ 949325 w 1146175"/>
                    <a:gd name="connsiteY75" fmla="*/ 1380116 h 1661098"/>
                    <a:gd name="connsiteX76" fmla="*/ 939800 w 1146175"/>
                    <a:gd name="connsiteY76" fmla="*/ 1386466 h 1661098"/>
                    <a:gd name="connsiteX77" fmla="*/ 930275 w 1146175"/>
                    <a:gd name="connsiteY77" fmla="*/ 1395991 h 1661098"/>
                    <a:gd name="connsiteX78" fmla="*/ 923925 w 1146175"/>
                    <a:gd name="connsiteY78" fmla="*/ 1405516 h 1661098"/>
                    <a:gd name="connsiteX79" fmla="*/ 908050 w 1146175"/>
                    <a:gd name="connsiteY79" fmla="*/ 1415041 h 1661098"/>
                    <a:gd name="connsiteX80" fmla="*/ 895350 w 1146175"/>
                    <a:gd name="connsiteY80" fmla="*/ 1427741 h 1661098"/>
                    <a:gd name="connsiteX81" fmla="*/ 882650 w 1146175"/>
                    <a:gd name="connsiteY81" fmla="*/ 1437266 h 1661098"/>
                    <a:gd name="connsiteX82" fmla="*/ 873125 w 1146175"/>
                    <a:gd name="connsiteY82" fmla="*/ 1446791 h 1661098"/>
                    <a:gd name="connsiteX83" fmla="*/ 844550 w 1146175"/>
                    <a:gd name="connsiteY83" fmla="*/ 1462666 h 1661098"/>
                    <a:gd name="connsiteX84" fmla="*/ 835025 w 1146175"/>
                    <a:gd name="connsiteY84" fmla="*/ 1465841 h 1661098"/>
                    <a:gd name="connsiteX85" fmla="*/ 815975 w 1146175"/>
                    <a:gd name="connsiteY85" fmla="*/ 1459491 h 1661098"/>
                    <a:gd name="connsiteX86" fmla="*/ 774700 w 1146175"/>
                    <a:gd name="connsiteY86" fmla="*/ 1443616 h 1661098"/>
                    <a:gd name="connsiteX87" fmla="*/ 749300 w 1146175"/>
                    <a:gd name="connsiteY87" fmla="*/ 1437266 h 1661098"/>
                    <a:gd name="connsiteX88" fmla="*/ 717550 w 1146175"/>
                    <a:gd name="connsiteY88" fmla="*/ 1424566 h 1661098"/>
                    <a:gd name="connsiteX89" fmla="*/ 688975 w 1146175"/>
                    <a:gd name="connsiteY89" fmla="*/ 1418216 h 1661098"/>
                    <a:gd name="connsiteX90" fmla="*/ 657225 w 1146175"/>
                    <a:gd name="connsiteY90" fmla="*/ 1408691 h 1661098"/>
                    <a:gd name="connsiteX91" fmla="*/ 635000 w 1146175"/>
                    <a:gd name="connsiteY91" fmla="*/ 1411866 h 1661098"/>
                    <a:gd name="connsiteX92" fmla="*/ 622300 w 1146175"/>
                    <a:gd name="connsiteY92" fmla="*/ 1418216 h 1661098"/>
                    <a:gd name="connsiteX93" fmla="*/ 606425 w 1146175"/>
                    <a:gd name="connsiteY93" fmla="*/ 1427741 h 1661098"/>
                    <a:gd name="connsiteX94" fmla="*/ 577850 w 1146175"/>
                    <a:gd name="connsiteY94" fmla="*/ 1443616 h 1661098"/>
                    <a:gd name="connsiteX95" fmla="*/ 558800 w 1146175"/>
                    <a:gd name="connsiteY95" fmla="*/ 1446791 h 1661098"/>
                    <a:gd name="connsiteX96" fmla="*/ 501650 w 1146175"/>
                    <a:gd name="connsiteY96" fmla="*/ 1453141 h 1661098"/>
                    <a:gd name="connsiteX97" fmla="*/ 492125 w 1146175"/>
                    <a:gd name="connsiteY97" fmla="*/ 1459491 h 1661098"/>
                    <a:gd name="connsiteX98" fmla="*/ 466725 w 1146175"/>
                    <a:gd name="connsiteY98" fmla="*/ 1491241 h 1661098"/>
                    <a:gd name="connsiteX99" fmla="*/ 457200 w 1146175"/>
                    <a:gd name="connsiteY99" fmla="*/ 1510291 h 1661098"/>
                    <a:gd name="connsiteX100" fmla="*/ 454025 w 1146175"/>
                    <a:gd name="connsiteY100" fmla="*/ 1519816 h 1661098"/>
                    <a:gd name="connsiteX101" fmla="*/ 447675 w 1146175"/>
                    <a:gd name="connsiteY101" fmla="*/ 1535691 h 1661098"/>
                    <a:gd name="connsiteX102" fmla="*/ 434975 w 1146175"/>
                    <a:gd name="connsiteY102" fmla="*/ 1561091 h 1661098"/>
                    <a:gd name="connsiteX103" fmla="*/ 431800 w 1146175"/>
                    <a:gd name="connsiteY103" fmla="*/ 1576966 h 1661098"/>
                    <a:gd name="connsiteX104" fmla="*/ 425450 w 1146175"/>
                    <a:gd name="connsiteY104" fmla="*/ 1602366 h 1661098"/>
                    <a:gd name="connsiteX105" fmla="*/ 422275 w 1146175"/>
                    <a:gd name="connsiteY105" fmla="*/ 1611891 h 1661098"/>
                    <a:gd name="connsiteX106" fmla="*/ 412750 w 1146175"/>
                    <a:gd name="connsiteY106" fmla="*/ 1621416 h 1661098"/>
                    <a:gd name="connsiteX107" fmla="*/ 222250 w 1146175"/>
                    <a:gd name="connsiteY107" fmla="*/ 1627766 h 1661098"/>
                    <a:gd name="connsiteX108" fmla="*/ 215900 w 1146175"/>
                    <a:gd name="connsiteY108" fmla="*/ 1611891 h 1661098"/>
                    <a:gd name="connsiteX109" fmla="*/ 206375 w 1146175"/>
                    <a:gd name="connsiteY109" fmla="*/ 1599191 h 1661098"/>
                    <a:gd name="connsiteX110" fmla="*/ 203200 w 1146175"/>
                    <a:gd name="connsiteY110" fmla="*/ 1586491 h 1661098"/>
                    <a:gd name="connsiteX111" fmla="*/ 196850 w 1146175"/>
                    <a:gd name="connsiteY111" fmla="*/ 1573791 h 1661098"/>
                    <a:gd name="connsiteX112" fmla="*/ 193675 w 1146175"/>
                    <a:gd name="connsiteY112" fmla="*/ 1564266 h 1661098"/>
                    <a:gd name="connsiteX113" fmla="*/ 187325 w 1146175"/>
                    <a:gd name="connsiteY113" fmla="*/ 1551566 h 1661098"/>
                    <a:gd name="connsiteX114" fmla="*/ 180975 w 1146175"/>
                    <a:gd name="connsiteY114" fmla="*/ 1535691 h 1661098"/>
                    <a:gd name="connsiteX115" fmla="*/ 161925 w 1146175"/>
                    <a:gd name="connsiteY115" fmla="*/ 1507116 h 1661098"/>
                    <a:gd name="connsiteX116" fmla="*/ 149225 w 1146175"/>
                    <a:gd name="connsiteY116" fmla="*/ 1484891 h 1661098"/>
                    <a:gd name="connsiteX117" fmla="*/ 142875 w 1146175"/>
                    <a:gd name="connsiteY117" fmla="*/ 1469016 h 1661098"/>
                    <a:gd name="connsiteX118" fmla="*/ 130175 w 1146175"/>
                    <a:gd name="connsiteY118" fmla="*/ 1465841 h 1661098"/>
                    <a:gd name="connsiteX119" fmla="*/ 101600 w 1146175"/>
                    <a:gd name="connsiteY119" fmla="*/ 1453141 h 1661098"/>
                    <a:gd name="connsiteX120" fmla="*/ 69850 w 1146175"/>
                    <a:gd name="connsiteY120" fmla="*/ 1443616 h 1661098"/>
                    <a:gd name="connsiteX121" fmla="*/ 41275 w 1146175"/>
                    <a:gd name="connsiteY121" fmla="*/ 1430916 h 1661098"/>
                    <a:gd name="connsiteX122" fmla="*/ 31750 w 1146175"/>
                    <a:gd name="connsiteY122" fmla="*/ 1424566 h 1661098"/>
                    <a:gd name="connsiteX123" fmla="*/ 15875 w 1146175"/>
                    <a:gd name="connsiteY123" fmla="*/ 1418216 h 1661098"/>
                    <a:gd name="connsiteX124" fmla="*/ 0 w 1146175"/>
                    <a:gd name="connsiteY12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885825 w 1146175"/>
                    <a:gd name="connsiteY16" fmla="*/ 214891 h 1661098"/>
                    <a:gd name="connsiteX17" fmla="*/ 917575 w 1146175"/>
                    <a:gd name="connsiteY17" fmla="*/ 243466 h 1661098"/>
                    <a:gd name="connsiteX18" fmla="*/ 936625 w 1146175"/>
                    <a:gd name="connsiteY18" fmla="*/ 256166 h 1661098"/>
                    <a:gd name="connsiteX19" fmla="*/ 955675 w 1146175"/>
                    <a:gd name="connsiteY19" fmla="*/ 278391 h 1661098"/>
                    <a:gd name="connsiteX20" fmla="*/ 974725 w 1146175"/>
                    <a:gd name="connsiteY20" fmla="*/ 303791 h 1661098"/>
                    <a:gd name="connsiteX21" fmla="*/ 968375 w 1146175"/>
                    <a:gd name="connsiteY21" fmla="*/ 338716 h 1661098"/>
                    <a:gd name="connsiteX22" fmla="*/ 965200 w 1146175"/>
                    <a:gd name="connsiteY22" fmla="*/ 348241 h 1661098"/>
                    <a:gd name="connsiteX23" fmla="*/ 949325 w 1146175"/>
                    <a:gd name="connsiteY23" fmla="*/ 367291 h 1661098"/>
                    <a:gd name="connsiteX24" fmla="*/ 939800 w 1146175"/>
                    <a:gd name="connsiteY24" fmla="*/ 389516 h 1661098"/>
                    <a:gd name="connsiteX25" fmla="*/ 936625 w 1146175"/>
                    <a:gd name="connsiteY25" fmla="*/ 402216 h 1661098"/>
                    <a:gd name="connsiteX26" fmla="*/ 930275 w 1146175"/>
                    <a:gd name="connsiteY26" fmla="*/ 418091 h 1661098"/>
                    <a:gd name="connsiteX27" fmla="*/ 927100 w 1146175"/>
                    <a:gd name="connsiteY27" fmla="*/ 430791 h 1661098"/>
                    <a:gd name="connsiteX28" fmla="*/ 920750 w 1146175"/>
                    <a:gd name="connsiteY28" fmla="*/ 446666 h 1661098"/>
                    <a:gd name="connsiteX29" fmla="*/ 917575 w 1146175"/>
                    <a:gd name="connsiteY29" fmla="*/ 459366 h 1661098"/>
                    <a:gd name="connsiteX30" fmla="*/ 914400 w 1146175"/>
                    <a:gd name="connsiteY30" fmla="*/ 468891 h 1661098"/>
                    <a:gd name="connsiteX31" fmla="*/ 917575 w 1146175"/>
                    <a:gd name="connsiteY31" fmla="*/ 506991 h 1661098"/>
                    <a:gd name="connsiteX32" fmla="*/ 923925 w 1146175"/>
                    <a:gd name="connsiteY32" fmla="*/ 519691 h 1661098"/>
                    <a:gd name="connsiteX33" fmla="*/ 939800 w 1146175"/>
                    <a:gd name="connsiteY33" fmla="*/ 538741 h 1661098"/>
                    <a:gd name="connsiteX34" fmla="*/ 942975 w 1146175"/>
                    <a:gd name="connsiteY34" fmla="*/ 548266 h 1661098"/>
                    <a:gd name="connsiteX35" fmla="*/ 955675 w 1146175"/>
                    <a:gd name="connsiteY35" fmla="*/ 573666 h 1661098"/>
                    <a:gd name="connsiteX36" fmla="*/ 968375 w 1146175"/>
                    <a:gd name="connsiteY36" fmla="*/ 614941 h 1661098"/>
                    <a:gd name="connsiteX37" fmla="*/ 974725 w 1146175"/>
                    <a:gd name="connsiteY37" fmla="*/ 627641 h 1661098"/>
                    <a:gd name="connsiteX38" fmla="*/ 981075 w 1146175"/>
                    <a:gd name="connsiteY38" fmla="*/ 646691 h 1661098"/>
                    <a:gd name="connsiteX39" fmla="*/ 993775 w 1146175"/>
                    <a:gd name="connsiteY39" fmla="*/ 649866 h 1661098"/>
                    <a:gd name="connsiteX40" fmla="*/ 1012825 w 1146175"/>
                    <a:gd name="connsiteY40" fmla="*/ 653041 h 1661098"/>
                    <a:gd name="connsiteX41" fmla="*/ 1041400 w 1146175"/>
                    <a:gd name="connsiteY41" fmla="*/ 665741 h 1661098"/>
                    <a:gd name="connsiteX42" fmla="*/ 1050925 w 1146175"/>
                    <a:gd name="connsiteY42" fmla="*/ 668916 h 1661098"/>
                    <a:gd name="connsiteX43" fmla="*/ 1066800 w 1146175"/>
                    <a:gd name="connsiteY43" fmla="*/ 678441 h 1661098"/>
                    <a:gd name="connsiteX44" fmla="*/ 1089025 w 1146175"/>
                    <a:gd name="connsiteY44" fmla="*/ 687966 h 1661098"/>
                    <a:gd name="connsiteX45" fmla="*/ 1117600 w 1146175"/>
                    <a:gd name="connsiteY45" fmla="*/ 707016 h 1661098"/>
                    <a:gd name="connsiteX46" fmla="*/ 1136650 w 1146175"/>
                    <a:gd name="connsiteY46" fmla="*/ 713366 h 1661098"/>
                    <a:gd name="connsiteX47" fmla="*/ 1146175 w 1146175"/>
                    <a:gd name="connsiteY47" fmla="*/ 903866 h 1661098"/>
                    <a:gd name="connsiteX48" fmla="*/ 1127125 w 1146175"/>
                    <a:gd name="connsiteY48" fmla="*/ 913391 h 1661098"/>
                    <a:gd name="connsiteX49" fmla="*/ 1101725 w 1146175"/>
                    <a:gd name="connsiteY49" fmla="*/ 919741 h 1661098"/>
                    <a:gd name="connsiteX50" fmla="*/ 1092200 w 1146175"/>
                    <a:gd name="connsiteY50" fmla="*/ 926091 h 1661098"/>
                    <a:gd name="connsiteX51" fmla="*/ 1079500 w 1146175"/>
                    <a:gd name="connsiteY51" fmla="*/ 929266 h 1661098"/>
                    <a:gd name="connsiteX52" fmla="*/ 1069975 w 1146175"/>
                    <a:gd name="connsiteY52" fmla="*/ 938791 h 1661098"/>
                    <a:gd name="connsiteX53" fmla="*/ 1060450 w 1146175"/>
                    <a:gd name="connsiteY53" fmla="*/ 945141 h 1661098"/>
                    <a:gd name="connsiteX54" fmla="*/ 1038225 w 1146175"/>
                    <a:gd name="connsiteY54" fmla="*/ 957841 h 1661098"/>
                    <a:gd name="connsiteX55" fmla="*/ 996950 w 1146175"/>
                    <a:gd name="connsiteY55" fmla="*/ 983241 h 1661098"/>
                    <a:gd name="connsiteX56" fmla="*/ 977900 w 1146175"/>
                    <a:gd name="connsiteY56" fmla="*/ 989591 h 1661098"/>
                    <a:gd name="connsiteX57" fmla="*/ 968375 w 1146175"/>
                    <a:gd name="connsiteY57" fmla="*/ 1014991 h 1661098"/>
                    <a:gd name="connsiteX58" fmla="*/ 958850 w 1146175"/>
                    <a:gd name="connsiteY58" fmla="*/ 1040391 h 1661098"/>
                    <a:gd name="connsiteX59" fmla="*/ 955675 w 1146175"/>
                    <a:gd name="connsiteY59" fmla="*/ 1065791 h 1661098"/>
                    <a:gd name="connsiteX60" fmla="*/ 949325 w 1146175"/>
                    <a:gd name="connsiteY60" fmla="*/ 1075316 h 1661098"/>
                    <a:gd name="connsiteX61" fmla="*/ 946150 w 1146175"/>
                    <a:gd name="connsiteY61" fmla="*/ 1084841 h 1661098"/>
                    <a:gd name="connsiteX62" fmla="*/ 936625 w 1146175"/>
                    <a:gd name="connsiteY62" fmla="*/ 1100716 h 1661098"/>
                    <a:gd name="connsiteX63" fmla="*/ 923925 w 1146175"/>
                    <a:gd name="connsiteY63" fmla="*/ 1135641 h 1661098"/>
                    <a:gd name="connsiteX64" fmla="*/ 917575 w 1146175"/>
                    <a:gd name="connsiteY64" fmla="*/ 1145166 h 1661098"/>
                    <a:gd name="connsiteX65" fmla="*/ 923925 w 1146175"/>
                    <a:gd name="connsiteY65" fmla="*/ 1199141 h 1661098"/>
                    <a:gd name="connsiteX66" fmla="*/ 939800 w 1146175"/>
                    <a:gd name="connsiteY66" fmla="*/ 1221366 h 1661098"/>
                    <a:gd name="connsiteX67" fmla="*/ 946150 w 1146175"/>
                    <a:gd name="connsiteY67" fmla="*/ 1234066 h 1661098"/>
                    <a:gd name="connsiteX68" fmla="*/ 952500 w 1146175"/>
                    <a:gd name="connsiteY68" fmla="*/ 1243591 h 1661098"/>
                    <a:gd name="connsiteX69" fmla="*/ 965200 w 1146175"/>
                    <a:gd name="connsiteY69" fmla="*/ 1268991 h 1661098"/>
                    <a:gd name="connsiteX70" fmla="*/ 974725 w 1146175"/>
                    <a:gd name="connsiteY70" fmla="*/ 1291216 h 1661098"/>
                    <a:gd name="connsiteX71" fmla="*/ 977900 w 1146175"/>
                    <a:gd name="connsiteY71" fmla="*/ 1303916 h 1661098"/>
                    <a:gd name="connsiteX72" fmla="*/ 981075 w 1146175"/>
                    <a:gd name="connsiteY72" fmla="*/ 1313441 h 1661098"/>
                    <a:gd name="connsiteX73" fmla="*/ 974725 w 1146175"/>
                    <a:gd name="connsiteY73" fmla="*/ 1348366 h 1661098"/>
                    <a:gd name="connsiteX74" fmla="*/ 949325 w 1146175"/>
                    <a:gd name="connsiteY74" fmla="*/ 1380116 h 1661098"/>
                    <a:gd name="connsiteX75" fmla="*/ 939800 w 1146175"/>
                    <a:gd name="connsiteY75" fmla="*/ 1386466 h 1661098"/>
                    <a:gd name="connsiteX76" fmla="*/ 930275 w 1146175"/>
                    <a:gd name="connsiteY76" fmla="*/ 1395991 h 1661098"/>
                    <a:gd name="connsiteX77" fmla="*/ 923925 w 1146175"/>
                    <a:gd name="connsiteY77" fmla="*/ 1405516 h 1661098"/>
                    <a:gd name="connsiteX78" fmla="*/ 908050 w 1146175"/>
                    <a:gd name="connsiteY78" fmla="*/ 1415041 h 1661098"/>
                    <a:gd name="connsiteX79" fmla="*/ 895350 w 1146175"/>
                    <a:gd name="connsiteY79" fmla="*/ 1427741 h 1661098"/>
                    <a:gd name="connsiteX80" fmla="*/ 882650 w 1146175"/>
                    <a:gd name="connsiteY80" fmla="*/ 1437266 h 1661098"/>
                    <a:gd name="connsiteX81" fmla="*/ 873125 w 1146175"/>
                    <a:gd name="connsiteY81" fmla="*/ 1446791 h 1661098"/>
                    <a:gd name="connsiteX82" fmla="*/ 844550 w 1146175"/>
                    <a:gd name="connsiteY82" fmla="*/ 1462666 h 1661098"/>
                    <a:gd name="connsiteX83" fmla="*/ 835025 w 1146175"/>
                    <a:gd name="connsiteY83" fmla="*/ 1465841 h 1661098"/>
                    <a:gd name="connsiteX84" fmla="*/ 815975 w 1146175"/>
                    <a:gd name="connsiteY84" fmla="*/ 1459491 h 1661098"/>
                    <a:gd name="connsiteX85" fmla="*/ 774700 w 1146175"/>
                    <a:gd name="connsiteY85" fmla="*/ 1443616 h 1661098"/>
                    <a:gd name="connsiteX86" fmla="*/ 749300 w 1146175"/>
                    <a:gd name="connsiteY86" fmla="*/ 1437266 h 1661098"/>
                    <a:gd name="connsiteX87" fmla="*/ 717550 w 1146175"/>
                    <a:gd name="connsiteY87" fmla="*/ 1424566 h 1661098"/>
                    <a:gd name="connsiteX88" fmla="*/ 688975 w 1146175"/>
                    <a:gd name="connsiteY88" fmla="*/ 1418216 h 1661098"/>
                    <a:gd name="connsiteX89" fmla="*/ 657225 w 1146175"/>
                    <a:gd name="connsiteY89" fmla="*/ 1408691 h 1661098"/>
                    <a:gd name="connsiteX90" fmla="*/ 635000 w 1146175"/>
                    <a:gd name="connsiteY90" fmla="*/ 1411866 h 1661098"/>
                    <a:gd name="connsiteX91" fmla="*/ 622300 w 1146175"/>
                    <a:gd name="connsiteY91" fmla="*/ 1418216 h 1661098"/>
                    <a:gd name="connsiteX92" fmla="*/ 606425 w 1146175"/>
                    <a:gd name="connsiteY92" fmla="*/ 1427741 h 1661098"/>
                    <a:gd name="connsiteX93" fmla="*/ 577850 w 1146175"/>
                    <a:gd name="connsiteY93" fmla="*/ 1443616 h 1661098"/>
                    <a:gd name="connsiteX94" fmla="*/ 558800 w 1146175"/>
                    <a:gd name="connsiteY94" fmla="*/ 1446791 h 1661098"/>
                    <a:gd name="connsiteX95" fmla="*/ 501650 w 1146175"/>
                    <a:gd name="connsiteY95" fmla="*/ 1453141 h 1661098"/>
                    <a:gd name="connsiteX96" fmla="*/ 492125 w 1146175"/>
                    <a:gd name="connsiteY96" fmla="*/ 1459491 h 1661098"/>
                    <a:gd name="connsiteX97" fmla="*/ 466725 w 1146175"/>
                    <a:gd name="connsiteY97" fmla="*/ 1491241 h 1661098"/>
                    <a:gd name="connsiteX98" fmla="*/ 457200 w 1146175"/>
                    <a:gd name="connsiteY98" fmla="*/ 1510291 h 1661098"/>
                    <a:gd name="connsiteX99" fmla="*/ 454025 w 1146175"/>
                    <a:gd name="connsiteY99" fmla="*/ 1519816 h 1661098"/>
                    <a:gd name="connsiteX100" fmla="*/ 447675 w 1146175"/>
                    <a:gd name="connsiteY100" fmla="*/ 1535691 h 1661098"/>
                    <a:gd name="connsiteX101" fmla="*/ 434975 w 1146175"/>
                    <a:gd name="connsiteY101" fmla="*/ 1561091 h 1661098"/>
                    <a:gd name="connsiteX102" fmla="*/ 431800 w 1146175"/>
                    <a:gd name="connsiteY102" fmla="*/ 1576966 h 1661098"/>
                    <a:gd name="connsiteX103" fmla="*/ 425450 w 1146175"/>
                    <a:gd name="connsiteY103" fmla="*/ 1602366 h 1661098"/>
                    <a:gd name="connsiteX104" fmla="*/ 422275 w 1146175"/>
                    <a:gd name="connsiteY104" fmla="*/ 1611891 h 1661098"/>
                    <a:gd name="connsiteX105" fmla="*/ 412750 w 1146175"/>
                    <a:gd name="connsiteY105" fmla="*/ 1621416 h 1661098"/>
                    <a:gd name="connsiteX106" fmla="*/ 222250 w 1146175"/>
                    <a:gd name="connsiteY106" fmla="*/ 1627766 h 1661098"/>
                    <a:gd name="connsiteX107" fmla="*/ 215900 w 1146175"/>
                    <a:gd name="connsiteY107" fmla="*/ 1611891 h 1661098"/>
                    <a:gd name="connsiteX108" fmla="*/ 206375 w 1146175"/>
                    <a:gd name="connsiteY108" fmla="*/ 1599191 h 1661098"/>
                    <a:gd name="connsiteX109" fmla="*/ 203200 w 1146175"/>
                    <a:gd name="connsiteY109" fmla="*/ 1586491 h 1661098"/>
                    <a:gd name="connsiteX110" fmla="*/ 196850 w 1146175"/>
                    <a:gd name="connsiteY110" fmla="*/ 1573791 h 1661098"/>
                    <a:gd name="connsiteX111" fmla="*/ 193675 w 1146175"/>
                    <a:gd name="connsiteY111" fmla="*/ 1564266 h 1661098"/>
                    <a:gd name="connsiteX112" fmla="*/ 187325 w 1146175"/>
                    <a:gd name="connsiteY112" fmla="*/ 1551566 h 1661098"/>
                    <a:gd name="connsiteX113" fmla="*/ 180975 w 1146175"/>
                    <a:gd name="connsiteY113" fmla="*/ 1535691 h 1661098"/>
                    <a:gd name="connsiteX114" fmla="*/ 161925 w 1146175"/>
                    <a:gd name="connsiteY114" fmla="*/ 1507116 h 1661098"/>
                    <a:gd name="connsiteX115" fmla="*/ 149225 w 1146175"/>
                    <a:gd name="connsiteY115" fmla="*/ 1484891 h 1661098"/>
                    <a:gd name="connsiteX116" fmla="*/ 142875 w 1146175"/>
                    <a:gd name="connsiteY116" fmla="*/ 1469016 h 1661098"/>
                    <a:gd name="connsiteX117" fmla="*/ 130175 w 1146175"/>
                    <a:gd name="connsiteY117" fmla="*/ 1465841 h 1661098"/>
                    <a:gd name="connsiteX118" fmla="*/ 101600 w 1146175"/>
                    <a:gd name="connsiteY118" fmla="*/ 1453141 h 1661098"/>
                    <a:gd name="connsiteX119" fmla="*/ 69850 w 1146175"/>
                    <a:gd name="connsiteY119" fmla="*/ 1443616 h 1661098"/>
                    <a:gd name="connsiteX120" fmla="*/ 41275 w 1146175"/>
                    <a:gd name="connsiteY120" fmla="*/ 1430916 h 1661098"/>
                    <a:gd name="connsiteX121" fmla="*/ 31750 w 1146175"/>
                    <a:gd name="connsiteY121" fmla="*/ 1424566 h 1661098"/>
                    <a:gd name="connsiteX122" fmla="*/ 15875 w 1146175"/>
                    <a:gd name="connsiteY122" fmla="*/ 1418216 h 1661098"/>
                    <a:gd name="connsiteX123" fmla="*/ 0 w 1146175"/>
                    <a:gd name="connsiteY12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17575 w 1146175"/>
                    <a:gd name="connsiteY16" fmla="*/ 243466 h 1661098"/>
                    <a:gd name="connsiteX17" fmla="*/ 936625 w 1146175"/>
                    <a:gd name="connsiteY17" fmla="*/ 256166 h 1661098"/>
                    <a:gd name="connsiteX18" fmla="*/ 955675 w 1146175"/>
                    <a:gd name="connsiteY18" fmla="*/ 278391 h 1661098"/>
                    <a:gd name="connsiteX19" fmla="*/ 974725 w 1146175"/>
                    <a:gd name="connsiteY19" fmla="*/ 303791 h 1661098"/>
                    <a:gd name="connsiteX20" fmla="*/ 968375 w 1146175"/>
                    <a:gd name="connsiteY20" fmla="*/ 338716 h 1661098"/>
                    <a:gd name="connsiteX21" fmla="*/ 965200 w 1146175"/>
                    <a:gd name="connsiteY21" fmla="*/ 348241 h 1661098"/>
                    <a:gd name="connsiteX22" fmla="*/ 949325 w 1146175"/>
                    <a:gd name="connsiteY22" fmla="*/ 367291 h 1661098"/>
                    <a:gd name="connsiteX23" fmla="*/ 939800 w 1146175"/>
                    <a:gd name="connsiteY23" fmla="*/ 389516 h 1661098"/>
                    <a:gd name="connsiteX24" fmla="*/ 936625 w 1146175"/>
                    <a:gd name="connsiteY24" fmla="*/ 402216 h 1661098"/>
                    <a:gd name="connsiteX25" fmla="*/ 930275 w 1146175"/>
                    <a:gd name="connsiteY25" fmla="*/ 418091 h 1661098"/>
                    <a:gd name="connsiteX26" fmla="*/ 927100 w 1146175"/>
                    <a:gd name="connsiteY26" fmla="*/ 430791 h 1661098"/>
                    <a:gd name="connsiteX27" fmla="*/ 920750 w 1146175"/>
                    <a:gd name="connsiteY27" fmla="*/ 446666 h 1661098"/>
                    <a:gd name="connsiteX28" fmla="*/ 917575 w 1146175"/>
                    <a:gd name="connsiteY28" fmla="*/ 459366 h 1661098"/>
                    <a:gd name="connsiteX29" fmla="*/ 914400 w 1146175"/>
                    <a:gd name="connsiteY29" fmla="*/ 468891 h 1661098"/>
                    <a:gd name="connsiteX30" fmla="*/ 917575 w 1146175"/>
                    <a:gd name="connsiteY30" fmla="*/ 506991 h 1661098"/>
                    <a:gd name="connsiteX31" fmla="*/ 923925 w 1146175"/>
                    <a:gd name="connsiteY31" fmla="*/ 519691 h 1661098"/>
                    <a:gd name="connsiteX32" fmla="*/ 939800 w 1146175"/>
                    <a:gd name="connsiteY32" fmla="*/ 538741 h 1661098"/>
                    <a:gd name="connsiteX33" fmla="*/ 942975 w 1146175"/>
                    <a:gd name="connsiteY33" fmla="*/ 548266 h 1661098"/>
                    <a:gd name="connsiteX34" fmla="*/ 955675 w 1146175"/>
                    <a:gd name="connsiteY34" fmla="*/ 573666 h 1661098"/>
                    <a:gd name="connsiteX35" fmla="*/ 968375 w 1146175"/>
                    <a:gd name="connsiteY35" fmla="*/ 614941 h 1661098"/>
                    <a:gd name="connsiteX36" fmla="*/ 974725 w 1146175"/>
                    <a:gd name="connsiteY36" fmla="*/ 627641 h 1661098"/>
                    <a:gd name="connsiteX37" fmla="*/ 981075 w 1146175"/>
                    <a:gd name="connsiteY37" fmla="*/ 646691 h 1661098"/>
                    <a:gd name="connsiteX38" fmla="*/ 993775 w 1146175"/>
                    <a:gd name="connsiteY38" fmla="*/ 649866 h 1661098"/>
                    <a:gd name="connsiteX39" fmla="*/ 1012825 w 1146175"/>
                    <a:gd name="connsiteY39" fmla="*/ 653041 h 1661098"/>
                    <a:gd name="connsiteX40" fmla="*/ 1041400 w 1146175"/>
                    <a:gd name="connsiteY40" fmla="*/ 665741 h 1661098"/>
                    <a:gd name="connsiteX41" fmla="*/ 1050925 w 1146175"/>
                    <a:gd name="connsiteY41" fmla="*/ 668916 h 1661098"/>
                    <a:gd name="connsiteX42" fmla="*/ 1066800 w 1146175"/>
                    <a:gd name="connsiteY42" fmla="*/ 678441 h 1661098"/>
                    <a:gd name="connsiteX43" fmla="*/ 1089025 w 1146175"/>
                    <a:gd name="connsiteY43" fmla="*/ 687966 h 1661098"/>
                    <a:gd name="connsiteX44" fmla="*/ 1117600 w 1146175"/>
                    <a:gd name="connsiteY44" fmla="*/ 707016 h 1661098"/>
                    <a:gd name="connsiteX45" fmla="*/ 1136650 w 1146175"/>
                    <a:gd name="connsiteY45" fmla="*/ 713366 h 1661098"/>
                    <a:gd name="connsiteX46" fmla="*/ 1146175 w 1146175"/>
                    <a:gd name="connsiteY46" fmla="*/ 903866 h 1661098"/>
                    <a:gd name="connsiteX47" fmla="*/ 1127125 w 1146175"/>
                    <a:gd name="connsiteY47" fmla="*/ 913391 h 1661098"/>
                    <a:gd name="connsiteX48" fmla="*/ 1101725 w 1146175"/>
                    <a:gd name="connsiteY48" fmla="*/ 919741 h 1661098"/>
                    <a:gd name="connsiteX49" fmla="*/ 1092200 w 1146175"/>
                    <a:gd name="connsiteY49" fmla="*/ 926091 h 1661098"/>
                    <a:gd name="connsiteX50" fmla="*/ 1079500 w 1146175"/>
                    <a:gd name="connsiteY50" fmla="*/ 929266 h 1661098"/>
                    <a:gd name="connsiteX51" fmla="*/ 1069975 w 1146175"/>
                    <a:gd name="connsiteY51" fmla="*/ 938791 h 1661098"/>
                    <a:gd name="connsiteX52" fmla="*/ 1060450 w 1146175"/>
                    <a:gd name="connsiteY52" fmla="*/ 945141 h 1661098"/>
                    <a:gd name="connsiteX53" fmla="*/ 1038225 w 1146175"/>
                    <a:gd name="connsiteY53" fmla="*/ 957841 h 1661098"/>
                    <a:gd name="connsiteX54" fmla="*/ 996950 w 1146175"/>
                    <a:gd name="connsiteY54" fmla="*/ 983241 h 1661098"/>
                    <a:gd name="connsiteX55" fmla="*/ 977900 w 1146175"/>
                    <a:gd name="connsiteY55" fmla="*/ 989591 h 1661098"/>
                    <a:gd name="connsiteX56" fmla="*/ 968375 w 1146175"/>
                    <a:gd name="connsiteY56" fmla="*/ 1014991 h 1661098"/>
                    <a:gd name="connsiteX57" fmla="*/ 958850 w 1146175"/>
                    <a:gd name="connsiteY57" fmla="*/ 1040391 h 1661098"/>
                    <a:gd name="connsiteX58" fmla="*/ 955675 w 1146175"/>
                    <a:gd name="connsiteY58" fmla="*/ 1065791 h 1661098"/>
                    <a:gd name="connsiteX59" fmla="*/ 949325 w 1146175"/>
                    <a:gd name="connsiteY59" fmla="*/ 1075316 h 1661098"/>
                    <a:gd name="connsiteX60" fmla="*/ 946150 w 1146175"/>
                    <a:gd name="connsiteY60" fmla="*/ 1084841 h 1661098"/>
                    <a:gd name="connsiteX61" fmla="*/ 936625 w 1146175"/>
                    <a:gd name="connsiteY61" fmla="*/ 1100716 h 1661098"/>
                    <a:gd name="connsiteX62" fmla="*/ 923925 w 1146175"/>
                    <a:gd name="connsiteY62" fmla="*/ 1135641 h 1661098"/>
                    <a:gd name="connsiteX63" fmla="*/ 917575 w 1146175"/>
                    <a:gd name="connsiteY63" fmla="*/ 1145166 h 1661098"/>
                    <a:gd name="connsiteX64" fmla="*/ 923925 w 1146175"/>
                    <a:gd name="connsiteY64" fmla="*/ 1199141 h 1661098"/>
                    <a:gd name="connsiteX65" fmla="*/ 939800 w 1146175"/>
                    <a:gd name="connsiteY65" fmla="*/ 1221366 h 1661098"/>
                    <a:gd name="connsiteX66" fmla="*/ 946150 w 1146175"/>
                    <a:gd name="connsiteY66" fmla="*/ 1234066 h 1661098"/>
                    <a:gd name="connsiteX67" fmla="*/ 952500 w 1146175"/>
                    <a:gd name="connsiteY67" fmla="*/ 1243591 h 1661098"/>
                    <a:gd name="connsiteX68" fmla="*/ 965200 w 1146175"/>
                    <a:gd name="connsiteY68" fmla="*/ 1268991 h 1661098"/>
                    <a:gd name="connsiteX69" fmla="*/ 974725 w 1146175"/>
                    <a:gd name="connsiteY69" fmla="*/ 1291216 h 1661098"/>
                    <a:gd name="connsiteX70" fmla="*/ 977900 w 1146175"/>
                    <a:gd name="connsiteY70" fmla="*/ 1303916 h 1661098"/>
                    <a:gd name="connsiteX71" fmla="*/ 981075 w 1146175"/>
                    <a:gd name="connsiteY71" fmla="*/ 1313441 h 1661098"/>
                    <a:gd name="connsiteX72" fmla="*/ 974725 w 1146175"/>
                    <a:gd name="connsiteY72" fmla="*/ 1348366 h 1661098"/>
                    <a:gd name="connsiteX73" fmla="*/ 949325 w 1146175"/>
                    <a:gd name="connsiteY73" fmla="*/ 1380116 h 1661098"/>
                    <a:gd name="connsiteX74" fmla="*/ 939800 w 1146175"/>
                    <a:gd name="connsiteY74" fmla="*/ 1386466 h 1661098"/>
                    <a:gd name="connsiteX75" fmla="*/ 930275 w 1146175"/>
                    <a:gd name="connsiteY75" fmla="*/ 1395991 h 1661098"/>
                    <a:gd name="connsiteX76" fmla="*/ 923925 w 1146175"/>
                    <a:gd name="connsiteY76" fmla="*/ 1405516 h 1661098"/>
                    <a:gd name="connsiteX77" fmla="*/ 908050 w 1146175"/>
                    <a:gd name="connsiteY77" fmla="*/ 1415041 h 1661098"/>
                    <a:gd name="connsiteX78" fmla="*/ 895350 w 1146175"/>
                    <a:gd name="connsiteY78" fmla="*/ 1427741 h 1661098"/>
                    <a:gd name="connsiteX79" fmla="*/ 882650 w 1146175"/>
                    <a:gd name="connsiteY79" fmla="*/ 1437266 h 1661098"/>
                    <a:gd name="connsiteX80" fmla="*/ 873125 w 1146175"/>
                    <a:gd name="connsiteY80" fmla="*/ 1446791 h 1661098"/>
                    <a:gd name="connsiteX81" fmla="*/ 844550 w 1146175"/>
                    <a:gd name="connsiteY81" fmla="*/ 1462666 h 1661098"/>
                    <a:gd name="connsiteX82" fmla="*/ 835025 w 1146175"/>
                    <a:gd name="connsiteY82" fmla="*/ 1465841 h 1661098"/>
                    <a:gd name="connsiteX83" fmla="*/ 815975 w 1146175"/>
                    <a:gd name="connsiteY83" fmla="*/ 1459491 h 1661098"/>
                    <a:gd name="connsiteX84" fmla="*/ 774700 w 1146175"/>
                    <a:gd name="connsiteY84" fmla="*/ 1443616 h 1661098"/>
                    <a:gd name="connsiteX85" fmla="*/ 749300 w 1146175"/>
                    <a:gd name="connsiteY85" fmla="*/ 1437266 h 1661098"/>
                    <a:gd name="connsiteX86" fmla="*/ 717550 w 1146175"/>
                    <a:gd name="connsiteY86" fmla="*/ 1424566 h 1661098"/>
                    <a:gd name="connsiteX87" fmla="*/ 688975 w 1146175"/>
                    <a:gd name="connsiteY87" fmla="*/ 1418216 h 1661098"/>
                    <a:gd name="connsiteX88" fmla="*/ 657225 w 1146175"/>
                    <a:gd name="connsiteY88" fmla="*/ 1408691 h 1661098"/>
                    <a:gd name="connsiteX89" fmla="*/ 635000 w 1146175"/>
                    <a:gd name="connsiteY89" fmla="*/ 1411866 h 1661098"/>
                    <a:gd name="connsiteX90" fmla="*/ 622300 w 1146175"/>
                    <a:gd name="connsiteY90" fmla="*/ 1418216 h 1661098"/>
                    <a:gd name="connsiteX91" fmla="*/ 606425 w 1146175"/>
                    <a:gd name="connsiteY91" fmla="*/ 1427741 h 1661098"/>
                    <a:gd name="connsiteX92" fmla="*/ 577850 w 1146175"/>
                    <a:gd name="connsiteY92" fmla="*/ 1443616 h 1661098"/>
                    <a:gd name="connsiteX93" fmla="*/ 558800 w 1146175"/>
                    <a:gd name="connsiteY93" fmla="*/ 1446791 h 1661098"/>
                    <a:gd name="connsiteX94" fmla="*/ 501650 w 1146175"/>
                    <a:gd name="connsiteY94" fmla="*/ 1453141 h 1661098"/>
                    <a:gd name="connsiteX95" fmla="*/ 492125 w 1146175"/>
                    <a:gd name="connsiteY95" fmla="*/ 1459491 h 1661098"/>
                    <a:gd name="connsiteX96" fmla="*/ 466725 w 1146175"/>
                    <a:gd name="connsiteY96" fmla="*/ 1491241 h 1661098"/>
                    <a:gd name="connsiteX97" fmla="*/ 457200 w 1146175"/>
                    <a:gd name="connsiteY97" fmla="*/ 1510291 h 1661098"/>
                    <a:gd name="connsiteX98" fmla="*/ 454025 w 1146175"/>
                    <a:gd name="connsiteY98" fmla="*/ 1519816 h 1661098"/>
                    <a:gd name="connsiteX99" fmla="*/ 447675 w 1146175"/>
                    <a:gd name="connsiteY99" fmla="*/ 1535691 h 1661098"/>
                    <a:gd name="connsiteX100" fmla="*/ 434975 w 1146175"/>
                    <a:gd name="connsiteY100" fmla="*/ 1561091 h 1661098"/>
                    <a:gd name="connsiteX101" fmla="*/ 431800 w 1146175"/>
                    <a:gd name="connsiteY101" fmla="*/ 1576966 h 1661098"/>
                    <a:gd name="connsiteX102" fmla="*/ 425450 w 1146175"/>
                    <a:gd name="connsiteY102" fmla="*/ 1602366 h 1661098"/>
                    <a:gd name="connsiteX103" fmla="*/ 422275 w 1146175"/>
                    <a:gd name="connsiteY103" fmla="*/ 1611891 h 1661098"/>
                    <a:gd name="connsiteX104" fmla="*/ 412750 w 1146175"/>
                    <a:gd name="connsiteY104" fmla="*/ 1621416 h 1661098"/>
                    <a:gd name="connsiteX105" fmla="*/ 222250 w 1146175"/>
                    <a:gd name="connsiteY105" fmla="*/ 1627766 h 1661098"/>
                    <a:gd name="connsiteX106" fmla="*/ 215900 w 1146175"/>
                    <a:gd name="connsiteY106" fmla="*/ 1611891 h 1661098"/>
                    <a:gd name="connsiteX107" fmla="*/ 206375 w 1146175"/>
                    <a:gd name="connsiteY107" fmla="*/ 1599191 h 1661098"/>
                    <a:gd name="connsiteX108" fmla="*/ 203200 w 1146175"/>
                    <a:gd name="connsiteY108" fmla="*/ 1586491 h 1661098"/>
                    <a:gd name="connsiteX109" fmla="*/ 196850 w 1146175"/>
                    <a:gd name="connsiteY109" fmla="*/ 1573791 h 1661098"/>
                    <a:gd name="connsiteX110" fmla="*/ 193675 w 1146175"/>
                    <a:gd name="connsiteY110" fmla="*/ 1564266 h 1661098"/>
                    <a:gd name="connsiteX111" fmla="*/ 187325 w 1146175"/>
                    <a:gd name="connsiteY111" fmla="*/ 1551566 h 1661098"/>
                    <a:gd name="connsiteX112" fmla="*/ 180975 w 1146175"/>
                    <a:gd name="connsiteY112" fmla="*/ 1535691 h 1661098"/>
                    <a:gd name="connsiteX113" fmla="*/ 161925 w 1146175"/>
                    <a:gd name="connsiteY113" fmla="*/ 1507116 h 1661098"/>
                    <a:gd name="connsiteX114" fmla="*/ 149225 w 1146175"/>
                    <a:gd name="connsiteY114" fmla="*/ 1484891 h 1661098"/>
                    <a:gd name="connsiteX115" fmla="*/ 142875 w 1146175"/>
                    <a:gd name="connsiteY115" fmla="*/ 1469016 h 1661098"/>
                    <a:gd name="connsiteX116" fmla="*/ 130175 w 1146175"/>
                    <a:gd name="connsiteY116" fmla="*/ 1465841 h 1661098"/>
                    <a:gd name="connsiteX117" fmla="*/ 101600 w 1146175"/>
                    <a:gd name="connsiteY117" fmla="*/ 1453141 h 1661098"/>
                    <a:gd name="connsiteX118" fmla="*/ 69850 w 1146175"/>
                    <a:gd name="connsiteY118" fmla="*/ 1443616 h 1661098"/>
                    <a:gd name="connsiteX119" fmla="*/ 41275 w 1146175"/>
                    <a:gd name="connsiteY119" fmla="*/ 1430916 h 1661098"/>
                    <a:gd name="connsiteX120" fmla="*/ 31750 w 1146175"/>
                    <a:gd name="connsiteY120" fmla="*/ 1424566 h 1661098"/>
                    <a:gd name="connsiteX121" fmla="*/ 15875 w 1146175"/>
                    <a:gd name="connsiteY121" fmla="*/ 1418216 h 1661098"/>
                    <a:gd name="connsiteX122" fmla="*/ 0 w 1146175"/>
                    <a:gd name="connsiteY12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36625 w 1146175"/>
                    <a:gd name="connsiteY16" fmla="*/ 256166 h 1661098"/>
                    <a:gd name="connsiteX17" fmla="*/ 955675 w 1146175"/>
                    <a:gd name="connsiteY17" fmla="*/ 278391 h 1661098"/>
                    <a:gd name="connsiteX18" fmla="*/ 974725 w 1146175"/>
                    <a:gd name="connsiteY18" fmla="*/ 303791 h 1661098"/>
                    <a:gd name="connsiteX19" fmla="*/ 968375 w 1146175"/>
                    <a:gd name="connsiteY19" fmla="*/ 338716 h 1661098"/>
                    <a:gd name="connsiteX20" fmla="*/ 965200 w 1146175"/>
                    <a:gd name="connsiteY20" fmla="*/ 348241 h 1661098"/>
                    <a:gd name="connsiteX21" fmla="*/ 949325 w 1146175"/>
                    <a:gd name="connsiteY21" fmla="*/ 367291 h 1661098"/>
                    <a:gd name="connsiteX22" fmla="*/ 939800 w 1146175"/>
                    <a:gd name="connsiteY22" fmla="*/ 389516 h 1661098"/>
                    <a:gd name="connsiteX23" fmla="*/ 936625 w 1146175"/>
                    <a:gd name="connsiteY23" fmla="*/ 402216 h 1661098"/>
                    <a:gd name="connsiteX24" fmla="*/ 930275 w 1146175"/>
                    <a:gd name="connsiteY24" fmla="*/ 418091 h 1661098"/>
                    <a:gd name="connsiteX25" fmla="*/ 927100 w 1146175"/>
                    <a:gd name="connsiteY25" fmla="*/ 430791 h 1661098"/>
                    <a:gd name="connsiteX26" fmla="*/ 920750 w 1146175"/>
                    <a:gd name="connsiteY26" fmla="*/ 446666 h 1661098"/>
                    <a:gd name="connsiteX27" fmla="*/ 917575 w 1146175"/>
                    <a:gd name="connsiteY27" fmla="*/ 459366 h 1661098"/>
                    <a:gd name="connsiteX28" fmla="*/ 914400 w 1146175"/>
                    <a:gd name="connsiteY28" fmla="*/ 468891 h 1661098"/>
                    <a:gd name="connsiteX29" fmla="*/ 917575 w 1146175"/>
                    <a:gd name="connsiteY29" fmla="*/ 506991 h 1661098"/>
                    <a:gd name="connsiteX30" fmla="*/ 923925 w 1146175"/>
                    <a:gd name="connsiteY30" fmla="*/ 519691 h 1661098"/>
                    <a:gd name="connsiteX31" fmla="*/ 939800 w 1146175"/>
                    <a:gd name="connsiteY31" fmla="*/ 538741 h 1661098"/>
                    <a:gd name="connsiteX32" fmla="*/ 942975 w 1146175"/>
                    <a:gd name="connsiteY32" fmla="*/ 548266 h 1661098"/>
                    <a:gd name="connsiteX33" fmla="*/ 955675 w 1146175"/>
                    <a:gd name="connsiteY33" fmla="*/ 573666 h 1661098"/>
                    <a:gd name="connsiteX34" fmla="*/ 968375 w 1146175"/>
                    <a:gd name="connsiteY34" fmla="*/ 614941 h 1661098"/>
                    <a:gd name="connsiteX35" fmla="*/ 974725 w 1146175"/>
                    <a:gd name="connsiteY35" fmla="*/ 627641 h 1661098"/>
                    <a:gd name="connsiteX36" fmla="*/ 981075 w 1146175"/>
                    <a:gd name="connsiteY36" fmla="*/ 646691 h 1661098"/>
                    <a:gd name="connsiteX37" fmla="*/ 993775 w 1146175"/>
                    <a:gd name="connsiteY37" fmla="*/ 649866 h 1661098"/>
                    <a:gd name="connsiteX38" fmla="*/ 1012825 w 1146175"/>
                    <a:gd name="connsiteY38" fmla="*/ 653041 h 1661098"/>
                    <a:gd name="connsiteX39" fmla="*/ 1041400 w 1146175"/>
                    <a:gd name="connsiteY39" fmla="*/ 665741 h 1661098"/>
                    <a:gd name="connsiteX40" fmla="*/ 1050925 w 1146175"/>
                    <a:gd name="connsiteY40" fmla="*/ 668916 h 1661098"/>
                    <a:gd name="connsiteX41" fmla="*/ 1066800 w 1146175"/>
                    <a:gd name="connsiteY41" fmla="*/ 678441 h 1661098"/>
                    <a:gd name="connsiteX42" fmla="*/ 1089025 w 1146175"/>
                    <a:gd name="connsiteY42" fmla="*/ 687966 h 1661098"/>
                    <a:gd name="connsiteX43" fmla="*/ 1117600 w 1146175"/>
                    <a:gd name="connsiteY43" fmla="*/ 707016 h 1661098"/>
                    <a:gd name="connsiteX44" fmla="*/ 1136650 w 1146175"/>
                    <a:gd name="connsiteY44" fmla="*/ 713366 h 1661098"/>
                    <a:gd name="connsiteX45" fmla="*/ 1146175 w 1146175"/>
                    <a:gd name="connsiteY45" fmla="*/ 903866 h 1661098"/>
                    <a:gd name="connsiteX46" fmla="*/ 1127125 w 1146175"/>
                    <a:gd name="connsiteY46" fmla="*/ 913391 h 1661098"/>
                    <a:gd name="connsiteX47" fmla="*/ 1101725 w 1146175"/>
                    <a:gd name="connsiteY47" fmla="*/ 919741 h 1661098"/>
                    <a:gd name="connsiteX48" fmla="*/ 1092200 w 1146175"/>
                    <a:gd name="connsiteY48" fmla="*/ 926091 h 1661098"/>
                    <a:gd name="connsiteX49" fmla="*/ 1079500 w 1146175"/>
                    <a:gd name="connsiteY49" fmla="*/ 929266 h 1661098"/>
                    <a:gd name="connsiteX50" fmla="*/ 1069975 w 1146175"/>
                    <a:gd name="connsiteY50" fmla="*/ 938791 h 1661098"/>
                    <a:gd name="connsiteX51" fmla="*/ 1060450 w 1146175"/>
                    <a:gd name="connsiteY51" fmla="*/ 945141 h 1661098"/>
                    <a:gd name="connsiteX52" fmla="*/ 1038225 w 1146175"/>
                    <a:gd name="connsiteY52" fmla="*/ 957841 h 1661098"/>
                    <a:gd name="connsiteX53" fmla="*/ 996950 w 1146175"/>
                    <a:gd name="connsiteY53" fmla="*/ 983241 h 1661098"/>
                    <a:gd name="connsiteX54" fmla="*/ 977900 w 1146175"/>
                    <a:gd name="connsiteY54" fmla="*/ 989591 h 1661098"/>
                    <a:gd name="connsiteX55" fmla="*/ 968375 w 1146175"/>
                    <a:gd name="connsiteY55" fmla="*/ 1014991 h 1661098"/>
                    <a:gd name="connsiteX56" fmla="*/ 958850 w 1146175"/>
                    <a:gd name="connsiteY56" fmla="*/ 1040391 h 1661098"/>
                    <a:gd name="connsiteX57" fmla="*/ 955675 w 1146175"/>
                    <a:gd name="connsiteY57" fmla="*/ 1065791 h 1661098"/>
                    <a:gd name="connsiteX58" fmla="*/ 949325 w 1146175"/>
                    <a:gd name="connsiteY58" fmla="*/ 1075316 h 1661098"/>
                    <a:gd name="connsiteX59" fmla="*/ 946150 w 1146175"/>
                    <a:gd name="connsiteY59" fmla="*/ 1084841 h 1661098"/>
                    <a:gd name="connsiteX60" fmla="*/ 936625 w 1146175"/>
                    <a:gd name="connsiteY60" fmla="*/ 1100716 h 1661098"/>
                    <a:gd name="connsiteX61" fmla="*/ 923925 w 1146175"/>
                    <a:gd name="connsiteY61" fmla="*/ 1135641 h 1661098"/>
                    <a:gd name="connsiteX62" fmla="*/ 917575 w 1146175"/>
                    <a:gd name="connsiteY62" fmla="*/ 1145166 h 1661098"/>
                    <a:gd name="connsiteX63" fmla="*/ 923925 w 1146175"/>
                    <a:gd name="connsiteY63" fmla="*/ 1199141 h 1661098"/>
                    <a:gd name="connsiteX64" fmla="*/ 939800 w 1146175"/>
                    <a:gd name="connsiteY64" fmla="*/ 1221366 h 1661098"/>
                    <a:gd name="connsiteX65" fmla="*/ 946150 w 1146175"/>
                    <a:gd name="connsiteY65" fmla="*/ 1234066 h 1661098"/>
                    <a:gd name="connsiteX66" fmla="*/ 952500 w 1146175"/>
                    <a:gd name="connsiteY66" fmla="*/ 1243591 h 1661098"/>
                    <a:gd name="connsiteX67" fmla="*/ 965200 w 1146175"/>
                    <a:gd name="connsiteY67" fmla="*/ 1268991 h 1661098"/>
                    <a:gd name="connsiteX68" fmla="*/ 974725 w 1146175"/>
                    <a:gd name="connsiteY68" fmla="*/ 1291216 h 1661098"/>
                    <a:gd name="connsiteX69" fmla="*/ 977900 w 1146175"/>
                    <a:gd name="connsiteY69" fmla="*/ 1303916 h 1661098"/>
                    <a:gd name="connsiteX70" fmla="*/ 981075 w 1146175"/>
                    <a:gd name="connsiteY70" fmla="*/ 1313441 h 1661098"/>
                    <a:gd name="connsiteX71" fmla="*/ 974725 w 1146175"/>
                    <a:gd name="connsiteY71" fmla="*/ 1348366 h 1661098"/>
                    <a:gd name="connsiteX72" fmla="*/ 949325 w 1146175"/>
                    <a:gd name="connsiteY72" fmla="*/ 1380116 h 1661098"/>
                    <a:gd name="connsiteX73" fmla="*/ 939800 w 1146175"/>
                    <a:gd name="connsiteY73" fmla="*/ 1386466 h 1661098"/>
                    <a:gd name="connsiteX74" fmla="*/ 930275 w 1146175"/>
                    <a:gd name="connsiteY74" fmla="*/ 1395991 h 1661098"/>
                    <a:gd name="connsiteX75" fmla="*/ 923925 w 1146175"/>
                    <a:gd name="connsiteY75" fmla="*/ 1405516 h 1661098"/>
                    <a:gd name="connsiteX76" fmla="*/ 908050 w 1146175"/>
                    <a:gd name="connsiteY76" fmla="*/ 1415041 h 1661098"/>
                    <a:gd name="connsiteX77" fmla="*/ 895350 w 1146175"/>
                    <a:gd name="connsiteY77" fmla="*/ 1427741 h 1661098"/>
                    <a:gd name="connsiteX78" fmla="*/ 882650 w 1146175"/>
                    <a:gd name="connsiteY78" fmla="*/ 1437266 h 1661098"/>
                    <a:gd name="connsiteX79" fmla="*/ 873125 w 1146175"/>
                    <a:gd name="connsiteY79" fmla="*/ 1446791 h 1661098"/>
                    <a:gd name="connsiteX80" fmla="*/ 844550 w 1146175"/>
                    <a:gd name="connsiteY80" fmla="*/ 1462666 h 1661098"/>
                    <a:gd name="connsiteX81" fmla="*/ 835025 w 1146175"/>
                    <a:gd name="connsiteY81" fmla="*/ 1465841 h 1661098"/>
                    <a:gd name="connsiteX82" fmla="*/ 815975 w 1146175"/>
                    <a:gd name="connsiteY82" fmla="*/ 1459491 h 1661098"/>
                    <a:gd name="connsiteX83" fmla="*/ 774700 w 1146175"/>
                    <a:gd name="connsiteY83" fmla="*/ 1443616 h 1661098"/>
                    <a:gd name="connsiteX84" fmla="*/ 749300 w 1146175"/>
                    <a:gd name="connsiteY84" fmla="*/ 1437266 h 1661098"/>
                    <a:gd name="connsiteX85" fmla="*/ 717550 w 1146175"/>
                    <a:gd name="connsiteY85" fmla="*/ 1424566 h 1661098"/>
                    <a:gd name="connsiteX86" fmla="*/ 688975 w 1146175"/>
                    <a:gd name="connsiteY86" fmla="*/ 1418216 h 1661098"/>
                    <a:gd name="connsiteX87" fmla="*/ 657225 w 1146175"/>
                    <a:gd name="connsiteY87" fmla="*/ 1408691 h 1661098"/>
                    <a:gd name="connsiteX88" fmla="*/ 635000 w 1146175"/>
                    <a:gd name="connsiteY88" fmla="*/ 1411866 h 1661098"/>
                    <a:gd name="connsiteX89" fmla="*/ 622300 w 1146175"/>
                    <a:gd name="connsiteY89" fmla="*/ 1418216 h 1661098"/>
                    <a:gd name="connsiteX90" fmla="*/ 606425 w 1146175"/>
                    <a:gd name="connsiteY90" fmla="*/ 1427741 h 1661098"/>
                    <a:gd name="connsiteX91" fmla="*/ 577850 w 1146175"/>
                    <a:gd name="connsiteY91" fmla="*/ 1443616 h 1661098"/>
                    <a:gd name="connsiteX92" fmla="*/ 558800 w 1146175"/>
                    <a:gd name="connsiteY92" fmla="*/ 1446791 h 1661098"/>
                    <a:gd name="connsiteX93" fmla="*/ 501650 w 1146175"/>
                    <a:gd name="connsiteY93" fmla="*/ 1453141 h 1661098"/>
                    <a:gd name="connsiteX94" fmla="*/ 492125 w 1146175"/>
                    <a:gd name="connsiteY94" fmla="*/ 1459491 h 1661098"/>
                    <a:gd name="connsiteX95" fmla="*/ 466725 w 1146175"/>
                    <a:gd name="connsiteY95" fmla="*/ 1491241 h 1661098"/>
                    <a:gd name="connsiteX96" fmla="*/ 457200 w 1146175"/>
                    <a:gd name="connsiteY96" fmla="*/ 1510291 h 1661098"/>
                    <a:gd name="connsiteX97" fmla="*/ 454025 w 1146175"/>
                    <a:gd name="connsiteY97" fmla="*/ 1519816 h 1661098"/>
                    <a:gd name="connsiteX98" fmla="*/ 447675 w 1146175"/>
                    <a:gd name="connsiteY98" fmla="*/ 1535691 h 1661098"/>
                    <a:gd name="connsiteX99" fmla="*/ 434975 w 1146175"/>
                    <a:gd name="connsiteY99" fmla="*/ 1561091 h 1661098"/>
                    <a:gd name="connsiteX100" fmla="*/ 431800 w 1146175"/>
                    <a:gd name="connsiteY100" fmla="*/ 1576966 h 1661098"/>
                    <a:gd name="connsiteX101" fmla="*/ 425450 w 1146175"/>
                    <a:gd name="connsiteY101" fmla="*/ 1602366 h 1661098"/>
                    <a:gd name="connsiteX102" fmla="*/ 422275 w 1146175"/>
                    <a:gd name="connsiteY102" fmla="*/ 1611891 h 1661098"/>
                    <a:gd name="connsiteX103" fmla="*/ 412750 w 1146175"/>
                    <a:gd name="connsiteY103" fmla="*/ 1621416 h 1661098"/>
                    <a:gd name="connsiteX104" fmla="*/ 222250 w 1146175"/>
                    <a:gd name="connsiteY104" fmla="*/ 1627766 h 1661098"/>
                    <a:gd name="connsiteX105" fmla="*/ 215900 w 1146175"/>
                    <a:gd name="connsiteY105" fmla="*/ 1611891 h 1661098"/>
                    <a:gd name="connsiteX106" fmla="*/ 206375 w 1146175"/>
                    <a:gd name="connsiteY106" fmla="*/ 1599191 h 1661098"/>
                    <a:gd name="connsiteX107" fmla="*/ 203200 w 1146175"/>
                    <a:gd name="connsiteY107" fmla="*/ 1586491 h 1661098"/>
                    <a:gd name="connsiteX108" fmla="*/ 196850 w 1146175"/>
                    <a:gd name="connsiteY108" fmla="*/ 1573791 h 1661098"/>
                    <a:gd name="connsiteX109" fmla="*/ 193675 w 1146175"/>
                    <a:gd name="connsiteY109" fmla="*/ 1564266 h 1661098"/>
                    <a:gd name="connsiteX110" fmla="*/ 187325 w 1146175"/>
                    <a:gd name="connsiteY110" fmla="*/ 1551566 h 1661098"/>
                    <a:gd name="connsiteX111" fmla="*/ 180975 w 1146175"/>
                    <a:gd name="connsiteY111" fmla="*/ 1535691 h 1661098"/>
                    <a:gd name="connsiteX112" fmla="*/ 161925 w 1146175"/>
                    <a:gd name="connsiteY112" fmla="*/ 1507116 h 1661098"/>
                    <a:gd name="connsiteX113" fmla="*/ 149225 w 1146175"/>
                    <a:gd name="connsiteY113" fmla="*/ 1484891 h 1661098"/>
                    <a:gd name="connsiteX114" fmla="*/ 142875 w 1146175"/>
                    <a:gd name="connsiteY114" fmla="*/ 1469016 h 1661098"/>
                    <a:gd name="connsiteX115" fmla="*/ 130175 w 1146175"/>
                    <a:gd name="connsiteY115" fmla="*/ 1465841 h 1661098"/>
                    <a:gd name="connsiteX116" fmla="*/ 101600 w 1146175"/>
                    <a:gd name="connsiteY116" fmla="*/ 1453141 h 1661098"/>
                    <a:gd name="connsiteX117" fmla="*/ 69850 w 1146175"/>
                    <a:gd name="connsiteY117" fmla="*/ 1443616 h 1661098"/>
                    <a:gd name="connsiteX118" fmla="*/ 41275 w 1146175"/>
                    <a:gd name="connsiteY118" fmla="*/ 1430916 h 1661098"/>
                    <a:gd name="connsiteX119" fmla="*/ 31750 w 1146175"/>
                    <a:gd name="connsiteY119" fmla="*/ 1424566 h 1661098"/>
                    <a:gd name="connsiteX120" fmla="*/ 15875 w 1146175"/>
                    <a:gd name="connsiteY120" fmla="*/ 1418216 h 1661098"/>
                    <a:gd name="connsiteX121" fmla="*/ 0 w 1146175"/>
                    <a:gd name="connsiteY12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55675 w 1146175"/>
                    <a:gd name="connsiteY16" fmla="*/ 278391 h 1661098"/>
                    <a:gd name="connsiteX17" fmla="*/ 974725 w 1146175"/>
                    <a:gd name="connsiteY17" fmla="*/ 303791 h 1661098"/>
                    <a:gd name="connsiteX18" fmla="*/ 968375 w 1146175"/>
                    <a:gd name="connsiteY18" fmla="*/ 338716 h 1661098"/>
                    <a:gd name="connsiteX19" fmla="*/ 965200 w 1146175"/>
                    <a:gd name="connsiteY19" fmla="*/ 348241 h 1661098"/>
                    <a:gd name="connsiteX20" fmla="*/ 949325 w 1146175"/>
                    <a:gd name="connsiteY20" fmla="*/ 367291 h 1661098"/>
                    <a:gd name="connsiteX21" fmla="*/ 939800 w 1146175"/>
                    <a:gd name="connsiteY21" fmla="*/ 389516 h 1661098"/>
                    <a:gd name="connsiteX22" fmla="*/ 936625 w 1146175"/>
                    <a:gd name="connsiteY22" fmla="*/ 402216 h 1661098"/>
                    <a:gd name="connsiteX23" fmla="*/ 930275 w 1146175"/>
                    <a:gd name="connsiteY23" fmla="*/ 418091 h 1661098"/>
                    <a:gd name="connsiteX24" fmla="*/ 927100 w 1146175"/>
                    <a:gd name="connsiteY24" fmla="*/ 430791 h 1661098"/>
                    <a:gd name="connsiteX25" fmla="*/ 920750 w 1146175"/>
                    <a:gd name="connsiteY25" fmla="*/ 446666 h 1661098"/>
                    <a:gd name="connsiteX26" fmla="*/ 917575 w 1146175"/>
                    <a:gd name="connsiteY26" fmla="*/ 459366 h 1661098"/>
                    <a:gd name="connsiteX27" fmla="*/ 914400 w 1146175"/>
                    <a:gd name="connsiteY27" fmla="*/ 468891 h 1661098"/>
                    <a:gd name="connsiteX28" fmla="*/ 917575 w 1146175"/>
                    <a:gd name="connsiteY28" fmla="*/ 506991 h 1661098"/>
                    <a:gd name="connsiteX29" fmla="*/ 923925 w 1146175"/>
                    <a:gd name="connsiteY29" fmla="*/ 519691 h 1661098"/>
                    <a:gd name="connsiteX30" fmla="*/ 939800 w 1146175"/>
                    <a:gd name="connsiteY30" fmla="*/ 538741 h 1661098"/>
                    <a:gd name="connsiteX31" fmla="*/ 942975 w 1146175"/>
                    <a:gd name="connsiteY31" fmla="*/ 548266 h 1661098"/>
                    <a:gd name="connsiteX32" fmla="*/ 955675 w 1146175"/>
                    <a:gd name="connsiteY32" fmla="*/ 573666 h 1661098"/>
                    <a:gd name="connsiteX33" fmla="*/ 968375 w 1146175"/>
                    <a:gd name="connsiteY33" fmla="*/ 614941 h 1661098"/>
                    <a:gd name="connsiteX34" fmla="*/ 974725 w 1146175"/>
                    <a:gd name="connsiteY34" fmla="*/ 627641 h 1661098"/>
                    <a:gd name="connsiteX35" fmla="*/ 981075 w 1146175"/>
                    <a:gd name="connsiteY35" fmla="*/ 646691 h 1661098"/>
                    <a:gd name="connsiteX36" fmla="*/ 993775 w 1146175"/>
                    <a:gd name="connsiteY36" fmla="*/ 649866 h 1661098"/>
                    <a:gd name="connsiteX37" fmla="*/ 1012825 w 1146175"/>
                    <a:gd name="connsiteY37" fmla="*/ 653041 h 1661098"/>
                    <a:gd name="connsiteX38" fmla="*/ 1041400 w 1146175"/>
                    <a:gd name="connsiteY38" fmla="*/ 665741 h 1661098"/>
                    <a:gd name="connsiteX39" fmla="*/ 1050925 w 1146175"/>
                    <a:gd name="connsiteY39" fmla="*/ 668916 h 1661098"/>
                    <a:gd name="connsiteX40" fmla="*/ 1066800 w 1146175"/>
                    <a:gd name="connsiteY40" fmla="*/ 678441 h 1661098"/>
                    <a:gd name="connsiteX41" fmla="*/ 1089025 w 1146175"/>
                    <a:gd name="connsiteY41" fmla="*/ 687966 h 1661098"/>
                    <a:gd name="connsiteX42" fmla="*/ 1117600 w 1146175"/>
                    <a:gd name="connsiteY42" fmla="*/ 707016 h 1661098"/>
                    <a:gd name="connsiteX43" fmla="*/ 1136650 w 1146175"/>
                    <a:gd name="connsiteY43" fmla="*/ 713366 h 1661098"/>
                    <a:gd name="connsiteX44" fmla="*/ 1146175 w 1146175"/>
                    <a:gd name="connsiteY44" fmla="*/ 903866 h 1661098"/>
                    <a:gd name="connsiteX45" fmla="*/ 1127125 w 1146175"/>
                    <a:gd name="connsiteY45" fmla="*/ 913391 h 1661098"/>
                    <a:gd name="connsiteX46" fmla="*/ 1101725 w 1146175"/>
                    <a:gd name="connsiteY46" fmla="*/ 919741 h 1661098"/>
                    <a:gd name="connsiteX47" fmla="*/ 1092200 w 1146175"/>
                    <a:gd name="connsiteY47" fmla="*/ 926091 h 1661098"/>
                    <a:gd name="connsiteX48" fmla="*/ 1079500 w 1146175"/>
                    <a:gd name="connsiteY48" fmla="*/ 929266 h 1661098"/>
                    <a:gd name="connsiteX49" fmla="*/ 1069975 w 1146175"/>
                    <a:gd name="connsiteY49" fmla="*/ 938791 h 1661098"/>
                    <a:gd name="connsiteX50" fmla="*/ 1060450 w 1146175"/>
                    <a:gd name="connsiteY50" fmla="*/ 945141 h 1661098"/>
                    <a:gd name="connsiteX51" fmla="*/ 1038225 w 1146175"/>
                    <a:gd name="connsiteY51" fmla="*/ 957841 h 1661098"/>
                    <a:gd name="connsiteX52" fmla="*/ 996950 w 1146175"/>
                    <a:gd name="connsiteY52" fmla="*/ 983241 h 1661098"/>
                    <a:gd name="connsiteX53" fmla="*/ 977900 w 1146175"/>
                    <a:gd name="connsiteY53" fmla="*/ 989591 h 1661098"/>
                    <a:gd name="connsiteX54" fmla="*/ 968375 w 1146175"/>
                    <a:gd name="connsiteY54" fmla="*/ 1014991 h 1661098"/>
                    <a:gd name="connsiteX55" fmla="*/ 958850 w 1146175"/>
                    <a:gd name="connsiteY55" fmla="*/ 1040391 h 1661098"/>
                    <a:gd name="connsiteX56" fmla="*/ 955675 w 1146175"/>
                    <a:gd name="connsiteY56" fmla="*/ 1065791 h 1661098"/>
                    <a:gd name="connsiteX57" fmla="*/ 949325 w 1146175"/>
                    <a:gd name="connsiteY57" fmla="*/ 1075316 h 1661098"/>
                    <a:gd name="connsiteX58" fmla="*/ 946150 w 1146175"/>
                    <a:gd name="connsiteY58" fmla="*/ 1084841 h 1661098"/>
                    <a:gd name="connsiteX59" fmla="*/ 936625 w 1146175"/>
                    <a:gd name="connsiteY59" fmla="*/ 1100716 h 1661098"/>
                    <a:gd name="connsiteX60" fmla="*/ 923925 w 1146175"/>
                    <a:gd name="connsiteY60" fmla="*/ 1135641 h 1661098"/>
                    <a:gd name="connsiteX61" fmla="*/ 917575 w 1146175"/>
                    <a:gd name="connsiteY61" fmla="*/ 1145166 h 1661098"/>
                    <a:gd name="connsiteX62" fmla="*/ 923925 w 1146175"/>
                    <a:gd name="connsiteY62" fmla="*/ 1199141 h 1661098"/>
                    <a:gd name="connsiteX63" fmla="*/ 939800 w 1146175"/>
                    <a:gd name="connsiteY63" fmla="*/ 1221366 h 1661098"/>
                    <a:gd name="connsiteX64" fmla="*/ 946150 w 1146175"/>
                    <a:gd name="connsiteY64" fmla="*/ 1234066 h 1661098"/>
                    <a:gd name="connsiteX65" fmla="*/ 952500 w 1146175"/>
                    <a:gd name="connsiteY65" fmla="*/ 1243591 h 1661098"/>
                    <a:gd name="connsiteX66" fmla="*/ 965200 w 1146175"/>
                    <a:gd name="connsiteY66" fmla="*/ 1268991 h 1661098"/>
                    <a:gd name="connsiteX67" fmla="*/ 974725 w 1146175"/>
                    <a:gd name="connsiteY67" fmla="*/ 1291216 h 1661098"/>
                    <a:gd name="connsiteX68" fmla="*/ 977900 w 1146175"/>
                    <a:gd name="connsiteY68" fmla="*/ 1303916 h 1661098"/>
                    <a:gd name="connsiteX69" fmla="*/ 981075 w 1146175"/>
                    <a:gd name="connsiteY69" fmla="*/ 1313441 h 1661098"/>
                    <a:gd name="connsiteX70" fmla="*/ 974725 w 1146175"/>
                    <a:gd name="connsiteY70" fmla="*/ 1348366 h 1661098"/>
                    <a:gd name="connsiteX71" fmla="*/ 949325 w 1146175"/>
                    <a:gd name="connsiteY71" fmla="*/ 1380116 h 1661098"/>
                    <a:gd name="connsiteX72" fmla="*/ 939800 w 1146175"/>
                    <a:gd name="connsiteY72" fmla="*/ 1386466 h 1661098"/>
                    <a:gd name="connsiteX73" fmla="*/ 930275 w 1146175"/>
                    <a:gd name="connsiteY73" fmla="*/ 1395991 h 1661098"/>
                    <a:gd name="connsiteX74" fmla="*/ 923925 w 1146175"/>
                    <a:gd name="connsiteY74" fmla="*/ 1405516 h 1661098"/>
                    <a:gd name="connsiteX75" fmla="*/ 908050 w 1146175"/>
                    <a:gd name="connsiteY75" fmla="*/ 1415041 h 1661098"/>
                    <a:gd name="connsiteX76" fmla="*/ 895350 w 1146175"/>
                    <a:gd name="connsiteY76" fmla="*/ 1427741 h 1661098"/>
                    <a:gd name="connsiteX77" fmla="*/ 882650 w 1146175"/>
                    <a:gd name="connsiteY77" fmla="*/ 1437266 h 1661098"/>
                    <a:gd name="connsiteX78" fmla="*/ 873125 w 1146175"/>
                    <a:gd name="connsiteY78" fmla="*/ 1446791 h 1661098"/>
                    <a:gd name="connsiteX79" fmla="*/ 844550 w 1146175"/>
                    <a:gd name="connsiteY79" fmla="*/ 1462666 h 1661098"/>
                    <a:gd name="connsiteX80" fmla="*/ 835025 w 1146175"/>
                    <a:gd name="connsiteY80" fmla="*/ 1465841 h 1661098"/>
                    <a:gd name="connsiteX81" fmla="*/ 815975 w 1146175"/>
                    <a:gd name="connsiteY81" fmla="*/ 1459491 h 1661098"/>
                    <a:gd name="connsiteX82" fmla="*/ 774700 w 1146175"/>
                    <a:gd name="connsiteY82" fmla="*/ 1443616 h 1661098"/>
                    <a:gd name="connsiteX83" fmla="*/ 749300 w 1146175"/>
                    <a:gd name="connsiteY83" fmla="*/ 1437266 h 1661098"/>
                    <a:gd name="connsiteX84" fmla="*/ 717550 w 1146175"/>
                    <a:gd name="connsiteY84" fmla="*/ 1424566 h 1661098"/>
                    <a:gd name="connsiteX85" fmla="*/ 688975 w 1146175"/>
                    <a:gd name="connsiteY85" fmla="*/ 1418216 h 1661098"/>
                    <a:gd name="connsiteX86" fmla="*/ 657225 w 1146175"/>
                    <a:gd name="connsiteY86" fmla="*/ 1408691 h 1661098"/>
                    <a:gd name="connsiteX87" fmla="*/ 635000 w 1146175"/>
                    <a:gd name="connsiteY87" fmla="*/ 1411866 h 1661098"/>
                    <a:gd name="connsiteX88" fmla="*/ 622300 w 1146175"/>
                    <a:gd name="connsiteY88" fmla="*/ 1418216 h 1661098"/>
                    <a:gd name="connsiteX89" fmla="*/ 606425 w 1146175"/>
                    <a:gd name="connsiteY89" fmla="*/ 1427741 h 1661098"/>
                    <a:gd name="connsiteX90" fmla="*/ 577850 w 1146175"/>
                    <a:gd name="connsiteY90" fmla="*/ 1443616 h 1661098"/>
                    <a:gd name="connsiteX91" fmla="*/ 558800 w 1146175"/>
                    <a:gd name="connsiteY91" fmla="*/ 1446791 h 1661098"/>
                    <a:gd name="connsiteX92" fmla="*/ 501650 w 1146175"/>
                    <a:gd name="connsiteY92" fmla="*/ 1453141 h 1661098"/>
                    <a:gd name="connsiteX93" fmla="*/ 492125 w 1146175"/>
                    <a:gd name="connsiteY93" fmla="*/ 1459491 h 1661098"/>
                    <a:gd name="connsiteX94" fmla="*/ 466725 w 1146175"/>
                    <a:gd name="connsiteY94" fmla="*/ 1491241 h 1661098"/>
                    <a:gd name="connsiteX95" fmla="*/ 457200 w 1146175"/>
                    <a:gd name="connsiteY95" fmla="*/ 1510291 h 1661098"/>
                    <a:gd name="connsiteX96" fmla="*/ 454025 w 1146175"/>
                    <a:gd name="connsiteY96" fmla="*/ 1519816 h 1661098"/>
                    <a:gd name="connsiteX97" fmla="*/ 447675 w 1146175"/>
                    <a:gd name="connsiteY97" fmla="*/ 1535691 h 1661098"/>
                    <a:gd name="connsiteX98" fmla="*/ 434975 w 1146175"/>
                    <a:gd name="connsiteY98" fmla="*/ 1561091 h 1661098"/>
                    <a:gd name="connsiteX99" fmla="*/ 431800 w 1146175"/>
                    <a:gd name="connsiteY99" fmla="*/ 1576966 h 1661098"/>
                    <a:gd name="connsiteX100" fmla="*/ 425450 w 1146175"/>
                    <a:gd name="connsiteY100" fmla="*/ 1602366 h 1661098"/>
                    <a:gd name="connsiteX101" fmla="*/ 422275 w 1146175"/>
                    <a:gd name="connsiteY101" fmla="*/ 1611891 h 1661098"/>
                    <a:gd name="connsiteX102" fmla="*/ 412750 w 1146175"/>
                    <a:gd name="connsiteY102" fmla="*/ 1621416 h 1661098"/>
                    <a:gd name="connsiteX103" fmla="*/ 222250 w 1146175"/>
                    <a:gd name="connsiteY103" fmla="*/ 1627766 h 1661098"/>
                    <a:gd name="connsiteX104" fmla="*/ 215900 w 1146175"/>
                    <a:gd name="connsiteY104" fmla="*/ 1611891 h 1661098"/>
                    <a:gd name="connsiteX105" fmla="*/ 206375 w 1146175"/>
                    <a:gd name="connsiteY105" fmla="*/ 1599191 h 1661098"/>
                    <a:gd name="connsiteX106" fmla="*/ 203200 w 1146175"/>
                    <a:gd name="connsiteY106" fmla="*/ 1586491 h 1661098"/>
                    <a:gd name="connsiteX107" fmla="*/ 196850 w 1146175"/>
                    <a:gd name="connsiteY107" fmla="*/ 1573791 h 1661098"/>
                    <a:gd name="connsiteX108" fmla="*/ 193675 w 1146175"/>
                    <a:gd name="connsiteY108" fmla="*/ 1564266 h 1661098"/>
                    <a:gd name="connsiteX109" fmla="*/ 187325 w 1146175"/>
                    <a:gd name="connsiteY109" fmla="*/ 1551566 h 1661098"/>
                    <a:gd name="connsiteX110" fmla="*/ 180975 w 1146175"/>
                    <a:gd name="connsiteY110" fmla="*/ 1535691 h 1661098"/>
                    <a:gd name="connsiteX111" fmla="*/ 161925 w 1146175"/>
                    <a:gd name="connsiteY111" fmla="*/ 1507116 h 1661098"/>
                    <a:gd name="connsiteX112" fmla="*/ 149225 w 1146175"/>
                    <a:gd name="connsiteY112" fmla="*/ 1484891 h 1661098"/>
                    <a:gd name="connsiteX113" fmla="*/ 142875 w 1146175"/>
                    <a:gd name="connsiteY113" fmla="*/ 1469016 h 1661098"/>
                    <a:gd name="connsiteX114" fmla="*/ 130175 w 1146175"/>
                    <a:gd name="connsiteY114" fmla="*/ 1465841 h 1661098"/>
                    <a:gd name="connsiteX115" fmla="*/ 101600 w 1146175"/>
                    <a:gd name="connsiteY115" fmla="*/ 1453141 h 1661098"/>
                    <a:gd name="connsiteX116" fmla="*/ 69850 w 1146175"/>
                    <a:gd name="connsiteY116" fmla="*/ 1443616 h 1661098"/>
                    <a:gd name="connsiteX117" fmla="*/ 41275 w 1146175"/>
                    <a:gd name="connsiteY117" fmla="*/ 1430916 h 1661098"/>
                    <a:gd name="connsiteX118" fmla="*/ 31750 w 1146175"/>
                    <a:gd name="connsiteY118" fmla="*/ 1424566 h 1661098"/>
                    <a:gd name="connsiteX119" fmla="*/ 15875 w 1146175"/>
                    <a:gd name="connsiteY119" fmla="*/ 1418216 h 1661098"/>
                    <a:gd name="connsiteX120" fmla="*/ 0 w 1146175"/>
                    <a:gd name="connsiteY12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9800 w 1146175"/>
                    <a:gd name="connsiteY20" fmla="*/ 389516 h 1661098"/>
                    <a:gd name="connsiteX21" fmla="*/ 936625 w 1146175"/>
                    <a:gd name="connsiteY21" fmla="*/ 402216 h 1661098"/>
                    <a:gd name="connsiteX22" fmla="*/ 930275 w 1146175"/>
                    <a:gd name="connsiteY22" fmla="*/ 418091 h 1661098"/>
                    <a:gd name="connsiteX23" fmla="*/ 927100 w 1146175"/>
                    <a:gd name="connsiteY23" fmla="*/ 430791 h 1661098"/>
                    <a:gd name="connsiteX24" fmla="*/ 920750 w 1146175"/>
                    <a:gd name="connsiteY24" fmla="*/ 446666 h 1661098"/>
                    <a:gd name="connsiteX25" fmla="*/ 917575 w 1146175"/>
                    <a:gd name="connsiteY25" fmla="*/ 459366 h 1661098"/>
                    <a:gd name="connsiteX26" fmla="*/ 914400 w 1146175"/>
                    <a:gd name="connsiteY26" fmla="*/ 468891 h 1661098"/>
                    <a:gd name="connsiteX27" fmla="*/ 917575 w 1146175"/>
                    <a:gd name="connsiteY27" fmla="*/ 506991 h 1661098"/>
                    <a:gd name="connsiteX28" fmla="*/ 923925 w 1146175"/>
                    <a:gd name="connsiteY28" fmla="*/ 519691 h 1661098"/>
                    <a:gd name="connsiteX29" fmla="*/ 939800 w 1146175"/>
                    <a:gd name="connsiteY29" fmla="*/ 538741 h 1661098"/>
                    <a:gd name="connsiteX30" fmla="*/ 942975 w 1146175"/>
                    <a:gd name="connsiteY30" fmla="*/ 548266 h 1661098"/>
                    <a:gd name="connsiteX31" fmla="*/ 955675 w 1146175"/>
                    <a:gd name="connsiteY31" fmla="*/ 573666 h 1661098"/>
                    <a:gd name="connsiteX32" fmla="*/ 968375 w 1146175"/>
                    <a:gd name="connsiteY32" fmla="*/ 614941 h 1661098"/>
                    <a:gd name="connsiteX33" fmla="*/ 974725 w 1146175"/>
                    <a:gd name="connsiteY33" fmla="*/ 627641 h 1661098"/>
                    <a:gd name="connsiteX34" fmla="*/ 981075 w 1146175"/>
                    <a:gd name="connsiteY34" fmla="*/ 646691 h 1661098"/>
                    <a:gd name="connsiteX35" fmla="*/ 993775 w 1146175"/>
                    <a:gd name="connsiteY35" fmla="*/ 649866 h 1661098"/>
                    <a:gd name="connsiteX36" fmla="*/ 1012825 w 1146175"/>
                    <a:gd name="connsiteY36" fmla="*/ 653041 h 1661098"/>
                    <a:gd name="connsiteX37" fmla="*/ 1041400 w 1146175"/>
                    <a:gd name="connsiteY37" fmla="*/ 665741 h 1661098"/>
                    <a:gd name="connsiteX38" fmla="*/ 1050925 w 1146175"/>
                    <a:gd name="connsiteY38" fmla="*/ 668916 h 1661098"/>
                    <a:gd name="connsiteX39" fmla="*/ 1066800 w 1146175"/>
                    <a:gd name="connsiteY39" fmla="*/ 678441 h 1661098"/>
                    <a:gd name="connsiteX40" fmla="*/ 1089025 w 1146175"/>
                    <a:gd name="connsiteY40" fmla="*/ 687966 h 1661098"/>
                    <a:gd name="connsiteX41" fmla="*/ 1117600 w 1146175"/>
                    <a:gd name="connsiteY41" fmla="*/ 707016 h 1661098"/>
                    <a:gd name="connsiteX42" fmla="*/ 1136650 w 1146175"/>
                    <a:gd name="connsiteY42" fmla="*/ 713366 h 1661098"/>
                    <a:gd name="connsiteX43" fmla="*/ 1146175 w 1146175"/>
                    <a:gd name="connsiteY43" fmla="*/ 903866 h 1661098"/>
                    <a:gd name="connsiteX44" fmla="*/ 1127125 w 1146175"/>
                    <a:gd name="connsiteY44" fmla="*/ 913391 h 1661098"/>
                    <a:gd name="connsiteX45" fmla="*/ 1101725 w 1146175"/>
                    <a:gd name="connsiteY45" fmla="*/ 919741 h 1661098"/>
                    <a:gd name="connsiteX46" fmla="*/ 1092200 w 1146175"/>
                    <a:gd name="connsiteY46" fmla="*/ 926091 h 1661098"/>
                    <a:gd name="connsiteX47" fmla="*/ 1079500 w 1146175"/>
                    <a:gd name="connsiteY47" fmla="*/ 929266 h 1661098"/>
                    <a:gd name="connsiteX48" fmla="*/ 1069975 w 1146175"/>
                    <a:gd name="connsiteY48" fmla="*/ 938791 h 1661098"/>
                    <a:gd name="connsiteX49" fmla="*/ 1060450 w 1146175"/>
                    <a:gd name="connsiteY49" fmla="*/ 945141 h 1661098"/>
                    <a:gd name="connsiteX50" fmla="*/ 1038225 w 1146175"/>
                    <a:gd name="connsiteY50" fmla="*/ 957841 h 1661098"/>
                    <a:gd name="connsiteX51" fmla="*/ 996950 w 1146175"/>
                    <a:gd name="connsiteY51" fmla="*/ 983241 h 1661098"/>
                    <a:gd name="connsiteX52" fmla="*/ 977900 w 1146175"/>
                    <a:gd name="connsiteY52" fmla="*/ 989591 h 1661098"/>
                    <a:gd name="connsiteX53" fmla="*/ 968375 w 1146175"/>
                    <a:gd name="connsiteY53" fmla="*/ 1014991 h 1661098"/>
                    <a:gd name="connsiteX54" fmla="*/ 958850 w 1146175"/>
                    <a:gd name="connsiteY54" fmla="*/ 1040391 h 1661098"/>
                    <a:gd name="connsiteX55" fmla="*/ 955675 w 1146175"/>
                    <a:gd name="connsiteY55" fmla="*/ 1065791 h 1661098"/>
                    <a:gd name="connsiteX56" fmla="*/ 949325 w 1146175"/>
                    <a:gd name="connsiteY56" fmla="*/ 1075316 h 1661098"/>
                    <a:gd name="connsiteX57" fmla="*/ 946150 w 1146175"/>
                    <a:gd name="connsiteY57" fmla="*/ 1084841 h 1661098"/>
                    <a:gd name="connsiteX58" fmla="*/ 936625 w 1146175"/>
                    <a:gd name="connsiteY58" fmla="*/ 1100716 h 1661098"/>
                    <a:gd name="connsiteX59" fmla="*/ 923925 w 1146175"/>
                    <a:gd name="connsiteY59" fmla="*/ 1135641 h 1661098"/>
                    <a:gd name="connsiteX60" fmla="*/ 917575 w 1146175"/>
                    <a:gd name="connsiteY60" fmla="*/ 1145166 h 1661098"/>
                    <a:gd name="connsiteX61" fmla="*/ 923925 w 1146175"/>
                    <a:gd name="connsiteY61" fmla="*/ 1199141 h 1661098"/>
                    <a:gd name="connsiteX62" fmla="*/ 939800 w 1146175"/>
                    <a:gd name="connsiteY62" fmla="*/ 1221366 h 1661098"/>
                    <a:gd name="connsiteX63" fmla="*/ 946150 w 1146175"/>
                    <a:gd name="connsiteY63" fmla="*/ 1234066 h 1661098"/>
                    <a:gd name="connsiteX64" fmla="*/ 952500 w 1146175"/>
                    <a:gd name="connsiteY64" fmla="*/ 1243591 h 1661098"/>
                    <a:gd name="connsiteX65" fmla="*/ 965200 w 1146175"/>
                    <a:gd name="connsiteY65" fmla="*/ 1268991 h 1661098"/>
                    <a:gd name="connsiteX66" fmla="*/ 974725 w 1146175"/>
                    <a:gd name="connsiteY66" fmla="*/ 1291216 h 1661098"/>
                    <a:gd name="connsiteX67" fmla="*/ 977900 w 1146175"/>
                    <a:gd name="connsiteY67" fmla="*/ 1303916 h 1661098"/>
                    <a:gd name="connsiteX68" fmla="*/ 981075 w 1146175"/>
                    <a:gd name="connsiteY68" fmla="*/ 1313441 h 1661098"/>
                    <a:gd name="connsiteX69" fmla="*/ 974725 w 1146175"/>
                    <a:gd name="connsiteY69" fmla="*/ 1348366 h 1661098"/>
                    <a:gd name="connsiteX70" fmla="*/ 949325 w 1146175"/>
                    <a:gd name="connsiteY70" fmla="*/ 1380116 h 1661098"/>
                    <a:gd name="connsiteX71" fmla="*/ 939800 w 1146175"/>
                    <a:gd name="connsiteY71" fmla="*/ 1386466 h 1661098"/>
                    <a:gd name="connsiteX72" fmla="*/ 930275 w 1146175"/>
                    <a:gd name="connsiteY72" fmla="*/ 1395991 h 1661098"/>
                    <a:gd name="connsiteX73" fmla="*/ 923925 w 1146175"/>
                    <a:gd name="connsiteY73" fmla="*/ 1405516 h 1661098"/>
                    <a:gd name="connsiteX74" fmla="*/ 908050 w 1146175"/>
                    <a:gd name="connsiteY74" fmla="*/ 1415041 h 1661098"/>
                    <a:gd name="connsiteX75" fmla="*/ 895350 w 1146175"/>
                    <a:gd name="connsiteY75" fmla="*/ 1427741 h 1661098"/>
                    <a:gd name="connsiteX76" fmla="*/ 882650 w 1146175"/>
                    <a:gd name="connsiteY76" fmla="*/ 1437266 h 1661098"/>
                    <a:gd name="connsiteX77" fmla="*/ 873125 w 1146175"/>
                    <a:gd name="connsiteY77" fmla="*/ 1446791 h 1661098"/>
                    <a:gd name="connsiteX78" fmla="*/ 844550 w 1146175"/>
                    <a:gd name="connsiteY78" fmla="*/ 1462666 h 1661098"/>
                    <a:gd name="connsiteX79" fmla="*/ 835025 w 1146175"/>
                    <a:gd name="connsiteY79" fmla="*/ 1465841 h 1661098"/>
                    <a:gd name="connsiteX80" fmla="*/ 815975 w 1146175"/>
                    <a:gd name="connsiteY80" fmla="*/ 1459491 h 1661098"/>
                    <a:gd name="connsiteX81" fmla="*/ 774700 w 1146175"/>
                    <a:gd name="connsiteY81" fmla="*/ 1443616 h 1661098"/>
                    <a:gd name="connsiteX82" fmla="*/ 749300 w 1146175"/>
                    <a:gd name="connsiteY82" fmla="*/ 1437266 h 1661098"/>
                    <a:gd name="connsiteX83" fmla="*/ 717550 w 1146175"/>
                    <a:gd name="connsiteY83" fmla="*/ 1424566 h 1661098"/>
                    <a:gd name="connsiteX84" fmla="*/ 688975 w 1146175"/>
                    <a:gd name="connsiteY84" fmla="*/ 1418216 h 1661098"/>
                    <a:gd name="connsiteX85" fmla="*/ 657225 w 1146175"/>
                    <a:gd name="connsiteY85" fmla="*/ 1408691 h 1661098"/>
                    <a:gd name="connsiteX86" fmla="*/ 635000 w 1146175"/>
                    <a:gd name="connsiteY86" fmla="*/ 1411866 h 1661098"/>
                    <a:gd name="connsiteX87" fmla="*/ 622300 w 1146175"/>
                    <a:gd name="connsiteY87" fmla="*/ 1418216 h 1661098"/>
                    <a:gd name="connsiteX88" fmla="*/ 606425 w 1146175"/>
                    <a:gd name="connsiteY88" fmla="*/ 1427741 h 1661098"/>
                    <a:gd name="connsiteX89" fmla="*/ 577850 w 1146175"/>
                    <a:gd name="connsiteY89" fmla="*/ 1443616 h 1661098"/>
                    <a:gd name="connsiteX90" fmla="*/ 558800 w 1146175"/>
                    <a:gd name="connsiteY90" fmla="*/ 1446791 h 1661098"/>
                    <a:gd name="connsiteX91" fmla="*/ 501650 w 1146175"/>
                    <a:gd name="connsiteY91" fmla="*/ 1453141 h 1661098"/>
                    <a:gd name="connsiteX92" fmla="*/ 492125 w 1146175"/>
                    <a:gd name="connsiteY92" fmla="*/ 1459491 h 1661098"/>
                    <a:gd name="connsiteX93" fmla="*/ 466725 w 1146175"/>
                    <a:gd name="connsiteY93" fmla="*/ 1491241 h 1661098"/>
                    <a:gd name="connsiteX94" fmla="*/ 457200 w 1146175"/>
                    <a:gd name="connsiteY94" fmla="*/ 1510291 h 1661098"/>
                    <a:gd name="connsiteX95" fmla="*/ 454025 w 1146175"/>
                    <a:gd name="connsiteY95" fmla="*/ 1519816 h 1661098"/>
                    <a:gd name="connsiteX96" fmla="*/ 447675 w 1146175"/>
                    <a:gd name="connsiteY96" fmla="*/ 1535691 h 1661098"/>
                    <a:gd name="connsiteX97" fmla="*/ 434975 w 1146175"/>
                    <a:gd name="connsiteY97" fmla="*/ 1561091 h 1661098"/>
                    <a:gd name="connsiteX98" fmla="*/ 431800 w 1146175"/>
                    <a:gd name="connsiteY98" fmla="*/ 1576966 h 1661098"/>
                    <a:gd name="connsiteX99" fmla="*/ 425450 w 1146175"/>
                    <a:gd name="connsiteY99" fmla="*/ 1602366 h 1661098"/>
                    <a:gd name="connsiteX100" fmla="*/ 422275 w 1146175"/>
                    <a:gd name="connsiteY100" fmla="*/ 1611891 h 1661098"/>
                    <a:gd name="connsiteX101" fmla="*/ 412750 w 1146175"/>
                    <a:gd name="connsiteY101" fmla="*/ 1621416 h 1661098"/>
                    <a:gd name="connsiteX102" fmla="*/ 222250 w 1146175"/>
                    <a:gd name="connsiteY102" fmla="*/ 1627766 h 1661098"/>
                    <a:gd name="connsiteX103" fmla="*/ 215900 w 1146175"/>
                    <a:gd name="connsiteY103" fmla="*/ 1611891 h 1661098"/>
                    <a:gd name="connsiteX104" fmla="*/ 206375 w 1146175"/>
                    <a:gd name="connsiteY104" fmla="*/ 1599191 h 1661098"/>
                    <a:gd name="connsiteX105" fmla="*/ 203200 w 1146175"/>
                    <a:gd name="connsiteY105" fmla="*/ 1586491 h 1661098"/>
                    <a:gd name="connsiteX106" fmla="*/ 196850 w 1146175"/>
                    <a:gd name="connsiteY106" fmla="*/ 1573791 h 1661098"/>
                    <a:gd name="connsiteX107" fmla="*/ 193675 w 1146175"/>
                    <a:gd name="connsiteY107" fmla="*/ 1564266 h 1661098"/>
                    <a:gd name="connsiteX108" fmla="*/ 187325 w 1146175"/>
                    <a:gd name="connsiteY108" fmla="*/ 1551566 h 1661098"/>
                    <a:gd name="connsiteX109" fmla="*/ 180975 w 1146175"/>
                    <a:gd name="connsiteY109" fmla="*/ 1535691 h 1661098"/>
                    <a:gd name="connsiteX110" fmla="*/ 161925 w 1146175"/>
                    <a:gd name="connsiteY110" fmla="*/ 1507116 h 1661098"/>
                    <a:gd name="connsiteX111" fmla="*/ 149225 w 1146175"/>
                    <a:gd name="connsiteY111" fmla="*/ 1484891 h 1661098"/>
                    <a:gd name="connsiteX112" fmla="*/ 142875 w 1146175"/>
                    <a:gd name="connsiteY112" fmla="*/ 1469016 h 1661098"/>
                    <a:gd name="connsiteX113" fmla="*/ 130175 w 1146175"/>
                    <a:gd name="connsiteY113" fmla="*/ 1465841 h 1661098"/>
                    <a:gd name="connsiteX114" fmla="*/ 101600 w 1146175"/>
                    <a:gd name="connsiteY114" fmla="*/ 1453141 h 1661098"/>
                    <a:gd name="connsiteX115" fmla="*/ 69850 w 1146175"/>
                    <a:gd name="connsiteY115" fmla="*/ 1443616 h 1661098"/>
                    <a:gd name="connsiteX116" fmla="*/ 41275 w 1146175"/>
                    <a:gd name="connsiteY116" fmla="*/ 1430916 h 1661098"/>
                    <a:gd name="connsiteX117" fmla="*/ 31750 w 1146175"/>
                    <a:gd name="connsiteY117" fmla="*/ 1424566 h 1661098"/>
                    <a:gd name="connsiteX118" fmla="*/ 15875 w 1146175"/>
                    <a:gd name="connsiteY118" fmla="*/ 1418216 h 1661098"/>
                    <a:gd name="connsiteX119" fmla="*/ 0 w 1146175"/>
                    <a:gd name="connsiteY11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9800 w 1146175"/>
                    <a:gd name="connsiteY20" fmla="*/ 389516 h 1661098"/>
                    <a:gd name="connsiteX21" fmla="*/ 936625 w 1146175"/>
                    <a:gd name="connsiteY21" fmla="*/ 402216 h 1661098"/>
                    <a:gd name="connsiteX22" fmla="*/ 927100 w 1146175"/>
                    <a:gd name="connsiteY22" fmla="*/ 430791 h 1661098"/>
                    <a:gd name="connsiteX23" fmla="*/ 920750 w 1146175"/>
                    <a:gd name="connsiteY23" fmla="*/ 446666 h 1661098"/>
                    <a:gd name="connsiteX24" fmla="*/ 917575 w 1146175"/>
                    <a:gd name="connsiteY24" fmla="*/ 459366 h 1661098"/>
                    <a:gd name="connsiteX25" fmla="*/ 914400 w 1146175"/>
                    <a:gd name="connsiteY25" fmla="*/ 468891 h 1661098"/>
                    <a:gd name="connsiteX26" fmla="*/ 917575 w 1146175"/>
                    <a:gd name="connsiteY26" fmla="*/ 506991 h 1661098"/>
                    <a:gd name="connsiteX27" fmla="*/ 923925 w 1146175"/>
                    <a:gd name="connsiteY27" fmla="*/ 519691 h 1661098"/>
                    <a:gd name="connsiteX28" fmla="*/ 939800 w 1146175"/>
                    <a:gd name="connsiteY28" fmla="*/ 538741 h 1661098"/>
                    <a:gd name="connsiteX29" fmla="*/ 942975 w 1146175"/>
                    <a:gd name="connsiteY29" fmla="*/ 548266 h 1661098"/>
                    <a:gd name="connsiteX30" fmla="*/ 955675 w 1146175"/>
                    <a:gd name="connsiteY30" fmla="*/ 573666 h 1661098"/>
                    <a:gd name="connsiteX31" fmla="*/ 968375 w 1146175"/>
                    <a:gd name="connsiteY31" fmla="*/ 614941 h 1661098"/>
                    <a:gd name="connsiteX32" fmla="*/ 974725 w 1146175"/>
                    <a:gd name="connsiteY32" fmla="*/ 627641 h 1661098"/>
                    <a:gd name="connsiteX33" fmla="*/ 981075 w 1146175"/>
                    <a:gd name="connsiteY33" fmla="*/ 646691 h 1661098"/>
                    <a:gd name="connsiteX34" fmla="*/ 993775 w 1146175"/>
                    <a:gd name="connsiteY34" fmla="*/ 649866 h 1661098"/>
                    <a:gd name="connsiteX35" fmla="*/ 1012825 w 1146175"/>
                    <a:gd name="connsiteY35" fmla="*/ 653041 h 1661098"/>
                    <a:gd name="connsiteX36" fmla="*/ 1041400 w 1146175"/>
                    <a:gd name="connsiteY36" fmla="*/ 665741 h 1661098"/>
                    <a:gd name="connsiteX37" fmla="*/ 1050925 w 1146175"/>
                    <a:gd name="connsiteY37" fmla="*/ 668916 h 1661098"/>
                    <a:gd name="connsiteX38" fmla="*/ 1066800 w 1146175"/>
                    <a:gd name="connsiteY38" fmla="*/ 678441 h 1661098"/>
                    <a:gd name="connsiteX39" fmla="*/ 1089025 w 1146175"/>
                    <a:gd name="connsiteY39" fmla="*/ 687966 h 1661098"/>
                    <a:gd name="connsiteX40" fmla="*/ 1117600 w 1146175"/>
                    <a:gd name="connsiteY40" fmla="*/ 707016 h 1661098"/>
                    <a:gd name="connsiteX41" fmla="*/ 1136650 w 1146175"/>
                    <a:gd name="connsiteY41" fmla="*/ 713366 h 1661098"/>
                    <a:gd name="connsiteX42" fmla="*/ 1146175 w 1146175"/>
                    <a:gd name="connsiteY42" fmla="*/ 903866 h 1661098"/>
                    <a:gd name="connsiteX43" fmla="*/ 1127125 w 1146175"/>
                    <a:gd name="connsiteY43" fmla="*/ 913391 h 1661098"/>
                    <a:gd name="connsiteX44" fmla="*/ 1101725 w 1146175"/>
                    <a:gd name="connsiteY44" fmla="*/ 919741 h 1661098"/>
                    <a:gd name="connsiteX45" fmla="*/ 1092200 w 1146175"/>
                    <a:gd name="connsiteY45" fmla="*/ 926091 h 1661098"/>
                    <a:gd name="connsiteX46" fmla="*/ 1079500 w 1146175"/>
                    <a:gd name="connsiteY46" fmla="*/ 929266 h 1661098"/>
                    <a:gd name="connsiteX47" fmla="*/ 1069975 w 1146175"/>
                    <a:gd name="connsiteY47" fmla="*/ 938791 h 1661098"/>
                    <a:gd name="connsiteX48" fmla="*/ 1060450 w 1146175"/>
                    <a:gd name="connsiteY48" fmla="*/ 945141 h 1661098"/>
                    <a:gd name="connsiteX49" fmla="*/ 1038225 w 1146175"/>
                    <a:gd name="connsiteY49" fmla="*/ 957841 h 1661098"/>
                    <a:gd name="connsiteX50" fmla="*/ 996950 w 1146175"/>
                    <a:gd name="connsiteY50" fmla="*/ 983241 h 1661098"/>
                    <a:gd name="connsiteX51" fmla="*/ 977900 w 1146175"/>
                    <a:gd name="connsiteY51" fmla="*/ 989591 h 1661098"/>
                    <a:gd name="connsiteX52" fmla="*/ 968375 w 1146175"/>
                    <a:gd name="connsiteY52" fmla="*/ 1014991 h 1661098"/>
                    <a:gd name="connsiteX53" fmla="*/ 958850 w 1146175"/>
                    <a:gd name="connsiteY53" fmla="*/ 1040391 h 1661098"/>
                    <a:gd name="connsiteX54" fmla="*/ 955675 w 1146175"/>
                    <a:gd name="connsiteY54" fmla="*/ 1065791 h 1661098"/>
                    <a:gd name="connsiteX55" fmla="*/ 949325 w 1146175"/>
                    <a:gd name="connsiteY55" fmla="*/ 1075316 h 1661098"/>
                    <a:gd name="connsiteX56" fmla="*/ 946150 w 1146175"/>
                    <a:gd name="connsiteY56" fmla="*/ 1084841 h 1661098"/>
                    <a:gd name="connsiteX57" fmla="*/ 936625 w 1146175"/>
                    <a:gd name="connsiteY57" fmla="*/ 1100716 h 1661098"/>
                    <a:gd name="connsiteX58" fmla="*/ 923925 w 1146175"/>
                    <a:gd name="connsiteY58" fmla="*/ 1135641 h 1661098"/>
                    <a:gd name="connsiteX59" fmla="*/ 917575 w 1146175"/>
                    <a:gd name="connsiteY59" fmla="*/ 1145166 h 1661098"/>
                    <a:gd name="connsiteX60" fmla="*/ 923925 w 1146175"/>
                    <a:gd name="connsiteY60" fmla="*/ 1199141 h 1661098"/>
                    <a:gd name="connsiteX61" fmla="*/ 939800 w 1146175"/>
                    <a:gd name="connsiteY61" fmla="*/ 1221366 h 1661098"/>
                    <a:gd name="connsiteX62" fmla="*/ 946150 w 1146175"/>
                    <a:gd name="connsiteY62" fmla="*/ 1234066 h 1661098"/>
                    <a:gd name="connsiteX63" fmla="*/ 952500 w 1146175"/>
                    <a:gd name="connsiteY63" fmla="*/ 1243591 h 1661098"/>
                    <a:gd name="connsiteX64" fmla="*/ 965200 w 1146175"/>
                    <a:gd name="connsiteY64" fmla="*/ 1268991 h 1661098"/>
                    <a:gd name="connsiteX65" fmla="*/ 974725 w 1146175"/>
                    <a:gd name="connsiteY65" fmla="*/ 1291216 h 1661098"/>
                    <a:gd name="connsiteX66" fmla="*/ 977900 w 1146175"/>
                    <a:gd name="connsiteY66" fmla="*/ 1303916 h 1661098"/>
                    <a:gd name="connsiteX67" fmla="*/ 981075 w 1146175"/>
                    <a:gd name="connsiteY67" fmla="*/ 1313441 h 1661098"/>
                    <a:gd name="connsiteX68" fmla="*/ 974725 w 1146175"/>
                    <a:gd name="connsiteY68" fmla="*/ 1348366 h 1661098"/>
                    <a:gd name="connsiteX69" fmla="*/ 949325 w 1146175"/>
                    <a:gd name="connsiteY69" fmla="*/ 1380116 h 1661098"/>
                    <a:gd name="connsiteX70" fmla="*/ 939800 w 1146175"/>
                    <a:gd name="connsiteY70" fmla="*/ 1386466 h 1661098"/>
                    <a:gd name="connsiteX71" fmla="*/ 930275 w 1146175"/>
                    <a:gd name="connsiteY71" fmla="*/ 1395991 h 1661098"/>
                    <a:gd name="connsiteX72" fmla="*/ 923925 w 1146175"/>
                    <a:gd name="connsiteY72" fmla="*/ 1405516 h 1661098"/>
                    <a:gd name="connsiteX73" fmla="*/ 908050 w 1146175"/>
                    <a:gd name="connsiteY73" fmla="*/ 1415041 h 1661098"/>
                    <a:gd name="connsiteX74" fmla="*/ 895350 w 1146175"/>
                    <a:gd name="connsiteY74" fmla="*/ 1427741 h 1661098"/>
                    <a:gd name="connsiteX75" fmla="*/ 882650 w 1146175"/>
                    <a:gd name="connsiteY75" fmla="*/ 1437266 h 1661098"/>
                    <a:gd name="connsiteX76" fmla="*/ 873125 w 1146175"/>
                    <a:gd name="connsiteY76" fmla="*/ 1446791 h 1661098"/>
                    <a:gd name="connsiteX77" fmla="*/ 844550 w 1146175"/>
                    <a:gd name="connsiteY77" fmla="*/ 1462666 h 1661098"/>
                    <a:gd name="connsiteX78" fmla="*/ 835025 w 1146175"/>
                    <a:gd name="connsiteY78" fmla="*/ 1465841 h 1661098"/>
                    <a:gd name="connsiteX79" fmla="*/ 815975 w 1146175"/>
                    <a:gd name="connsiteY79" fmla="*/ 1459491 h 1661098"/>
                    <a:gd name="connsiteX80" fmla="*/ 774700 w 1146175"/>
                    <a:gd name="connsiteY80" fmla="*/ 1443616 h 1661098"/>
                    <a:gd name="connsiteX81" fmla="*/ 749300 w 1146175"/>
                    <a:gd name="connsiteY81" fmla="*/ 1437266 h 1661098"/>
                    <a:gd name="connsiteX82" fmla="*/ 717550 w 1146175"/>
                    <a:gd name="connsiteY82" fmla="*/ 1424566 h 1661098"/>
                    <a:gd name="connsiteX83" fmla="*/ 688975 w 1146175"/>
                    <a:gd name="connsiteY83" fmla="*/ 1418216 h 1661098"/>
                    <a:gd name="connsiteX84" fmla="*/ 657225 w 1146175"/>
                    <a:gd name="connsiteY84" fmla="*/ 1408691 h 1661098"/>
                    <a:gd name="connsiteX85" fmla="*/ 635000 w 1146175"/>
                    <a:gd name="connsiteY85" fmla="*/ 1411866 h 1661098"/>
                    <a:gd name="connsiteX86" fmla="*/ 622300 w 1146175"/>
                    <a:gd name="connsiteY86" fmla="*/ 1418216 h 1661098"/>
                    <a:gd name="connsiteX87" fmla="*/ 606425 w 1146175"/>
                    <a:gd name="connsiteY87" fmla="*/ 1427741 h 1661098"/>
                    <a:gd name="connsiteX88" fmla="*/ 577850 w 1146175"/>
                    <a:gd name="connsiteY88" fmla="*/ 1443616 h 1661098"/>
                    <a:gd name="connsiteX89" fmla="*/ 558800 w 1146175"/>
                    <a:gd name="connsiteY89" fmla="*/ 1446791 h 1661098"/>
                    <a:gd name="connsiteX90" fmla="*/ 501650 w 1146175"/>
                    <a:gd name="connsiteY90" fmla="*/ 1453141 h 1661098"/>
                    <a:gd name="connsiteX91" fmla="*/ 492125 w 1146175"/>
                    <a:gd name="connsiteY91" fmla="*/ 1459491 h 1661098"/>
                    <a:gd name="connsiteX92" fmla="*/ 466725 w 1146175"/>
                    <a:gd name="connsiteY92" fmla="*/ 1491241 h 1661098"/>
                    <a:gd name="connsiteX93" fmla="*/ 457200 w 1146175"/>
                    <a:gd name="connsiteY93" fmla="*/ 1510291 h 1661098"/>
                    <a:gd name="connsiteX94" fmla="*/ 454025 w 1146175"/>
                    <a:gd name="connsiteY94" fmla="*/ 1519816 h 1661098"/>
                    <a:gd name="connsiteX95" fmla="*/ 447675 w 1146175"/>
                    <a:gd name="connsiteY95" fmla="*/ 1535691 h 1661098"/>
                    <a:gd name="connsiteX96" fmla="*/ 434975 w 1146175"/>
                    <a:gd name="connsiteY96" fmla="*/ 1561091 h 1661098"/>
                    <a:gd name="connsiteX97" fmla="*/ 431800 w 1146175"/>
                    <a:gd name="connsiteY97" fmla="*/ 1576966 h 1661098"/>
                    <a:gd name="connsiteX98" fmla="*/ 425450 w 1146175"/>
                    <a:gd name="connsiteY98" fmla="*/ 1602366 h 1661098"/>
                    <a:gd name="connsiteX99" fmla="*/ 422275 w 1146175"/>
                    <a:gd name="connsiteY99" fmla="*/ 1611891 h 1661098"/>
                    <a:gd name="connsiteX100" fmla="*/ 412750 w 1146175"/>
                    <a:gd name="connsiteY100" fmla="*/ 1621416 h 1661098"/>
                    <a:gd name="connsiteX101" fmla="*/ 222250 w 1146175"/>
                    <a:gd name="connsiteY101" fmla="*/ 1627766 h 1661098"/>
                    <a:gd name="connsiteX102" fmla="*/ 215900 w 1146175"/>
                    <a:gd name="connsiteY102" fmla="*/ 1611891 h 1661098"/>
                    <a:gd name="connsiteX103" fmla="*/ 206375 w 1146175"/>
                    <a:gd name="connsiteY103" fmla="*/ 1599191 h 1661098"/>
                    <a:gd name="connsiteX104" fmla="*/ 203200 w 1146175"/>
                    <a:gd name="connsiteY104" fmla="*/ 1586491 h 1661098"/>
                    <a:gd name="connsiteX105" fmla="*/ 196850 w 1146175"/>
                    <a:gd name="connsiteY105" fmla="*/ 1573791 h 1661098"/>
                    <a:gd name="connsiteX106" fmla="*/ 193675 w 1146175"/>
                    <a:gd name="connsiteY106" fmla="*/ 1564266 h 1661098"/>
                    <a:gd name="connsiteX107" fmla="*/ 187325 w 1146175"/>
                    <a:gd name="connsiteY107" fmla="*/ 1551566 h 1661098"/>
                    <a:gd name="connsiteX108" fmla="*/ 180975 w 1146175"/>
                    <a:gd name="connsiteY108" fmla="*/ 1535691 h 1661098"/>
                    <a:gd name="connsiteX109" fmla="*/ 161925 w 1146175"/>
                    <a:gd name="connsiteY109" fmla="*/ 1507116 h 1661098"/>
                    <a:gd name="connsiteX110" fmla="*/ 149225 w 1146175"/>
                    <a:gd name="connsiteY110" fmla="*/ 1484891 h 1661098"/>
                    <a:gd name="connsiteX111" fmla="*/ 142875 w 1146175"/>
                    <a:gd name="connsiteY111" fmla="*/ 1469016 h 1661098"/>
                    <a:gd name="connsiteX112" fmla="*/ 130175 w 1146175"/>
                    <a:gd name="connsiteY112" fmla="*/ 1465841 h 1661098"/>
                    <a:gd name="connsiteX113" fmla="*/ 101600 w 1146175"/>
                    <a:gd name="connsiteY113" fmla="*/ 1453141 h 1661098"/>
                    <a:gd name="connsiteX114" fmla="*/ 69850 w 1146175"/>
                    <a:gd name="connsiteY114" fmla="*/ 1443616 h 1661098"/>
                    <a:gd name="connsiteX115" fmla="*/ 41275 w 1146175"/>
                    <a:gd name="connsiteY115" fmla="*/ 1430916 h 1661098"/>
                    <a:gd name="connsiteX116" fmla="*/ 31750 w 1146175"/>
                    <a:gd name="connsiteY116" fmla="*/ 1424566 h 1661098"/>
                    <a:gd name="connsiteX117" fmla="*/ 15875 w 1146175"/>
                    <a:gd name="connsiteY117" fmla="*/ 1418216 h 1661098"/>
                    <a:gd name="connsiteX118" fmla="*/ 0 w 1146175"/>
                    <a:gd name="connsiteY11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6625 w 1146175"/>
                    <a:gd name="connsiteY20" fmla="*/ 402216 h 1661098"/>
                    <a:gd name="connsiteX21" fmla="*/ 927100 w 1146175"/>
                    <a:gd name="connsiteY21" fmla="*/ 430791 h 1661098"/>
                    <a:gd name="connsiteX22" fmla="*/ 920750 w 1146175"/>
                    <a:gd name="connsiteY22" fmla="*/ 446666 h 1661098"/>
                    <a:gd name="connsiteX23" fmla="*/ 917575 w 1146175"/>
                    <a:gd name="connsiteY23" fmla="*/ 459366 h 1661098"/>
                    <a:gd name="connsiteX24" fmla="*/ 914400 w 1146175"/>
                    <a:gd name="connsiteY24" fmla="*/ 468891 h 1661098"/>
                    <a:gd name="connsiteX25" fmla="*/ 917575 w 1146175"/>
                    <a:gd name="connsiteY25" fmla="*/ 506991 h 1661098"/>
                    <a:gd name="connsiteX26" fmla="*/ 923925 w 1146175"/>
                    <a:gd name="connsiteY26" fmla="*/ 519691 h 1661098"/>
                    <a:gd name="connsiteX27" fmla="*/ 939800 w 1146175"/>
                    <a:gd name="connsiteY27" fmla="*/ 538741 h 1661098"/>
                    <a:gd name="connsiteX28" fmla="*/ 942975 w 1146175"/>
                    <a:gd name="connsiteY28" fmla="*/ 548266 h 1661098"/>
                    <a:gd name="connsiteX29" fmla="*/ 955675 w 1146175"/>
                    <a:gd name="connsiteY29" fmla="*/ 573666 h 1661098"/>
                    <a:gd name="connsiteX30" fmla="*/ 968375 w 1146175"/>
                    <a:gd name="connsiteY30" fmla="*/ 614941 h 1661098"/>
                    <a:gd name="connsiteX31" fmla="*/ 974725 w 1146175"/>
                    <a:gd name="connsiteY31" fmla="*/ 627641 h 1661098"/>
                    <a:gd name="connsiteX32" fmla="*/ 981075 w 1146175"/>
                    <a:gd name="connsiteY32" fmla="*/ 646691 h 1661098"/>
                    <a:gd name="connsiteX33" fmla="*/ 993775 w 1146175"/>
                    <a:gd name="connsiteY33" fmla="*/ 649866 h 1661098"/>
                    <a:gd name="connsiteX34" fmla="*/ 1012825 w 1146175"/>
                    <a:gd name="connsiteY34" fmla="*/ 653041 h 1661098"/>
                    <a:gd name="connsiteX35" fmla="*/ 1041400 w 1146175"/>
                    <a:gd name="connsiteY35" fmla="*/ 665741 h 1661098"/>
                    <a:gd name="connsiteX36" fmla="*/ 1050925 w 1146175"/>
                    <a:gd name="connsiteY36" fmla="*/ 668916 h 1661098"/>
                    <a:gd name="connsiteX37" fmla="*/ 1066800 w 1146175"/>
                    <a:gd name="connsiteY37" fmla="*/ 678441 h 1661098"/>
                    <a:gd name="connsiteX38" fmla="*/ 1089025 w 1146175"/>
                    <a:gd name="connsiteY38" fmla="*/ 687966 h 1661098"/>
                    <a:gd name="connsiteX39" fmla="*/ 1117600 w 1146175"/>
                    <a:gd name="connsiteY39" fmla="*/ 707016 h 1661098"/>
                    <a:gd name="connsiteX40" fmla="*/ 1136650 w 1146175"/>
                    <a:gd name="connsiteY40" fmla="*/ 713366 h 1661098"/>
                    <a:gd name="connsiteX41" fmla="*/ 1146175 w 1146175"/>
                    <a:gd name="connsiteY41" fmla="*/ 903866 h 1661098"/>
                    <a:gd name="connsiteX42" fmla="*/ 1127125 w 1146175"/>
                    <a:gd name="connsiteY42" fmla="*/ 913391 h 1661098"/>
                    <a:gd name="connsiteX43" fmla="*/ 1101725 w 1146175"/>
                    <a:gd name="connsiteY43" fmla="*/ 919741 h 1661098"/>
                    <a:gd name="connsiteX44" fmla="*/ 1092200 w 1146175"/>
                    <a:gd name="connsiteY44" fmla="*/ 926091 h 1661098"/>
                    <a:gd name="connsiteX45" fmla="*/ 1079500 w 1146175"/>
                    <a:gd name="connsiteY45" fmla="*/ 929266 h 1661098"/>
                    <a:gd name="connsiteX46" fmla="*/ 1069975 w 1146175"/>
                    <a:gd name="connsiteY46" fmla="*/ 938791 h 1661098"/>
                    <a:gd name="connsiteX47" fmla="*/ 1060450 w 1146175"/>
                    <a:gd name="connsiteY47" fmla="*/ 945141 h 1661098"/>
                    <a:gd name="connsiteX48" fmla="*/ 1038225 w 1146175"/>
                    <a:gd name="connsiteY48" fmla="*/ 957841 h 1661098"/>
                    <a:gd name="connsiteX49" fmla="*/ 996950 w 1146175"/>
                    <a:gd name="connsiteY49" fmla="*/ 983241 h 1661098"/>
                    <a:gd name="connsiteX50" fmla="*/ 977900 w 1146175"/>
                    <a:gd name="connsiteY50" fmla="*/ 989591 h 1661098"/>
                    <a:gd name="connsiteX51" fmla="*/ 968375 w 1146175"/>
                    <a:gd name="connsiteY51" fmla="*/ 1014991 h 1661098"/>
                    <a:gd name="connsiteX52" fmla="*/ 958850 w 1146175"/>
                    <a:gd name="connsiteY52" fmla="*/ 1040391 h 1661098"/>
                    <a:gd name="connsiteX53" fmla="*/ 955675 w 1146175"/>
                    <a:gd name="connsiteY53" fmla="*/ 1065791 h 1661098"/>
                    <a:gd name="connsiteX54" fmla="*/ 949325 w 1146175"/>
                    <a:gd name="connsiteY54" fmla="*/ 1075316 h 1661098"/>
                    <a:gd name="connsiteX55" fmla="*/ 946150 w 1146175"/>
                    <a:gd name="connsiteY55" fmla="*/ 1084841 h 1661098"/>
                    <a:gd name="connsiteX56" fmla="*/ 936625 w 1146175"/>
                    <a:gd name="connsiteY56" fmla="*/ 1100716 h 1661098"/>
                    <a:gd name="connsiteX57" fmla="*/ 923925 w 1146175"/>
                    <a:gd name="connsiteY57" fmla="*/ 1135641 h 1661098"/>
                    <a:gd name="connsiteX58" fmla="*/ 917575 w 1146175"/>
                    <a:gd name="connsiteY58" fmla="*/ 1145166 h 1661098"/>
                    <a:gd name="connsiteX59" fmla="*/ 923925 w 1146175"/>
                    <a:gd name="connsiteY59" fmla="*/ 1199141 h 1661098"/>
                    <a:gd name="connsiteX60" fmla="*/ 939800 w 1146175"/>
                    <a:gd name="connsiteY60" fmla="*/ 1221366 h 1661098"/>
                    <a:gd name="connsiteX61" fmla="*/ 946150 w 1146175"/>
                    <a:gd name="connsiteY61" fmla="*/ 1234066 h 1661098"/>
                    <a:gd name="connsiteX62" fmla="*/ 952500 w 1146175"/>
                    <a:gd name="connsiteY62" fmla="*/ 1243591 h 1661098"/>
                    <a:gd name="connsiteX63" fmla="*/ 965200 w 1146175"/>
                    <a:gd name="connsiteY63" fmla="*/ 1268991 h 1661098"/>
                    <a:gd name="connsiteX64" fmla="*/ 974725 w 1146175"/>
                    <a:gd name="connsiteY64" fmla="*/ 1291216 h 1661098"/>
                    <a:gd name="connsiteX65" fmla="*/ 977900 w 1146175"/>
                    <a:gd name="connsiteY65" fmla="*/ 1303916 h 1661098"/>
                    <a:gd name="connsiteX66" fmla="*/ 981075 w 1146175"/>
                    <a:gd name="connsiteY66" fmla="*/ 1313441 h 1661098"/>
                    <a:gd name="connsiteX67" fmla="*/ 974725 w 1146175"/>
                    <a:gd name="connsiteY67" fmla="*/ 1348366 h 1661098"/>
                    <a:gd name="connsiteX68" fmla="*/ 949325 w 1146175"/>
                    <a:gd name="connsiteY68" fmla="*/ 1380116 h 1661098"/>
                    <a:gd name="connsiteX69" fmla="*/ 939800 w 1146175"/>
                    <a:gd name="connsiteY69" fmla="*/ 1386466 h 1661098"/>
                    <a:gd name="connsiteX70" fmla="*/ 930275 w 1146175"/>
                    <a:gd name="connsiteY70" fmla="*/ 1395991 h 1661098"/>
                    <a:gd name="connsiteX71" fmla="*/ 923925 w 1146175"/>
                    <a:gd name="connsiteY71" fmla="*/ 1405516 h 1661098"/>
                    <a:gd name="connsiteX72" fmla="*/ 908050 w 1146175"/>
                    <a:gd name="connsiteY72" fmla="*/ 1415041 h 1661098"/>
                    <a:gd name="connsiteX73" fmla="*/ 895350 w 1146175"/>
                    <a:gd name="connsiteY73" fmla="*/ 1427741 h 1661098"/>
                    <a:gd name="connsiteX74" fmla="*/ 882650 w 1146175"/>
                    <a:gd name="connsiteY74" fmla="*/ 1437266 h 1661098"/>
                    <a:gd name="connsiteX75" fmla="*/ 873125 w 1146175"/>
                    <a:gd name="connsiteY75" fmla="*/ 1446791 h 1661098"/>
                    <a:gd name="connsiteX76" fmla="*/ 844550 w 1146175"/>
                    <a:gd name="connsiteY76" fmla="*/ 1462666 h 1661098"/>
                    <a:gd name="connsiteX77" fmla="*/ 835025 w 1146175"/>
                    <a:gd name="connsiteY77" fmla="*/ 1465841 h 1661098"/>
                    <a:gd name="connsiteX78" fmla="*/ 815975 w 1146175"/>
                    <a:gd name="connsiteY78" fmla="*/ 1459491 h 1661098"/>
                    <a:gd name="connsiteX79" fmla="*/ 774700 w 1146175"/>
                    <a:gd name="connsiteY79" fmla="*/ 1443616 h 1661098"/>
                    <a:gd name="connsiteX80" fmla="*/ 749300 w 1146175"/>
                    <a:gd name="connsiteY80" fmla="*/ 1437266 h 1661098"/>
                    <a:gd name="connsiteX81" fmla="*/ 717550 w 1146175"/>
                    <a:gd name="connsiteY81" fmla="*/ 1424566 h 1661098"/>
                    <a:gd name="connsiteX82" fmla="*/ 688975 w 1146175"/>
                    <a:gd name="connsiteY82" fmla="*/ 1418216 h 1661098"/>
                    <a:gd name="connsiteX83" fmla="*/ 657225 w 1146175"/>
                    <a:gd name="connsiteY83" fmla="*/ 1408691 h 1661098"/>
                    <a:gd name="connsiteX84" fmla="*/ 635000 w 1146175"/>
                    <a:gd name="connsiteY84" fmla="*/ 1411866 h 1661098"/>
                    <a:gd name="connsiteX85" fmla="*/ 622300 w 1146175"/>
                    <a:gd name="connsiteY85" fmla="*/ 1418216 h 1661098"/>
                    <a:gd name="connsiteX86" fmla="*/ 606425 w 1146175"/>
                    <a:gd name="connsiteY86" fmla="*/ 1427741 h 1661098"/>
                    <a:gd name="connsiteX87" fmla="*/ 577850 w 1146175"/>
                    <a:gd name="connsiteY87" fmla="*/ 1443616 h 1661098"/>
                    <a:gd name="connsiteX88" fmla="*/ 558800 w 1146175"/>
                    <a:gd name="connsiteY88" fmla="*/ 1446791 h 1661098"/>
                    <a:gd name="connsiteX89" fmla="*/ 501650 w 1146175"/>
                    <a:gd name="connsiteY89" fmla="*/ 1453141 h 1661098"/>
                    <a:gd name="connsiteX90" fmla="*/ 492125 w 1146175"/>
                    <a:gd name="connsiteY90" fmla="*/ 1459491 h 1661098"/>
                    <a:gd name="connsiteX91" fmla="*/ 466725 w 1146175"/>
                    <a:gd name="connsiteY91" fmla="*/ 1491241 h 1661098"/>
                    <a:gd name="connsiteX92" fmla="*/ 457200 w 1146175"/>
                    <a:gd name="connsiteY92" fmla="*/ 1510291 h 1661098"/>
                    <a:gd name="connsiteX93" fmla="*/ 454025 w 1146175"/>
                    <a:gd name="connsiteY93" fmla="*/ 1519816 h 1661098"/>
                    <a:gd name="connsiteX94" fmla="*/ 447675 w 1146175"/>
                    <a:gd name="connsiteY94" fmla="*/ 1535691 h 1661098"/>
                    <a:gd name="connsiteX95" fmla="*/ 434975 w 1146175"/>
                    <a:gd name="connsiteY95" fmla="*/ 1561091 h 1661098"/>
                    <a:gd name="connsiteX96" fmla="*/ 431800 w 1146175"/>
                    <a:gd name="connsiteY96" fmla="*/ 1576966 h 1661098"/>
                    <a:gd name="connsiteX97" fmla="*/ 425450 w 1146175"/>
                    <a:gd name="connsiteY97" fmla="*/ 1602366 h 1661098"/>
                    <a:gd name="connsiteX98" fmla="*/ 422275 w 1146175"/>
                    <a:gd name="connsiteY98" fmla="*/ 1611891 h 1661098"/>
                    <a:gd name="connsiteX99" fmla="*/ 412750 w 1146175"/>
                    <a:gd name="connsiteY99" fmla="*/ 1621416 h 1661098"/>
                    <a:gd name="connsiteX100" fmla="*/ 222250 w 1146175"/>
                    <a:gd name="connsiteY100" fmla="*/ 1627766 h 1661098"/>
                    <a:gd name="connsiteX101" fmla="*/ 215900 w 1146175"/>
                    <a:gd name="connsiteY101" fmla="*/ 1611891 h 1661098"/>
                    <a:gd name="connsiteX102" fmla="*/ 206375 w 1146175"/>
                    <a:gd name="connsiteY102" fmla="*/ 1599191 h 1661098"/>
                    <a:gd name="connsiteX103" fmla="*/ 203200 w 1146175"/>
                    <a:gd name="connsiteY103" fmla="*/ 1586491 h 1661098"/>
                    <a:gd name="connsiteX104" fmla="*/ 196850 w 1146175"/>
                    <a:gd name="connsiteY104" fmla="*/ 1573791 h 1661098"/>
                    <a:gd name="connsiteX105" fmla="*/ 193675 w 1146175"/>
                    <a:gd name="connsiteY105" fmla="*/ 1564266 h 1661098"/>
                    <a:gd name="connsiteX106" fmla="*/ 187325 w 1146175"/>
                    <a:gd name="connsiteY106" fmla="*/ 1551566 h 1661098"/>
                    <a:gd name="connsiteX107" fmla="*/ 180975 w 1146175"/>
                    <a:gd name="connsiteY107" fmla="*/ 1535691 h 1661098"/>
                    <a:gd name="connsiteX108" fmla="*/ 161925 w 1146175"/>
                    <a:gd name="connsiteY108" fmla="*/ 1507116 h 1661098"/>
                    <a:gd name="connsiteX109" fmla="*/ 149225 w 1146175"/>
                    <a:gd name="connsiteY109" fmla="*/ 1484891 h 1661098"/>
                    <a:gd name="connsiteX110" fmla="*/ 142875 w 1146175"/>
                    <a:gd name="connsiteY110" fmla="*/ 1469016 h 1661098"/>
                    <a:gd name="connsiteX111" fmla="*/ 130175 w 1146175"/>
                    <a:gd name="connsiteY111" fmla="*/ 1465841 h 1661098"/>
                    <a:gd name="connsiteX112" fmla="*/ 101600 w 1146175"/>
                    <a:gd name="connsiteY112" fmla="*/ 1453141 h 1661098"/>
                    <a:gd name="connsiteX113" fmla="*/ 69850 w 1146175"/>
                    <a:gd name="connsiteY113" fmla="*/ 1443616 h 1661098"/>
                    <a:gd name="connsiteX114" fmla="*/ 41275 w 1146175"/>
                    <a:gd name="connsiteY114" fmla="*/ 1430916 h 1661098"/>
                    <a:gd name="connsiteX115" fmla="*/ 31750 w 1146175"/>
                    <a:gd name="connsiteY115" fmla="*/ 1424566 h 1661098"/>
                    <a:gd name="connsiteX116" fmla="*/ 15875 w 1146175"/>
                    <a:gd name="connsiteY116" fmla="*/ 1418216 h 1661098"/>
                    <a:gd name="connsiteX117" fmla="*/ 0 w 1146175"/>
                    <a:gd name="connsiteY11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36625 w 1146175"/>
                    <a:gd name="connsiteY19" fmla="*/ 402216 h 1661098"/>
                    <a:gd name="connsiteX20" fmla="*/ 927100 w 1146175"/>
                    <a:gd name="connsiteY20" fmla="*/ 430791 h 1661098"/>
                    <a:gd name="connsiteX21" fmla="*/ 920750 w 1146175"/>
                    <a:gd name="connsiteY21" fmla="*/ 446666 h 1661098"/>
                    <a:gd name="connsiteX22" fmla="*/ 917575 w 1146175"/>
                    <a:gd name="connsiteY22" fmla="*/ 459366 h 1661098"/>
                    <a:gd name="connsiteX23" fmla="*/ 914400 w 1146175"/>
                    <a:gd name="connsiteY23" fmla="*/ 468891 h 1661098"/>
                    <a:gd name="connsiteX24" fmla="*/ 917575 w 1146175"/>
                    <a:gd name="connsiteY24" fmla="*/ 506991 h 1661098"/>
                    <a:gd name="connsiteX25" fmla="*/ 923925 w 1146175"/>
                    <a:gd name="connsiteY25" fmla="*/ 519691 h 1661098"/>
                    <a:gd name="connsiteX26" fmla="*/ 939800 w 1146175"/>
                    <a:gd name="connsiteY26" fmla="*/ 538741 h 1661098"/>
                    <a:gd name="connsiteX27" fmla="*/ 942975 w 1146175"/>
                    <a:gd name="connsiteY27" fmla="*/ 548266 h 1661098"/>
                    <a:gd name="connsiteX28" fmla="*/ 955675 w 1146175"/>
                    <a:gd name="connsiteY28" fmla="*/ 573666 h 1661098"/>
                    <a:gd name="connsiteX29" fmla="*/ 968375 w 1146175"/>
                    <a:gd name="connsiteY29" fmla="*/ 614941 h 1661098"/>
                    <a:gd name="connsiteX30" fmla="*/ 974725 w 1146175"/>
                    <a:gd name="connsiteY30" fmla="*/ 627641 h 1661098"/>
                    <a:gd name="connsiteX31" fmla="*/ 981075 w 1146175"/>
                    <a:gd name="connsiteY31" fmla="*/ 646691 h 1661098"/>
                    <a:gd name="connsiteX32" fmla="*/ 993775 w 1146175"/>
                    <a:gd name="connsiteY32" fmla="*/ 649866 h 1661098"/>
                    <a:gd name="connsiteX33" fmla="*/ 1012825 w 1146175"/>
                    <a:gd name="connsiteY33" fmla="*/ 653041 h 1661098"/>
                    <a:gd name="connsiteX34" fmla="*/ 1041400 w 1146175"/>
                    <a:gd name="connsiteY34" fmla="*/ 665741 h 1661098"/>
                    <a:gd name="connsiteX35" fmla="*/ 1050925 w 1146175"/>
                    <a:gd name="connsiteY35" fmla="*/ 668916 h 1661098"/>
                    <a:gd name="connsiteX36" fmla="*/ 1066800 w 1146175"/>
                    <a:gd name="connsiteY36" fmla="*/ 678441 h 1661098"/>
                    <a:gd name="connsiteX37" fmla="*/ 1089025 w 1146175"/>
                    <a:gd name="connsiteY37" fmla="*/ 687966 h 1661098"/>
                    <a:gd name="connsiteX38" fmla="*/ 1117600 w 1146175"/>
                    <a:gd name="connsiteY38" fmla="*/ 707016 h 1661098"/>
                    <a:gd name="connsiteX39" fmla="*/ 1136650 w 1146175"/>
                    <a:gd name="connsiteY39" fmla="*/ 713366 h 1661098"/>
                    <a:gd name="connsiteX40" fmla="*/ 1146175 w 1146175"/>
                    <a:gd name="connsiteY40" fmla="*/ 903866 h 1661098"/>
                    <a:gd name="connsiteX41" fmla="*/ 1127125 w 1146175"/>
                    <a:gd name="connsiteY41" fmla="*/ 913391 h 1661098"/>
                    <a:gd name="connsiteX42" fmla="*/ 1101725 w 1146175"/>
                    <a:gd name="connsiteY42" fmla="*/ 919741 h 1661098"/>
                    <a:gd name="connsiteX43" fmla="*/ 1092200 w 1146175"/>
                    <a:gd name="connsiteY43" fmla="*/ 926091 h 1661098"/>
                    <a:gd name="connsiteX44" fmla="*/ 1079500 w 1146175"/>
                    <a:gd name="connsiteY44" fmla="*/ 929266 h 1661098"/>
                    <a:gd name="connsiteX45" fmla="*/ 1069975 w 1146175"/>
                    <a:gd name="connsiteY45" fmla="*/ 938791 h 1661098"/>
                    <a:gd name="connsiteX46" fmla="*/ 1060450 w 1146175"/>
                    <a:gd name="connsiteY46" fmla="*/ 945141 h 1661098"/>
                    <a:gd name="connsiteX47" fmla="*/ 1038225 w 1146175"/>
                    <a:gd name="connsiteY47" fmla="*/ 957841 h 1661098"/>
                    <a:gd name="connsiteX48" fmla="*/ 996950 w 1146175"/>
                    <a:gd name="connsiteY48" fmla="*/ 983241 h 1661098"/>
                    <a:gd name="connsiteX49" fmla="*/ 977900 w 1146175"/>
                    <a:gd name="connsiteY49" fmla="*/ 989591 h 1661098"/>
                    <a:gd name="connsiteX50" fmla="*/ 968375 w 1146175"/>
                    <a:gd name="connsiteY50" fmla="*/ 1014991 h 1661098"/>
                    <a:gd name="connsiteX51" fmla="*/ 958850 w 1146175"/>
                    <a:gd name="connsiteY51" fmla="*/ 1040391 h 1661098"/>
                    <a:gd name="connsiteX52" fmla="*/ 955675 w 1146175"/>
                    <a:gd name="connsiteY52" fmla="*/ 1065791 h 1661098"/>
                    <a:gd name="connsiteX53" fmla="*/ 949325 w 1146175"/>
                    <a:gd name="connsiteY53" fmla="*/ 1075316 h 1661098"/>
                    <a:gd name="connsiteX54" fmla="*/ 946150 w 1146175"/>
                    <a:gd name="connsiteY54" fmla="*/ 1084841 h 1661098"/>
                    <a:gd name="connsiteX55" fmla="*/ 936625 w 1146175"/>
                    <a:gd name="connsiteY55" fmla="*/ 1100716 h 1661098"/>
                    <a:gd name="connsiteX56" fmla="*/ 923925 w 1146175"/>
                    <a:gd name="connsiteY56" fmla="*/ 1135641 h 1661098"/>
                    <a:gd name="connsiteX57" fmla="*/ 917575 w 1146175"/>
                    <a:gd name="connsiteY57" fmla="*/ 1145166 h 1661098"/>
                    <a:gd name="connsiteX58" fmla="*/ 923925 w 1146175"/>
                    <a:gd name="connsiteY58" fmla="*/ 1199141 h 1661098"/>
                    <a:gd name="connsiteX59" fmla="*/ 939800 w 1146175"/>
                    <a:gd name="connsiteY59" fmla="*/ 1221366 h 1661098"/>
                    <a:gd name="connsiteX60" fmla="*/ 946150 w 1146175"/>
                    <a:gd name="connsiteY60" fmla="*/ 1234066 h 1661098"/>
                    <a:gd name="connsiteX61" fmla="*/ 952500 w 1146175"/>
                    <a:gd name="connsiteY61" fmla="*/ 1243591 h 1661098"/>
                    <a:gd name="connsiteX62" fmla="*/ 965200 w 1146175"/>
                    <a:gd name="connsiteY62" fmla="*/ 1268991 h 1661098"/>
                    <a:gd name="connsiteX63" fmla="*/ 974725 w 1146175"/>
                    <a:gd name="connsiteY63" fmla="*/ 1291216 h 1661098"/>
                    <a:gd name="connsiteX64" fmla="*/ 977900 w 1146175"/>
                    <a:gd name="connsiteY64" fmla="*/ 1303916 h 1661098"/>
                    <a:gd name="connsiteX65" fmla="*/ 981075 w 1146175"/>
                    <a:gd name="connsiteY65" fmla="*/ 1313441 h 1661098"/>
                    <a:gd name="connsiteX66" fmla="*/ 974725 w 1146175"/>
                    <a:gd name="connsiteY66" fmla="*/ 1348366 h 1661098"/>
                    <a:gd name="connsiteX67" fmla="*/ 949325 w 1146175"/>
                    <a:gd name="connsiteY67" fmla="*/ 1380116 h 1661098"/>
                    <a:gd name="connsiteX68" fmla="*/ 939800 w 1146175"/>
                    <a:gd name="connsiteY68" fmla="*/ 1386466 h 1661098"/>
                    <a:gd name="connsiteX69" fmla="*/ 930275 w 1146175"/>
                    <a:gd name="connsiteY69" fmla="*/ 1395991 h 1661098"/>
                    <a:gd name="connsiteX70" fmla="*/ 923925 w 1146175"/>
                    <a:gd name="connsiteY70" fmla="*/ 1405516 h 1661098"/>
                    <a:gd name="connsiteX71" fmla="*/ 908050 w 1146175"/>
                    <a:gd name="connsiteY71" fmla="*/ 1415041 h 1661098"/>
                    <a:gd name="connsiteX72" fmla="*/ 895350 w 1146175"/>
                    <a:gd name="connsiteY72" fmla="*/ 1427741 h 1661098"/>
                    <a:gd name="connsiteX73" fmla="*/ 882650 w 1146175"/>
                    <a:gd name="connsiteY73" fmla="*/ 1437266 h 1661098"/>
                    <a:gd name="connsiteX74" fmla="*/ 873125 w 1146175"/>
                    <a:gd name="connsiteY74" fmla="*/ 1446791 h 1661098"/>
                    <a:gd name="connsiteX75" fmla="*/ 844550 w 1146175"/>
                    <a:gd name="connsiteY75" fmla="*/ 1462666 h 1661098"/>
                    <a:gd name="connsiteX76" fmla="*/ 835025 w 1146175"/>
                    <a:gd name="connsiteY76" fmla="*/ 1465841 h 1661098"/>
                    <a:gd name="connsiteX77" fmla="*/ 815975 w 1146175"/>
                    <a:gd name="connsiteY77" fmla="*/ 1459491 h 1661098"/>
                    <a:gd name="connsiteX78" fmla="*/ 774700 w 1146175"/>
                    <a:gd name="connsiteY78" fmla="*/ 1443616 h 1661098"/>
                    <a:gd name="connsiteX79" fmla="*/ 749300 w 1146175"/>
                    <a:gd name="connsiteY79" fmla="*/ 1437266 h 1661098"/>
                    <a:gd name="connsiteX80" fmla="*/ 717550 w 1146175"/>
                    <a:gd name="connsiteY80" fmla="*/ 1424566 h 1661098"/>
                    <a:gd name="connsiteX81" fmla="*/ 688975 w 1146175"/>
                    <a:gd name="connsiteY81" fmla="*/ 1418216 h 1661098"/>
                    <a:gd name="connsiteX82" fmla="*/ 657225 w 1146175"/>
                    <a:gd name="connsiteY82" fmla="*/ 1408691 h 1661098"/>
                    <a:gd name="connsiteX83" fmla="*/ 635000 w 1146175"/>
                    <a:gd name="connsiteY83" fmla="*/ 1411866 h 1661098"/>
                    <a:gd name="connsiteX84" fmla="*/ 622300 w 1146175"/>
                    <a:gd name="connsiteY84" fmla="*/ 1418216 h 1661098"/>
                    <a:gd name="connsiteX85" fmla="*/ 606425 w 1146175"/>
                    <a:gd name="connsiteY85" fmla="*/ 1427741 h 1661098"/>
                    <a:gd name="connsiteX86" fmla="*/ 577850 w 1146175"/>
                    <a:gd name="connsiteY86" fmla="*/ 1443616 h 1661098"/>
                    <a:gd name="connsiteX87" fmla="*/ 558800 w 1146175"/>
                    <a:gd name="connsiteY87" fmla="*/ 1446791 h 1661098"/>
                    <a:gd name="connsiteX88" fmla="*/ 501650 w 1146175"/>
                    <a:gd name="connsiteY88" fmla="*/ 1453141 h 1661098"/>
                    <a:gd name="connsiteX89" fmla="*/ 492125 w 1146175"/>
                    <a:gd name="connsiteY89" fmla="*/ 1459491 h 1661098"/>
                    <a:gd name="connsiteX90" fmla="*/ 466725 w 1146175"/>
                    <a:gd name="connsiteY90" fmla="*/ 1491241 h 1661098"/>
                    <a:gd name="connsiteX91" fmla="*/ 457200 w 1146175"/>
                    <a:gd name="connsiteY91" fmla="*/ 1510291 h 1661098"/>
                    <a:gd name="connsiteX92" fmla="*/ 454025 w 1146175"/>
                    <a:gd name="connsiteY92" fmla="*/ 1519816 h 1661098"/>
                    <a:gd name="connsiteX93" fmla="*/ 447675 w 1146175"/>
                    <a:gd name="connsiteY93" fmla="*/ 1535691 h 1661098"/>
                    <a:gd name="connsiteX94" fmla="*/ 434975 w 1146175"/>
                    <a:gd name="connsiteY94" fmla="*/ 1561091 h 1661098"/>
                    <a:gd name="connsiteX95" fmla="*/ 431800 w 1146175"/>
                    <a:gd name="connsiteY95" fmla="*/ 1576966 h 1661098"/>
                    <a:gd name="connsiteX96" fmla="*/ 425450 w 1146175"/>
                    <a:gd name="connsiteY96" fmla="*/ 1602366 h 1661098"/>
                    <a:gd name="connsiteX97" fmla="*/ 422275 w 1146175"/>
                    <a:gd name="connsiteY97" fmla="*/ 1611891 h 1661098"/>
                    <a:gd name="connsiteX98" fmla="*/ 412750 w 1146175"/>
                    <a:gd name="connsiteY98" fmla="*/ 1621416 h 1661098"/>
                    <a:gd name="connsiteX99" fmla="*/ 222250 w 1146175"/>
                    <a:gd name="connsiteY99" fmla="*/ 1627766 h 1661098"/>
                    <a:gd name="connsiteX100" fmla="*/ 215900 w 1146175"/>
                    <a:gd name="connsiteY100" fmla="*/ 1611891 h 1661098"/>
                    <a:gd name="connsiteX101" fmla="*/ 206375 w 1146175"/>
                    <a:gd name="connsiteY101" fmla="*/ 1599191 h 1661098"/>
                    <a:gd name="connsiteX102" fmla="*/ 203200 w 1146175"/>
                    <a:gd name="connsiteY102" fmla="*/ 1586491 h 1661098"/>
                    <a:gd name="connsiteX103" fmla="*/ 196850 w 1146175"/>
                    <a:gd name="connsiteY103" fmla="*/ 1573791 h 1661098"/>
                    <a:gd name="connsiteX104" fmla="*/ 193675 w 1146175"/>
                    <a:gd name="connsiteY104" fmla="*/ 1564266 h 1661098"/>
                    <a:gd name="connsiteX105" fmla="*/ 187325 w 1146175"/>
                    <a:gd name="connsiteY105" fmla="*/ 1551566 h 1661098"/>
                    <a:gd name="connsiteX106" fmla="*/ 180975 w 1146175"/>
                    <a:gd name="connsiteY106" fmla="*/ 1535691 h 1661098"/>
                    <a:gd name="connsiteX107" fmla="*/ 161925 w 1146175"/>
                    <a:gd name="connsiteY107" fmla="*/ 1507116 h 1661098"/>
                    <a:gd name="connsiteX108" fmla="*/ 149225 w 1146175"/>
                    <a:gd name="connsiteY108" fmla="*/ 1484891 h 1661098"/>
                    <a:gd name="connsiteX109" fmla="*/ 142875 w 1146175"/>
                    <a:gd name="connsiteY109" fmla="*/ 1469016 h 1661098"/>
                    <a:gd name="connsiteX110" fmla="*/ 130175 w 1146175"/>
                    <a:gd name="connsiteY110" fmla="*/ 1465841 h 1661098"/>
                    <a:gd name="connsiteX111" fmla="*/ 101600 w 1146175"/>
                    <a:gd name="connsiteY111" fmla="*/ 1453141 h 1661098"/>
                    <a:gd name="connsiteX112" fmla="*/ 69850 w 1146175"/>
                    <a:gd name="connsiteY112" fmla="*/ 1443616 h 1661098"/>
                    <a:gd name="connsiteX113" fmla="*/ 41275 w 1146175"/>
                    <a:gd name="connsiteY113" fmla="*/ 1430916 h 1661098"/>
                    <a:gd name="connsiteX114" fmla="*/ 31750 w 1146175"/>
                    <a:gd name="connsiteY114" fmla="*/ 1424566 h 1661098"/>
                    <a:gd name="connsiteX115" fmla="*/ 15875 w 1146175"/>
                    <a:gd name="connsiteY115" fmla="*/ 1418216 h 1661098"/>
                    <a:gd name="connsiteX116" fmla="*/ 0 w 1146175"/>
                    <a:gd name="connsiteY11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27100 w 1146175"/>
                    <a:gd name="connsiteY19" fmla="*/ 430791 h 1661098"/>
                    <a:gd name="connsiteX20" fmla="*/ 920750 w 1146175"/>
                    <a:gd name="connsiteY20" fmla="*/ 446666 h 1661098"/>
                    <a:gd name="connsiteX21" fmla="*/ 917575 w 1146175"/>
                    <a:gd name="connsiteY21" fmla="*/ 459366 h 1661098"/>
                    <a:gd name="connsiteX22" fmla="*/ 914400 w 1146175"/>
                    <a:gd name="connsiteY22" fmla="*/ 468891 h 1661098"/>
                    <a:gd name="connsiteX23" fmla="*/ 917575 w 1146175"/>
                    <a:gd name="connsiteY23" fmla="*/ 506991 h 1661098"/>
                    <a:gd name="connsiteX24" fmla="*/ 923925 w 1146175"/>
                    <a:gd name="connsiteY24" fmla="*/ 519691 h 1661098"/>
                    <a:gd name="connsiteX25" fmla="*/ 939800 w 1146175"/>
                    <a:gd name="connsiteY25" fmla="*/ 538741 h 1661098"/>
                    <a:gd name="connsiteX26" fmla="*/ 942975 w 1146175"/>
                    <a:gd name="connsiteY26" fmla="*/ 548266 h 1661098"/>
                    <a:gd name="connsiteX27" fmla="*/ 955675 w 1146175"/>
                    <a:gd name="connsiteY27" fmla="*/ 573666 h 1661098"/>
                    <a:gd name="connsiteX28" fmla="*/ 968375 w 1146175"/>
                    <a:gd name="connsiteY28" fmla="*/ 614941 h 1661098"/>
                    <a:gd name="connsiteX29" fmla="*/ 974725 w 1146175"/>
                    <a:gd name="connsiteY29" fmla="*/ 627641 h 1661098"/>
                    <a:gd name="connsiteX30" fmla="*/ 981075 w 1146175"/>
                    <a:gd name="connsiteY30" fmla="*/ 646691 h 1661098"/>
                    <a:gd name="connsiteX31" fmla="*/ 993775 w 1146175"/>
                    <a:gd name="connsiteY31" fmla="*/ 649866 h 1661098"/>
                    <a:gd name="connsiteX32" fmla="*/ 1012825 w 1146175"/>
                    <a:gd name="connsiteY32" fmla="*/ 653041 h 1661098"/>
                    <a:gd name="connsiteX33" fmla="*/ 1041400 w 1146175"/>
                    <a:gd name="connsiteY33" fmla="*/ 665741 h 1661098"/>
                    <a:gd name="connsiteX34" fmla="*/ 1050925 w 1146175"/>
                    <a:gd name="connsiteY34" fmla="*/ 668916 h 1661098"/>
                    <a:gd name="connsiteX35" fmla="*/ 1066800 w 1146175"/>
                    <a:gd name="connsiteY35" fmla="*/ 678441 h 1661098"/>
                    <a:gd name="connsiteX36" fmla="*/ 1089025 w 1146175"/>
                    <a:gd name="connsiteY36" fmla="*/ 687966 h 1661098"/>
                    <a:gd name="connsiteX37" fmla="*/ 1117600 w 1146175"/>
                    <a:gd name="connsiteY37" fmla="*/ 707016 h 1661098"/>
                    <a:gd name="connsiteX38" fmla="*/ 1136650 w 1146175"/>
                    <a:gd name="connsiteY38" fmla="*/ 713366 h 1661098"/>
                    <a:gd name="connsiteX39" fmla="*/ 1146175 w 1146175"/>
                    <a:gd name="connsiteY39" fmla="*/ 903866 h 1661098"/>
                    <a:gd name="connsiteX40" fmla="*/ 1127125 w 1146175"/>
                    <a:gd name="connsiteY40" fmla="*/ 913391 h 1661098"/>
                    <a:gd name="connsiteX41" fmla="*/ 1101725 w 1146175"/>
                    <a:gd name="connsiteY41" fmla="*/ 919741 h 1661098"/>
                    <a:gd name="connsiteX42" fmla="*/ 1092200 w 1146175"/>
                    <a:gd name="connsiteY42" fmla="*/ 926091 h 1661098"/>
                    <a:gd name="connsiteX43" fmla="*/ 1079500 w 1146175"/>
                    <a:gd name="connsiteY43" fmla="*/ 929266 h 1661098"/>
                    <a:gd name="connsiteX44" fmla="*/ 1069975 w 1146175"/>
                    <a:gd name="connsiteY44" fmla="*/ 938791 h 1661098"/>
                    <a:gd name="connsiteX45" fmla="*/ 1060450 w 1146175"/>
                    <a:gd name="connsiteY45" fmla="*/ 945141 h 1661098"/>
                    <a:gd name="connsiteX46" fmla="*/ 1038225 w 1146175"/>
                    <a:gd name="connsiteY46" fmla="*/ 957841 h 1661098"/>
                    <a:gd name="connsiteX47" fmla="*/ 996950 w 1146175"/>
                    <a:gd name="connsiteY47" fmla="*/ 983241 h 1661098"/>
                    <a:gd name="connsiteX48" fmla="*/ 977900 w 1146175"/>
                    <a:gd name="connsiteY48" fmla="*/ 989591 h 1661098"/>
                    <a:gd name="connsiteX49" fmla="*/ 968375 w 1146175"/>
                    <a:gd name="connsiteY49" fmla="*/ 1014991 h 1661098"/>
                    <a:gd name="connsiteX50" fmla="*/ 958850 w 1146175"/>
                    <a:gd name="connsiteY50" fmla="*/ 1040391 h 1661098"/>
                    <a:gd name="connsiteX51" fmla="*/ 955675 w 1146175"/>
                    <a:gd name="connsiteY51" fmla="*/ 1065791 h 1661098"/>
                    <a:gd name="connsiteX52" fmla="*/ 949325 w 1146175"/>
                    <a:gd name="connsiteY52" fmla="*/ 1075316 h 1661098"/>
                    <a:gd name="connsiteX53" fmla="*/ 946150 w 1146175"/>
                    <a:gd name="connsiteY53" fmla="*/ 1084841 h 1661098"/>
                    <a:gd name="connsiteX54" fmla="*/ 936625 w 1146175"/>
                    <a:gd name="connsiteY54" fmla="*/ 1100716 h 1661098"/>
                    <a:gd name="connsiteX55" fmla="*/ 923925 w 1146175"/>
                    <a:gd name="connsiteY55" fmla="*/ 1135641 h 1661098"/>
                    <a:gd name="connsiteX56" fmla="*/ 917575 w 1146175"/>
                    <a:gd name="connsiteY56" fmla="*/ 1145166 h 1661098"/>
                    <a:gd name="connsiteX57" fmla="*/ 923925 w 1146175"/>
                    <a:gd name="connsiteY57" fmla="*/ 1199141 h 1661098"/>
                    <a:gd name="connsiteX58" fmla="*/ 939800 w 1146175"/>
                    <a:gd name="connsiteY58" fmla="*/ 1221366 h 1661098"/>
                    <a:gd name="connsiteX59" fmla="*/ 946150 w 1146175"/>
                    <a:gd name="connsiteY59" fmla="*/ 1234066 h 1661098"/>
                    <a:gd name="connsiteX60" fmla="*/ 952500 w 1146175"/>
                    <a:gd name="connsiteY60" fmla="*/ 1243591 h 1661098"/>
                    <a:gd name="connsiteX61" fmla="*/ 965200 w 1146175"/>
                    <a:gd name="connsiteY61" fmla="*/ 1268991 h 1661098"/>
                    <a:gd name="connsiteX62" fmla="*/ 974725 w 1146175"/>
                    <a:gd name="connsiteY62" fmla="*/ 1291216 h 1661098"/>
                    <a:gd name="connsiteX63" fmla="*/ 977900 w 1146175"/>
                    <a:gd name="connsiteY63" fmla="*/ 1303916 h 1661098"/>
                    <a:gd name="connsiteX64" fmla="*/ 981075 w 1146175"/>
                    <a:gd name="connsiteY64" fmla="*/ 1313441 h 1661098"/>
                    <a:gd name="connsiteX65" fmla="*/ 974725 w 1146175"/>
                    <a:gd name="connsiteY65" fmla="*/ 1348366 h 1661098"/>
                    <a:gd name="connsiteX66" fmla="*/ 949325 w 1146175"/>
                    <a:gd name="connsiteY66" fmla="*/ 1380116 h 1661098"/>
                    <a:gd name="connsiteX67" fmla="*/ 939800 w 1146175"/>
                    <a:gd name="connsiteY67" fmla="*/ 1386466 h 1661098"/>
                    <a:gd name="connsiteX68" fmla="*/ 930275 w 1146175"/>
                    <a:gd name="connsiteY68" fmla="*/ 1395991 h 1661098"/>
                    <a:gd name="connsiteX69" fmla="*/ 923925 w 1146175"/>
                    <a:gd name="connsiteY69" fmla="*/ 1405516 h 1661098"/>
                    <a:gd name="connsiteX70" fmla="*/ 908050 w 1146175"/>
                    <a:gd name="connsiteY70" fmla="*/ 1415041 h 1661098"/>
                    <a:gd name="connsiteX71" fmla="*/ 895350 w 1146175"/>
                    <a:gd name="connsiteY71" fmla="*/ 1427741 h 1661098"/>
                    <a:gd name="connsiteX72" fmla="*/ 882650 w 1146175"/>
                    <a:gd name="connsiteY72" fmla="*/ 1437266 h 1661098"/>
                    <a:gd name="connsiteX73" fmla="*/ 873125 w 1146175"/>
                    <a:gd name="connsiteY73" fmla="*/ 1446791 h 1661098"/>
                    <a:gd name="connsiteX74" fmla="*/ 844550 w 1146175"/>
                    <a:gd name="connsiteY74" fmla="*/ 1462666 h 1661098"/>
                    <a:gd name="connsiteX75" fmla="*/ 835025 w 1146175"/>
                    <a:gd name="connsiteY75" fmla="*/ 1465841 h 1661098"/>
                    <a:gd name="connsiteX76" fmla="*/ 815975 w 1146175"/>
                    <a:gd name="connsiteY76" fmla="*/ 1459491 h 1661098"/>
                    <a:gd name="connsiteX77" fmla="*/ 774700 w 1146175"/>
                    <a:gd name="connsiteY77" fmla="*/ 1443616 h 1661098"/>
                    <a:gd name="connsiteX78" fmla="*/ 749300 w 1146175"/>
                    <a:gd name="connsiteY78" fmla="*/ 1437266 h 1661098"/>
                    <a:gd name="connsiteX79" fmla="*/ 717550 w 1146175"/>
                    <a:gd name="connsiteY79" fmla="*/ 1424566 h 1661098"/>
                    <a:gd name="connsiteX80" fmla="*/ 688975 w 1146175"/>
                    <a:gd name="connsiteY80" fmla="*/ 1418216 h 1661098"/>
                    <a:gd name="connsiteX81" fmla="*/ 657225 w 1146175"/>
                    <a:gd name="connsiteY81" fmla="*/ 1408691 h 1661098"/>
                    <a:gd name="connsiteX82" fmla="*/ 635000 w 1146175"/>
                    <a:gd name="connsiteY82" fmla="*/ 1411866 h 1661098"/>
                    <a:gd name="connsiteX83" fmla="*/ 622300 w 1146175"/>
                    <a:gd name="connsiteY83" fmla="*/ 1418216 h 1661098"/>
                    <a:gd name="connsiteX84" fmla="*/ 606425 w 1146175"/>
                    <a:gd name="connsiteY84" fmla="*/ 1427741 h 1661098"/>
                    <a:gd name="connsiteX85" fmla="*/ 577850 w 1146175"/>
                    <a:gd name="connsiteY85" fmla="*/ 1443616 h 1661098"/>
                    <a:gd name="connsiteX86" fmla="*/ 558800 w 1146175"/>
                    <a:gd name="connsiteY86" fmla="*/ 1446791 h 1661098"/>
                    <a:gd name="connsiteX87" fmla="*/ 501650 w 1146175"/>
                    <a:gd name="connsiteY87" fmla="*/ 1453141 h 1661098"/>
                    <a:gd name="connsiteX88" fmla="*/ 492125 w 1146175"/>
                    <a:gd name="connsiteY88" fmla="*/ 1459491 h 1661098"/>
                    <a:gd name="connsiteX89" fmla="*/ 466725 w 1146175"/>
                    <a:gd name="connsiteY89" fmla="*/ 1491241 h 1661098"/>
                    <a:gd name="connsiteX90" fmla="*/ 457200 w 1146175"/>
                    <a:gd name="connsiteY90" fmla="*/ 1510291 h 1661098"/>
                    <a:gd name="connsiteX91" fmla="*/ 454025 w 1146175"/>
                    <a:gd name="connsiteY91" fmla="*/ 1519816 h 1661098"/>
                    <a:gd name="connsiteX92" fmla="*/ 447675 w 1146175"/>
                    <a:gd name="connsiteY92" fmla="*/ 1535691 h 1661098"/>
                    <a:gd name="connsiteX93" fmla="*/ 434975 w 1146175"/>
                    <a:gd name="connsiteY93" fmla="*/ 1561091 h 1661098"/>
                    <a:gd name="connsiteX94" fmla="*/ 431800 w 1146175"/>
                    <a:gd name="connsiteY94" fmla="*/ 1576966 h 1661098"/>
                    <a:gd name="connsiteX95" fmla="*/ 425450 w 1146175"/>
                    <a:gd name="connsiteY95" fmla="*/ 1602366 h 1661098"/>
                    <a:gd name="connsiteX96" fmla="*/ 422275 w 1146175"/>
                    <a:gd name="connsiteY96" fmla="*/ 1611891 h 1661098"/>
                    <a:gd name="connsiteX97" fmla="*/ 412750 w 1146175"/>
                    <a:gd name="connsiteY97" fmla="*/ 1621416 h 1661098"/>
                    <a:gd name="connsiteX98" fmla="*/ 222250 w 1146175"/>
                    <a:gd name="connsiteY98" fmla="*/ 1627766 h 1661098"/>
                    <a:gd name="connsiteX99" fmla="*/ 215900 w 1146175"/>
                    <a:gd name="connsiteY99" fmla="*/ 1611891 h 1661098"/>
                    <a:gd name="connsiteX100" fmla="*/ 206375 w 1146175"/>
                    <a:gd name="connsiteY100" fmla="*/ 1599191 h 1661098"/>
                    <a:gd name="connsiteX101" fmla="*/ 203200 w 1146175"/>
                    <a:gd name="connsiteY101" fmla="*/ 1586491 h 1661098"/>
                    <a:gd name="connsiteX102" fmla="*/ 196850 w 1146175"/>
                    <a:gd name="connsiteY102" fmla="*/ 1573791 h 1661098"/>
                    <a:gd name="connsiteX103" fmla="*/ 193675 w 1146175"/>
                    <a:gd name="connsiteY103" fmla="*/ 1564266 h 1661098"/>
                    <a:gd name="connsiteX104" fmla="*/ 187325 w 1146175"/>
                    <a:gd name="connsiteY104" fmla="*/ 1551566 h 1661098"/>
                    <a:gd name="connsiteX105" fmla="*/ 180975 w 1146175"/>
                    <a:gd name="connsiteY105" fmla="*/ 1535691 h 1661098"/>
                    <a:gd name="connsiteX106" fmla="*/ 161925 w 1146175"/>
                    <a:gd name="connsiteY106" fmla="*/ 1507116 h 1661098"/>
                    <a:gd name="connsiteX107" fmla="*/ 149225 w 1146175"/>
                    <a:gd name="connsiteY107" fmla="*/ 1484891 h 1661098"/>
                    <a:gd name="connsiteX108" fmla="*/ 142875 w 1146175"/>
                    <a:gd name="connsiteY108" fmla="*/ 1469016 h 1661098"/>
                    <a:gd name="connsiteX109" fmla="*/ 130175 w 1146175"/>
                    <a:gd name="connsiteY109" fmla="*/ 1465841 h 1661098"/>
                    <a:gd name="connsiteX110" fmla="*/ 101600 w 1146175"/>
                    <a:gd name="connsiteY110" fmla="*/ 1453141 h 1661098"/>
                    <a:gd name="connsiteX111" fmla="*/ 69850 w 1146175"/>
                    <a:gd name="connsiteY111" fmla="*/ 1443616 h 1661098"/>
                    <a:gd name="connsiteX112" fmla="*/ 41275 w 1146175"/>
                    <a:gd name="connsiteY112" fmla="*/ 1430916 h 1661098"/>
                    <a:gd name="connsiteX113" fmla="*/ 31750 w 1146175"/>
                    <a:gd name="connsiteY113" fmla="*/ 1424566 h 1661098"/>
                    <a:gd name="connsiteX114" fmla="*/ 15875 w 1146175"/>
                    <a:gd name="connsiteY114" fmla="*/ 1418216 h 1661098"/>
                    <a:gd name="connsiteX115" fmla="*/ 0 w 1146175"/>
                    <a:gd name="connsiteY11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27100 w 1146175"/>
                    <a:gd name="connsiteY19" fmla="*/ 430791 h 1661098"/>
                    <a:gd name="connsiteX20" fmla="*/ 917575 w 1146175"/>
                    <a:gd name="connsiteY20" fmla="*/ 459366 h 1661098"/>
                    <a:gd name="connsiteX21" fmla="*/ 914400 w 1146175"/>
                    <a:gd name="connsiteY21" fmla="*/ 468891 h 1661098"/>
                    <a:gd name="connsiteX22" fmla="*/ 917575 w 1146175"/>
                    <a:gd name="connsiteY22" fmla="*/ 506991 h 1661098"/>
                    <a:gd name="connsiteX23" fmla="*/ 923925 w 1146175"/>
                    <a:gd name="connsiteY23" fmla="*/ 519691 h 1661098"/>
                    <a:gd name="connsiteX24" fmla="*/ 939800 w 1146175"/>
                    <a:gd name="connsiteY24" fmla="*/ 538741 h 1661098"/>
                    <a:gd name="connsiteX25" fmla="*/ 942975 w 1146175"/>
                    <a:gd name="connsiteY25" fmla="*/ 548266 h 1661098"/>
                    <a:gd name="connsiteX26" fmla="*/ 955675 w 1146175"/>
                    <a:gd name="connsiteY26" fmla="*/ 573666 h 1661098"/>
                    <a:gd name="connsiteX27" fmla="*/ 968375 w 1146175"/>
                    <a:gd name="connsiteY27" fmla="*/ 614941 h 1661098"/>
                    <a:gd name="connsiteX28" fmla="*/ 974725 w 1146175"/>
                    <a:gd name="connsiteY28" fmla="*/ 627641 h 1661098"/>
                    <a:gd name="connsiteX29" fmla="*/ 981075 w 1146175"/>
                    <a:gd name="connsiteY29" fmla="*/ 646691 h 1661098"/>
                    <a:gd name="connsiteX30" fmla="*/ 993775 w 1146175"/>
                    <a:gd name="connsiteY30" fmla="*/ 649866 h 1661098"/>
                    <a:gd name="connsiteX31" fmla="*/ 1012825 w 1146175"/>
                    <a:gd name="connsiteY31" fmla="*/ 653041 h 1661098"/>
                    <a:gd name="connsiteX32" fmla="*/ 1041400 w 1146175"/>
                    <a:gd name="connsiteY32" fmla="*/ 665741 h 1661098"/>
                    <a:gd name="connsiteX33" fmla="*/ 1050925 w 1146175"/>
                    <a:gd name="connsiteY33" fmla="*/ 668916 h 1661098"/>
                    <a:gd name="connsiteX34" fmla="*/ 1066800 w 1146175"/>
                    <a:gd name="connsiteY34" fmla="*/ 678441 h 1661098"/>
                    <a:gd name="connsiteX35" fmla="*/ 1089025 w 1146175"/>
                    <a:gd name="connsiteY35" fmla="*/ 687966 h 1661098"/>
                    <a:gd name="connsiteX36" fmla="*/ 1117600 w 1146175"/>
                    <a:gd name="connsiteY36" fmla="*/ 707016 h 1661098"/>
                    <a:gd name="connsiteX37" fmla="*/ 1136650 w 1146175"/>
                    <a:gd name="connsiteY37" fmla="*/ 713366 h 1661098"/>
                    <a:gd name="connsiteX38" fmla="*/ 1146175 w 1146175"/>
                    <a:gd name="connsiteY38" fmla="*/ 903866 h 1661098"/>
                    <a:gd name="connsiteX39" fmla="*/ 1127125 w 1146175"/>
                    <a:gd name="connsiteY39" fmla="*/ 913391 h 1661098"/>
                    <a:gd name="connsiteX40" fmla="*/ 1101725 w 1146175"/>
                    <a:gd name="connsiteY40" fmla="*/ 919741 h 1661098"/>
                    <a:gd name="connsiteX41" fmla="*/ 1092200 w 1146175"/>
                    <a:gd name="connsiteY41" fmla="*/ 926091 h 1661098"/>
                    <a:gd name="connsiteX42" fmla="*/ 1079500 w 1146175"/>
                    <a:gd name="connsiteY42" fmla="*/ 929266 h 1661098"/>
                    <a:gd name="connsiteX43" fmla="*/ 1069975 w 1146175"/>
                    <a:gd name="connsiteY43" fmla="*/ 938791 h 1661098"/>
                    <a:gd name="connsiteX44" fmla="*/ 1060450 w 1146175"/>
                    <a:gd name="connsiteY44" fmla="*/ 945141 h 1661098"/>
                    <a:gd name="connsiteX45" fmla="*/ 1038225 w 1146175"/>
                    <a:gd name="connsiteY45" fmla="*/ 957841 h 1661098"/>
                    <a:gd name="connsiteX46" fmla="*/ 996950 w 1146175"/>
                    <a:gd name="connsiteY46" fmla="*/ 983241 h 1661098"/>
                    <a:gd name="connsiteX47" fmla="*/ 977900 w 1146175"/>
                    <a:gd name="connsiteY47" fmla="*/ 989591 h 1661098"/>
                    <a:gd name="connsiteX48" fmla="*/ 968375 w 1146175"/>
                    <a:gd name="connsiteY48" fmla="*/ 1014991 h 1661098"/>
                    <a:gd name="connsiteX49" fmla="*/ 958850 w 1146175"/>
                    <a:gd name="connsiteY49" fmla="*/ 1040391 h 1661098"/>
                    <a:gd name="connsiteX50" fmla="*/ 955675 w 1146175"/>
                    <a:gd name="connsiteY50" fmla="*/ 1065791 h 1661098"/>
                    <a:gd name="connsiteX51" fmla="*/ 949325 w 1146175"/>
                    <a:gd name="connsiteY51" fmla="*/ 1075316 h 1661098"/>
                    <a:gd name="connsiteX52" fmla="*/ 946150 w 1146175"/>
                    <a:gd name="connsiteY52" fmla="*/ 1084841 h 1661098"/>
                    <a:gd name="connsiteX53" fmla="*/ 936625 w 1146175"/>
                    <a:gd name="connsiteY53" fmla="*/ 1100716 h 1661098"/>
                    <a:gd name="connsiteX54" fmla="*/ 923925 w 1146175"/>
                    <a:gd name="connsiteY54" fmla="*/ 1135641 h 1661098"/>
                    <a:gd name="connsiteX55" fmla="*/ 917575 w 1146175"/>
                    <a:gd name="connsiteY55" fmla="*/ 1145166 h 1661098"/>
                    <a:gd name="connsiteX56" fmla="*/ 923925 w 1146175"/>
                    <a:gd name="connsiteY56" fmla="*/ 1199141 h 1661098"/>
                    <a:gd name="connsiteX57" fmla="*/ 939800 w 1146175"/>
                    <a:gd name="connsiteY57" fmla="*/ 1221366 h 1661098"/>
                    <a:gd name="connsiteX58" fmla="*/ 946150 w 1146175"/>
                    <a:gd name="connsiteY58" fmla="*/ 1234066 h 1661098"/>
                    <a:gd name="connsiteX59" fmla="*/ 952500 w 1146175"/>
                    <a:gd name="connsiteY59" fmla="*/ 1243591 h 1661098"/>
                    <a:gd name="connsiteX60" fmla="*/ 965200 w 1146175"/>
                    <a:gd name="connsiteY60" fmla="*/ 1268991 h 1661098"/>
                    <a:gd name="connsiteX61" fmla="*/ 974725 w 1146175"/>
                    <a:gd name="connsiteY61" fmla="*/ 1291216 h 1661098"/>
                    <a:gd name="connsiteX62" fmla="*/ 977900 w 1146175"/>
                    <a:gd name="connsiteY62" fmla="*/ 1303916 h 1661098"/>
                    <a:gd name="connsiteX63" fmla="*/ 981075 w 1146175"/>
                    <a:gd name="connsiteY63" fmla="*/ 1313441 h 1661098"/>
                    <a:gd name="connsiteX64" fmla="*/ 974725 w 1146175"/>
                    <a:gd name="connsiteY64" fmla="*/ 1348366 h 1661098"/>
                    <a:gd name="connsiteX65" fmla="*/ 949325 w 1146175"/>
                    <a:gd name="connsiteY65" fmla="*/ 1380116 h 1661098"/>
                    <a:gd name="connsiteX66" fmla="*/ 939800 w 1146175"/>
                    <a:gd name="connsiteY66" fmla="*/ 1386466 h 1661098"/>
                    <a:gd name="connsiteX67" fmla="*/ 930275 w 1146175"/>
                    <a:gd name="connsiteY67" fmla="*/ 1395991 h 1661098"/>
                    <a:gd name="connsiteX68" fmla="*/ 923925 w 1146175"/>
                    <a:gd name="connsiteY68" fmla="*/ 1405516 h 1661098"/>
                    <a:gd name="connsiteX69" fmla="*/ 908050 w 1146175"/>
                    <a:gd name="connsiteY69" fmla="*/ 1415041 h 1661098"/>
                    <a:gd name="connsiteX70" fmla="*/ 895350 w 1146175"/>
                    <a:gd name="connsiteY70" fmla="*/ 1427741 h 1661098"/>
                    <a:gd name="connsiteX71" fmla="*/ 882650 w 1146175"/>
                    <a:gd name="connsiteY71" fmla="*/ 1437266 h 1661098"/>
                    <a:gd name="connsiteX72" fmla="*/ 873125 w 1146175"/>
                    <a:gd name="connsiteY72" fmla="*/ 1446791 h 1661098"/>
                    <a:gd name="connsiteX73" fmla="*/ 844550 w 1146175"/>
                    <a:gd name="connsiteY73" fmla="*/ 1462666 h 1661098"/>
                    <a:gd name="connsiteX74" fmla="*/ 835025 w 1146175"/>
                    <a:gd name="connsiteY74" fmla="*/ 1465841 h 1661098"/>
                    <a:gd name="connsiteX75" fmla="*/ 815975 w 1146175"/>
                    <a:gd name="connsiteY75" fmla="*/ 1459491 h 1661098"/>
                    <a:gd name="connsiteX76" fmla="*/ 774700 w 1146175"/>
                    <a:gd name="connsiteY76" fmla="*/ 1443616 h 1661098"/>
                    <a:gd name="connsiteX77" fmla="*/ 749300 w 1146175"/>
                    <a:gd name="connsiteY77" fmla="*/ 1437266 h 1661098"/>
                    <a:gd name="connsiteX78" fmla="*/ 717550 w 1146175"/>
                    <a:gd name="connsiteY78" fmla="*/ 1424566 h 1661098"/>
                    <a:gd name="connsiteX79" fmla="*/ 688975 w 1146175"/>
                    <a:gd name="connsiteY79" fmla="*/ 1418216 h 1661098"/>
                    <a:gd name="connsiteX80" fmla="*/ 657225 w 1146175"/>
                    <a:gd name="connsiteY80" fmla="*/ 1408691 h 1661098"/>
                    <a:gd name="connsiteX81" fmla="*/ 635000 w 1146175"/>
                    <a:gd name="connsiteY81" fmla="*/ 1411866 h 1661098"/>
                    <a:gd name="connsiteX82" fmla="*/ 622300 w 1146175"/>
                    <a:gd name="connsiteY82" fmla="*/ 1418216 h 1661098"/>
                    <a:gd name="connsiteX83" fmla="*/ 606425 w 1146175"/>
                    <a:gd name="connsiteY83" fmla="*/ 1427741 h 1661098"/>
                    <a:gd name="connsiteX84" fmla="*/ 577850 w 1146175"/>
                    <a:gd name="connsiteY84" fmla="*/ 1443616 h 1661098"/>
                    <a:gd name="connsiteX85" fmla="*/ 558800 w 1146175"/>
                    <a:gd name="connsiteY85" fmla="*/ 1446791 h 1661098"/>
                    <a:gd name="connsiteX86" fmla="*/ 501650 w 1146175"/>
                    <a:gd name="connsiteY86" fmla="*/ 1453141 h 1661098"/>
                    <a:gd name="connsiteX87" fmla="*/ 492125 w 1146175"/>
                    <a:gd name="connsiteY87" fmla="*/ 1459491 h 1661098"/>
                    <a:gd name="connsiteX88" fmla="*/ 466725 w 1146175"/>
                    <a:gd name="connsiteY88" fmla="*/ 1491241 h 1661098"/>
                    <a:gd name="connsiteX89" fmla="*/ 457200 w 1146175"/>
                    <a:gd name="connsiteY89" fmla="*/ 1510291 h 1661098"/>
                    <a:gd name="connsiteX90" fmla="*/ 454025 w 1146175"/>
                    <a:gd name="connsiteY90" fmla="*/ 1519816 h 1661098"/>
                    <a:gd name="connsiteX91" fmla="*/ 447675 w 1146175"/>
                    <a:gd name="connsiteY91" fmla="*/ 1535691 h 1661098"/>
                    <a:gd name="connsiteX92" fmla="*/ 434975 w 1146175"/>
                    <a:gd name="connsiteY92" fmla="*/ 1561091 h 1661098"/>
                    <a:gd name="connsiteX93" fmla="*/ 431800 w 1146175"/>
                    <a:gd name="connsiteY93" fmla="*/ 1576966 h 1661098"/>
                    <a:gd name="connsiteX94" fmla="*/ 425450 w 1146175"/>
                    <a:gd name="connsiteY94" fmla="*/ 1602366 h 1661098"/>
                    <a:gd name="connsiteX95" fmla="*/ 422275 w 1146175"/>
                    <a:gd name="connsiteY95" fmla="*/ 1611891 h 1661098"/>
                    <a:gd name="connsiteX96" fmla="*/ 412750 w 1146175"/>
                    <a:gd name="connsiteY96" fmla="*/ 1621416 h 1661098"/>
                    <a:gd name="connsiteX97" fmla="*/ 222250 w 1146175"/>
                    <a:gd name="connsiteY97" fmla="*/ 1627766 h 1661098"/>
                    <a:gd name="connsiteX98" fmla="*/ 215900 w 1146175"/>
                    <a:gd name="connsiteY98" fmla="*/ 1611891 h 1661098"/>
                    <a:gd name="connsiteX99" fmla="*/ 206375 w 1146175"/>
                    <a:gd name="connsiteY99" fmla="*/ 1599191 h 1661098"/>
                    <a:gd name="connsiteX100" fmla="*/ 203200 w 1146175"/>
                    <a:gd name="connsiteY100" fmla="*/ 1586491 h 1661098"/>
                    <a:gd name="connsiteX101" fmla="*/ 196850 w 1146175"/>
                    <a:gd name="connsiteY101" fmla="*/ 1573791 h 1661098"/>
                    <a:gd name="connsiteX102" fmla="*/ 193675 w 1146175"/>
                    <a:gd name="connsiteY102" fmla="*/ 1564266 h 1661098"/>
                    <a:gd name="connsiteX103" fmla="*/ 187325 w 1146175"/>
                    <a:gd name="connsiteY103" fmla="*/ 1551566 h 1661098"/>
                    <a:gd name="connsiteX104" fmla="*/ 180975 w 1146175"/>
                    <a:gd name="connsiteY104" fmla="*/ 1535691 h 1661098"/>
                    <a:gd name="connsiteX105" fmla="*/ 161925 w 1146175"/>
                    <a:gd name="connsiteY105" fmla="*/ 1507116 h 1661098"/>
                    <a:gd name="connsiteX106" fmla="*/ 149225 w 1146175"/>
                    <a:gd name="connsiteY106" fmla="*/ 1484891 h 1661098"/>
                    <a:gd name="connsiteX107" fmla="*/ 142875 w 1146175"/>
                    <a:gd name="connsiteY107" fmla="*/ 1469016 h 1661098"/>
                    <a:gd name="connsiteX108" fmla="*/ 130175 w 1146175"/>
                    <a:gd name="connsiteY108" fmla="*/ 1465841 h 1661098"/>
                    <a:gd name="connsiteX109" fmla="*/ 101600 w 1146175"/>
                    <a:gd name="connsiteY109" fmla="*/ 1453141 h 1661098"/>
                    <a:gd name="connsiteX110" fmla="*/ 69850 w 1146175"/>
                    <a:gd name="connsiteY110" fmla="*/ 1443616 h 1661098"/>
                    <a:gd name="connsiteX111" fmla="*/ 41275 w 1146175"/>
                    <a:gd name="connsiteY111" fmla="*/ 1430916 h 1661098"/>
                    <a:gd name="connsiteX112" fmla="*/ 31750 w 1146175"/>
                    <a:gd name="connsiteY112" fmla="*/ 1424566 h 1661098"/>
                    <a:gd name="connsiteX113" fmla="*/ 15875 w 1146175"/>
                    <a:gd name="connsiteY113" fmla="*/ 1418216 h 1661098"/>
                    <a:gd name="connsiteX114" fmla="*/ 0 w 1146175"/>
                    <a:gd name="connsiteY11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4400 w 1146175"/>
                    <a:gd name="connsiteY20" fmla="*/ 468891 h 1661098"/>
                    <a:gd name="connsiteX21" fmla="*/ 917575 w 1146175"/>
                    <a:gd name="connsiteY21" fmla="*/ 506991 h 1661098"/>
                    <a:gd name="connsiteX22" fmla="*/ 923925 w 1146175"/>
                    <a:gd name="connsiteY22" fmla="*/ 519691 h 1661098"/>
                    <a:gd name="connsiteX23" fmla="*/ 939800 w 1146175"/>
                    <a:gd name="connsiteY23" fmla="*/ 538741 h 1661098"/>
                    <a:gd name="connsiteX24" fmla="*/ 942975 w 1146175"/>
                    <a:gd name="connsiteY24" fmla="*/ 548266 h 1661098"/>
                    <a:gd name="connsiteX25" fmla="*/ 955675 w 1146175"/>
                    <a:gd name="connsiteY25" fmla="*/ 573666 h 1661098"/>
                    <a:gd name="connsiteX26" fmla="*/ 968375 w 1146175"/>
                    <a:gd name="connsiteY26" fmla="*/ 614941 h 1661098"/>
                    <a:gd name="connsiteX27" fmla="*/ 974725 w 1146175"/>
                    <a:gd name="connsiteY27" fmla="*/ 627641 h 1661098"/>
                    <a:gd name="connsiteX28" fmla="*/ 981075 w 1146175"/>
                    <a:gd name="connsiteY28" fmla="*/ 646691 h 1661098"/>
                    <a:gd name="connsiteX29" fmla="*/ 993775 w 1146175"/>
                    <a:gd name="connsiteY29" fmla="*/ 649866 h 1661098"/>
                    <a:gd name="connsiteX30" fmla="*/ 1012825 w 1146175"/>
                    <a:gd name="connsiteY30" fmla="*/ 653041 h 1661098"/>
                    <a:gd name="connsiteX31" fmla="*/ 1041400 w 1146175"/>
                    <a:gd name="connsiteY31" fmla="*/ 665741 h 1661098"/>
                    <a:gd name="connsiteX32" fmla="*/ 1050925 w 1146175"/>
                    <a:gd name="connsiteY32" fmla="*/ 668916 h 1661098"/>
                    <a:gd name="connsiteX33" fmla="*/ 1066800 w 1146175"/>
                    <a:gd name="connsiteY33" fmla="*/ 678441 h 1661098"/>
                    <a:gd name="connsiteX34" fmla="*/ 1089025 w 1146175"/>
                    <a:gd name="connsiteY34" fmla="*/ 687966 h 1661098"/>
                    <a:gd name="connsiteX35" fmla="*/ 1117600 w 1146175"/>
                    <a:gd name="connsiteY35" fmla="*/ 707016 h 1661098"/>
                    <a:gd name="connsiteX36" fmla="*/ 1136650 w 1146175"/>
                    <a:gd name="connsiteY36" fmla="*/ 713366 h 1661098"/>
                    <a:gd name="connsiteX37" fmla="*/ 1146175 w 1146175"/>
                    <a:gd name="connsiteY37" fmla="*/ 903866 h 1661098"/>
                    <a:gd name="connsiteX38" fmla="*/ 1127125 w 1146175"/>
                    <a:gd name="connsiteY38" fmla="*/ 913391 h 1661098"/>
                    <a:gd name="connsiteX39" fmla="*/ 1101725 w 1146175"/>
                    <a:gd name="connsiteY39" fmla="*/ 919741 h 1661098"/>
                    <a:gd name="connsiteX40" fmla="*/ 1092200 w 1146175"/>
                    <a:gd name="connsiteY40" fmla="*/ 926091 h 1661098"/>
                    <a:gd name="connsiteX41" fmla="*/ 1079500 w 1146175"/>
                    <a:gd name="connsiteY41" fmla="*/ 929266 h 1661098"/>
                    <a:gd name="connsiteX42" fmla="*/ 1069975 w 1146175"/>
                    <a:gd name="connsiteY42" fmla="*/ 938791 h 1661098"/>
                    <a:gd name="connsiteX43" fmla="*/ 1060450 w 1146175"/>
                    <a:gd name="connsiteY43" fmla="*/ 945141 h 1661098"/>
                    <a:gd name="connsiteX44" fmla="*/ 1038225 w 1146175"/>
                    <a:gd name="connsiteY44" fmla="*/ 957841 h 1661098"/>
                    <a:gd name="connsiteX45" fmla="*/ 996950 w 1146175"/>
                    <a:gd name="connsiteY45" fmla="*/ 983241 h 1661098"/>
                    <a:gd name="connsiteX46" fmla="*/ 977900 w 1146175"/>
                    <a:gd name="connsiteY46" fmla="*/ 989591 h 1661098"/>
                    <a:gd name="connsiteX47" fmla="*/ 968375 w 1146175"/>
                    <a:gd name="connsiteY47" fmla="*/ 1014991 h 1661098"/>
                    <a:gd name="connsiteX48" fmla="*/ 958850 w 1146175"/>
                    <a:gd name="connsiteY48" fmla="*/ 1040391 h 1661098"/>
                    <a:gd name="connsiteX49" fmla="*/ 955675 w 1146175"/>
                    <a:gd name="connsiteY49" fmla="*/ 1065791 h 1661098"/>
                    <a:gd name="connsiteX50" fmla="*/ 949325 w 1146175"/>
                    <a:gd name="connsiteY50" fmla="*/ 1075316 h 1661098"/>
                    <a:gd name="connsiteX51" fmla="*/ 946150 w 1146175"/>
                    <a:gd name="connsiteY51" fmla="*/ 1084841 h 1661098"/>
                    <a:gd name="connsiteX52" fmla="*/ 936625 w 1146175"/>
                    <a:gd name="connsiteY52" fmla="*/ 1100716 h 1661098"/>
                    <a:gd name="connsiteX53" fmla="*/ 923925 w 1146175"/>
                    <a:gd name="connsiteY53" fmla="*/ 1135641 h 1661098"/>
                    <a:gd name="connsiteX54" fmla="*/ 917575 w 1146175"/>
                    <a:gd name="connsiteY54" fmla="*/ 1145166 h 1661098"/>
                    <a:gd name="connsiteX55" fmla="*/ 923925 w 1146175"/>
                    <a:gd name="connsiteY55" fmla="*/ 1199141 h 1661098"/>
                    <a:gd name="connsiteX56" fmla="*/ 939800 w 1146175"/>
                    <a:gd name="connsiteY56" fmla="*/ 1221366 h 1661098"/>
                    <a:gd name="connsiteX57" fmla="*/ 946150 w 1146175"/>
                    <a:gd name="connsiteY57" fmla="*/ 1234066 h 1661098"/>
                    <a:gd name="connsiteX58" fmla="*/ 952500 w 1146175"/>
                    <a:gd name="connsiteY58" fmla="*/ 1243591 h 1661098"/>
                    <a:gd name="connsiteX59" fmla="*/ 965200 w 1146175"/>
                    <a:gd name="connsiteY59" fmla="*/ 1268991 h 1661098"/>
                    <a:gd name="connsiteX60" fmla="*/ 974725 w 1146175"/>
                    <a:gd name="connsiteY60" fmla="*/ 1291216 h 1661098"/>
                    <a:gd name="connsiteX61" fmla="*/ 977900 w 1146175"/>
                    <a:gd name="connsiteY61" fmla="*/ 1303916 h 1661098"/>
                    <a:gd name="connsiteX62" fmla="*/ 981075 w 1146175"/>
                    <a:gd name="connsiteY62" fmla="*/ 1313441 h 1661098"/>
                    <a:gd name="connsiteX63" fmla="*/ 974725 w 1146175"/>
                    <a:gd name="connsiteY63" fmla="*/ 1348366 h 1661098"/>
                    <a:gd name="connsiteX64" fmla="*/ 949325 w 1146175"/>
                    <a:gd name="connsiteY64" fmla="*/ 1380116 h 1661098"/>
                    <a:gd name="connsiteX65" fmla="*/ 939800 w 1146175"/>
                    <a:gd name="connsiteY65" fmla="*/ 1386466 h 1661098"/>
                    <a:gd name="connsiteX66" fmla="*/ 930275 w 1146175"/>
                    <a:gd name="connsiteY66" fmla="*/ 1395991 h 1661098"/>
                    <a:gd name="connsiteX67" fmla="*/ 923925 w 1146175"/>
                    <a:gd name="connsiteY67" fmla="*/ 1405516 h 1661098"/>
                    <a:gd name="connsiteX68" fmla="*/ 908050 w 1146175"/>
                    <a:gd name="connsiteY68" fmla="*/ 1415041 h 1661098"/>
                    <a:gd name="connsiteX69" fmla="*/ 895350 w 1146175"/>
                    <a:gd name="connsiteY69" fmla="*/ 1427741 h 1661098"/>
                    <a:gd name="connsiteX70" fmla="*/ 882650 w 1146175"/>
                    <a:gd name="connsiteY70" fmla="*/ 1437266 h 1661098"/>
                    <a:gd name="connsiteX71" fmla="*/ 873125 w 1146175"/>
                    <a:gd name="connsiteY71" fmla="*/ 1446791 h 1661098"/>
                    <a:gd name="connsiteX72" fmla="*/ 844550 w 1146175"/>
                    <a:gd name="connsiteY72" fmla="*/ 1462666 h 1661098"/>
                    <a:gd name="connsiteX73" fmla="*/ 835025 w 1146175"/>
                    <a:gd name="connsiteY73" fmla="*/ 1465841 h 1661098"/>
                    <a:gd name="connsiteX74" fmla="*/ 815975 w 1146175"/>
                    <a:gd name="connsiteY74" fmla="*/ 1459491 h 1661098"/>
                    <a:gd name="connsiteX75" fmla="*/ 774700 w 1146175"/>
                    <a:gd name="connsiteY75" fmla="*/ 1443616 h 1661098"/>
                    <a:gd name="connsiteX76" fmla="*/ 749300 w 1146175"/>
                    <a:gd name="connsiteY76" fmla="*/ 1437266 h 1661098"/>
                    <a:gd name="connsiteX77" fmla="*/ 717550 w 1146175"/>
                    <a:gd name="connsiteY77" fmla="*/ 1424566 h 1661098"/>
                    <a:gd name="connsiteX78" fmla="*/ 688975 w 1146175"/>
                    <a:gd name="connsiteY78" fmla="*/ 1418216 h 1661098"/>
                    <a:gd name="connsiteX79" fmla="*/ 657225 w 1146175"/>
                    <a:gd name="connsiteY79" fmla="*/ 1408691 h 1661098"/>
                    <a:gd name="connsiteX80" fmla="*/ 635000 w 1146175"/>
                    <a:gd name="connsiteY80" fmla="*/ 1411866 h 1661098"/>
                    <a:gd name="connsiteX81" fmla="*/ 622300 w 1146175"/>
                    <a:gd name="connsiteY81" fmla="*/ 1418216 h 1661098"/>
                    <a:gd name="connsiteX82" fmla="*/ 606425 w 1146175"/>
                    <a:gd name="connsiteY82" fmla="*/ 1427741 h 1661098"/>
                    <a:gd name="connsiteX83" fmla="*/ 577850 w 1146175"/>
                    <a:gd name="connsiteY83" fmla="*/ 1443616 h 1661098"/>
                    <a:gd name="connsiteX84" fmla="*/ 558800 w 1146175"/>
                    <a:gd name="connsiteY84" fmla="*/ 1446791 h 1661098"/>
                    <a:gd name="connsiteX85" fmla="*/ 501650 w 1146175"/>
                    <a:gd name="connsiteY85" fmla="*/ 1453141 h 1661098"/>
                    <a:gd name="connsiteX86" fmla="*/ 492125 w 1146175"/>
                    <a:gd name="connsiteY86" fmla="*/ 1459491 h 1661098"/>
                    <a:gd name="connsiteX87" fmla="*/ 466725 w 1146175"/>
                    <a:gd name="connsiteY87" fmla="*/ 1491241 h 1661098"/>
                    <a:gd name="connsiteX88" fmla="*/ 457200 w 1146175"/>
                    <a:gd name="connsiteY88" fmla="*/ 1510291 h 1661098"/>
                    <a:gd name="connsiteX89" fmla="*/ 454025 w 1146175"/>
                    <a:gd name="connsiteY89" fmla="*/ 1519816 h 1661098"/>
                    <a:gd name="connsiteX90" fmla="*/ 447675 w 1146175"/>
                    <a:gd name="connsiteY90" fmla="*/ 1535691 h 1661098"/>
                    <a:gd name="connsiteX91" fmla="*/ 434975 w 1146175"/>
                    <a:gd name="connsiteY91" fmla="*/ 1561091 h 1661098"/>
                    <a:gd name="connsiteX92" fmla="*/ 431800 w 1146175"/>
                    <a:gd name="connsiteY92" fmla="*/ 1576966 h 1661098"/>
                    <a:gd name="connsiteX93" fmla="*/ 425450 w 1146175"/>
                    <a:gd name="connsiteY93" fmla="*/ 1602366 h 1661098"/>
                    <a:gd name="connsiteX94" fmla="*/ 422275 w 1146175"/>
                    <a:gd name="connsiteY94" fmla="*/ 1611891 h 1661098"/>
                    <a:gd name="connsiteX95" fmla="*/ 412750 w 1146175"/>
                    <a:gd name="connsiteY95" fmla="*/ 1621416 h 1661098"/>
                    <a:gd name="connsiteX96" fmla="*/ 222250 w 1146175"/>
                    <a:gd name="connsiteY96" fmla="*/ 1627766 h 1661098"/>
                    <a:gd name="connsiteX97" fmla="*/ 215900 w 1146175"/>
                    <a:gd name="connsiteY97" fmla="*/ 1611891 h 1661098"/>
                    <a:gd name="connsiteX98" fmla="*/ 206375 w 1146175"/>
                    <a:gd name="connsiteY98" fmla="*/ 1599191 h 1661098"/>
                    <a:gd name="connsiteX99" fmla="*/ 203200 w 1146175"/>
                    <a:gd name="connsiteY99" fmla="*/ 1586491 h 1661098"/>
                    <a:gd name="connsiteX100" fmla="*/ 196850 w 1146175"/>
                    <a:gd name="connsiteY100" fmla="*/ 1573791 h 1661098"/>
                    <a:gd name="connsiteX101" fmla="*/ 193675 w 1146175"/>
                    <a:gd name="connsiteY101" fmla="*/ 1564266 h 1661098"/>
                    <a:gd name="connsiteX102" fmla="*/ 187325 w 1146175"/>
                    <a:gd name="connsiteY102" fmla="*/ 1551566 h 1661098"/>
                    <a:gd name="connsiteX103" fmla="*/ 180975 w 1146175"/>
                    <a:gd name="connsiteY103" fmla="*/ 1535691 h 1661098"/>
                    <a:gd name="connsiteX104" fmla="*/ 161925 w 1146175"/>
                    <a:gd name="connsiteY104" fmla="*/ 1507116 h 1661098"/>
                    <a:gd name="connsiteX105" fmla="*/ 149225 w 1146175"/>
                    <a:gd name="connsiteY105" fmla="*/ 1484891 h 1661098"/>
                    <a:gd name="connsiteX106" fmla="*/ 142875 w 1146175"/>
                    <a:gd name="connsiteY106" fmla="*/ 1469016 h 1661098"/>
                    <a:gd name="connsiteX107" fmla="*/ 130175 w 1146175"/>
                    <a:gd name="connsiteY107" fmla="*/ 1465841 h 1661098"/>
                    <a:gd name="connsiteX108" fmla="*/ 101600 w 1146175"/>
                    <a:gd name="connsiteY108" fmla="*/ 1453141 h 1661098"/>
                    <a:gd name="connsiteX109" fmla="*/ 69850 w 1146175"/>
                    <a:gd name="connsiteY109" fmla="*/ 1443616 h 1661098"/>
                    <a:gd name="connsiteX110" fmla="*/ 41275 w 1146175"/>
                    <a:gd name="connsiteY110" fmla="*/ 1430916 h 1661098"/>
                    <a:gd name="connsiteX111" fmla="*/ 31750 w 1146175"/>
                    <a:gd name="connsiteY111" fmla="*/ 1424566 h 1661098"/>
                    <a:gd name="connsiteX112" fmla="*/ 15875 w 1146175"/>
                    <a:gd name="connsiteY112" fmla="*/ 1418216 h 1661098"/>
                    <a:gd name="connsiteX113" fmla="*/ 0 w 1146175"/>
                    <a:gd name="connsiteY11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39800 w 1146175"/>
                    <a:gd name="connsiteY22" fmla="*/ 538741 h 1661098"/>
                    <a:gd name="connsiteX23" fmla="*/ 942975 w 1146175"/>
                    <a:gd name="connsiteY23" fmla="*/ 548266 h 1661098"/>
                    <a:gd name="connsiteX24" fmla="*/ 955675 w 1146175"/>
                    <a:gd name="connsiteY24" fmla="*/ 573666 h 1661098"/>
                    <a:gd name="connsiteX25" fmla="*/ 968375 w 1146175"/>
                    <a:gd name="connsiteY25" fmla="*/ 614941 h 1661098"/>
                    <a:gd name="connsiteX26" fmla="*/ 974725 w 1146175"/>
                    <a:gd name="connsiteY26" fmla="*/ 627641 h 1661098"/>
                    <a:gd name="connsiteX27" fmla="*/ 981075 w 1146175"/>
                    <a:gd name="connsiteY27" fmla="*/ 646691 h 1661098"/>
                    <a:gd name="connsiteX28" fmla="*/ 993775 w 1146175"/>
                    <a:gd name="connsiteY28" fmla="*/ 649866 h 1661098"/>
                    <a:gd name="connsiteX29" fmla="*/ 1012825 w 1146175"/>
                    <a:gd name="connsiteY29" fmla="*/ 653041 h 1661098"/>
                    <a:gd name="connsiteX30" fmla="*/ 1041400 w 1146175"/>
                    <a:gd name="connsiteY30" fmla="*/ 665741 h 1661098"/>
                    <a:gd name="connsiteX31" fmla="*/ 1050925 w 1146175"/>
                    <a:gd name="connsiteY31" fmla="*/ 668916 h 1661098"/>
                    <a:gd name="connsiteX32" fmla="*/ 1066800 w 1146175"/>
                    <a:gd name="connsiteY32" fmla="*/ 678441 h 1661098"/>
                    <a:gd name="connsiteX33" fmla="*/ 1089025 w 1146175"/>
                    <a:gd name="connsiteY33" fmla="*/ 687966 h 1661098"/>
                    <a:gd name="connsiteX34" fmla="*/ 1117600 w 1146175"/>
                    <a:gd name="connsiteY34" fmla="*/ 707016 h 1661098"/>
                    <a:gd name="connsiteX35" fmla="*/ 1136650 w 1146175"/>
                    <a:gd name="connsiteY35" fmla="*/ 713366 h 1661098"/>
                    <a:gd name="connsiteX36" fmla="*/ 1146175 w 1146175"/>
                    <a:gd name="connsiteY36" fmla="*/ 903866 h 1661098"/>
                    <a:gd name="connsiteX37" fmla="*/ 1127125 w 1146175"/>
                    <a:gd name="connsiteY37" fmla="*/ 913391 h 1661098"/>
                    <a:gd name="connsiteX38" fmla="*/ 1101725 w 1146175"/>
                    <a:gd name="connsiteY38" fmla="*/ 919741 h 1661098"/>
                    <a:gd name="connsiteX39" fmla="*/ 1092200 w 1146175"/>
                    <a:gd name="connsiteY39" fmla="*/ 926091 h 1661098"/>
                    <a:gd name="connsiteX40" fmla="*/ 1079500 w 1146175"/>
                    <a:gd name="connsiteY40" fmla="*/ 929266 h 1661098"/>
                    <a:gd name="connsiteX41" fmla="*/ 1069975 w 1146175"/>
                    <a:gd name="connsiteY41" fmla="*/ 938791 h 1661098"/>
                    <a:gd name="connsiteX42" fmla="*/ 1060450 w 1146175"/>
                    <a:gd name="connsiteY42" fmla="*/ 945141 h 1661098"/>
                    <a:gd name="connsiteX43" fmla="*/ 1038225 w 1146175"/>
                    <a:gd name="connsiteY43" fmla="*/ 957841 h 1661098"/>
                    <a:gd name="connsiteX44" fmla="*/ 996950 w 1146175"/>
                    <a:gd name="connsiteY44" fmla="*/ 983241 h 1661098"/>
                    <a:gd name="connsiteX45" fmla="*/ 977900 w 1146175"/>
                    <a:gd name="connsiteY45" fmla="*/ 989591 h 1661098"/>
                    <a:gd name="connsiteX46" fmla="*/ 968375 w 1146175"/>
                    <a:gd name="connsiteY46" fmla="*/ 1014991 h 1661098"/>
                    <a:gd name="connsiteX47" fmla="*/ 958850 w 1146175"/>
                    <a:gd name="connsiteY47" fmla="*/ 1040391 h 1661098"/>
                    <a:gd name="connsiteX48" fmla="*/ 955675 w 1146175"/>
                    <a:gd name="connsiteY48" fmla="*/ 1065791 h 1661098"/>
                    <a:gd name="connsiteX49" fmla="*/ 949325 w 1146175"/>
                    <a:gd name="connsiteY49" fmla="*/ 1075316 h 1661098"/>
                    <a:gd name="connsiteX50" fmla="*/ 946150 w 1146175"/>
                    <a:gd name="connsiteY50" fmla="*/ 1084841 h 1661098"/>
                    <a:gd name="connsiteX51" fmla="*/ 936625 w 1146175"/>
                    <a:gd name="connsiteY51" fmla="*/ 1100716 h 1661098"/>
                    <a:gd name="connsiteX52" fmla="*/ 923925 w 1146175"/>
                    <a:gd name="connsiteY52" fmla="*/ 1135641 h 1661098"/>
                    <a:gd name="connsiteX53" fmla="*/ 917575 w 1146175"/>
                    <a:gd name="connsiteY53" fmla="*/ 1145166 h 1661098"/>
                    <a:gd name="connsiteX54" fmla="*/ 923925 w 1146175"/>
                    <a:gd name="connsiteY54" fmla="*/ 1199141 h 1661098"/>
                    <a:gd name="connsiteX55" fmla="*/ 939800 w 1146175"/>
                    <a:gd name="connsiteY55" fmla="*/ 1221366 h 1661098"/>
                    <a:gd name="connsiteX56" fmla="*/ 946150 w 1146175"/>
                    <a:gd name="connsiteY56" fmla="*/ 1234066 h 1661098"/>
                    <a:gd name="connsiteX57" fmla="*/ 952500 w 1146175"/>
                    <a:gd name="connsiteY57" fmla="*/ 1243591 h 1661098"/>
                    <a:gd name="connsiteX58" fmla="*/ 965200 w 1146175"/>
                    <a:gd name="connsiteY58" fmla="*/ 1268991 h 1661098"/>
                    <a:gd name="connsiteX59" fmla="*/ 974725 w 1146175"/>
                    <a:gd name="connsiteY59" fmla="*/ 1291216 h 1661098"/>
                    <a:gd name="connsiteX60" fmla="*/ 977900 w 1146175"/>
                    <a:gd name="connsiteY60" fmla="*/ 1303916 h 1661098"/>
                    <a:gd name="connsiteX61" fmla="*/ 981075 w 1146175"/>
                    <a:gd name="connsiteY61" fmla="*/ 1313441 h 1661098"/>
                    <a:gd name="connsiteX62" fmla="*/ 974725 w 1146175"/>
                    <a:gd name="connsiteY62" fmla="*/ 1348366 h 1661098"/>
                    <a:gd name="connsiteX63" fmla="*/ 949325 w 1146175"/>
                    <a:gd name="connsiteY63" fmla="*/ 1380116 h 1661098"/>
                    <a:gd name="connsiteX64" fmla="*/ 939800 w 1146175"/>
                    <a:gd name="connsiteY64" fmla="*/ 1386466 h 1661098"/>
                    <a:gd name="connsiteX65" fmla="*/ 930275 w 1146175"/>
                    <a:gd name="connsiteY65" fmla="*/ 1395991 h 1661098"/>
                    <a:gd name="connsiteX66" fmla="*/ 923925 w 1146175"/>
                    <a:gd name="connsiteY66" fmla="*/ 1405516 h 1661098"/>
                    <a:gd name="connsiteX67" fmla="*/ 908050 w 1146175"/>
                    <a:gd name="connsiteY67" fmla="*/ 1415041 h 1661098"/>
                    <a:gd name="connsiteX68" fmla="*/ 895350 w 1146175"/>
                    <a:gd name="connsiteY68" fmla="*/ 1427741 h 1661098"/>
                    <a:gd name="connsiteX69" fmla="*/ 882650 w 1146175"/>
                    <a:gd name="connsiteY69" fmla="*/ 1437266 h 1661098"/>
                    <a:gd name="connsiteX70" fmla="*/ 873125 w 1146175"/>
                    <a:gd name="connsiteY70" fmla="*/ 1446791 h 1661098"/>
                    <a:gd name="connsiteX71" fmla="*/ 844550 w 1146175"/>
                    <a:gd name="connsiteY71" fmla="*/ 1462666 h 1661098"/>
                    <a:gd name="connsiteX72" fmla="*/ 835025 w 1146175"/>
                    <a:gd name="connsiteY72" fmla="*/ 1465841 h 1661098"/>
                    <a:gd name="connsiteX73" fmla="*/ 815975 w 1146175"/>
                    <a:gd name="connsiteY73" fmla="*/ 1459491 h 1661098"/>
                    <a:gd name="connsiteX74" fmla="*/ 774700 w 1146175"/>
                    <a:gd name="connsiteY74" fmla="*/ 1443616 h 1661098"/>
                    <a:gd name="connsiteX75" fmla="*/ 749300 w 1146175"/>
                    <a:gd name="connsiteY75" fmla="*/ 1437266 h 1661098"/>
                    <a:gd name="connsiteX76" fmla="*/ 717550 w 1146175"/>
                    <a:gd name="connsiteY76" fmla="*/ 1424566 h 1661098"/>
                    <a:gd name="connsiteX77" fmla="*/ 688975 w 1146175"/>
                    <a:gd name="connsiteY77" fmla="*/ 1418216 h 1661098"/>
                    <a:gd name="connsiteX78" fmla="*/ 657225 w 1146175"/>
                    <a:gd name="connsiteY78" fmla="*/ 1408691 h 1661098"/>
                    <a:gd name="connsiteX79" fmla="*/ 635000 w 1146175"/>
                    <a:gd name="connsiteY79" fmla="*/ 1411866 h 1661098"/>
                    <a:gd name="connsiteX80" fmla="*/ 622300 w 1146175"/>
                    <a:gd name="connsiteY80" fmla="*/ 1418216 h 1661098"/>
                    <a:gd name="connsiteX81" fmla="*/ 606425 w 1146175"/>
                    <a:gd name="connsiteY81" fmla="*/ 1427741 h 1661098"/>
                    <a:gd name="connsiteX82" fmla="*/ 577850 w 1146175"/>
                    <a:gd name="connsiteY82" fmla="*/ 1443616 h 1661098"/>
                    <a:gd name="connsiteX83" fmla="*/ 558800 w 1146175"/>
                    <a:gd name="connsiteY83" fmla="*/ 1446791 h 1661098"/>
                    <a:gd name="connsiteX84" fmla="*/ 501650 w 1146175"/>
                    <a:gd name="connsiteY84" fmla="*/ 1453141 h 1661098"/>
                    <a:gd name="connsiteX85" fmla="*/ 492125 w 1146175"/>
                    <a:gd name="connsiteY85" fmla="*/ 1459491 h 1661098"/>
                    <a:gd name="connsiteX86" fmla="*/ 466725 w 1146175"/>
                    <a:gd name="connsiteY86" fmla="*/ 1491241 h 1661098"/>
                    <a:gd name="connsiteX87" fmla="*/ 457200 w 1146175"/>
                    <a:gd name="connsiteY87" fmla="*/ 1510291 h 1661098"/>
                    <a:gd name="connsiteX88" fmla="*/ 454025 w 1146175"/>
                    <a:gd name="connsiteY88" fmla="*/ 1519816 h 1661098"/>
                    <a:gd name="connsiteX89" fmla="*/ 447675 w 1146175"/>
                    <a:gd name="connsiteY89" fmla="*/ 1535691 h 1661098"/>
                    <a:gd name="connsiteX90" fmla="*/ 434975 w 1146175"/>
                    <a:gd name="connsiteY90" fmla="*/ 1561091 h 1661098"/>
                    <a:gd name="connsiteX91" fmla="*/ 431800 w 1146175"/>
                    <a:gd name="connsiteY91" fmla="*/ 1576966 h 1661098"/>
                    <a:gd name="connsiteX92" fmla="*/ 425450 w 1146175"/>
                    <a:gd name="connsiteY92" fmla="*/ 1602366 h 1661098"/>
                    <a:gd name="connsiteX93" fmla="*/ 422275 w 1146175"/>
                    <a:gd name="connsiteY93" fmla="*/ 1611891 h 1661098"/>
                    <a:gd name="connsiteX94" fmla="*/ 412750 w 1146175"/>
                    <a:gd name="connsiteY94" fmla="*/ 1621416 h 1661098"/>
                    <a:gd name="connsiteX95" fmla="*/ 222250 w 1146175"/>
                    <a:gd name="connsiteY95" fmla="*/ 1627766 h 1661098"/>
                    <a:gd name="connsiteX96" fmla="*/ 215900 w 1146175"/>
                    <a:gd name="connsiteY96" fmla="*/ 1611891 h 1661098"/>
                    <a:gd name="connsiteX97" fmla="*/ 206375 w 1146175"/>
                    <a:gd name="connsiteY97" fmla="*/ 1599191 h 1661098"/>
                    <a:gd name="connsiteX98" fmla="*/ 203200 w 1146175"/>
                    <a:gd name="connsiteY98" fmla="*/ 1586491 h 1661098"/>
                    <a:gd name="connsiteX99" fmla="*/ 196850 w 1146175"/>
                    <a:gd name="connsiteY99" fmla="*/ 1573791 h 1661098"/>
                    <a:gd name="connsiteX100" fmla="*/ 193675 w 1146175"/>
                    <a:gd name="connsiteY100" fmla="*/ 1564266 h 1661098"/>
                    <a:gd name="connsiteX101" fmla="*/ 187325 w 1146175"/>
                    <a:gd name="connsiteY101" fmla="*/ 1551566 h 1661098"/>
                    <a:gd name="connsiteX102" fmla="*/ 180975 w 1146175"/>
                    <a:gd name="connsiteY102" fmla="*/ 1535691 h 1661098"/>
                    <a:gd name="connsiteX103" fmla="*/ 161925 w 1146175"/>
                    <a:gd name="connsiteY103" fmla="*/ 1507116 h 1661098"/>
                    <a:gd name="connsiteX104" fmla="*/ 149225 w 1146175"/>
                    <a:gd name="connsiteY104" fmla="*/ 1484891 h 1661098"/>
                    <a:gd name="connsiteX105" fmla="*/ 142875 w 1146175"/>
                    <a:gd name="connsiteY105" fmla="*/ 1469016 h 1661098"/>
                    <a:gd name="connsiteX106" fmla="*/ 130175 w 1146175"/>
                    <a:gd name="connsiteY106" fmla="*/ 1465841 h 1661098"/>
                    <a:gd name="connsiteX107" fmla="*/ 101600 w 1146175"/>
                    <a:gd name="connsiteY107" fmla="*/ 1453141 h 1661098"/>
                    <a:gd name="connsiteX108" fmla="*/ 69850 w 1146175"/>
                    <a:gd name="connsiteY108" fmla="*/ 1443616 h 1661098"/>
                    <a:gd name="connsiteX109" fmla="*/ 41275 w 1146175"/>
                    <a:gd name="connsiteY109" fmla="*/ 1430916 h 1661098"/>
                    <a:gd name="connsiteX110" fmla="*/ 31750 w 1146175"/>
                    <a:gd name="connsiteY110" fmla="*/ 1424566 h 1661098"/>
                    <a:gd name="connsiteX111" fmla="*/ 15875 w 1146175"/>
                    <a:gd name="connsiteY111" fmla="*/ 1418216 h 1661098"/>
                    <a:gd name="connsiteX112" fmla="*/ 0 w 1146175"/>
                    <a:gd name="connsiteY11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39800 w 1146175"/>
                    <a:gd name="connsiteY22" fmla="*/ 538741 h 1661098"/>
                    <a:gd name="connsiteX23" fmla="*/ 955675 w 1146175"/>
                    <a:gd name="connsiteY23" fmla="*/ 573666 h 1661098"/>
                    <a:gd name="connsiteX24" fmla="*/ 968375 w 1146175"/>
                    <a:gd name="connsiteY24" fmla="*/ 614941 h 1661098"/>
                    <a:gd name="connsiteX25" fmla="*/ 974725 w 1146175"/>
                    <a:gd name="connsiteY25" fmla="*/ 627641 h 1661098"/>
                    <a:gd name="connsiteX26" fmla="*/ 981075 w 1146175"/>
                    <a:gd name="connsiteY26" fmla="*/ 646691 h 1661098"/>
                    <a:gd name="connsiteX27" fmla="*/ 993775 w 1146175"/>
                    <a:gd name="connsiteY27" fmla="*/ 649866 h 1661098"/>
                    <a:gd name="connsiteX28" fmla="*/ 1012825 w 1146175"/>
                    <a:gd name="connsiteY28" fmla="*/ 653041 h 1661098"/>
                    <a:gd name="connsiteX29" fmla="*/ 1041400 w 1146175"/>
                    <a:gd name="connsiteY29" fmla="*/ 665741 h 1661098"/>
                    <a:gd name="connsiteX30" fmla="*/ 1050925 w 1146175"/>
                    <a:gd name="connsiteY30" fmla="*/ 668916 h 1661098"/>
                    <a:gd name="connsiteX31" fmla="*/ 1066800 w 1146175"/>
                    <a:gd name="connsiteY31" fmla="*/ 678441 h 1661098"/>
                    <a:gd name="connsiteX32" fmla="*/ 1089025 w 1146175"/>
                    <a:gd name="connsiteY32" fmla="*/ 687966 h 1661098"/>
                    <a:gd name="connsiteX33" fmla="*/ 1117600 w 1146175"/>
                    <a:gd name="connsiteY33" fmla="*/ 707016 h 1661098"/>
                    <a:gd name="connsiteX34" fmla="*/ 1136650 w 1146175"/>
                    <a:gd name="connsiteY34" fmla="*/ 713366 h 1661098"/>
                    <a:gd name="connsiteX35" fmla="*/ 1146175 w 1146175"/>
                    <a:gd name="connsiteY35" fmla="*/ 903866 h 1661098"/>
                    <a:gd name="connsiteX36" fmla="*/ 1127125 w 1146175"/>
                    <a:gd name="connsiteY36" fmla="*/ 913391 h 1661098"/>
                    <a:gd name="connsiteX37" fmla="*/ 1101725 w 1146175"/>
                    <a:gd name="connsiteY37" fmla="*/ 919741 h 1661098"/>
                    <a:gd name="connsiteX38" fmla="*/ 1092200 w 1146175"/>
                    <a:gd name="connsiteY38" fmla="*/ 926091 h 1661098"/>
                    <a:gd name="connsiteX39" fmla="*/ 1079500 w 1146175"/>
                    <a:gd name="connsiteY39" fmla="*/ 929266 h 1661098"/>
                    <a:gd name="connsiteX40" fmla="*/ 1069975 w 1146175"/>
                    <a:gd name="connsiteY40" fmla="*/ 938791 h 1661098"/>
                    <a:gd name="connsiteX41" fmla="*/ 1060450 w 1146175"/>
                    <a:gd name="connsiteY41" fmla="*/ 945141 h 1661098"/>
                    <a:gd name="connsiteX42" fmla="*/ 1038225 w 1146175"/>
                    <a:gd name="connsiteY42" fmla="*/ 957841 h 1661098"/>
                    <a:gd name="connsiteX43" fmla="*/ 996950 w 1146175"/>
                    <a:gd name="connsiteY43" fmla="*/ 983241 h 1661098"/>
                    <a:gd name="connsiteX44" fmla="*/ 977900 w 1146175"/>
                    <a:gd name="connsiteY44" fmla="*/ 989591 h 1661098"/>
                    <a:gd name="connsiteX45" fmla="*/ 968375 w 1146175"/>
                    <a:gd name="connsiteY45" fmla="*/ 1014991 h 1661098"/>
                    <a:gd name="connsiteX46" fmla="*/ 958850 w 1146175"/>
                    <a:gd name="connsiteY46" fmla="*/ 1040391 h 1661098"/>
                    <a:gd name="connsiteX47" fmla="*/ 955675 w 1146175"/>
                    <a:gd name="connsiteY47" fmla="*/ 1065791 h 1661098"/>
                    <a:gd name="connsiteX48" fmla="*/ 949325 w 1146175"/>
                    <a:gd name="connsiteY48" fmla="*/ 1075316 h 1661098"/>
                    <a:gd name="connsiteX49" fmla="*/ 946150 w 1146175"/>
                    <a:gd name="connsiteY49" fmla="*/ 1084841 h 1661098"/>
                    <a:gd name="connsiteX50" fmla="*/ 936625 w 1146175"/>
                    <a:gd name="connsiteY50" fmla="*/ 1100716 h 1661098"/>
                    <a:gd name="connsiteX51" fmla="*/ 923925 w 1146175"/>
                    <a:gd name="connsiteY51" fmla="*/ 1135641 h 1661098"/>
                    <a:gd name="connsiteX52" fmla="*/ 917575 w 1146175"/>
                    <a:gd name="connsiteY52" fmla="*/ 1145166 h 1661098"/>
                    <a:gd name="connsiteX53" fmla="*/ 923925 w 1146175"/>
                    <a:gd name="connsiteY53" fmla="*/ 1199141 h 1661098"/>
                    <a:gd name="connsiteX54" fmla="*/ 939800 w 1146175"/>
                    <a:gd name="connsiteY54" fmla="*/ 1221366 h 1661098"/>
                    <a:gd name="connsiteX55" fmla="*/ 946150 w 1146175"/>
                    <a:gd name="connsiteY55" fmla="*/ 1234066 h 1661098"/>
                    <a:gd name="connsiteX56" fmla="*/ 952500 w 1146175"/>
                    <a:gd name="connsiteY56" fmla="*/ 1243591 h 1661098"/>
                    <a:gd name="connsiteX57" fmla="*/ 965200 w 1146175"/>
                    <a:gd name="connsiteY57" fmla="*/ 1268991 h 1661098"/>
                    <a:gd name="connsiteX58" fmla="*/ 974725 w 1146175"/>
                    <a:gd name="connsiteY58" fmla="*/ 1291216 h 1661098"/>
                    <a:gd name="connsiteX59" fmla="*/ 977900 w 1146175"/>
                    <a:gd name="connsiteY59" fmla="*/ 1303916 h 1661098"/>
                    <a:gd name="connsiteX60" fmla="*/ 981075 w 1146175"/>
                    <a:gd name="connsiteY60" fmla="*/ 1313441 h 1661098"/>
                    <a:gd name="connsiteX61" fmla="*/ 974725 w 1146175"/>
                    <a:gd name="connsiteY61" fmla="*/ 1348366 h 1661098"/>
                    <a:gd name="connsiteX62" fmla="*/ 949325 w 1146175"/>
                    <a:gd name="connsiteY62" fmla="*/ 1380116 h 1661098"/>
                    <a:gd name="connsiteX63" fmla="*/ 939800 w 1146175"/>
                    <a:gd name="connsiteY63" fmla="*/ 1386466 h 1661098"/>
                    <a:gd name="connsiteX64" fmla="*/ 930275 w 1146175"/>
                    <a:gd name="connsiteY64" fmla="*/ 1395991 h 1661098"/>
                    <a:gd name="connsiteX65" fmla="*/ 923925 w 1146175"/>
                    <a:gd name="connsiteY65" fmla="*/ 1405516 h 1661098"/>
                    <a:gd name="connsiteX66" fmla="*/ 908050 w 1146175"/>
                    <a:gd name="connsiteY66" fmla="*/ 1415041 h 1661098"/>
                    <a:gd name="connsiteX67" fmla="*/ 895350 w 1146175"/>
                    <a:gd name="connsiteY67" fmla="*/ 1427741 h 1661098"/>
                    <a:gd name="connsiteX68" fmla="*/ 882650 w 1146175"/>
                    <a:gd name="connsiteY68" fmla="*/ 1437266 h 1661098"/>
                    <a:gd name="connsiteX69" fmla="*/ 873125 w 1146175"/>
                    <a:gd name="connsiteY69" fmla="*/ 1446791 h 1661098"/>
                    <a:gd name="connsiteX70" fmla="*/ 844550 w 1146175"/>
                    <a:gd name="connsiteY70" fmla="*/ 1462666 h 1661098"/>
                    <a:gd name="connsiteX71" fmla="*/ 835025 w 1146175"/>
                    <a:gd name="connsiteY71" fmla="*/ 1465841 h 1661098"/>
                    <a:gd name="connsiteX72" fmla="*/ 815975 w 1146175"/>
                    <a:gd name="connsiteY72" fmla="*/ 1459491 h 1661098"/>
                    <a:gd name="connsiteX73" fmla="*/ 774700 w 1146175"/>
                    <a:gd name="connsiteY73" fmla="*/ 1443616 h 1661098"/>
                    <a:gd name="connsiteX74" fmla="*/ 749300 w 1146175"/>
                    <a:gd name="connsiteY74" fmla="*/ 1437266 h 1661098"/>
                    <a:gd name="connsiteX75" fmla="*/ 717550 w 1146175"/>
                    <a:gd name="connsiteY75" fmla="*/ 1424566 h 1661098"/>
                    <a:gd name="connsiteX76" fmla="*/ 688975 w 1146175"/>
                    <a:gd name="connsiteY76" fmla="*/ 1418216 h 1661098"/>
                    <a:gd name="connsiteX77" fmla="*/ 657225 w 1146175"/>
                    <a:gd name="connsiteY77" fmla="*/ 1408691 h 1661098"/>
                    <a:gd name="connsiteX78" fmla="*/ 635000 w 1146175"/>
                    <a:gd name="connsiteY78" fmla="*/ 1411866 h 1661098"/>
                    <a:gd name="connsiteX79" fmla="*/ 622300 w 1146175"/>
                    <a:gd name="connsiteY79" fmla="*/ 1418216 h 1661098"/>
                    <a:gd name="connsiteX80" fmla="*/ 606425 w 1146175"/>
                    <a:gd name="connsiteY80" fmla="*/ 1427741 h 1661098"/>
                    <a:gd name="connsiteX81" fmla="*/ 577850 w 1146175"/>
                    <a:gd name="connsiteY81" fmla="*/ 1443616 h 1661098"/>
                    <a:gd name="connsiteX82" fmla="*/ 558800 w 1146175"/>
                    <a:gd name="connsiteY82" fmla="*/ 1446791 h 1661098"/>
                    <a:gd name="connsiteX83" fmla="*/ 501650 w 1146175"/>
                    <a:gd name="connsiteY83" fmla="*/ 1453141 h 1661098"/>
                    <a:gd name="connsiteX84" fmla="*/ 492125 w 1146175"/>
                    <a:gd name="connsiteY84" fmla="*/ 1459491 h 1661098"/>
                    <a:gd name="connsiteX85" fmla="*/ 466725 w 1146175"/>
                    <a:gd name="connsiteY85" fmla="*/ 1491241 h 1661098"/>
                    <a:gd name="connsiteX86" fmla="*/ 457200 w 1146175"/>
                    <a:gd name="connsiteY86" fmla="*/ 1510291 h 1661098"/>
                    <a:gd name="connsiteX87" fmla="*/ 454025 w 1146175"/>
                    <a:gd name="connsiteY87" fmla="*/ 1519816 h 1661098"/>
                    <a:gd name="connsiteX88" fmla="*/ 447675 w 1146175"/>
                    <a:gd name="connsiteY88" fmla="*/ 1535691 h 1661098"/>
                    <a:gd name="connsiteX89" fmla="*/ 434975 w 1146175"/>
                    <a:gd name="connsiteY89" fmla="*/ 1561091 h 1661098"/>
                    <a:gd name="connsiteX90" fmla="*/ 431800 w 1146175"/>
                    <a:gd name="connsiteY90" fmla="*/ 1576966 h 1661098"/>
                    <a:gd name="connsiteX91" fmla="*/ 425450 w 1146175"/>
                    <a:gd name="connsiteY91" fmla="*/ 1602366 h 1661098"/>
                    <a:gd name="connsiteX92" fmla="*/ 422275 w 1146175"/>
                    <a:gd name="connsiteY92" fmla="*/ 1611891 h 1661098"/>
                    <a:gd name="connsiteX93" fmla="*/ 412750 w 1146175"/>
                    <a:gd name="connsiteY93" fmla="*/ 1621416 h 1661098"/>
                    <a:gd name="connsiteX94" fmla="*/ 222250 w 1146175"/>
                    <a:gd name="connsiteY94" fmla="*/ 1627766 h 1661098"/>
                    <a:gd name="connsiteX95" fmla="*/ 215900 w 1146175"/>
                    <a:gd name="connsiteY95" fmla="*/ 1611891 h 1661098"/>
                    <a:gd name="connsiteX96" fmla="*/ 206375 w 1146175"/>
                    <a:gd name="connsiteY96" fmla="*/ 1599191 h 1661098"/>
                    <a:gd name="connsiteX97" fmla="*/ 203200 w 1146175"/>
                    <a:gd name="connsiteY97" fmla="*/ 1586491 h 1661098"/>
                    <a:gd name="connsiteX98" fmla="*/ 196850 w 1146175"/>
                    <a:gd name="connsiteY98" fmla="*/ 1573791 h 1661098"/>
                    <a:gd name="connsiteX99" fmla="*/ 193675 w 1146175"/>
                    <a:gd name="connsiteY99" fmla="*/ 1564266 h 1661098"/>
                    <a:gd name="connsiteX100" fmla="*/ 187325 w 1146175"/>
                    <a:gd name="connsiteY100" fmla="*/ 1551566 h 1661098"/>
                    <a:gd name="connsiteX101" fmla="*/ 180975 w 1146175"/>
                    <a:gd name="connsiteY101" fmla="*/ 1535691 h 1661098"/>
                    <a:gd name="connsiteX102" fmla="*/ 161925 w 1146175"/>
                    <a:gd name="connsiteY102" fmla="*/ 1507116 h 1661098"/>
                    <a:gd name="connsiteX103" fmla="*/ 149225 w 1146175"/>
                    <a:gd name="connsiteY103" fmla="*/ 1484891 h 1661098"/>
                    <a:gd name="connsiteX104" fmla="*/ 142875 w 1146175"/>
                    <a:gd name="connsiteY104" fmla="*/ 1469016 h 1661098"/>
                    <a:gd name="connsiteX105" fmla="*/ 130175 w 1146175"/>
                    <a:gd name="connsiteY105" fmla="*/ 1465841 h 1661098"/>
                    <a:gd name="connsiteX106" fmla="*/ 101600 w 1146175"/>
                    <a:gd name="connsiteY106" fmla="*/ 1453141 h 1661098"/>
                    <a:gd name="connsiteX107" fmla="*/ 69850 w 1146175"/>
                    <a:gd name="connsiteY107" fmla="*/ 1443616 h 1661098"/>
                    <a:gd name="connsiteX108" fmla="*/ 41275 w 1146175"/>
                    <a:gd name="connsiteY108" fmla="*/ 1430916 h 1661098"/>
                    <a:gd name="connsiteX109" fmla="*/ 31750 w 1146175"/>
                    <a:gd name="connsiteY109" fmla="*/ 1424566 h 1661098"/>
                    <a:gd name="connsiteX110" fmla="*/ 15875 w 1146175"/>
                    <a:gd name="connsiteY110" fmla="*/ 1418216 h 1661098"/>
                    <a:gd name="connsiteX111" fmla="*/ 0 w 1146175"/>
                    <a:gd name="connsiteY11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68375 w 1146175"/>
                    <a:gd name="connsiteY23" fmla="*/ 614941 h 1661098"/>
                    <a:gd name="connsiteX24" fmla="*/ 974725 w 1146175"/>
                    <a:gd name="connsiteY24" fmla="*/ 627641 h 1661098"/>
                    <a:gd name="connsiteX25" fmla="*/ 981075 w 1146175"/>
                    <a:gd name="connsiteY25" fmla="*/ 646691 h 1661098"/>
                    <a:gd name="connsiteX26" fmla="*/ 993775 w 1146175"/>
                    <a:gd name="connsiteY26" fmla="*/ 649866 h 1661098"/>
                    <a:gd name="connsiteX27" fmla="*/ 1012825 w 1146175"/>
                    <a:gd name="connsiteY27" fmla="*/ 653041 h 1661098"/>
                    <a:gd name="connsiteX28" fmla="*/ 1041400 w 1146175"/>
                    <a:gd name="connsiteY28" fmla="*/ 665741 h 1661098"/>
                    <a:gd name="connsiteX29" fmla="*/ 1050925 w 1146175"/>
                    <a:gd name="connsiteY29" fmla="*/ 668916 h 1661098"/>
                    <a:gd name="connsiteX30" fmla="*/ 1066800 w 1146175"/>
                    <a:gd name="connsiteY30" fmla="*/ 678441 h 1661098"/>
                    <a:gd name="connsiteX31" fmla="*/ 1089025 w 1146175"/>
                    <a:gd name="connsiteY31" fmla="*/ 687966 h 1661098"/>
                    <a:gd name="connsiteX32" fmla="*/ 1117600 w 1146175"/>
                    <a:gd name="connsiteY32" fmla="*/ 707016 h 1661098"/>
                    <a:gd name="connsiteX33" fmla="*/ 1136650 w 1146175"/>
                    <a:gd name="connsiteY33" fmla="*/ 713366 h 1661098"/>
                    <a:gd name="connsiteX34" fmla="*/ 1146175 w 1146175"/>
                    <a:gd name="connsiteY34" fmla="*/ 903866 h 1661098"/>
                    <a:gd name="connsiteX35" fmla="*/ 1127125 w 1146175"/>
                    <a:gd name="connsiteY35" fmla="*/ 913391 h 1661098"/>
                    <a:gd name="connsiteX36" fmla="*/ 1101725 w 1146175"/>
                    <a:gd name="connsiteY36" fmla="*/ 919741 h 1661098"/>
                    <a:gd name="connsiteX37" fmla="*/ 1092200 w 1146175"/>
                    <a:gd name="connsiteY37" fmla="*/ 926091 h 1661098"/>
                    <a:gd name="connsiteX38" fmla="*/ 1079500 w 1146175"/>
                    <a:gd name="connsiteY38" fmla="*/ 929266 h 1661098"/>
                    <a:gd name="connsiteX39" fmla="*/ 1069975 w 1146175"/>
                    <a:gd name="connsiteY39" fmla="*/ 938791 h 1661098"/>
                    <a:gd name="connsiteX40" fmla="*/ 1060450 w 1146175"/>
                    <a:gd name="connsiteY40" fmla="*/ 945141 h 1661098"/>
                    <a:gd name="connsiteX41" fmla="*/ 1038225 w 1146175"/>
                    <a:gd name="connsiteY41" fmla="*/ 957841 h 1661098"/>
                    <a:gd name="connsiteX42" fmla="*/ 996950 w 1146175"/>
                    <a:gd name="connsiteY42" fmla="*/ 983241 h 1661098"/>
                    <a:gd name="connsiteX43" fmla="*/ 977900 w 1146175"/>
                    <a:gd name="connsiteY43" fmla="*/ 989591 h 1661098"/>
                    <a:gd name="connsiteX44" fmla="*/ 968375 w 1146175"/>
                    <a:gd name="connsiteY44" fmla="*/ 1014991 h 1661098"/>
                    <a:gd name="connsiteX45" fmla="*/ 958850 w 1146175"/>
                    <a:gd name="connsiteY45" fmla="*/ 1040391 h 1661098"/>
                    <a:gd name="connsiteX46" fmla="*/ 955675 w 1146175"/>
                    <a:gd name="connsiteY46" fmla="*/ 1065791 h 1661098"/>
                    <a:gd name="connsiteX47" fmla="*/ 949325 w 1146175"/>
                    <a:gd name="connsiteY47" fmla="*/ 1075316 h 1661098"/>
                    <a:gd name="connsiteX48" fmla="*/ 946150 w 1146175"/>
                    <a:gd name="connsiteY48" fmla="*/ 1084841 h 1661098"/>
                    <a:gd name="connsiteX49" fmla="*/ 936625 w 1146175"/>
                    <a:gd name="connsiteY49" fmla="*/ 1100716 h 1661098"/>
                    <a:gd name="connsiteX50" fmla="*/ 923925 w 1146175"/>
                    <a:gd name="connsiteY50" fmla="*/ 1135641 h 1661098"/>
                    <a:gd name="connsiteX51" fmla="*/ 917575 w 1146175"/>
                    <a:gd name="connsiteY51" fmla="*/ 1145166 h 1661098"/>
                    <a:gd name="connsiteX52" fmla="*/ 923925 w 1146175"/>
                    <a:gd name="connsiteY52" fmla="*/ 1199141 h 1661098"/>
                    <a:gd name="connsiteX53" fmla="*/ 939800 w 1146175"/>
                    <a:gd name="connsiteY53" fmla="*/ 1221366 h 1661098"/>
                    <a:gd name="connsiteX54" fmla="*/ 946150 w 1146175"/>
                    <a:gd name="connsiteY54" fmla="*/ 1234066 h 1661098"/>
                    <a:gd name="connsiteX55" fmla="*/ 952500 w 1146175"/>
                    <a:gd name="connsiteY55" fmla="*/ 1243591 h 1661098"/>
                    <a:gd name="connsiteX56" fmla="*/ 965200 w 1146175"/>
                    <a:gd name="connsiteY56" fmla="*/ 1268991 h 1661098"/>
                    <a:gd name="connsiteX57" fmla="*/ 974725 w 1146175"/>
                    <a:gd name="connsiteY57" fmla="*/ 1291216 h 1661098"/>
                    <a:gd name="connsiteX58" fmla="*/ 977900 w 1146175"/>
                    <a:gd name="connsiteY58" fmla="*/ 1303916 h 1661098"/>
                    <a:gd name="connsiteX59" fmla="*/ 981075 w 1146175"/>
                    <a:gd name="connsiteY59" fmla="*/ 1313441 h 1661098"/>
                    <a:gd name="connsiteX60" fmla="*/ 974725 w 1146175"/>
                    <a:gd name="connsiteY60" fmla="*/ 1348366 h 1661098"/>
                    <a:gd name="connsiteX61" fmla="*/ 949325 w 1146175"/>
                    <a:gd name="connsiteY61" fmla="*/ 1380116 h 1661098"/>
                    <a:gd name="connsiteX62" fmla="*/ 939800 w 1146175"/>
                    <a:gd name="connsiteY62" fmla="*/ 1386466 h 1661098"/>
                    <a:gd name="connsiteX63" fmla="*/ 930275 w 1146175"/>
                    <a:gd name="connsiteY63" fmla="*/ 1395991 h 1661098"/>
                    <a:gd name="connsiteX64" fmla="*/ 923925 w 1146175"/>
                    <a:gd name="connsiteY64" fmla="*/ 1405516 h 1661098"/>
                    <a:gd name="connsiteX65" fmla="*/ 908050 w 1146175"/>
                    <a:gd name="connsiteY65" fmla="*/ 1415041 h 1661098"/>
                    <a:gd name="connsiteX66" fmla="*/ 895350 w 1146175"/>
                    <a:gd name="connsiteY66" fmla="*/ 1427741 h 1661098"/>
                    <a:gd name="connsiteX67" fmla="*/ 882650 w 1146175"/>
                    <a:gd name="connsiteY67" fmla="*/ 1437266 h 1661098"/>
                    <a:gd name="connsiteX68" fmla="*/ 873125 w 1146175"/>
                    <a:gd name="connsiteY68" fmla="*/ 1446791 h 1661098"/>
                    <a:gd name="connsiteX69" fmla="*/ 844550 w 1146175"/>
                    <a:gd name="connsiteY69" fmla="*/ 1462666 h 1661098"/>
                    <a:gd name="connsiteX70" fmla="*/ 835025 w 1146175"/>
                    <a:gd name="connsiteY70" fmla="*/ 1465841 h 1661098"/>
                    <a:gd name="connsiteX71" fmla="*/ 815975 w 1146175"/>
                    <a:gd name="connsiteY71" fmla="*/ 1459491 h 1661098"/>
                    <a:gd name="connsiteX72" fmla="*/ 774700 w 1146175"/>
                    <a:gd name="connsiteY72" fmla="*/ 1443616 h 1661098"/>
                    <a:gd name="connsiteX73" fmla="*/ 749300 w 1146175"/>
                    <a:gd name="connsiteY73" fmla="*/ 1437266 h 1661098"/>
                    <a:gd name="connsiteX74" fmla="*/ 717550 w 1146175"/>
                    <a:gd name="connsiteY74" fmla="*/ 1424566 h 1661098"/>
                    <a:gd name="connsiteX75" fmla="*/ 688975 w 1146175"/>
                    <a:gd name="connsiteY75" fmla="*/ 1418216 h 1661098"/>
                    <a:gd name="connsiteX76" fmla="*/ 657225 w 1146175"/>
                    <a:gd name="connsiteY76" fmla="*/ 1408691 h 1661098"/>
                    <a:gd name="connsiteX77" fmla="*/ 635000 w 1146175"/>
                    <a:gd name="connsiteY77" fmla="*/ 1411866 h 1661098"/>
                    <a:gd name="connsiteX78" fmla="*/ 622300 w 1146175"/>
                    <a:gd name="connsiteY78" fmla="*/ 1418216 h 1661098"/>
                    <a:gd name="connsiteX79" fmla="*/ 606425 w 1146175"/>
                    <a:gd name="connsiteY79" fmla="*/ 1427741 h 1661098"/>
                    <a:gd name="connsiteX80" fmla="*/ 577850 w 1146175"/>
                    <a:gd name="connsiteY80" fmla="*/ 1443616 h 1661098"/>
                    <a:gd name="connsiteX81" fmla="*/ 558800 w 1146175"/>
                    <a:gd name="connsiteY81" fmla="*/ 1446791 h 1661098"/>
                    <a:gd name="connsiteX82" fmla="*/ 501650 w 1146175"/>
                    <a:gd name="connsiteY82" fmla="*/ 1453141 h 1661098"/>
                    <a:gd name="connsiteX83" fmla="*/ 492125 w 1146175"/>
                    <a:gd name="connsiteY83" fmla="*/ 1459491 h 1661098"/>
                    <a:gd name="connsiteX84" fmla="*/ 466725 w 1146175"/>
                    <a:gd name="connsiteY84" fmla="*/ 1491241 h 1661098"/>
                    <a:gd name="connsiteX85" fmla="*/ 457200 w 1146175"/>
                    <a:gd name="connsiteY85" fmla="*/ 1510291 h 1661098"/>
                    <a:gd name="connsiteX86" fmla="*/ 454025 w 1146175"/>
                    <a:gd name="connsiteY86" fmla="*/ 1519816 h 1661098"/>
                    <a:gd name="connsiteX87" fmla="*/ 447675 w 1146175"/>
                    <a:gd name="connsiteY87" fmla="*/ 1535691 h 1661098"/>
                    <a:gd name="connsiteX88" fmla="*/ 434975 w 1146175"/>
                    <a:gd name="connsiteY88" fmla="*/ 1561091 h 1661098"/>
                    <a:gd name="connsiteX89" fmla="*/ 431800 w 1146175"/>
                    <a:gd name="connsiteY89" fmla="*/ 1576966 h 1661098"/>
                    <a:gd name="connsiteX90" fmla="*/ 425450 w 1146175"/>
                    <a:gd name="connsiteY90" fmla="*/ 1602366 h 1661098"/>
                    <a:gd name="connsiteX91" fmla="*/ 422275 w 1146175"/>
                    <a:gd name="connsiteY91" fmla="*/ 1611891 h 1661098"/>
                    <a:gd name="connsiteX92" fmla="*/ 412750 w 1146175"/>
                    <a:gd name="connsiteY92" fmla="*/ 1621416 h 1661098"/>
                    <a:gd name="connsiteX93" fmla="*/ 222250 w 1146175"/>
                    <a:gd name="connsiteY93" fmla="*/ 1627766 h 1661098"/>
                    <a:gd name="connsiteX94" fmla="*/ 215900 w 1146175"/>
                    <a:gd name="connsiteY94" fmla="*/ 1611891 h 1661098"/>
                    <a:gd name="connsiteX95" fmla="*/ 206375 w 1146175"/>
                    <a:gd name="connsiteY95" fmla="*/ 1599191 h 1661098"/>
                    <a:gd name="connsiteX96" fmla="*/ 203200 w 1146175"/>
                    <a:gd name="connsiteY96" fmla="*/ 1586491 h 1661098"/>
                    <a:gd name="connsiteX97" fmla="*/ 196850 w 1146175"/>
                    <a:gd name="connsiteY97" fmla="*/ 1573791 h 1661098"/>
                    <a:gd name="connsiteX98" fmla="*/ 193675 w 1146175"/>
                    <a:gd name="connsiteY98" fmla="*/ 1564266 h 1661098"/>
                    <a:gd name="connsiteX99" fmla="*/ 187325 w 1146175"/>
                    <a:gd name="connsiteY99" fmla="*/ 1551566 h 1661098"/>
                    <a:gd name="connsiteX100" fmla="*/ 180975 w 1146175"/>
                    <a:gd name="connsiteY100" fmla="*/ 1535691 h 1661098"/>
                    <a:gd name="connsiteX101" fmla="*/ 161925 w 1146175"/>
                    <a:gd name="connsiteY101" fmla="*/ 1507116 h 1661098"/>
                    <a:gd name="connsiteX102" fmla="*/ 149225 w 1146175"/>
                    <a:gd name="connsiteY102" fmla="*/ 1484891 h 1661098"/>
                    <a:gd name="connsiteX103" fmla="*/ 142875 w 1146175"/>
                    <a:gd name="connsiteY103" fmla="*/ 1469016 h 1661098"/>
                    <a:gd name="connsiteX104" fmla="*/ 130175 w 1146175"/>
                    <a:gd name="connsiteY104" fmla="*/ 1465841 h 1661098"/>
                    <a:gd name="connsiteX105" fmla="*/ 101600 w 1146175"/>
                    <a:gd name="connsiteY105" fmla="*/ 1453141 h 1661098"/>
                    <a:gd name="connsiteX106" fmla="*/ 69850 w 1146175"/>
                    <a:gd name="connsiteY106" fmla="*/ 1443616 h 1661098"/>
                    <a:gd name="connsiteX107" fmla="*/ 41275 w 1146175"/>
                    <a:gd name="connsiteY107" fmla="*/ 1430916 h 1661098"/>
                    <a:gd name="connsiteX108" fmla="*/ 31750 w 1146175"/>
                    <a:gd name="connsiteY108" fmla="*/ 1424566 h 1661098"/>
                    <a:gd name="connsiteX109" fmla="*/ 15875 w 1146175"/>
                    <a:gd name="connsiteY109" fmla="*/ 1418216 h 1661098"/>
                    <a:gd name="connsiteX110" fmla="*/ 0 w 1146175"/>
                    <a:gd name="connsiteY11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12825 w 1146175"/>
                    <a:gd name="connsiteY26" fmla="*/ 653041 h 1661098"/>
                    <a:gd name="connsiteX27" fmla="*/ 1041400 w 1146175"/>
                    <a:gd name="connsiteY27" fmla="*/ 665741 h 1661098"/>
                    <a:gd name="connsiteX28" fmla="*/ 1050925 w 1146175"/>
                    <a:gd name="connsiteY28" fmla="*/ 668916 h 1661098"/>
                    <a:gd name="connsiteX29" fmla="*/ 1066800 w 1146175"/>
                    <a:gd name="connsiteY29" fmla="*/ 678441 h 1661098"/>
                    <a:gd name="connsiteX30" fmla="*/ 1089025 w 1146175"/>
                    <a:gd name="connsiteY30" fmla="*/ 687966 h 1661098"/>
                    <a:gd name="connsiteX31" fmla="*/ 1117600 w 1146175"/>
                    <a:gd name="connsiteY31" fmla="*/ 707016 h 1661098"/>
                    <a:gd name="connsiteX32" fmla="*/ 1136650 w 1146175"/>
                    <a:gd name="connsiteY32" fmla="*/ 713366 h 1661098"/>
                    <a:gd name="connsiteX33" fmla="*/ 1146175 w 1146175"/>
                    <a:gd name="connsiteY33" fmla="*/ 903866 h 1661098"/>
                    <a:gd name="connsiteX34" fmla="*/ 1127125 w 1146175"/>
                    <a:gd name="connsiteY34" fmla="*/ 913391 h 1661098"/>
                    <a:gd name="connsiteX35" fmla="*/ 1101725 w 1146175"/>
                    <a:gd name="connsiteY35" fmla="*/ 919741 h 1661098"/>
                    <a:gd name="connsiteX36" fmla="*/ 1092200 w 1146175"/>
                    <a:gd name="connsiteY36" fmla="*/ 926091 h 1661098"/>
                    <a:gd name="connsiteX37" fmla="*/ 1079500 w 1146175"/>
                    <a:gd name="connsiteY37" fmla="*/ 929266 h 1661098"/>
                    <a:gd name="connsiteX38" fmla="*/ 1069975 w 1146175"/>
                    <a:gd name="connsiteY38" fmla="*/ 938791 h 1661098"/>
                    <a:gd name="connsiteX39" fmla="*/ 1060450 w 1146175"/>
                    <a:gd name="connsiteY39" fmla="*/ 945141 h 1661098"/>
                    <a:gd name="connsiteX40" fmla="*/ 1038225 w 1146175"/>
                    <a:gd name="connsiteY40" fmla="*/ 957841 h 1661098"/>
                    <a:gd name="connsiteX41" fmla="*/ 996950 w 1146175"/>
                    <a:gd name="connsiteY41" fmla="*/ 983241 h 1661098"/>
                    <a:gd name="connsiteX42" fmla="*/ 977900 w 1146175"/>
                    <a:gd name="connsiteY42" fmla="*/ 989591 h 1661098"/>
                    <a:gd name="connsiteX43" fmla="*/ 968375 w 1146175"/>
                    <a:gd name="connsiteY43" fmla="*/ 1014991 h 1661098"/>
                    <a:gd name="connsiteX44" fmla="*/ 958850 w 1146175"/>
                    <a:gd name="connsiteY44" fmla="*/ 1040391 h 1661098"/>
                    <a:gd name="connsiteX45" fmla="*/ 955675 w 1146175"/>
                    <a:gd name="connsiteY45" fmla="*/ 1065791 h 1661098"/>
                    <a:gd name="connsiteX46" fmla="*/ 949325 w 1146175"/>
                    <a:gd name="connsiteY46" fmla="*/ 1075316 h 1661098"/>
                    <a:gd name="connsiteX47" fmla="*/ 946150 w 1146175"/>
                    <a:gd name="connsiteY47" fmla="*/ 1084841 h 1661098"/>
                    <a:gd name="connsiteX48" fmla="*/ 936625 w 1146175"/>
                    <a:gd name="connsiteY48" fmla="*/ 1100716 h 1661098"/>
                    <a:gd name="connsiteX49" fmla="*/ 923925 w 1146175"/>
                    <a:gd name="connsiteY49" fmla="*/ 1135641 h 1661098"/>
                    <a:gd name="connsiteX50" fmla="*/ 917575 w 1146175"/>
                    <a:gd name="connsiteY50" fmla="*/ 1145166 h 1661098"/>
                    <a:gd name="connsiteX51" fmla="*/ 923925 w 1146175"/>
                    <a:gd name="connsiteY51" fmla="*/ 1199141 h 1661098"/>
                    <a:gd name="connsiteX52" fmla="*/ 939800 w 1146175"/>
                    <a:gd name="connsiteY52" fmla="*/ 1221366 h 1661098"/>
                    <a:gd name="connsiteX53" fmla="*/ 946150 w 1146175"/>
                    <a:gd name="connsiteY53" fmla="*/ 1234066 h 1661098"/>
                    <a:gd name="connsiteX54" fmla="*/ 952500 w 1146175"/>
                    <a:gd name="connsiteY54" fmla="*/ 1243591 h 1661098"/>
                    <a:gd name="connsiteX55" fmla="*/ 965200 w 1146175"/>
                    <a:gd name="connsiteY55" fmla="*/ 1268991 h 1661098"/>
                    <a:gd name="connsiteX56" fmla="*/ 974725 w 1146175"/>
                    <a:gd name="connsiteY56" fmla="*/ 1291216 h 1661098"/>
                    <a:gd name="connsiteX57" fmla="*/ 977900 w 1146175"/>
                    <a:gd name="connsiteY57" fmla="*/ 1303916 h 1661098"/>
                    <a:gd name="connsiteX58" fmla="*/ 981075 w 1146175"/>
                    <a:gd name="connsiteY58" fmla="*/ 1313441 h 1661098"/>
                    <a:gd name="connsiteX59" fmla="*/ 974725 w 1146175"/>
                    <a:gd name="connsiteY59" fmla="*/ 1348366 h 1661098"/>
                    <a:gd name="connsiteX60" fmla="*/ 949325 w 1146175"/>
                    <a:gd name="connsiteY60" fmla="*/ 1380116 h 1661098"/>
                    <a:gd name="connsiteX61" fmla="*/ 939800 w 1146175"/>
                    <a:gd name="connsiteY61" fmla="*/ 1386466 h 1661098"/>
                    <a:gd name="connsiteX62" fmla="*/ 930275 w 1146175"/>
                    <a:gd name="connsiteY62" fmla="*/ 1395991 h 1661098"/>
                    <a:gd name="connsiteX63" fmla="*/ 923925 w 1146175"/>
                    <a:gd name="connsiteY63" fmla="*/ 1405516 h 1661098"/>
                    <a:gd name="connsiteX64" fmla="*/ 908050 w 1146175"/>
                    <a:gd name="connsiteY64" fmla="*/ 1415041 h 1661098"/>
                    <a:gd name="connsiteX65" fmla="*/ 895350 w 1146175"/>
                    <a:gd name="connsiteY65" fmla="*/ 1427741 h 1661098"/>
                    <a:gd name="connsiteX66" fmla="*/ 882650 w 1146175"/>
                    <a:gd name="connsiteY66" fmla="*/ 1437266 h 1661098"/>
                    <a:gd name="connsiteX67" fmla="*/ 873125 w 1146175"/>
                    <a:gd name="connsiteY67" fmla="*/ 1446791 h 1661098"/>
                    <a:gd name="connsiteX68" fmla="*/ 844550 w 1146175"/>
                    <a:gd name="connsiteY68" fmla="*/ 1462666 h 1661098"/>
                    <a:gd name="connsiteX69" fmla="*/ 835025 w 1146175"/>
                    <a:gd name="connsiteY69" fmla="*/ 1465841 h 1661098"/>
                    <a:gd name="connsiteX70" fmla="*/ 815975 w 1146175"/>
                    <a:gd name="connsiteY70" fmla="*/ 1459491 h 1661098"/>
                    <a:gd name="connsiteX71" fmla="*/ 774700 w 1146175"/>
                    <a:gd name="connsiteY71" fmla="*/ 1443616 h 1661098"/>
                    <a:gd name="connsiteX72" fmla="*/ 749300 w 1146175"/>
                    <a:gd name="connsiteY72" fmla="*/ 1437266 h 1661098"/>
                    <a:gd name="connsiteX73" fmla="*/ 717550 w 1146175"/>
                    <a:gd name="connsiteY73" fmla="*/ 1424566 h 1661098"/>
                    <a:gd name="connsiteX74" fmla="*/ 688975 w 1146175"/>
                    <a:gd name="connsiteY74" fmla="*/ 1418216 h 1661098"/>
                    <a:gd name="connsiteX75" fmla="*/ 657225 w 1146175"/>
                    <a:gd name="connsiteY75" fmla="*/ 1408691 h 1661098"/>
                    <a:gd name="connsiteX76" fmla="*/ 635000 w 1146175"/>
                    <a:gd name="connsiteY76" fmla="*/ 1411866 h 1661098"/>
                    <a:gd name="connsiteX77" fmla="*/ 622300 w 1146175"/>
                    <a:gd name="connsiteY77" fmla="*/ 1418216 h 1661098"/>
                    <a:gd name="connsiteX78" fmla="*/ 606425 w 1146175"/>
                    <a:gd name="connsiteY78" fmla="*/ 1427741 h 1661098"/>
                    <a:gd name="connsiteX79" fmla="*/ 577850 w 1146175"/>
                    <a:gd name="connsiteY79" fmla="*/ 1443616 h 1661098"/>
                    <a:gd name="connsiteX80" fmla="*/ 558800 w 1146175"/>
                    <a:gd name="connsiteY80" fmla="*/ 1446791 h 1661098"/>
                    <a:gd name="connsiteX81" fmla="*/ 501650 w 1146175"/>
                    <a:gd name="connsiteY81" fmla="*/ 1453141 h 1661098"/>
                    <a:gd name="connsiteX82" fmla="*/ 492125 w 1146175"/>
                    <a:gd name="connsiteY82" fmla="*/ 1459491 h 1661098"/>
                    <a:gd name="connsiteX83" fmla="*/ 466725 w 1146175"/>
                    <a:gd name="connsiteY83" fmla="*/ 1491241 h 1661098"/>
                    <a:gd name="connsiteX84" fmla="*/ 457200 w 1146175"/>
                    <a:gd name="connsiteY84" fmla="*/ 1510291 h 1661098"/>
                    <a:gd name="connsiteX85" fmla="*/ 454025 w 1146175"/>
                    <a:gd name="connsiteY85" fmla="*/ 1519816 h 1661098"/>
                    <a:gd name="connsiteX86" fmla="*/ 447675 w 1146175"/>
                    <a:gd name="connsiteY86" fmla="*/ 1535691 h 1661098"/>
                    <a:gd name="connsiteX87" fmla="*/ 434975 w 1146175"/>
                    <a:gd name="connsiteY87" fmla="*/ 1561091 h 1661098"/>
                    <a:gd name="connsiteX88" fmla="*/ 431800 w 1146175"/>
                    <a:gd name="connsiteY88" fmla="*/ 1576966 h 1661098"/>
                    <a:gd name="connsiteX89" fmla="*/ 425450 w 1146175"/>
                    <a:gd name="connsiteY89" fmla="*/ 1602366 h 1661098"/>
                    <a:gd name="connsiteX90" fmla="*/ 422275 w 1146175"/>
                    <a:gd name="connsiteY90" fmla="*/ 1611891 h 1661098"/>
                    <a:gd name="connsiteX91" fmla="*/ 412750 w 1146175"/>
                    <a:gd name="connsiteY91" fmla="*/ 1621416 h 1661098"/>
                    <a:gd name="connsiteX92" fmla="*/ 222250 w 1146175"/>
                    <a:gd name="connsiteY92" fmla="*/ 1627766 h 1661098"/>
                    <a:gd name="connsiteX93" fmla="*/ 215900 w 1146175"/>
                    <a:gd name="connsiteY93" fmla="*/ 1611891 h 1661098"/>
                    <a:gd name="connsiteX94" fmla="*/ 206375 w 1146175"/>
                    <a:gd name="connsiteY94" fmla="*/ 1599191 h 1661098"/>
                    <a:gd name="connsiteX95" fmla="*/ 203200 w 1146175"/>
                    <a:gd name="connsiteY95" fmla="*/ 1586491 h 1661098"/>
                    <a:gd name="connsiteX96" fmla="*/ 196850 w 1146175"/>
                    <a:gd name="connsiteY96" fmla="*/ 1573791 h 1661098"/>
                    <a:gd name="connsiteX97" fmla="*/ 193675 w 1146175"/>
                    <a:gd name="connsiteY97" fmla="*/ 1564266 h 1661098"/>
                    <a:gd name="connsiteX98" fmla="*/ 187325 w 1146175"/>
                    <a:gd name="connsiteY98" fmla="*/ 1551566 h 1661098"/>
                    <a:gd name="connsiteX99" fmla="*/ 180975 w 1146175"/>
                    <a:gd name="connsiteY99" fmla="*/ 1535691 h 1661098"/>
                    <a:gd name="connsiteX100" fmla="*/ 161925 w 1146175"/>
                    <a:gd name="connsiteY100" fmla="*/ 1507116 h 1661098"/>
                    <a:gd name="connsiteX101" fmla="*/ 149225 w 1146175"/>
                    <a:gd name="connsiteY101" fmla="*/ 1484891 h 1661098"/>
                    <a:gd name="connsiteX102" fmla="*/ 142875 w 1146175"/>
                    <a:gd name="connsiteY102" fmla="*/ 1469016 h 1661098"/>
                    <a:gd name="connsiteX103" fmla="*/ 130175 w 1146175"/>
                    <a:gd name="connsiteY103" fmla="*/ 1465841 h 1661098"/>
                    <a:gd name="connsiteX104" fmla="*/ 101600 w 1146175"/>
                    <a:gd name="connsiteY104" fmla="*/ 1453141 h 1661098"/>
                    <a:gd name="connsiteX105" fmla="*/ 69850 w 1146175"/>
                    <a:gd name="connsiteY105" fmla="*/ 1443616 h 1661098"/>
                    <a:gd name="connsiteX106" fmla="*/ 41275 w 1146175"/>
                    <a:gd name="connsiteY106" fmla="*/ 1430916 h 1661098"/>
                    <a:gd name="connsiteX107" fmla="*/ 31750 w 1146175"/>
                    <a:gd name="connsiteY107" fmla="*/ 1424566 h 1661098"/>
                    <a:gd name="connsiteX108" fmla="*/ 15875 w 1146175"/>
                    <a:gd name="connsiteY108" fmla="*/ 1418216 h 1661098"/>
                    <a:gd name="connsiteX109" fmla="*/ 0 w 1146175"/>
                    <a:gd name="connsiteY10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066800 w 1146175"/>
                    <a:gd name="connsiteY28" fmla="*/ 678441 h 1661098"/>
                    <a:gd name="connsiteX29" fmla="*/ 1089025 w 1146175"/>
                    <a:gd name="connsiteY29" fmla="*/ 687966 h 1661098"/>
                    <a:gd name="connsiteX30" fmla="*/ 1117600 w 1146175"/>
                    <a:gd name="connsiteY30" fmla="*/ 707016 h 1661098"/>
                    <a:gd name="connsiteX31" fmla="*/ 1136650 w 1146175"/>
                    <a:gd name="connsiteY31" fmla="*/ 713366 h 1661098"/>
                    <a:gd name="connsiteX32" fmla="*/ 1146175 w 1146175"/>
                    <a:gd name="connsiteY32" fmla="*/ 903866 h 1661098"/>
                    <a:gd name="connsiteX33" fmla="*/ 1127125 w 1146175"/>
                    <a:gd name="connsiteY33" fmla="*/ 913391 h 1661098"/>
                    <a:gd name="connsiteX34" fmla="*/ 1101725 w 1146175"/>
                    <a:gd name="connsiteY34" fmla="*/ 919741 h 1661098"/>
                    <a:gd name="connsiteX35" fmla="*/ 1092200 w 1146175"/>
                    <a:gd name="connsiteY35" fmla="*/ 926091 h 1661098"/>
                    <a:gd name="connsiteX36" fmla="*/ 1079500 w 1146175"/>
                    <a:gd name="connsiteY36" fmla="*/ 929266 h 1661098"/>
                    <a:gd name="connsiteX37" fmla="*/ 1069975 w 1146175"/>
                    <a:gd name="connsiteY37" fmla="*/ 938791 h 1661098"/>
                    <a:gd name="connsiteX38" fmla="*/ 1060450 w 1146175"/>
                    <a:gd name="connsiteY38" fmla="*/ 945141 h 1661098"/>
                    <a:gd name="connsiteX39" fmla="*/ 1038225 w 1146175"/>
                    <a:gd name="connsiteY39" fmla="*/ 957841 h 1661098"/>
                    <a:gd name="connsiteX40" fmla="*/ 996950 w 1146175"/>
                    <a:gd name="connsiteY40" fmla="*/ 983241 h 1661098"/>
                    <a:gd name="connsiteX41" fmla="*/ 977900 w 1146175"/>
                    <a:gd name="connsiteY41" fmla="*/ 989591 h 1661098"/>
                    <a:gd name="connsiteX42" fmla="*/ 968375 w 1146175"/>
                    <a:gd name="connsiteY42" fmla="*/ 1014991 h 1661098"/>
                    <a:gd name="connsiteX43" fmla="*/ 958850 w 1146175"/>
                    <a:gd name="connsiteY43" fmla="*/ 1040391 h 1661098"/>
                    <a:gd name="connsiteX44" fmla="*/ 955675 w 1146175"/>
                    <a:gd name="connsiteY44" fmla="*/ 1065791 h 1661098"/>
                    <a:gd name="connsiteX45" fmla="*/ 949325 w 1146175"/>
                    <a:gd name="connsiteY45" fmla="*/ 1075316 h 1661098"/>
                    <a:gd name="connsiteX46" fmla="*/ 946150 w 1146175"/>
                    <a:gd name="connsiteY46" fmla="*/ 1084841 h 1661098"/>
                    <a:gd name="connsiteX47" fmla="*/ 936625 w 1146175"/>
                    <a:gd name="connsiteY47" fmla="*/ 1100716 h 1661098"/>
                    <a:gd name="connsiteX48" fmla="*/ 923925 w 1146175"/>
                    <a:gd name="connsiteY48" fmla="*/ 1135641 h 1661098"/>
                    <a:gd name="connsiteX49" fmla="*/ 917575 w 1146175"/>
                    <a:gd name="connsiteY49" fmla="*/ 1145166 h 1661098"/>
                    <a:gd name="connsiteX50" fmla="*/ 923925 w 1146175"/>
                    <a:gd name="connsiteY50" fmla="*/ 1199141 h 1661098"/>
                    <a:gd name="connsiteX51" fmla="*/ 939800 w 1146175"/>
                    <a:gd name="connsiteY51" fmla="*/ 1221366 h 1661098"/>
                    <a:gd name="connsiteX52" fmla="*/ 946150 w 1146175"/>
                    <a:gd name="connsiteY52" fmla="*/ 1234066 h 1661098"/>
                    <a:gd name="connsiteX53" fmla="*/ 952500 w 1146175"/>
                    <a:gd name="connsiteY53" fmla="*/ 1243591 h 1661098"/>
                    <a:gd name="connsiteX54" fmla="*/ 965200 w 1146175"/>
                    <a:gd name="connsiteY54" fmla="*/ 1268991 h 1661098"/>
                    <a:gd name="connsiteX55" fmla="*/ 974725 w 1146175"/>
                    <a:gd name="connsiteY55" fmla="*/ 1291216 h 1661098"/>
                    <a:gd name="connsiteX56" fmla="*/ 977900 w 1146175"/>
                    <a:gd name="connsiteY56" fmla="*/ 1303916 h 1661098"/>
                    <a:gd name="connsiteX57" fmla="*/ 981075 w 1146175"/>
                    <a:gd name="connsiteY57" fmla="*/ 1313441 h 1661098"/>
                    <a:gd name="connsiteX58" fmla="*/ 974725 w 1146175"/>
                    <a:gd name="connsiteY58" fmla="*/ 1348366 h 1661098"/>
                    <a:gd name="connsiteX59" fmla="*/ 949325 w 1146175"/>
                    <a:gd name="connsiteY59" fmla="*/ 1380116 h 1661098"/>
                    <a:gd name="connsiteX60" fmla="*/ 939800 w 1146175"/>
                    <a:gd name="connsiteY60" fmla="*/ 1386466 h 1661098"/>
                    <a:gd name="connsiteX61" fmla="*/ 930275 w 1146175"/>
                    <a:gd name="connsiteY61" fmla="*/ 1395991 h 1661098"/>
                    <a:gd name="connsiteX62" fmla="*/ 923925 w 1146175"/>
                    <a:gd name="connsiteY62" fmla="*/ 1405516 h 1661098"/>
                    <a:gd name="connsiteX63" fmla="*/ 908050 w 1146175"/>
                    <a:gd name="connsiteY63" fmla="*/ 1415041 h 1661098"/>
                    <a:gd name="connsiteX64" fmla="*/ 895350 w 1146175"/>
                    <a:gd name="connsiteY64" fmla="*/ 1427741 h 1661098"/>
                    <a:gd name="connsiteX65" fmla="*/ 882650 w 1146175"/>
                    <a:gd name="connsiteY65" fmla="*/ 1437266 h 1661098"/>
                    <a:gd name="connsiteX66" fmla="*/ 873125 w 1146175"/>
                    <a:gd name="connsiteY66" fmla="*/ 1446791 h 1661098"/>
                    <a:gd name="connsiteX67" fmla="*/ 844550 w 1146175"/>
                    <a:gd name="connsiteY67" fmla="*/ 1462666 h 1661098"/>
                    <a:gd name="connsiteX68" fmla="*/ 835025 w 1146175"/>
                    <a:gd name="connsiteY68" fmla="*/ 1465841 h 1661098"/>
                    <a:gd name="connsiteX69" fmla="*/ 815975 w 1146175"/>
                    <a:gd name="connsiteY69" fmla="*/ 1459491 h 1661098"/>
                    <a:gd name="connsiteX70" fmla="*/ 774700 w 1146175"/>
                    <a:gd name="connsiteY70" fmla="*/ 1443616 h 1661098"/>
                    <a:gd name="connsiteX71" fmla="*/ 749300 w 1146175"/>
                    <a:gd name="connsiteY71" fmla="*/ 1437266 h 1661098"/>
                    <a:gd name="connsiteX72" fmla="*/ 717550 w 1146175"/>
                    <a:gd name="connsiteY72" fmla="*/ 1424566 h 1661098"/>
                    <a:gd name="connsiteX73" fmla="*/ 688975 w 1146175"/>
                    <a:gd name="connsiteY73" fmla="*/ 1418216 h 1661098"/>
                    <a:gd name="connsiteX74" fmla="*/ 657225 w 1146175"/>
                    <a:gd name="connsiteY74" fmla="*/ 1408691 h 1661098"/>
                    <a:gd name="connsiteX75" fmla="*/ 635000 w 1146175"/>
                    <a:gd name="connsiteY75" fmla="*/ 1411866 h 1661098"/>
                    <a:gd name="connsiteX76" fmla="*/ 622300 w 1146175"/>
                    <a:gd name="connsiteY76" fmla="*/ 1418216 h 1661098"/>
                    <a:gd name="connsiteX77" fmla="*/ 606425 w 1146175"/>
                    <a:gd name="connsiteY77" fmla="*/ 1427741 h 1661098"/>
                    <a:gd name="connsiteX78" fmla="*/ 577850 w 1146175"/>
                    <a:gd name="connsiteY78" fmla="*/ 1443616 h 1661098"/>
                    <a:gd name="connsiteX79" fmla="*/ 558800 w 1146175"/>
                    <a:gd name="connsiteY79" fmla="*/ 1446791 h 1661098"/>
                    <a:gd name="connsiteX80" fmla="*/ 501650 w 1146175"/>
                    <a:gd name="connsiteY80" fmla="*/ 1453141 h 1661098"/>
                    <a:gd name="connsiteX81" fmla="*/ 492125 w 1146175"/>
                    <a:gd name="connsiteY81" fmla="*/ 1459491 h 1661098"/>
                    <a:gd name="connsiteX82" fmla="*/ 466725 w 1146175"/>
                    <a:gd name="connsiteY82" fmla="*/ 1491241 h 1661098"/>
                    <a:gd name="connsiteX83" fmla="*/ 457200 w 1146175"/>
                    <a:gd name="connsiteY83" fmla="*/ 1510291 h 1661098"/>
                    <a:gd name="connsiteX84" fmla="*/ 454025 w 1146175"/>
                    <a:gd name="connsiteY84" fmla="*/ 1519816 h 1661098"/>
                    <a:gd name="connsiteX85" fmla="*/ 447675 w 1146175"/>
                    <a:gd name="connsiteY85" fmla="*/ 1535691 h 1661098"/>
                    <a:gd name="connsiteX86" fmla="*/ 434975 w 1146175"/>
                    <a:gd name="connsiteY86" fmla="*/ 1561091 h 1661098"/>
                    <a:gd name="connsiteX87" fmla="*/ 431800 w 1146175"/>
                    <a:gd name="connsiteY87" fmla="*/ 1576966 h 1661098"/>
                    <a:gd name="connsiteX88" fmla="*/ 425450 w 1146175"/>
                    <a:gd name="connsiteY88" fmla="*/ 1602366 h 1661098"/>
                    <a:gd name="connsiteX89" fmla="*/ 422275 w 1146175"/>
                    <a:gd name="connsiteY89" fmla="*/ 1611891 h 1661098"/>
                    <a:gd name="connsiteX90" fmla="*/ 412750 w 1146175"/>
                    <a:gd name="connsiteY90" fmla="*/ 1621416 h 1661098"/>
                    <a:gd name="connsiteX91" fmla="*/ 222250 w 1146175"/>
                    <a:gd name="connsiteY91" fmla="*/ 1627766 h 1661098"/>
                    <a:gd name="connsiteX92" fmla="*/ 215900 w 1146175"/>
                    <a:gd name="connsiteY92" fmla="*/ 1611891 h 1661098"/>
                    <a:gd name="connsiteX93" fmla="*/ 206375 w 1146175"/>
                    <a:gd name="connsiteY93" fmla="*/ 1599191 h 1661098"/>
                    <a:gd name="connsiteX94" fmla="*/ 203200 w 1146175"/>
                    <a:gd name="connsiteY94" fmla="*/ 1586491 h 1661098"/>
                    <a:gd name="connsiteX95" fmla="*/ 196850 w 1146175"/>
                    <a:gd name="connsiteY95" fmla="*/ 1573791 h 1661098"/>
                    <a:gd name="connsiteX96" fmla="*/ 193675 w 1146175"/>
                    <a:gd name="connsiteY96" fmla="*/ 1564266 h 1661098"/>
                    <a:gd name="connsiteX97" fmla="*/ 187325 w 1146175"/>
                    <a:gd name="connsiteY97" fmla="*/ 1551566 h 1661098"/>
                    <a:gd name="connsiteX98" fmla="*/ 180975 w 1146175"/>
                    <a:gd name="connsiteY98" fmla="*/ 1535691 h 1661098"/>
                    <a:gd name="connsiteX99" fmla="*/ 161925 w 1146175"/>
                    <a:gd name="connsiteY99" fmla="*/ 1507116 h 1661098"/>
                    <a:gd name="connsiteX100" fmla="*/ 149225 w 1146175"/>
                    <a:gd name="connsiteY100" fmla="*/ 1484891 h 1661098"/>
                    <a:gd name="connsiteX101" fmla="*/ 142875 w 1146175"/>
                    <a:gd name="connsiteY101" fmla="*/ 1469016 h 1661098"/>
                    <a:gd name="connsiteX102" fmla="*/ 130175 w 1146175"/>
                    <a:gd name="connsiteY102" fmla="*/ 1465841 h 1661098"/>
                    <a:gd name="connsiteX103" fmla="*/ 101600 w 1146175"/>
                    <a:gd name="connsiteY103" fmla="*/ 1453141 h 1661098"/>
                    <a:gd name="connsiteX104" fmla="*/ 69850 w 1146175"/>
                    <a:gd name="connsiteY104" fmla="*/ 1443616 h 1661098"/>
                    <a:gd name="connsiteX105" fmla="*/ 41275 w 1146175"/>
                    <a:gd name="connsiteY105" fmla="*/ 1430916 h 1661098"/>
                    <a:gd name="connsiteX106" fmla="*/ 31750 w 1146175"/>
                    <a:gd name="connsiteY106" fmla="*/ 1424566 h 1661098"/>
                    <a:gd name="connsiteX107" fmla="*/ 15875 w 1146175"/>
                    <a:gd name="connsiteY107" fmla="*/ 1418216 h 1661098"/>
                    <a:gd name="connsiteX108" fmla="*/ 0 w 1146175"/>
                    <a:gd name="connsiteY10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089025 w 1146175"/>
                    <a:gd name="connsiteY28" fmla="*/ 687966 h 1661098"/>
                    <a:gd name="connsiteX29" fmla="*/ 1117600 w 1146175"/>
                    <a:gd name="connsiteY29" fmla="*/ 707016 h 1661098"/>
                    <a:gd name="connsiteX30" fmla="*/ 1136650 w 1146175"/>
                    <a:gd name="connsiteY30" fmla="*/ 713366 h 1661098"/>
                    <a:gd name="connsiteX31" fmla="*/ 1146175 w 1146175"/>
                    <a:gd name="connsiteY31" fmla="*/ 903866 h 1661098"/>
                    <a:gd name="connsiteX32" fmla="*/ 1127125 w 1146175"/>
                    <a:gd name="connsiteY32" fmla="*/ 913391 h 1661098"/>
                    <a:gd name="connsiteX33" fmla="*/ 1101725 w 1146175"/>
                    <a:gd name="connsiteY33" fmla="*/ 919741 h 1661098"/>
                    <a:gd name="connsiteX34" fmla="*/ 1092200 w 1146175"/>
                    <a:gd name="connsiteY34" fmla="*/ 926091 h 1661098"/>
                    <a:gd name="connsiteX35" fmla="*/ 1079500 w 1146175"/>
                    <a:gd name="connsiteY35" fmla="*/ 929266 h 1661098"/>
                    <a:gd name="connsiteX36" fmla="*/ 1069975 w 1146175"/>
                    <a:gd name="connsiteY36" fmla="*/ 938791 h 1661098"/>
                    <a:gd name="connsiteX37" fmla="*/ 1060450 w 1146175"/>
                    <a:gd name="connsiteY37" fmla="*/ 945141 h 1661098"/>
                    <a:gd name="connsiteX38" fmla="*/ 1038225 w 1146175"/>
                    <a:gd name="connsiteY38" fmla="*/ 957841 h 1661098"/>
                    <a:gd name="connsiteX39" fmla="*/ 996950 w 1146175"/>
                    <a:gd name="connsiteY39" fmla="*/ 983241 h 1661098"/>
                    <a:gd name="connsiteX40" fmla="*/ 977900 w 1146175"/>
                    <a:gd name="connsiteY40" fmla="*/ 989591 h 1661098"/>
                    <a:gd name="connsiteX41" fmla="*/ 968375 w 1146175"/>
                    <a:gd name="connsiteY41" fmla="*/ 1014991 h 1661098"/>
                    <a:gd name="connsiteX42" fmla="*/ 958850 w 1146175"/>
                    <a:gd name="connsiteY42" fmla="*/ 1040391 h 1661098"/>
                    <a:gd name="connsiteX43" fmla="*/ 955675 w 1146175"/>
                    <a:gd name="connsiteY43" fmla="*/ 1065791 h 1661098"/>
                    <a:gd name="connsiteX44" fmla="*/ 949325 w 1146175"/>
                    <a:gd name="connsiteY44" fmla="*/ 1075316 h 1661098"/>
                    <a:gd name="connsiteX45" fmla="*/ 946150 w 1146175"/>
                    <a:gd name="connsiteY45" fmla="*/ 1084841 h 1661098"/>
                    <a:gd name="connsiteX46" fmla="*/ 936625 w 1146175"/>
                    <a:gd name="connsiteY46" fmla="*/ 1100716 h 1661098"/>
                    <a:gd name="connsiteX47" fmla="*/ 923925 w 1146175"/>
                    <a:gd name="connsiteY47" fmla="*/ 1135641 h 1661098"/>
                    <a:gd name="connsiteX48" fmla="*/ 917575 w 1146175"/>
                    <a:gd name="connsiteY48" fmla="*/ 1145166 h 1661098"/>
                    <a:gd name="connsiteX49" fmla="*/ 923925 w 1146175"/>
                    <a:gd name="connsiteY49" fmla="*/ 1199141 h 1661098"/>
                    <a:gd name="connsiteX50" fmla="*/ 939800 w 1146175"/>
                    <a:gd name="connsiteY50" fmla="*/ 1221366 h 1661098"/>
                    <a:gd name="connsiteX51" fmla="*/ 946150 w 1146175"/>
                    <a:gd name="connsiteY51" fmla="*/ 1234066 h 1661098"/>
                    <a:gd name="connsiteX52" fmla="*/ 952500 w 1146175"/>
                    <a:gd name="connsiteY52" fmla="*/ 1243591 h 1661098"/>
                    <a:gd name="connsiteX53" fmla="*/ 965200 w 1146175"/>
                    <a:gd name="connsiteY53" fmla="*/ 1268991 h 1661098"/>
                    <a:gd name="connsiteX54" fmla="*/ 974725 w 1146175"/>
                    <a:gd name="connsiteY54" fmla="*/ 1291216 h 1661098"/>
                    <a:gd name="connsiteX55" fmla="*/ 977900 w 1146175"/>
                    <a:gd name="connsiteY55" fmla="*/ 1303916 h 1661098"/>
                    <a:gd name="connsiteX56" fmla="*/ 981075 w 1146175"/>
                    <a:gd name="connsiteY56" fmla="*/ 1313441 h 1661098"/>
                    <a:gd name="connsiteX57" fmla="*/ 974725 w 1146175"/>
                    <a:gd name="connsiteY57" fmla="*/ 1348366 h 1661098"/>
                    <a:gd name="connsiteX58" fmla="*/ 949325 w 1146175"/>
                    <a:gd name="connsiteY58" fmla="*/ 1380116 h 1661098"/>
                    <a:gd name="connsiteX59" fmla="*/ 939800 w 1146175"/>
                    <a:gd name="connsiteY59" fmla="*/ 1386466 h 1661098"/>
                    <a:gd name="connsiteX60" fmla="*/ 930275 w 1146175"/>
                    <a:gd name="connsiteY60" fmla="*/ 1395991 h 1661098"/>
                    <a:gd name="connsiteX61" fmla="*/ 923925 w 1146175"/>
                    <a:gd name="connsiteY61" fmla="*/ 1405516 h 1661098"/>
                    <a:gd name="connsiteX62" fmla="*/ 908050 w 1146175"/>
                    <a:gd name="connsiteY62" fmla="*/ 1415041 h 1661098"/>
                    <a:gd name="connsiteX63" fmla="*/ 895350 w 1146175"/>
                    <a:gd name="connsiteY63" fmla="*/ 1427741 h 1661098"/>
                    <a:gd name="connsiteX64" fmla="*/ 882650 w 1146175"/>
                    <a:gd name="connsiteY64" fmla="*/ 1437266 h 1661098"/>
                    <a:gd name="connsiteX65" fmla="*/ 873125 w 1146175"/>
                    <a:gd name="connsiteY65" fmla="*/ 1446791 h 1661098"/>
                    <a:gd name="connsiteX66" fmla="*/ 844550 w 1146175"/>
                    <a:gd name="connsiteY66" fmla="*/ 1462666 h 1661098"/>
                    <a:gd name="connsiteX67" fmla="*/ 835025 w 1146175"/>
                    <a:gd name="connsiteY67" fmla="*/ 1465841 h 1661098"/>
                    <a:gd name="connsiteX68" fmla="*/ 815975 w 1146175"/>
                    <a:gd name="connsiteY68" fmla="*/ 1459491 h 1661098"/>
                    <a:gd name="connsiteX69" fmla="*/ 774700 w 1146175"/>
                    <a:gd name="connsiteY69" fmla="*/ 1443616 h 1661098"/>
                    <a:gd name="connsiteX70" fmla="*/ 749300 w 1146175"/>
                    <a:gd name="connsiteY70" fmla="*/ 1437266 h 1661098"/>
                    <a:gd name="connsiteX71" fmla="*/ 717550 w 1146175"/>
                    <a:gd name="connsiteY71" fmla="*/ 1424566 h 1661098"/>
                    <a:gd name="connsiteX72" fmla="*/ 688975 w 1146175"/>
                    <a:gd name="connsiteY72" fmla="*/ 1418216 h 1661098"/>
                    <a:gd name="connsiteX73" fmla="*/ 657225 w 1146175"/>
                    <a:gd name="connsiteY73" fmla="*/ 1408691 h 1661098"/>
                    <a:gd name="connsiteX74" fmla="*/ 635000 w 1146175"/>
                    <a:gd name="connsiteY74" fmla="*/ 1411866 h 1661098"/>
                    <a:gd name="connsiteX75" fmla="*/ 622300 w 1146175"/>
                    <a:gd name="connsiteY75" fmla="*/ 1418216 h 1661098"/>
                    <a:gd name="connsiteX76" fmla="*/ 606425 w 1146175"/>
                    <a:gd name="connsiteY76" fmla="*/ 1427741 h 1661098"/>
                    <a:gd name="connsiteX77" fmla="*/ 577850 w 1146175"/>
                    <a:gd name="connsiteY77" fmla="*/ 1443616 h 1661098"/>
                    <a:gd name="connsiteX78" fmla="*/ 558800 w 1146175"/>
                    <a:gd name="connsiteY78" fmla="*/ 1446791 h 1661098"/>
                    <a:gd name="connsiteX79" fmla="*/ 501650 w 1146175"/>
                    <a:gd name="connsiteY79" fmla="*/ 1453141 h 1661098"/>
                    <a:gd name="connsiteX80" fmla="*/ 492125 w 1146175"/>
                    <a:gd name="connsiteY80" fmla="*/ 1459491 h 1661098"/>
                    <a:gd name="connsiteX81" fmla="*/ 466725 w 1146175"/>
                    <a:gd name="connsiteY81" fmla="*/ 1491241 h 1661098"/>
                    <a:gd name="connsiteX82" fmla="*/ 457200 w 1146175"/>
                    <a:gd name="connsiteY82" fmla="*/ 1510291 h 1661098"/>
                    <a:gd name="connsiteX83" fmla="*/ 454025 w 1146175"/>
                    <a:gd name="connsiteY83" fmla="*/ 1519816 h 1661098"/>
                    <a:gd name="connsiteX84" fmla="*/ 447675 w 1146175"/>
                    <a:gd name="connsiteY84" fmla="*/ 1535691 h 1661098"/>
                    <a:gd name="connsiteX85" fmla="*/ 434975 w 1146175"/>
                    <a:gd name="connsiteY85" fmla="*/ 1561091 h 1661098"/>
                    <a:gd name="connsiteX86" fmla="*/ 431800 w 1146175"/>
                    <a:gd name="connsiteY86" fmla="*/ 1576966 h 1661098"/>
                    <a:gd name="connsiteX87" fmla="*/ 425450 w 1146175"/>
                    <a:gd name="connsiteY87" fmla="*/ 1602366 h 1661098"/>
                    <a:gd name="connsiteX88" fmla="*/ 422275 w 1146175"/>
                    <a:gd name="connsiteY88" fmla="*/ 1611891 h 1661098"/>
                    <a:gd name="connsiteX89" fmla="*/ 412750 w 1146175"/>
                    <a:gd name="connsiteY89" fmla="*/ 1621416 h 1661098"/>
                    <a:gd name="connsiteX90" fmla="*/ 222250 w 1146175"/>
                    <a:gd name="connsiteY90" fmla="*/ 1627766 h 1661098"/>
                    <a:gd name="connsiteX91" fmla="*/ 215900 w 1146175"/>
                    <a:gd name="connsiteY91" fmla="*/ 1611891 h 1661098"/>
                    <a:gd name="connsiteX92" fmla="*/ 206375 w 1146175"/>
                    <a:gd name="connsiteY92" fmla="*/ 1599191 h 1661098"/>
                    <a:gd name="connsiteX93" fmla="*/ 203200 w 1146175"/>
                    <a:gd name="connsiteY93" fmla="*/ 1586491 h 1661098"/>
                    <a:gd name="connsiteX94" fmla="*/ 196850 w 1146175"/>
                    <a:gd name="connsiteY94" fmla="*/ 1573791 h 1661098"/>
                    <a:gd name="connsiteX95" fmla="*/ 193675 w 1146175"/>
                    <a:gd name="connsiteY95" fmla="*/ 1564266 h 1661098"/>
                    <a:gd name="connsiteX96" fmla="*/ 187325 w 1146175"/>
                    <a:gd name="connsiteY96" fmla="*/ 1551566 h 1661098"/>
                    <a:gd name="connsiteX97" fmla="*/ 180975 w 1146175"/>
                    <a:gd name="connsiteY97" fmla="*/ 1535691 h 1661098"/>
                    <a:gd name="connsiteX98" fmla="*/ 161925 w 1146175"/>
                    <a:gd name="connsiteY98" fmla="*/ 1507116 h 1661098"/>
                    <a:gd name="connsiteX99" fmla="*/ 149225 w 1146175"/>
                    <a:gd name="connsiteY99" fmla="*/ 1484891 h 1661098"/>
                    <a:gd name="connsiteX100" fmla="*/ 142875 w 1146175"/>
                    <a:gd name="connsiteY100" fmla="*/ 1469016 h 1661098"/>
                    <a:gd name="connsiteX101" fmla="*/ 130175 w 1146175"/>
                    <a:gd name="connsiteY101" fmla="*/ 1465841 h 1661098"/>
                    <a:gd name="connsiteX102" fmla="*/ 101600 w 1146175"/>
                    <a:gd name="connsiteY102" fmla="*/ 1453141 h 1661098"/>
                    <a:gd name="connsiteX103" fmla="*/ 69850 w 1146175"/>
                    <a:gd name="connsiteY103" fmla="*/ 1443616 h 1661098"/>
                    <a:gd name="connsiteX104" fmla="*/ 41275 w 1146175"/>
                    <a:gd name="connsiteY104" fmla="*/ 1430916 h 1661098"/>
                    <a:gd name="connsiteX105" fmla="*/ 31750 w 1146175"/>
                    <a:gd name="connsiteY105" fmla="*/ 1424566 h 1661098"/>
                    <a:gd name="connsiteX106" fmla="*/ 15875 w 1146175"/>
                    <a:gd name="connsiteY106" fmla="*/ 1418216 h 1661098"/>
                    <a:gd name="connsiteX107" fmla="*/ 0 w 1146175"/>
                    <a:gd name="connsiteY10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117600 w 1146175"/>
                    <a:gd name="connsiteY28" fmla="*/ 707016 h 1661098"/>
                    <a:gd name="connsiteX29" fmla="*/ 1136650 w 1146175"/>
                    <a:gd name="connsiteY29" fmla="*/ 713366 h 1661098"/>
                    <a:gd name="connsiteX30" fmla="*/ 1146175 w 1146175"/>
                    <a:gd name="connsiteY30" fmla="*/ 903866 h 1661098"/>
                    <a:gd name="connsiteX31" fmla="*/ 1127125 w 1146175"/>
                    <a:gd name="connsiteY31" fmla="*/ 913391 h 1661098"/>
                    <a:gd name="connsiteX32" fmla="*/ 1101725 w 1146175"/>
                    <a:gd name="connsiteY32" fmla="*/ 919741 h 1661098"/>
                    <a:gd name="connsiteX33" fmla="*/ 1092200 w 1146175"/>
                    <a:gd name="connsiteY33" fmla="*/ 926091 h 1661098"/>
                    <a:gd name="connsiteX34" fmla="*/ 1079500 w 1146175"/>
                    <a:gd name="connsiteY34" fmla="*/ 929266 h 1661098"/>
                    <a:gd name="connsiteX35" fmla="*/ 1069975 w 1146175"/>
                    <a:gd name="connsiteY35" fmla="*/ 938791 h 1661098"/>
                    <a:gd name="connsiteX36" fmla="*/ 1060450 w 1146175"/>
                    <a:gd name="connsiteY36" fmla="*/ 945141 h 1661098"/>
                    <a:gd name="connsiteX37" fmla="*/ 1038225 w 1146175"/>
                    <a:gd name="connsiteY37" fmla="*/ 957841 h 1661098"/>
                    <a:gd name="connsiteX38" fmla="*/ 996950 w 1146175"/>
                    <a:gd name="connsiteY38" fmla="*/ 983241 h 1661098"/>
                    <a:gd name="connsiteX39" fmla="*/ 977900 w 1146175"/>
                    <a:gd name="connsiteY39" fmla="*/ 989591 h 1661098"/>
                    <a:gd name="connsiteX40" fmla="*/ 968375 w 1146175"/>
                    <a:gd name="connsiteY40" fmla="*/ 1014991 h 1661098"/>
                    <a:gd name="connsiteX41" fmla="*/ 958850 w 1146175"/>
                    <a:gd name="connsiteY41" fmla="*/ 1040391 h 1661098"/>
                    <a:gd name="connsiteX42" fmla="*/ 955675 w 1146175"/>
                    <a:gd name="connsiteY42" fmla="*/ 1065791 h 1661098"/>
                    <a:gd name="connsiteX43" fmla="*/ 949325 w 1146175"/>
                    <a:gd name="connsiteY43" fmla="*/ 1075316 h 1661098"/>
                    <a:gd name="connsiteX44" fmla="*/ 946150 w 1146175"/>
                    <a:gd name="connsiteY44" fmla="*/ 1084841 h 1661098"/>
                    <a:gd name="connsiteX45" fmla="*/ 936625 w 1146175"/>
                    <a:gd name="connsiteY45" fmla="*/ 1100716 h 1661098"/>
                    <a:gd name="connsiteX46" fmla="*/ 923925 w 1146175"/>
                    <a:gd name="connsiteY46" fmla="*/ 1135641 h 1661098"/>
                    <a:gd name="connsiteX47" fmla="*/ 917575 w 1146175"/>
                    <a:gd name="connsiteY47" fmla="*/ 1145166 h 1661098"/>
                    <a:gd name="connsiteX48" fmla="*/ 923925 w 1146175"/>
                    <a:gd name="connsiteY48" fmla="*/ 1199141 h 1661098"/>
                    <a:gd name="connsiteX49" fmla="*/ 939800 w 1146175"/>
                    <a:gd name="connsiteY49" fmla="*/ 1221366 h 1661098"/>
                    <a:gd name="connsiteX50" fmla="*/ 946150 w 1146175"/>
                    <a:gd name="connsiteY50" fmla="*/ 1234066 h 1661098"/>
                    <a:gd name="connsiteX51" fmla="*/ 952500 w 1146175"/>
                    <a:gd name="connsiteY51" fmla="*/ 1243591 h 1661098"/>
                    <a:gd name="connsiteX52" fmla="*/ 965200 w 1146175"/>
                    <a:gd name="connsiteY52" fmla="*/ 1268991 h 1661098"/>
                    <a:gd name="connsiteX53" fmla="*/ 974725 w 1146175"/>
                    <a:gd name="connsiteY53" fmla="*/ 1291216 h 1661098"/>
                    <a:gd name="connsiteX54" fmla="*/ 977900 w 1146175"/>
                    <a:gd name="connsiteY54" fmla="*/ 1303916 h 1661098"/>
                    <a:gd name="connsiteX55" fmla="*/ 981075 w 1146175"/>
                    <a:gd name="connsiteY55" fmla="*/ 1313441 h 1661098"/>
                    <a:gd name="connsiteX56" fmla="*/ 974725 w 1146175"/>
                    <a:gd name="connsiteY56" fmla="*/ 1348366 h 1661098"/>
                    <a:gd name="connsiteX57" fmla="*/ 949325 w 1146175"/>
                    <a:gd name="connsiteY57" fmla="*/ 1380116 h 1661098"/>
                    <a:gd name="connsiteX58" fmla="*/ 939800 w 1146175"/>
                    <a:gd name="connsiteY58" fmla="*/ 1386466 h 1661098"/>
                    <a:gd name="connsiteX59" fmla="*/ 930275 w 1146175"/>
                    <a:gd name="connsiteY59" fmla="*/ 1395991 h 1661098"/>
                    <a:gd name="connsiteX60" fmla="*/ 923925 w 1146175"/>
                    <a:gd name="connsiteY60" fmla="*/ 1405516 h 1661098"/>
                    <a:gd name="connsiteX61" fmla="*/ 908050 w 1146175"/>
                    <a:gd name="connsiteY61" fmla="*/ 1415041 h 1661098"/>
                    <a:gd name="connsiteX62" fmla="*/ 895350 w 1146175"/>
                    <a:gd name="connsiteY62" fmla="*/ 1427741 h 1661098"/>
                    <a:gd name="connsiteX63" fmla="*/ 882650 w 1146175"/>
                    <a:gd name="connsiteY63" fmla="*/ 1437266 h 1661098"/>
                    <a:gd name="connsiteX64" fmla="*/ 873125 w 1146175"/>
                    <a:gd name="connsiteY64" fmla="*/ 1446791 h 1661098"/>
                    <a:gd name="connsiteX65" fmla="*/ 844550 w 1146175"/>
                    <a:gd name="connsiteY65" fmla="*/ 1462666 h 1661098"/>
                    <a:gd name="connsiteX66" fmla="*/ 835025 w 1146175"/>
                    <a:gd name="connsiteY66" fmla="*/ 1465841 h 1661098"/>
                    <a:gd name="connsiteX67" fmla="*/ 815975 w 1146175"/>
                    <a:gd name="connsiteY67" fmla="*/ 1459491 h 1661098"/>
                    <a:gd name="connsiteX68" fmla="*/ 774700 w 1146175"/>
                    <a:gd name="connsiteY68" fmla="*/ 1443616 h 1661098"/>
                    <a:gd name="connsiteX69" fmla="*/ 749300 w 1146175"/>
                    <a:gd name="connsiteY69" fmla="*/ 1437266 h 1661098"/>
                    <a:gd name="connsiteX70" fmla="*/ 717550 w 1146175"/>
                    <a:gd name="connsiteY70" fmla="*/ 1424566 h 1661098"/>
                    <a:gd name="connsiteX71" fmla="*/ 688975 w 1146175"/>
                    <a:gd name="connsiteY71" fmla="*/ 1418216 h 1661098"/>
                    <a:gd name="connsiteX72" fmla="*/ 657225 w 1146175"/>
                    <a:gd name="connsiteY72" fmla="*/ 1408691 h 1661098"/>
                    <a:gd name="connsiteX73" fmla="*/ 635000 w 1146175"/>
                    <a:gd name="connsiteY73" fmla="*/ 1411866 h 1661098"/>
                    <a:gd name="connsiteX74" fmla="*/ 622300 w 1146175"/>
                    <a:gd name="connsiteY74" fmla="*/ 1418216 h 1661098"/>
                    <a:gd name="connsiteX75" fmla="*/ 606425 w 1146175"/>
                    <a:gd name="connsiteY75" fmla="*/ 1427741 h 1661098"/>
                    <a:gd name="connsiteX76" fmla="*/ 577850 w 1146175"/>
                    <a:gd name="connsiteY76" fmla="*/ 1443616 h 1661098"/>
                    <a:gd name="connsiteX77" fmla="*/ 558800 w 1146175"/>
                    <a:gd name="connsiteY77" fmla="*/ 1446791 h 1661098"/>
                    <a:gd name="connsiteX78" fmla="*/ 501650 w 1146175"/>
                    <a:gd name="connsiteY78" fmla="*/ 1453141 h 1661098"/>
                    <a:gd name="connsiteX79" fmla="*/ 492125 w 1146175"/>
                    <a:gd name="connsiteY79" fmla="*/ 1459491 h 1661098"/>
                    <a:gd name="connsiteX80" fmla="*/ 466725 w 1146175"/>
                    <a:gd name="connsiteY80" fmla="*/ 1491241 h 1661098"/>
                    <a:gd name="connsiteX81" fmla="*/ 457200 w 1146175"/>
                    <a:gd name="connsiteY81" fmla="*/ 1510291 h 1661098"/>
                    <a:gd name="connsiteX82" fmla="*/ 454025 w 1146175"/>
                    <a:gd name="connsiteY82" fmla="*/ 1519816 h 1661098"/>
                    <a:gd name="connsiteX83" fmla="*/ 447675 w 1146175"/>
                    <a:gd name="connsiteY83" fmla="*/ 1535691 h 1661098"/>
                    <a:gd name="connsiteX84" fmla="*/ 434975 w 1146175"/>
                    <a:gd name="connsiteY84" fmla="*/ 1561091 h 1661098"/>
                    <a:gd name="connsiteX85" fmla="*/ 431800 w 1146175"/>
                    <a:gd name="connsiteY85" fmla="*/ 1576966 h 1661098"/>
                    <a:gd name="connsiteX86" fmla="*/ 425450 w 1146175"/>
                    <a:gd name="connsiteY86" fmla="*/ 1602366 h 1661098"/>
                    <a:gd name="connsiteX87" fmla="*/ 422275 w 1146175"/>
                    <a:gd name="connsiteY87" fmla="*/ 1611891 h 1661098"/>
                    <a:gd name="connsiteX88" fmla="*/ 412750 w 1146175"/>
                    <a:gd name="connsiteY88" fmla="*/ 1621416 h 1661098"/>
                    <a:gd name="connsiteX89" fmla="*/ 222250 w 1146175"/>
                    <a:gd name="connsiteY89" fmla="*/ 1627766 h 1661098"/>
                    <a:gd name="connsiteX90" fmla="*/ 215900 w 1146175"/>
                    <a:gd name="connsiteY90" fmla="*/ 1611891 h 1661098"/>
                    <a:gd name="connsiteX91" fmla="*/ 206375 w 1146175"/>
                    <a:gd name="connsiteY91" fmla="*/ 1599191 h 1661098"/>
                    <a:gd name="connsiteX92" fmla="*/ 203200 w 1146175"/>
                    <a:gd name="connsiteY92" fmla="*/ 1586491 h 1661098"/>
                    <a:gd name="connsiteX93" fmla="*/ 196850 w 1146175"/>
                    <a:gd name="connsiteY93" fmla="*/ 1573791 h 1661098"/>
                    <a:gd name="connsiteX94" fmla="*/ 193675 w 1146175"/>
                    <a:gd name="connsiteY94" fmla="*/ 1564266 h 1661098"/>
                    <a:gd name="connsiteX95" fmla="*/ 187325 w 1146175"/>
                    <a:gd name="connsiteY95" fmla="*/ 1551566 h 1661098"/>
                    <a:gd name="connsiteX96" fmla="*/ 180975 w 1146175"/>
                    <a:gd name="connsiteY96" fmla="*/ 1535691 h 1661098"/>
                    <a:gd name="connsiteX97" fmla="*/ 161925 w 1146175"/>
                    <a:gd name="connsiteY97" fmla="*/ 1507116 h 1661098"/>
                    <a:gd name="connsiteX98" fmla="*/ 149225 w 1146175"/>
                    <a:gd name="connsiteY98" fmla="*/ 1484891 h 1661098"/>
                    <a:gd name="connsiteX99" fmla="*/ 142875 w 1146175"/>
                    <a:gd name="connsiteY99" fmla="*/ 1469016 h 1661098"/>
                    <a:gd name="connsiteX100" fmla="*/ 130175 w 1146175"/>
                    <a:gd name="connsiteY100" fmla="*/ 1465841 h 1661098"/>
                    <a:gd name="connsiteX101" fmla="*/ 101600 w 1146175"/>
                    <a:gd name="connsiteY101" fmla="*/ 1453141 h 1661098"/>
                    <a:gd name="connsiteX102" fmla="*/ 69850 w 1146175"/>
                    <a:gd name="connsiteY102" fmla="*/ 1443616 h 1661098"/>
                    <a:gd name="connsiteX103" fmla="*/ 41275 w 1146175"/>
                    <a:gd name="connsiteY103" fmla="*/ 1430916 h 1661098"/>
                    <a:gd name="connsiteX104" fmla="*/ 31750 w 1146175"/>
                    <a:gd name="connsiteY104" fmla="*/ 1424566 h 1661098"/>
                    <a:gd name="connsiteX105" fmla="*/ 15875 w 1146175"/>
                    <a:gd name="connsiteY105" fmla="*/ 1418216 h 1661098"/>
                    <a:gd name="connsiteX106" fmla="*/ 0 w 1146175"/>
                    <a:gd name="connsiteY10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117600 w 1146175"/>
                    <a:gd name="connsiteY27" fmla="*/ 707016 h 1661098"/>
                    <a:gd name="connsiteX28" fmla="*/ 1136650 w 1146175"/>
                    <a:gd name="connsiteY28" fmla="*/ 713366 h 1661098"/>
                    <a:gd name="connsiteX29" fmla="*/ 1146175 w 1146175"/>
                    <a:gd name="connsiteY29" fmla="*/ 903866 h 1661098"/>
                    <a:gd name="connsiteX30" fmla="*/ 1127125 w 1146175"/>
                    <a:gd name="connsiteY30" fmla="*/ 913391 h 1661098"/>
                    <a:gd name="connsiteX31" fmla="*/ 1101725 w 1146175"/>
                    <a:gd name="connsiteY31" fmla="*/ 919741 h 1661098"/>
                    <a:gd name="connsiteX32" fmla="*/ 1092200 w 1146175"/>
                    <a:gd name="connsiteY32" fmla="*/ 926091 h 1661098"/>
                    <a:gd name="connsiteX33" fmla="*/ 1079500 w 1146175"/>
                    <a:gd name="connsiteY33" fmla="*/ 929266 h 1661098"/>
                    <a:gd name="connsiteX34" fmla="*/ 1069975 w 1146175"/>
                    <a:gd name="connsiteY34" fmla="*/ 938791 h 1661098"/>
                    <a:gd name="connsiteX35" fmla="*/ 1060450 w 1146175"/>
                    <a:gd name="connsiteY35" fmla="*/ 945141 h 1661098"/>
                    <a:gd name="connsiteX36" fmla="*/ 1038225 w 1146175"/>
                    <a:gd name="connsiteY36" fmla="*/ 957841 h 1661098"/>
                    <a:gd name="connsiteX37" fmla="*/ 996950 w 1146175"/>
                    <a:gd name="connsiteY37" fmla="*/ 983241 h 1661098"/>
                    <a:gd name="connsiteX38" fmla="*/ 977900 w 1146175"/>
                    <a:gd name="connsiteY38" fmla="*/ 989591 h 1661098"/>
                    <a:gd name="connsiteX39" fmla="*/ 968375 w 1146175"/>
                    <a:gd name="connsiteY39" fmla="*/ 1014991 h 1661098"/>
                    <a:gd name="connsiteX40" fmla="*/ 958850 w 1146175"/>
                    <a:gd name="connsiteY40" fmla="*/ 1040391 h 1661098"/>
                    <a:gd name="connsiteX41" fmla="*/ 955675 w 1146175"/>
                    <a:gd name="connsiteY41" fmla="*/ 1065791 h 1661098"/>
                    <a:gd name="connsiteX42" fmla="*/ 949325 w 1146175"/>
                    <a:gd name="connsiteY42" fmla="*/ 1075316 h 1661098"/>
                    <a:gd name="connsiteX43" fmla="*/ 946150 w 1146175"/>
                    <a:gd name="connsiteY43" fmla="*/ 1084841 h 1661098"/>
                    <a:gd name="connsiteX44" fmla="*/ 936625 w 1146175"/>
                    <a:gd name="connsiteY44" fmla="*/ 1100716 h 1661098"/>
                    <a:gd name="connsiteX45" fmla="*/ 923925 w 1146175"/>
                    <a:gd name="connsiteY45" fmla="*/ 1135641 h 1661098"/>
                    <a:gd name="connsiteX46" fmla="*/ 917575 w 1146175"/>
                    <a:gd name="connsiteY46" fmla="*/ 1145166 h 1661098"/>
                    <a:gd name="connsiteX47" fmla="*/ 923925 w 1146175"/>
                    <a:gd name="connsiteY47" fmla="*/ 1199141 h 1661098"/>
                    <a:gd name="connsiteX48" fmla="*/ 939800 w 1146175"/>
                    <a:gd name="connsiteY48" fmla="*/ 1221366 h 1661098"/>
                    <a:gd name="connsiteX49" fmla="*/ 946150 w 1146175"/>
                    <a:gd name="connsiteY49" fmla="*/ 1234066 h 1661098"/>
                    <a:gd name="connsiteX50" fmla="*/ 952500 w 1146175"/>
                    <a:gd name="connsiteY50" fmla="*/ 1243591 h 1661098"/>
                    <a:gd name="connsiteX51" fmla="*/ 965200 w 1146175"/>
                    <a:gd name="connsiteY51" fmla="*/ 1268991 h 1661098"/>
                    <a:gd name="connsiteX52" fmla="*/ 974725 w 1146175"/>
                    <a:gd name="connsiteY52" fmla="*/ 1291216 h 1661098"/>
                    <a:gd name="connsiteX53" fmla="*/ 977900 w 1146175"/>
                    <a:gd name="connsiteY53" fmla="*/ 1303916 h 1661098"/>
                    <a:gd name="connsiteX54" fmla="*/ 981075 w 1146175"/>
                    <a:gd name="connsiteY54" fmla="*/ 1313441 h 1661098"/>
                    <a:gd name="connsiteX55" fmla="*/ 974725 w 1146175"/>
                    <a:gd name="connsiteY55" fmla="*/ 1348366 h 1661098"/>
                    <a:gd name="connsiteX56" fmla="*/ 949325 w 1146175"/>
                    <a:gd name="connsiteY56" fmla="*/ 1380116 h 1661098"/>
                    <a:gd name="connsiteX57" fmla="*/ 939800 w 1146175"/>
                    <a:gd name="connsiteY57" fmla="*/ 1386466 h 1661098"/>
                    <a:gd name="connsiteX58" fmla="*/ 930275 w 1146175"/>
                    <a:gd name="connsiteY58" fmla="*/ 1395991 h 1661098"/>
                    <a:gd name="connsiteX59" fmla="*/ 923925 w 1146175"/>
                    <a:gd name="connsiteY59" fmla="*/ 1405516 h 1661098"/>
                    <a:gd name="connsiteX60" fmla="*/ 908050 w 1146175"/>
                    <a:gd name="connsiteY60" fmla="*/ 1415041 h 1661098"/>
                    <a:gd name="connsiteX61" fmla="*/ 895350 w 1146175"/>
                    <a:gd name="connsiteY61" fmla="*/ 1427741 h 1661098"/>
                    <a:gd name="connsiteX62" fmla="*/ 882650 w 1146175"/>
                    <a:gd name="connsiteY62" fmla="*/ 1437266 h 1661098"/>
                    <a:gd name="connsiteX63" fmla="*/ 873125 w 1146175"/>
                    <a:gd name="connsiteY63" fmla="*/ 1446791 h 1661098"/>
                    <a:gd name="connsiteX64" fmla="*/ 844550 w 1146175"/>
                    <a:gd name="connsiteY64" fmla="*/ 1462666 h 1661098"/>
                    <a:gd name="connsiteX65" fmla="*/ 835025 w 1146175"/>
                    <a:gd name="connsiteY65" fmla="*/ 1465841 h 1661098"/>
                    <a:gd name="connsiteX66" fmla="*/ 815975 w 1146175"/>
                    <a:gd name="connsiteY66" fmla="*/ 1459491 h 1661098"/>
                    <a:gd name="connsiteX67" fmla="*/ 774700 w 1146175"/>
                    <a:gd name="connsiteY67" fmla="*/ 1443616 h 1661098"/>
                    <a:gd name="connsiteX68" fmla="*/ 749300 w 1146175"/>
                    <a:gd name="connsiteY68" fmla="*/ 1437266 h 1661098"/>
                    <a:gd name="connsiteX69" fmla="*/ 717550 w 1146175"/>
                    <a:gd name="connsiteY69" fmla="*/ 1424566 h 1661098"/>
                    <a:gd name="connsiteX70" fmla="*/ 688975 w 1146175"/>
                    <a:gd name="connsiteY70" fmla="*/ 1418216 h 1661098"/>
                    <a:gd name="connsiteX71" fmla="*/ 657225 w 1146175"/>
                    <a:gd name="connsiteY71" fmla="*/ 1408691 h 1661098"/>
                    <a:gd name="connsiteX72" fmla="*/ 635000 w 1146175"/>
                    <a:gd name="connsiteY72" fmla="*/ 1411866 h 1661098"/>
                    <a:gd name="connsiteX73" fmla="*/ 622300 w 1146175"/>
                    <a:gd name="connsiteY73" fmla="*/ 1418216 h 1661098"/>
                    <a:gd name="connsiteX74" fmla="*/ 606425 w 1146175"/>
                    <a:gd name="connsiteY74" fmla="*/ 1427741 h 1661098"/>
                    <a:gd name="connsiteX75" fmla="*/ 577850 w 1146175"/>
                    <a:gd name="connsiteY75" fmla="*/ 1443616 h 1661098"/>
                    <a:gd name="connsiteX76" fmla="*/ 558800 w 1146175"/>
                    <a:gd name="connsiteY76" fmla="*/ 1446791 h 1661098"/>
                    <a:gd name="connsiteX77" fmla="*/ 501650 w 1146175"/>
                    <a:gd name="connsiteY77" fmla="*/ 1453141 h 1661098"/>
                    <a:gd name="connsiteX78" fmla="*/ 492125 w 1146175"/>
                    <a:gd name="connsiteY78" fmla="*/ 1459491 h 1661098"/>
                    <a:gd name="connsiteX79" fmla="*/ 466725 w 1146175"/>
                    <a:gd name="connsiteY79" fmla="*/ 1491241 h 1661098"/>
                    <a:gd name="connsiteX80" fmla="*/ 457200 w 1146175"/>
                    <a:gd name="connsiteY80" fmla="*/ 1510291 h 1661098"/>
                    <a:gd name="connsiteX81" fmla="*/ 454025 w 1146175"/>
                    <a:gd name="connsiteY81" fmla="*/ 1519816 h 1661098"/>
                    <a:gd name="connsiteX82" fmla="*/ 447675 w 1146175"/>
                    <a:gd name="connsiteY82" fmla="*/ 1535691 h 1661098"/>
                    <a:gd name="connsiteX83" fmla="*/ 434975 w 1146175"/>
                    <a:gd name="connsiteY83" fmla="*/ 1561091 h 1661098"/>
                    <a:gd name="connsiteX84" fmla="*/ 431800 w 1146175"/>
                    <a:gd name="connsiteY84" fmla="*/ 1576966 h 1661098"/>
                    <a:gd name="connsiteX85" fmla="*/ 425450 w 1146175"/>
                    <a:gd name="connsiteY85" fmla="*/ 1602366 h 1661098"/>
                    <a:gd name="connsiteX86" fmla="*/ 422275 w 1146175"/>
                    <a:gd name="connsiteY86" fmla="*/ 1611891 h 1661098"/>
                    <a:gd name="connsiteX87" fmla="*/ 412750 w 1146175"/>
                    <a:gd name="connsiteY87" fmla="*/ 1621416 h 1661098"/>
                    <a:gd name="connsiteX88" fmla="*/ 222250 w 1146175"/>
                    <a:gd name="connsiteY88" fmla="*/ 1627766 h 1661098"/>
                    <a:gd name="connsiteX89" fmla="*/ 215900 w 1146175"/>
                    <a:gd name="connsiteY89" fmla="*/ 1611891 h 1661098"/>
                    <a:gd name="connsiteX90" fmla="*/ 206375 w 1146175"/>
                    <a:gd name="connsiteY90" fmla="*/ 1599191 h 1661098"/>
                    <a:gd name="connsiteX91" fmla="*/ 203200 w 1146175"/>
                    <a:gd name="connsiteY91" fmla="*/ 1586491 h 1661098"/>
                    <a:gd name="connsiteX92" fmla="*/ 196850 w 1146175"/>
                    <a:gd name="connsiteY92" fmla="*/ 1573791 h 1661098"/>
                    <a:gd name="connsiteX93" fmla="*/ 193675 w 1146175"/>
                    <a:gd name="connsiteY93" fmla="*/ 1564266 h 1661098"/>
                    <a:gd name="connsiteX94" fmla="*/ 187325 w 1146175"/>
                    <a:gd name="connsiteY94" fmla="*/ 1551566 h 1661098"/>
                    <a:gd name="connsiteX95" fmla="*/ 180975 w 1146175"/>
                    <a:gd name="connsiteY95" fmla="*/ 1535691 h 1661098"/>
                    <a:gd name="connsiteX96" fmla="*/ 161925 w 1146175"/>
                    <a:gd name="connsiteY96" fmla="*/ 1507116 h 1661098"/>
                    <a:gd name="connsiteX97" fmla="*/ 149225 w 1146175"/>
                    <a:gd name="connsiteY97" fmla="*/ 1484891 h 1661098"/>
                    <a:gd name="connsiteX98" fmla="*/ 142875 w 1146175"/>
                    <a:gd name="connsiteY98" fmla="*/ 1469016 h 1661098"/>
                    <a:gd name="connsiteX99" fmla="*/ 130175 w 1146175"/>
                    <a:gd name="connsiteY99" fmla="*/ 1465841 h 1661098"/>
                    <a:gd name="connsiteX100" fmla="*/ 101600 w 1146175"/>
                    <a:gd name="connsiteY100" fmla="*/ 1453141 h 1661098"/>
                    <a:gd name="connsiteX101" fmla="*/ 69850 w 1146175"/>
                    <a:gd name="connsiteY101" fmla="*/ 1443616 h 1661098"/>
                    <a:gd name="connsiteX102" fmla="*/ 41275 w 1146175"/>
                    <a:gd name="connsiteY102" fmla="*/ 1430916 h 1661098"/>
                    <a:gd name="connsiteX103" fmla="*/ 31750 w 1146175"/>
                    <a:gd name="connsiteY103" fmla="*/ 1424566 h 1661098"/>
                    <a:gd name="connsiteX104" fmla="*/ 15875 w 1146175"/>
                    <a:gd name="connsiteY104" fmla="*/ 1418216 h 1661098"/>
                    <a:gd name="connsiteX105" fmla="*/ 0 w 1146175"/>
                    <a:gd name="connsiteY10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79500 w 1146175"/>
                    <a:gd name="connsiteY32" fmla="*/ 929266 h 1661098"/>
                    <a:gd name="connsiteX33" fmla="*/ 1069975 w 1146175"/>
                    <a:gd name="connsiteY33" fmla="*/ 938791 h 1661098"/>
                    <a:gd name="connsiteX34" fmla="*/ 1060450 w 1146175"/>
                    <a:gd name="connsiteY34" fmla="*/ 945141 h 1661098"/>
                    <a:gd name="connsiteX35" fmla="*/ 1038225 w 1146175"/>
                    <a:gd name="connsiteY35" fmla="*/ 957841 h 1661098"/>
                    <a:gd name="connsiteX36" fmla="*/ 996950 w 1146175"/>
                    <a:gd name="connsiteY36" fmla="*/ 983241 h 1661098"/>
                    <a:gd name="connsiteX37" fmla="*/ 977900 w 1146175"/>
                    <a:gd name="connsiteY37" fmla="*/ 989591 h 1661098"/>
                    <a:gd name="connsiteX38" fmla="*/ 968375 w 1146175"/>
                    <a:gd name="connsiteY38" fmla="*/ 1014991 h 1661098"/>
                    <a:gd name="connsiteX39" fmla="*/ 958850 w 1146175"/>
                    <a:gd name="connsiteY39" fmla="*/ 1040391 h 1661098"/>
                    <a:gd name="connsiteX40" fmla="*/ 955675 w 1146175"/>
                    <a:gd name="connsiteY40" fmla="*/ 1065791 h 1661098"/>
                    <a:gd name="connsiteX41" fmla="*/ 949325 w 1146175"/>
                    <a:gd name="connsiteY41" fmla="*/ 1075316 h 1661098"/>
                    <a:gd name="connsiteX42" fmla="*/ 946150 w 1146175"/>
                    <a:gd name="connsiteY42" fmla="*/ 1084841 h 1661098"/>
                    <a:gd name="connsiteX43" fmla="*/ 936625 w 1146175"/>
                    <a:gd name="connsiteY43" fmla="*/ 1100716 h 1661098"/>
                    <a:gd name="connsiteX44" fmla="*/ 923925 w 1146175"/>
                    <a:gd name="connsiteY44" fmla="*/ 1135641 h 1661098"/>
                    <a:gd name="connsiteX45" fmla="*/ 917575 w 1146175"/>
                    <a:gd name="connsiteY45" fmla="*/ 1145166 h 1661098"/>
                    <a:gd name="connsiteX46" fmla="*/ 923925 w 1146175"/>
                    <a:gd name="connsiteY46" fmla="*/ 1199141 h 1661098"/>
                    <a:gd name="connsiteX47" fmla="*/ 939800 w 1146175"/>
                    <a:gd name="connsiteY47" fmla="*/ 1221366 h 1661098"/>
                    <a:gd name="connsiteX48" fmla="*/ 946150 w 1146175"/>
                    <a:gd name="connsiteY48" fmla="*/ 1234066 h 1661098"/>
                    <a:gd name="connsiteX49" fmla="*/ 952500 w 1146175"/>
                    <a:gd name="connsiteY49" fmla="*/ 1243591 h 1661098"/>
                    <a:gd name="connsiteX50" fmla="*/ 965200 w 1146175"/>
                    <a:gd name="connsiteY50" fmla="*/ 1268991 h 1661098"/>
                    <a:gd name="connsiteX51" fmla="*/ 974725 w 1146175"/>
                    <a:gd name="connsiteY51" fmla="*/ 1291216 h 1661098"/>
                    <a:gd name="connsiteX52" fmla="*/ 977900 w 1146175"/>
                    <a:gd name="connsiteY52" fmla="*/ 1303916 h 1661098"/>
                    <a:gd name="connsiteX53" fmla="*/ 981075 w 1146175"/>
                    <a:gd name="connsiteY53" fmla="*/ 1313441 h 1661098"/>
                    <a:gd name="connsiteX54" fmla="*/ 974725 w 1146175"/>
                    <a:gd name="connsiteY54" fmla="*/ 1348366 h 1661098"/>
                    <a:gd name="connsiteX55" fmla="*/ 949325 w 1146175"/>
                    <a:gd name="connsiteY55" fmla="*/ 1380116 h 1661098"/>
                    <a:gd name="connsiteX56" fmla="*/ 939800 w 1146175"/>
                    <a:gd name="connsiteY56" fmla="*/ 1386466 h 1661098"/>
                    <a:gd name="connsiteX57" fmla="*/ 930275 w 1146175"/>
                    <a:gd name="connsiteY57" fmla="*/ 1395991 h 1661098"/>
                    <a:gd name="connsiteX58" fmla="*/ 923925 w 1146175"/>
                    <a:gd name="connsiteY58" fmla="*/ 1405516 h 1661098"/>
                    <a:gd name="connsiteX59" fmla="*/ 908050 w 1146175"/>
                    <a:gd name="connsiteY59" fmla="*/ 1415041 h 1661098"/>
                    <a:gd name="connsiteX60" fmla="*/ 895350 w 1146175"/>
                    <a:gd name="connsiteY60" fmla="*/ 1427741 h 1661098"/>
                    <a:gd name="connsiteX61" fmla="*/ 882650 w 1146175"/>
                    <a:gd name="connsiteY61" fmla="*/ 1437266 h 1661098"/>
                    <a:gd name="connsiteX62" fmla="*/ 873125 w 1146175"/>
                    <a:gd name="connsiteY62" fmla="*/ 1446791 h 1661098"/>
                    <a:gd name="connsiteX63" fmla="*/ 844550 w 1146175"/>
                    <a:gd name="connsiteY63" fmla="*/ 1462666 h 1661098"/>
                    <a:gd name="connsiteX64" fmla="*/ 835025 w 1146175"/>
                    <a:gd name="connsiteY64" fmla="*/ 1465841 h 1661098"/>
                    <a:gd name="connsiteX65" fmla="*/ 815975 w 1146175"/>
                    <a:gd name="connsiteY65" fmla="*/ 1459491 h 1661098"/>
                    <a:gd name="connsiteX66" fmla="*/ 774700 w 1146175"/>
                    <a:gd name="connsiteY66" fmla="*/ 1443616 h 1661098"/>
                    <a:gd name="connsiteX67" fmla="*/ 749300 w 1146175"/>
                    <a:gd name="connsiteY67" fmla="*/ 1437266 h 1661098"/>
                    <a:gd name="connsiteX68" fmla="*/ 717550 w 1146175"/>
                    <a:gd name="connsiteY68" fmla="*/ 1424566 h 1661098"/>
                    <a:gd name="connsiteX69" fmla="*/ 688975 w 1146175"/>
                    <a:gd name="connsiteY69" fmla="*/ 1418216 h 1661098"/>
                    <a:gd name="connsiteX70" fmla="*/ 657225 w 1146175"/>
                    <a:gd name="connsiteY70" fmla="*/ 1408691 h 1661098"/>
                    <a:gd name="connsiteX71" fmla="*/ 635000 w 1146175"/>
                    <a:gd name="connsiteY71" fmla="*/ 1411866 h 1661098"/>
                    <a:gd name="connsiteX72" fmla="*/ 622300 w 1146175"/>
                    <a:gd name="connsiteY72" fmla="*/ 1418216 h 1661098"/>
                    <a:gd name="connsiteX73" fmla="*/ 606425 w 1146175"/>
                    <a:gd name="connsiteY73" fmla="*/ 1427741 h 1661098"/>
                    <a:gd name="connsiteX74" fmla="*/ 577850 w 1146175"/>
                    <a:gd name="connsiteY74" fmla="*/ 1443616 h 1661098"/>
                    <a:gd name="connsiteX75" fmla="*/ 558800 w 1146175"/>
                    <a:gd name="connsiteY75" fmla="*/ 1446791 h 1661098"/>
                    <a:gd name="connsiteX76" fmla="*/ 501650 w 1146175"/>
                    <a:gd name="connsiteY76" fmla="*/ 1453141 h 1661098"/>
                    <a:gd name="connsiteX77" fmla="*/ 492125 w 1146175"/>
                    <a:gd name="connsiteY77" fmla="*/ 1459491 h 1661098"/>
                    <a:gd name="connsiteX78" fmla="*/ 466725 w 1146175"/>
                    <a:gd name="connsiteY78" fmla="*/ 1491241 h 1661098"/>
                    <a:gd name="connsiteX79" fmla="*/ 457200 w 1146175"/>
                    <a:gd name="connsiteY79" fmla="*/ 1510291 h 1661098"/>
                    <a:gd name="connsiteX80" fmla="*/ 454025 w 1146175"/>
                    <a:gd name="connsiteY80" fmla="*/ 1519816 h 1661098"/>
                    <a:gd name="connsiteX81" fmla="*/ 447675 w 1146175"/>
                    <a:gd name="connsiteY81" fmla="*/ 1535691 h 1661098"/>
                    <a:gd name="connsiteX82" fmla="*/ 434975 w 1146175"/>
                    <a:gd name="connsiteY82" fmla="*/ 1561091 h 1661098"/>
                    <a:gd name="connsiteX83" fmla="*/ 431800 w 1146175"/>
                    <a:gd name="connsiteY83" fmla="*/ 1576966 h 1661098"/>
                    <a:gd name="connsiteX84" fmla="*/ 425450 w 1146175"/>
                    <a:gd name="connsiteY84" fmla="*/ 1602366 h 1661098"/>
                    <a:gd name="connsiteX85" fmla="*/ 422275 w 1146175"/>
                    <a:gd name="connsiteY85" fmla="*/ 1611891 h 1661098"/>
                    <a:gd name="connsiteX86" fmla="*/ 412750 w 1146175"/>
                    <a:gd name="connsiteY86" fmla="*/ 1621416 h 1661098"/>
                    <a:gd name="connsiteX87" fmla="*/ 222250 w 1146175"/>
                    <a:gd name="connsiteY87" fmla="*/ 1627766 h 1661098"/>
                    <a:gd name="connsiteX88" fmla="*/ 215900 w 1146175"/>
                    <a:gd name="connsiteY88" fmla="*/ 1611891 h 1661098"/>
                    <a:gd name="connsiteX89" fmla="*/ 206375 w 1146175"/>
                    <a:gd name="connsiteY89" fmla="*/ 1599191 h 1661098"/>
                    <a:gd name="connsiteX90" fmla="*/ 203200 w 1146175"/>
                    <a:gd name="connsiteY90" fmla="*/ 1586491 h 1661098"/>
                    <a:gd name="connsiteX91" fmla="*/ 196850 w 1146175"/>
                    <a:gd name="connsiteY91" fmla="*/ 1573791 h 1661098"/>
                    <a:gd name="connsiteX92" fmla="*/ 193675 w 1146175"/>
                    <a:gd name="connsiteY92" fmla="*/ 1564266 h 1661098"/>
                    <a:gd name="connsiteX93" fmla="*/ 187325 w 1146175"/>
                    <a:gd name="connsiteY93" fmla="*/ 1551566 h 1661098"/>
                    <a:gd name="connsiteX94" fmla="*/ 180975 w 1146175"/>
                    <a:gd name="connsiteY94" fmla="*/ 1535691 h 1661098"/>
                    <a:gd name="connsiteX95" fmla="*/ 161925 w 1146175"/>
                    <a:gd name="connsiteY95" fmla="*/ 1507116 h 1661098"/>
                    <a:gd name="connsiteX96" fmla="*/ 149225 w 1146175"/>
                    <a:gd name="connsiteY96" fmla="*/ 1484891 h 1661098"/>
                    <a:gd name="connsiteX97" fmla="*/ 142875 w 1146175"/>
                    <a:gd name="connsiteY97" fmla="*/ 1469016 h 1661098"/>
                    <a:gd name="connsiteX98" fmla="*/ 130175 w 1146175"/>
                    <a:gd name="connsiteY98" fmla="*/ 1465841 h 1661098"/>
                    <a:gd name="connsiteX99" fmla="*/ 101600 w 1146175"/>
                    <a:gd name="connsiteY99" fmla="*/ 1453141 h 1661098"/>
                    <a:gd name="connsiteX100" fmla="*/ 69850 w 1146175"/>
                    <a:gd name="connsiteY100" fmla="*/ 1443616 h 1661098"/>
                    <a:gd name="connsiteX101" fmla="*/ 41275 w 1146175"/>
                    <a:gd name="connsiteY101" fmla="*/ 1430916 h 1661098"/>
                    <a:gd name="connsiteX102" fmla="*/ 31750 w 1146175"/>
                    <a:gd name="connsiteY102" fmla="*/ 1424566 h 1661098"/>
                    <a:gd name="connsiteX103" fmla="*/ 15875 w 1146175"/>
                    <a:gd name="connsiteY103" fmla="*/ 1418216 h 1661098"/>
                    <a:gd name="connsiteX104" fmla="*/ 0 w 1146175"/>
                    <a:gd name="connsiteY10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69975 w 1146175"/>
                    <a:gd name="connsiteY32" fmla="*/ 938791 h 1661098"/>
                    <a:gd name="connsiteX33" fmla="*/ 1060450 w 1146175"/>
                    <a:gd name="connsiteY33" fmla="*/ 945141 h 1661098"/>
                    <a:gd name="connsiteX34" fmla="*/ 1038225 w 1146175"/>
                    <a:gd name="connsiteY34" fmla="*/ 957841 h 1661098"/>
                    <a:gd name="connsiteX35" fmla="*/ 996950 w 1146175"/>
                    <a:gd name="connsiteY35" fmla="*/ 983241 h 1661098"/>
                    <a:gd name="connsiteX36" fmla="*/ 977900 w 1146175"/>
                    <a:gd name="connsiteY36" fmla="*/ 989591 h 1661098"/>
                    <a:gd name="connsiteX37" fmla="*/ 968375 w 1146175"/>
                    <a:gd name="connsiteY37" fmla="*/ 1014991 h 1661098"/>
                    <a:gd name="connsiteX38" fmla="*/ 958850 w 1146175"/>
                    <a:gd name="connsiteY38" fmla="*/ 1040391 h 1661098"/>
                    <a:gd name="connsiteX39" fmla="*/ 955675 w 1146175"/>
                    <a:gd name="connsiteY39" fmla="*/ 1065791 h 1661098"/>
                    <a:gd name="connsiteX40" fmla="*/ 949325 w 1146175"/>
                    <a:gd name="connsiteY40" fmla="*/ 1075316 h 1661098"/>
                    <a:gd name="connsiteX41" fmla="*/ 946150 w 1146175"/>
                    <a:gd name="connsiteY41" fmla="*/ 1084841 h 1661098"/>
                    <a:gd name="connsiteX42" fmla="*/ 936625 w 1146175"/>
                    <a:gd name="connsiteY42" fmla="*/ 1100716 h 1661098"/>
                    <a:gd name="connsiteX43" fmla="*/ 923925 w 1146175"/>
                    <a:gd name="connsiteY43" fmla="*/ 1135641 h 1661098"/>
                    <a:gd name="connsiteX44" fmla="*/ 917575 w 1146175"/>
                    <a:gd name="connsiteY44" fmla="*/ 1145166 h 1661098"/>
                    <a:gd name="connsiteX45" fmla="*/ 923925 w 1146175"/>
                    <a:gd name="connsiteY45" fmla="*/ 1199141 h 1661098"/>
                    <a:gd name="connsiteX46" fmla="*/ 939800 w 1146175"/>
                    <a:gd name="connsiteY46" fmla="*/ 1221366 h 1661098"/>
                    <a:gd name="connsiteX47" fmla="*/ 946150 w 1146175"/>
                    <a:gd name="connsiteY47" fmla="*/ 1234066 h 1661098"/>
                    <a:gd name="connsiteX48" fmla="*/ 952500 w 1146175"/>
                    <a:gd name="connsiteY48" fmla="*/ 1243591 h 1661098"/>
                    <a:gd name="connsiteX49" fmla="*/ 965200 w 1146175"/>
                    <a:gd name="connsiteY49" fmla="*/ 1268991 h 1661098"/>
                    <a:gd name="connsiteX50" fmla="*/ 974725 w 1146175"/>
                    <a:gd name="connsiteY50" fmla="*/ 1291216 h 1661098"/>
                    <a:gd name="connsiteX51" fmla="*/ 977900 w 1146175"/>
                    <a:gd name="connsiteY51" fmla="*/ 1303916 h 1661098"/>
                    <a:gd name="connsiteX52" fmla="*/ 981075 w 1146175"/>
                    <a:gd name="connsiteY52" fmla="*/ 1313441 h 1661098"/>
                    <a:gd name="connsiteX53" fmla="*/ 974725 w 1146175"/>
                    <a:gd name="connsiteY53" fmla="*/ 1348366 h 1661098"/>
                    <a:gd name="connsiteX54" fmla="*/ 949325 w 1146175"/>
                    <a:gd name="connsiteY54" fmla="*/ 1380116 h 1661098"/>
                    <a:gd name="connsiteX55" fmla="*/ 939800 w 1146175"/>
                    <a:gd name="connsiteY55" fmla="*/ 1386466 h 1661098"/>
                    <a:gd name="connsiteX56" fmla="*/ 930275 w 1146175"/>
                    <a:gd name="connsiteY56" fmla="*/ 1395991 h 1661098"/>
                    <a:gd name="connsiteX57" fmla="*/ 923925 w 1146175"/>
                    <a:gd name="connsiteY57" fmla="*/ 1405516 h 1661098"/>
                    <a:gd name="connsiteX58" fmla="*/ 908050 w 1146175"/>
                    <a:gd name="connsiteY58" fmla="*/ 1415041 h 1661098"/>
                    <a:gd name="connsiteX59" fmla="*/ 895350 w 1146175"/>
                    <a:gd name="connsiteY59" fmla="*/ 1427741 h 1661098"/>
                    <a:gd name="connsiteX60" fmla="*/ 882650 w 1146175"/>
                    <a:gd name="connsiteY60" fmla="*/ 1437266 h 1661098"/>
                    <a:gd name="connsiteX61" fmla="*/ 873125 w 1146175"/>
                    <a:gd name="connsiteY61" fmla="*/ 1446791 h 1661098"/>
                    <a:gd name="connsiteX62" fmla="*/ 844550 w 1146175"/>
                    <a:gd name="connsiteY62" fmla="*/ 1462666 h 1661098"/>
                    <a:gd name="connsiteX63" fmla="*/ 835025 w 1146175"/>
                    <a:gd name="connsiteY63" fmla="*/ 1465841 h 1661098"/>
                    <a:gd name="connsiteX64" fmla="*/ 815975 w 1146175"/>
                    <a:gd name="connsiteY64" fmla="*/ 1459491 h 1661098"/>
                    <a:gd name="connsiteX65" fmla="*/ 774700 w 1146175"/>
                    <a:gd name="connsiteY65" fmla="*/ 1443616 h 1661098"/>
                    <a:gd name="connsiteX66" fmla="*/ 749300 w 1146175"/>
                    <a:gd name="connsiteY66" fmla="*/ 1437266 h 1661098"/>
                    <a:gd name="connsiteX67" fmla="*/ 717550 w 1146175"/>
                    <a:gd name="connsiteY67" fmla="*/ 1424566 h 1661098"/>
                    <a:gd name="connsiteX68" fmla="*/ 688975 w 1146175"/>
                    <a:gd name="connsiteY68" fmla="*/ 1418216 h 1661098"/>
                    <a:gd name="connsiteX69" fmla="*/ 657225 w 1146175"/>
                    <a:gd name="connsiteY69" fmla="*/ 1408691 h 1661098"/>
                    <a:gd name="connsiteX70" fmla="*/ 635000 w 1146175"/>
                    <a:gd name="connsiteY70" fmla="*/ 1411866 h 1661098"/>
                    <a:gd name="connsiteX71" fmla="*/ 622300 w 1146175"/>
                    <a:gd name="connsiteY71" fmla="*/ 1418216 h 1661098"/>
                    <a:gd name="connsiteX72" fmla="*/ 606425 w 1146175"/>
                    <a:gd name="connsiteY72" fmla="*/ 1427741 h 1661098"/>
                    <a:gd name="connsiteX73" fmla="*/ 577850 w 1146175"/>
                    <a:gd name="connsiteY73" fmla="*/ 1443616 h 1661098"/>
                    <a:gd name="connsiteX74" fmla="*/ 558800 w 1146175"/>
                    <a:gd name="connsiteY74" fmla="*/ 1446791 h 1661098"/>
                    <a:gd name="connsiteX75" fmla="*/ 501650 w 1146175"/>
                    <a:gd name="connsiteY75" fmla="*/ 1453141 h 1661098"/>
                    <a:gd name="connsiteX76" fmla="*/ 492125 w 1146175"/>
                    <a:gd name="connsiteY76" fmla="*/ 1459491 h 1661098"/>
                    <a:gd name="connsiteX77" fmla="*/ 466725 w 1146175"/>
                    <a:gd name="connsiteY77" fmla="*/ 1491241 h 1661098"/>
                    <a:gd name="connsiteX78" fmla="*/ 457200 w 1146175"/>
                    <a:gd name="connsiteY78" fmla="*/ 1510291 h 1661098"/>
                    <a:gd name="connsiteX79" fmla="*/ 454025 w 1146175"/>
                    <a:gd name="connsiteY79" fmla="*/ 1519816 h 1661098"/>
                    <a:gd name="connsiteX80" fmla="*/ 447675 w 1146175"/>
                    <a:gd name="connsiteY80" fmla="*/ 1535691 h 1661098"/>
                    <a:gd name="connsiteX81" fmla="*/ 434975 w 1146175"/>
                    <a:gd name="connsiteY81" fmla="*/ 1561091 h 1661098"/>
                    <a:gd name="connsiteX82" fmla="*/ 431800 w 1146175"/>
                    <a:gd name="connsiteY82" fmla="*/ 1576966 h 1661098"/>
                    <a:gd name="connsiteX83" fmla="*/ 425450 w 1146175"/>
                    <a:gd name="connsiteY83" fmla="*/ 1602366 h 1661098"/>
                    <a:gd name="connsiteX84" fmla="*/ 422275 w 1146175"/>
                    <a:gd name="connsiteY84" fmla="*/ 1611891 h 1661098"/>
                    <a:gd name="connsiteX85" fmla="*/ 412750 w 1146175"/>
                    <a:gd name="connsiteY85" fmla="*/ 1621416 h 1661098"/>
                    <a:gd name="connsiteX86" fmla="*/ 222250 w 1146175"/>
                    <a:gd name="connsiteY86" fmla="*/ 1627766 h 1661098"/>
                    <a:gd name="connsiteX87" fmla="*/ 215900 w 1146175"/>
                    <a:gd name="connsiteY87" fmla="*/ 1611891 h 1661098"/>
                    <a:gd name="connsiteX88" fmla="*/ 206375 w 1146175"/>
                    <a:gd name="connsiteY88" fmla="*/ 1599191 h 1661098"/>
                    <a:gd name="connsiteX89" fmla="*/ 203200 w 1146175"/>
                    <a:gd name="connsiteY89" fmla="*/ 1586491 h 1661098"/>
                    <a:gd name="connsiteX90" fmla="*/ 196850 w 1146175"/>
                    <a:gd name="connsiteY90" fmla="*/ 1573791 h 1661098"/>
                    <a:gd name="connsiteX91" fmla="*/ 193675 w 1146175"/>
                    <a:gd name="connsiteY91" fmla="*/ 1564266 h 1661098"/>
                    <a:gd name="connsiteX92" fmla="*/ 187325 w 1146175"/>
                    <a:gd name="connsiteY92" fmla="*/ 1551566 h 1661098"/>
                    <a:gd name="connsiteX93" fmla="*/ 180975 w 1146175"/>
                    <a:gd name="connsiteY93" fmla="*/ 1535691 h 1661098"/>
                    <a:gd name="connsiteX94" fmla="*/ 161925 w 1146175"/>
                    <a:gd name="connsiteY94" fmla="*/ 1507116 h 1661098"/>
                    <a:gd name="connsiteX95" fmla="*/ 149225 w 1146175"/>
                    <a:gd name="connsiteY95" fmla="*/ 1484891 h 1661098"/>
                    <a:gd name="connsiteX96" fmla="*/ 142875 w 1146175"/>
                    <a:gd name="connsiteY96" fmla="*/ 1469016 h 1661098"/>
                    <a:gd name="connsiteX97" fmla="*/ 130175 w 1146175"/>
                    <a:gd name="connsiteY97" fmla="*/ 1465841 h 1661098"/>
                    <a:gd name="connsiteX98" fmla="*/ 101600 w 1146175"/>
                    <a:gd name="connsiteY98" fmla="*/ 1453141 h 1661098"/>
                    <a:gd name="connsiteX99" fmla="*/ 69850 w 1146175"/>
                    <a:gd name="connsiteY99" fmla="*/ 1443616 h 1661098"/>
                    <a:gd name="connsiteX100" fmla="*/ 41275 w 1146175"/>
                    <a:gd name="connsiteY100" fmla="*/ 1430916 h 1661098"/>
                    <a:gd name="connsiteX101" fmla="*/ 31750 w 1146175"/>
                    <a:gd name="connsiteY101" fmla="*/ 1424566 h 1661098"/>
                    <a:gd name="connsiteX102" fmla="*/ 15875 w 1146175"/>
                    <a:gd name="connsiteY102" fmla="*/ 1418216 h 1661098"/>
                    <a:gd name="connsiteX103" fmla="*/ 0 w 1146175"/>
                    <a:gd name="connsiteY10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69975 w 1146175"/>
                    <a:gd name="connsiteY32" fmla="*/ 938791 h 1661098"/>
                    <a:gd name="connsiteX33" fmla="*/ 1038225 w 1146175"/>
                    <a:gd name="connsiteY33" fmla="*/ 957841 h 1661098"/>
                    <a:gd name="connsiteX34" fmla="*/ 996950 w 1146175"/>
                    <a:gd name="connsiteY34" fmla="*/ 983241 h 1661098"/>
                    <a:gd name="connsiteX35" fmla="*/ 977900 w 1146175"/>
                    <a:gd name="connsiteY35" fmla="*/ 989591 h 1661098"/>
                    <a:gd name="connsiteX36" fmla="*/ 968375 w 1146175"/>
                    <a:gd name="connsiteY36" fmla="*/ 1014991 h 1661098"/>
                    <a:gd name="connsiteX37" fmla="*/ 958850 w 1146175"/>
                    <a:gd name="connsiteY37" fmla="*/ 1040391 h 1661098"/>
                    <a:gd name="connsiteX38" fmla="*/ 955675 w 1146175"/>
                    <a:gd name="connsiteY38" fmla="*/ 1065791 h 1661098"/>
                    <a:gd name="connsiteX39" fmla="*/ 949325 w 1146175"/>
                    <a:gd name="connsiteY39" fmla="*/ 1075316 h 1661098"/>
                    <a:gd name="connsiteX40" fmla="*/ 946150 w 1146175"/>
                    <a:gd name="connsiteY40" fmla="*/ 1084841 h 1661098"/>
                    <a:gd name="connsiteX41" fmla="*/ 936625 w 1146175"/>
                    <a:gd name="connsiteY41" fmla="*/ 1100716 h 1661098"/>
                    <a:gd name="connsiteX42" fmla="*/ 923925 w 1146175"/>
                    <a:gd name="connsiteY42" fmla="*/ 1135641 h 1661098"/>
                    <a:gd name="connsiteX43" fmla="*/ 917575 w 1146175"/>
                    <a:gd name="connsiteY43" fmla="*/ 1145166 h 1661098"/>
                    <a:gd name="connsiteX44" fmla="*/ 923925 w 1146175"/>
                    <a:gd name="connsiteY44" fmla="*/ 1199141 h 1661098"/>
                    <a:gd name="connsiteX45" fmla="*/ 939800 w 1146175"/>
                    <a:gd name="connsiteY45" fmla="*/ 1221366 h 1661098"/>
                    <a:gd name="connsiteX46" fmla="*/ 946150 w 1146175"/>
                    <a:gd name="connsiteY46" fmla="*/ 1234066 h 1661098"/>
                    <a:gd name="connsiteX47" fmla="*/ 952500 w 1146175"/>
                    <a:gd name="connsiteY47" fmla="*/ 1243591 h 1661098"/>
                    <a:gd name="connsiteX48" fmla="*/ 965200 w 1146175"/>
                    <a:gd name="connsiteY48" fmla="*/ 1268991 h 1661098"/>
                    <a:gd name="connsiteX49" fmla="*/ 974725 w 1146175"/>
                    <a:gd name="connsiteY49" fmla="*/ 1291216 h 1661098"/>
                    <a:gd name="connsiteX50" fmla="*/ 977900 w 1146175"/>
                    <a:gd name="connsiteY50" fmla="*/ 1303916 h 1661098"/>
                    <a:gd name="connsiteX51" fmla="*/ 981075 w 1146175"/>
                    <a:gd name="connsiteY51" fmla="*/ 1313441 h 1661098"/>
                    <a:gd name="connsiteX52" fmla="*/ 974725 w 1146175"/>
                    <a:gd name="connsiteY52" fmla="*/ 1348366 h 1661098"/>
                    <a:gd name="connsiteX53" fmla="*/ 949325 w 1146175"/>
                    <a:gd name="connsiteY53" fmla="*/ 1380116 h 1661098"/>
                    <a:gd name="connsiteX54" fmla="*/ 939800 w 1146175"/>
                    <a:gd name="connsiteY54" fmla="*/ 1386466 h 1661098"/>
                    <a:gd name="connsiteX55" fmla="*/ 930275 w 1146175"/>
                    <a:gd name="connsiteY55" fmla="*/ 1395991 h 1661098"/>
                    <a:gd name="connsiteX56" fmla="*/ 923925 w 1146175"/>
                    <a:gd name="connsiteY56" fmla="*/ 1405516 h 1661098"/>
                    <a:gd name="connsiteX57" fmla="*/ 908050 w 1146175"/>
                    <a:gd name="connsiteY57" fmla="*/ 1415041 h 1661098"/>
                    <a:gd name="connsiteX58" fmla="*/ 895350 w 1146175"/>
                    <a:gd name="connsiteY58" fmla="*/ 1427741 h 1661098"/>
                    <a:gd name="connsiteX59" fmla="*/ 882650 w 1146175"/>
                    <a:gd name="connsiteY59" fmla="*/ 1437266 h 1661098"/>
                    <a:gd name="connsiteX60" fmla="*/ 873125 w 1146175"/>
                    <a:gd name="connsiteY60" fmla="*/ 1446791 h 1661098"/>
                    <a:gd name="connsiteX61" fmla="*/ 844550 w 1146175"/>
                    <a:gd name="connsiteY61" fmla="*/ 1462666 h 1661098"/>
                    <a:gd name="connsiteX62" fmla="*/ 835025 w 1146175"/>
                    <a:gd name="connsiteY62" fmla="*/ 1465841 h 1661098"/>
                    <a:gd name="connsiteX63" fmla="*/ 815975 w 1146175"/>
                    <a:gd name="connsiteY63" fmla="*/ 1459491 h 1661098"/>
                    <a:gd name="connsiteX64" fmla="*/ 774700 w 1146175"/>
                    <a:gd name="connsiteY64" fmla="*/ 1443616 h 1661098"/>
                    <a:gd name="connsiteX65" fmla="*/ 749300 w 1146175"/>
                    <a:gd name="connsiteY65" fmla="*/ 1437266 h 1661098"/>
                    <a:gd name="connsiteX66" fmla="*/ 717550 w 1146175"/>
                    <a:gd name="connsiteY66" fmla="*/ 1424566 h 1661098"/>
                    <a:gd name="connsiteX67" fmla="*/ 688975 w 1146175"/>
                    <a:gd name="connsiteY67" fmla="*/ 1418216 h 1661098"/>
                    <a:gd name="connsiteX68" fmla="*/ 657225 w 1146175"/>
                    <a:gd name="connsiteY68" fmla="*/ 1408691 h 1661098"/>
                    <a:gd name="connsiteX69" fmla="*/ 635000 w 1146175"/>
                    <a:gd name="connsiteY69" fmla="*/ 1411866 h 1661098"/>
                    <a:gd name="connsiteX70" fmla="*/ 622300 w 1146175"/>
                    <a:gd name="connsiteY70" fmla="*/ 1418216 h 1661098"/>
                    <a:gd name="connsiteX71" fmla="*/ 606425 w 1146175"/>
                    <a:gd name="connsiteY71" fmla="*/ 1427741 h 1661098"/>
                    <a:gd name="connsiteX72" fmla="*/ 577850 w 1146175"/>
                    <a:gd name="connsiteY72" fmla="*/ 1443616 h 1661098"/>
                    <a:gd name="connsiteX73" fmla="*/ 558800 w 1146175"/>
                    <a:gd name="connsiteY73" fmla="*/ 1446791 h 1661098"/>
                    <a:gd name="connsiteX74" fmla="*/ 501650 w 1146175"/>
                    <a:gd name="connsiteY74" fmla="*/ 1453141 h 1661098"/>
                    <a:gd name="connsiteX75" fmla="*/ 492125 w 1146175"/>
                    <a:gd name="connsiteY75" fmla="*/ 1459491 h 1661098"/>
                    <a:gd name="connsiteX76" fmla="*/ 466725 w 1146175"/>
                    <a:gd name="connsiteY76" fmla="*/ 1491241 h 1661098"/>
                    <a:gd name="connsiteX77" fmla="*/ 457200 w 1146175"/>
                    <a:gd name="connsiteY77" fmla="*/ 1510291 h 1661098"/>
                    <a:gd name="connsiteX78" fmla="*/ 454025 w 1146175"/>
                    <a:gd name="connsiteY78" fmla="*/ 1519816 h 1661098"/>
                    <a:gd name="connsiteX79" fmla="*/ 447675 w 1146175"/>
                    <a:gd name="connsiteY79" fmla="*/ 1535691 h 1661098"/>
                    <a:gd name="connsiteX80" fmla="*/ 434975 w 1146175"/>
                    <a:gd name="connsiteY80" fmla="*/ 1561091 h 1661098"/>
                    <a:gd name="connsiteX81" fmla="*/ 431800 w 1146175"/>
                    <a:gd name="connsiteY81" fmla="*/ 1576966 h 1661098"/>
                    <a:gd name="connsiteX82" fmla="*/ 425450 w 1146175"/>
                    <a:gd name="connsiteY82" fmla="*/ 1602366 h 1661098"/>
                    <a:gd name="connsiteX83" fmla="*/ 422275 w 1146175"/>
                    <a:gd name="connsiteY83" fmla="*/ 1611891 h 1661098"/>
                    <a:gd name="connsiteX84" fmla="*/ 412750 w 1146175"/>
                    <a:gd name="connsiteY84" fmla="*/ 1621416 h 1661098"/>
                    <a:gd name="connsiteX85" fmla="*/ 222250 w 1146175"/>
                    <a:gd name="connsiteY85" fmla="*/ 1627766 h 1661098"/>
                    <a:gd name="connsiteX86" fmla="*/ 215900 w 1146175"/>
                    <a:gd name="connsiteY86" fmla="*/ 1611891 h 1661098"/>
                    <a:gd name="connsiteX87" fmla="*/ 206375 w 1146175"/>
                    <a:gd name="connsiteY87" fmla="*/ 1599191 h 1661098"/>
                    <a:gd name="connsiteX88" fmla="*/ 203200 w 1146175"/>
                    <a:gd name="connsiteY88" fmla="*/ 1586491 h 1661098"/>
                    <a:gd name="connsiteX89" fmla="*/ 196850 w 1146175"/>
                    <a:gd name="connsiteY89" fmla="*/ 1573791 h 1661098"/>
                    <a:gd name="connsiteX90" fmla="*/ 193675 w 1146175"/>
                    <a:gd name="connsiteY90" fmla="*/ 1564266 h 1661098"/>
                    <a:gd name="connsiteX91" fmla="*/ 187325 w 1146175"/>
                    <a:gd name="connsiteY91" fmla="*/ 1551566 h 1661098"/>
                    <a:gd name="connsiteX92" fmla="*/ 180975 w 1146175"/>
                    <a:gd name="connsiteY92" fmla="*/ 1535691 h 1661098"/>
                    <a:gd name="connsiteX93" fmla="*/ 161925 w 1146175"/>
                    <a:gd name="connsiteY93" fmla="*/ 1507116 h 1661098"/>
                    <a:gd name="connsiteX94" fmla="*/ 149225 w 1146175"/>
                    <a:gd name="connsiteY94" fmla="*/ 1484891 h 1661098"/>
                    <a:gd name="connsiteX95" fmla="*/ 142875 w 1146175"/>
                    <a:gd name="connsiteY95" fmla="*/ 1469016 h 1661098"/>
                    <a:gd name="connsiteX96" fmla="*/ 130175 w 1146175"/>
                    <a:gd name="connsiteY96" fmla="*/ 1465841 h 1661098"/>
                    <a:gd name="connsiteX97" fmla="*/ 101600 w 1146175"/>
                    <a:gd name="connsiteY97" fmla="*/ 1453141 h 1661098"/>
                    <a:gd name="connsiteX98" fmla="*/ 69850 w 1146175"/>
                    <a:gd name="connsiteY98" fmla="*/ 1443616 h 1661098"/>
                    <a:gd name="connsiteX99" fmla="*/ 41275 w 1146175"/>
                    <a:gd name="connsiteY99" fmla="*/ 1430916 h 1661098"/>
                    <a:gd name="connsiteX100" fmla="*/ 31750 w 1146175"/>
                    <a:gd name="connsiteY100" fmla="*/ 1424566 h 1661098"/>
                    <a:gd name="connsiteX101" fmla="*/ 15875 w 1146175"/>
                    <a:gd name="connsiteY101" fmla="*/ 1418216 h 1661098"/>
                    <a:gd name="connsiteX102" fmla="*/ 0 w 1146175"/>
                    <a:gd name="connsiteY10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38225 w 1146175"/>
                    <a:gd name="connsiteY32" fmla="*/ 957841 h 1661098"/>
                    <a:gd name="connsiteX33" fmla="*/ 996950 w 1146175"/>
                    <a:gd name="connsiteY33" fmla="*/ 983241 h 1661098"/>
                    <a:gd name="connsiteX34" fmla="*/ 977900 w 1146175"/>
                    <a:gd name="connsiteY34" fmla="*/ 989591 h 1661098"/>
                    <a:gd name="connsiteX35" fmla="*/ 968375 w 1146175"/>
                    <a:gd name="connsiteY35" fmla="*/ 1014991 h 1661098"/>
                    <a:gd name="connsiteX36" fmla="*/ 958850 w 1146175"/>
                    <a:gd name="connsiteY36" fmla="*/ 1040391 h 1661098"/>
                    <a:gd name="connsiteX37" fmla="*/ 955675 w 1146175"/>
                    <a:gd name="connsiteY37" fmla="*/ 1065791 h 1661098"/>
                    <a:gd name="connsiteX38" fmla="*/ 949325 w 1146175"/>
                    <a:gd name="connsiteY38" fmla="*/ 1075316 h 1661098"/>
                    <a:gd name="connsiteX39" fmla="*/ 946150 w 1146175"/>
                    <a:gd name="connsiteY39" fmla="*/ 1084841 h 1661098"/>
                    <a:gd name="connsiteX40" fmla="*/ 936625 w 1146175"/>
                    <a:gd name="connsiteY40" fmla="*/ 1100716 h 1661098"/>
                    <a:gd name="connsiteX41" fmla="*/ 923925 w 1146175"/>
                    <a:gd name="connsiteY41" fmla="*/ 1135641 h 1661098"/>
                    <a:gd name="connsiteX42" fmla="*/ 917575 w 1146175"/>
                    <a:gd name="connsiteY42" fmla="*/ 1145166 h 1661098"/>
                    <a:gd name="connsiteX43" fmla="*/ 923925 w 1146175"/>
                    <a:gd name="connsiteY43" fmla="*/ 1199141 h 1661098"/>
                    <a:gd name="connsiteX44" fmla="*/ 939800 w 1146175"/>
                    <a:gd name="connsiteY44" fmla="*/ 1221366 h 1661098"/>
                    <a:gd name="connsiteX45" fmla="*/ 946150 w 1146175"/>
                    <a:gd name="connsiteY45" fmla="*/ 1234066 h 1661098"/>
                    <a:gd name="connsiteX46" fmla="*/ 952500 w 1146175"/>
                    <a:gd name="connsiteY46" fmla="*/ 1243591 h 1661098"/>
                    <a:gd name="connsiteX47" fmla="*/ 965200 w 1146175"/>
                    <a:gd name="connsiteY47" fmla="*/ 1268991 h 1661098"/>
                    <a:gd name="connsiteX48" fmla="*/ 974725 w 1146175"/>
                    <a:gd name="connsiteY48" fmla="*/ 1291216 h 1661098"/>
                    <a:gd name="connsiteX49" fmla="*/ 977900 w 1146175"/>
                    <a:gd name="connsiteY49" fmla="*/ 1303916 h 1661098"/>
                    <a:gd name="connsiteX50" fmla="*/ 981075 w 1146175"/>
                    <a:gd name="connsiteY50" fmla="*/ 1313441 h 1661098"/>
                    <a:gd name="connsiteX51" fmla="*/ 974725 w 1146175"/>
                    <a:gd name="connsiteY51" fmla="*/ 1348366 h 1661098"/>
                    <a:gd name="connsiteX52" fmla="*/ 949325 w 1146175"/>
                    <a:gd name="connsiteY52" fmla="*/ 1380116 h 1661098"/>
                    <a:gd name="connsiteX53" fmla="*/ 939800 w 1146175"/>
                    <a:gd name="connsiteY53" fmla="*/ 1386466 h 1661098"/>
                    <a:gd name="connsiteX54" fmla="*/ 930275 w 1146175"/>
                    <a:gd name="connsiteY54" fmla="*/ 1395991 h 1661098"/>
                    <a:gd name="connsiteX55" fmla="*/ 923925 w 1146175"/>
                    <a:gd name="connsiteY55" fmla="*/ 1405516 h 1661098"/>
                    <a:gd name="connsiteX56" fmla="*/ 908050 w 1146175"/>
                    <a:gd name="connsiteY56" fmla="*/ 1415041 h 1661098"/>
                    <a:gd name="connsiteX57" fmla="*/ 895350 w 1146175"/>
                    <a:gd name="connsiteY57" fmla="*/ 1427741 h 1661098"/>
                    <a:gd name="connsiteX58" fmla="*/ 882650 w 1146175"/>
                    <a:gd name="connsiteY58" fmla="*/ 1437266 h 1661098"/>
                    <a:gd name="connsiteX59" fmla="*/ 873125 w 1146175"/>
                    <a:gd name="connsiteY59" fmla="*/ 1446791 h 1661098"/>
                    <a:gd name="connsiteX60" fmla="*/ 844550 w 1146175"/>
                    <a:gd name="connsiteY60" fmla="*/ 1462666 h 1661098"/>
                    <a:gd name="connsiteX61" fmla="*/ 835025 w 1146175"/>
                    <a:gd name="connsiteY61" fmla="*/ 1465841 h 1661098"/>
                    <a:gd name="connsiteX62" fmla="*/ 815975 w 1146175"/>
                    <a:gd name="connsiteY62" fmla="*/ 1459491 h 1661098"/>
                    <a:gd name="connsiteX63" fmla="*/ 774700 w 1146175"/>
                    <a:gd name="connsiteY63" fmla="*/ 1443616 h 1661098"/>
                    <a:gd name="connsiteX64" fmla="*/ 749300 w 1146175"/>
                    <a:gd name="connsiteY64" fmla="*/ 1437266 h 1661098"/>
                    <a:gd name="connsiteX65" fmla="*/ 717550 w 1146175"/>
                    <a:gd name="connsiteY65" fmla="*/ 1424566 h 1661098"/>
                    <a:gd name="connsiteX66" fmla="*/ 688975 w 1146175"/>
                    <a:gd name="connsiteY66" fmla="*/ 1418216 h 1661098"/>
                    <a:gd name="connsiteX67" fmla="*/ 657225 w 1146175"/>
                    <a:gd name="connsiteY67" fmla="*/ 1408691 h 1661098"/>
                    <a:gd name="connsiteX68" fmla="*/ 635000 w 1146175"/>
                    <a:gd name="connsiteY68" fmla="*/ 1411866 h 1661098"/>
                    <a:gd name="connsiteX69" fmla="*/ 622300 w 1146175"/>
                    <a:gd name="connsiteY69" fmla="*/ 1418216 h 1661098"/>
                    <a:gd name="connsiteX70" fmla="*/ 606425 w 1146175"/>
                    <a:gd name="connsiteY70" fmla="*/ 1427741 h 1661098"/>
                    <a:gd name="connsiteX71" fmla="*/ 577850 w 1146175"/>
                    <a:gd name="connsiteY71" fmla="*/ 1443616 h 1661098"/>
                    <a:gd name="connsiteX72" fmla="*/ 558800 w 1146175"/>
                    <a:gd name="connsiteY72" fmla="*/ 1446791 h 1661098"/>
                    <a:gd name="connsiteX73" fmla="*/ 501650 w 1146175"/>
                    <a:gd name="connsiteY73" fmla="*/ 1453141 h 1661098"/>
                    <a:gd name="connsiteX74" fmla="*/ 492125 w 1146175"/>
                    <a:gd name="connsiteY74" fmla="*/ 1459491 h 1661098"/>
                    <a:gd name="connsiteX75" fmla="*/ 466725 w 1146175"/>
                    <a:gd name="connsiteY75" fmla="*/ 1491241 h 1661098"/>
                    <a:gd name="connsiteX76" fmla="*/ 457200 w 1146175"/>
                    <a:gd name="connsiteY76" fmla="*/ 1510291 h 1661098"/>
                    <a:gd name="connsiteX77" fmla="*/ 454025 w 1146175"/>
                    <a:gd name="connsiteY77" fmla="*/ 1519816 h 1661098"/>
                    <a:gd name="connsiteX78" fmla="*/ 447675 w 1146175"/>
                    <a:gd name="connsiteY78" fmla="*/ 1535691 h 1661098"/>
                    <a:gd name="connsiteX79" fmla="*/ 434975 w 1146175"/>
                    <a:gd name="connsiteY79" fmla="*/ 1561091 h 1661098"/>
                    <a:gd name="connsiteX80" fmla="*/ 431800 w 1146175"/>
                    <a:gd name="connsiteY80" fmla="*/ 1576966 h 1661098"/>
                    <a:gd name="connsiteX81" fmla="*/ 425450 w 1146175"/>
                    <a:gd name="connsiteY81" fmla="*/ 1602366 h 1661098"/>
                    <a:gd name="connsiteX82" fmla="*/ 422275 w 1146175"/>
                    <a:gd name="connsiteY82" fmla="*/ 1611891 h 1661098"/>
                    <a:gd name="connsiteX83" fmla="*/ 412750 w 1146175"/>
                    <a:gd name="connsiteY83" fmla="*/ 1621416 h 1661098"/>
                    <a:gd name="connsiteX84" fmla="*/ 222250 w 1146175"/>
                    <a:gd name="connsiteY84" fmla="*/ 1627766 h 1661098"/>
                    <a:gd name="connsiteX85" fmla="*/ 215900 w 1146175"/>
                    <a:gd name="connsiteY85" fmla="*/ 1611891 h 1661098"/>
                    <a:gd name="connsiteX86" fmla="*/ 206375 w 1146175"/>
                    <a:gd name="connsiteY86" fmla="*/ 1599191 h 1661098"/>
                    <a:gd name="connsiteX87" fmla="*/ 203200 w 1146175"/>
                    <a:gd name="connsiteY87" fmla="*/ 1586491 h 1661098"/>
                    <a:gd name="connsiteX88" fmla="*/ 196850 w 1146175"/>
                    <a:gd name="connsiteY88" fmla="*/ 1573791 h 1661098"/>
                    <a:gd name="connsiteX89" fmla="*/ 193675 w 1146175"/>
                    <a:gd name="connsiteY89" fmla="*/ 1564266 h 1661098"/>
                    <a:gd name="connsiteX90" fmla="*/ 187325 w 1146175"/>
                    <a:gd name="connsiteY90" fmla="*/ 1551566 h 1661098"/>
                    <a:gd name="connsiteX91" fmla="*/ 180975 w 1146175"/>
                    <a:gd name="connsiteY91" fmla="*/ 1535691 h 1661098"/>
                    <a:gd name="connsiteX92" fmla="*/ 161925 w 1146175"/>
                    <a:gd name="connsiteY92" fmla="*/ 1507116 h 1661098"/>
                    <a:gd name="connsiteX93" fmla="*/ 149225 w 1146175"/>
                    <a:gd name="connsiteY93" fmla="*/ 1484891 h 1661098"/>
                    <a:gd name="connsiteX94" fmla="*/ 142875 w 1146175"/>
                    <a:gd name="connsiteY94" fmla="*/ 1469016 h 1661098"/>
                    <a:gd name="connsiteX95" fmla="*/ 130175 w 1146175"/>
                    <a:gd name="connsiteY95" fmla="*/ 1465841 h 1661098"/>
                    <a:gd name="connsiteX96" fmla="*/ 101600 w 1146175"/>
                    <a:gd name="connsiteY96" fmla="*/ 1453141 h 1661098"/>
                    <a:gd name="connsiteX97" fmla="*/ 69850 w 1146175"/>
                    <a:gd name="connsiteY97" fmla="*/ 1443616 h 1661098"/>
                    <a:gd name="connsiteX98" fmla="*/ 41275 w 1146175"/>
                    <a:gd name="connsiteY98" fmla="*/ 1430916 h 1661098"/>
                    <a:gd name="connsiteX99" fmla="*/ 31750 w 1146175"/>
                    <a:gd name="connsiteY99" fmla="*/ 1424566 h 1661098"/>
                    <a:gd name="connsiteX100" fmla="*/ 15875 w 1146175"/>
                    <a:gd name="connsiteY100" fmla="*/ 1418216 h 1661098"/>
                    <a:gd name="connsiteX101" fmla="*/ 0 w 1146175"/>
                    <a:gd name="connsiteY10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38225 w 1146175"/>
                    <a:gd name="connsiteY31" fmla="*/ 957841 h 1661098"/>
                    <a:gd name="connsiteX32" fmla="*/ 996950 w 1146175"/>
                    <a:gd name="connsiteY32" fmla="*/ 983241 h 1661098"/>
                    <a:gd name="connsiteX33" fmla="*/ 977900 w 1146175"/>
                    <a:gd name="connsiteY33" fmla="*/ 989591 h 1661098"/>
                    <a:gd name="connsiteX34" fmla="*/ 968375 w 1146175"/>
                    <a:gd name="connsiteY34" fmla="*/ 1014991 h 1661098"/>
                    <a:gd name="connsiteX35" fmla="*/ 958850 w 1146175"/>
                    <a:gd name="connsiteY35" fmla="*/ 1040391 h 1661098"/>
                    <a:gd name="connsiteX36" fmla="*/ 955675 w 1146175"/>
                    <a:gd name="connsiteY36" fmla="*/ 1065791 h 1661098"/>
                    <a:gd name="connsiteX37" fmla="*/ 949325 w 1146175"/>
                    <a:gd name="connsiteY37" fmla="*/ 1075316 h 1661098"/>
                    <a:gd name="connsiteX38" fmla="*/ 946150 w 1146175"/>
                    <a:gd name="connsiteY38" fmla="*/ 1084841 h 1661098"/>
                    <a:gd name="connsiteX39" fmla="*/ 936625 w 1146175"/>
                    <a:gd name="connsiteY39" fmla="*/ 1100716 h 1661098"/>
                    <a:gd name="connsiteX40" fmla="*/ 923925 w 1146175"/>
                    <a:gd name="connsiteY40" fmla="*/ 1135641 h 1661098"/>
                    <a:gd name="connsiteX41" fmla="*/ 917575 w 1146175"/>
                    <a:gd name="connsiteY41" fmla="*/ 1145166 h 1661098"/>
                    <a:gd name="connsiteX42" fmla="*/ 923925 w 1146175"/>
                    <a:gd name="connsiteY42" fmla="*/ 1199141 h 1661098"/>
                    <a:gd name="connsiteX43" fmla="*/ 939800 w 1146175"/>
                    <a:gd name="connsiteY43" fmla="*/ 1221366 h 1661098"/>
                    <a:gd name="connsiteX44" fmla="*/ 946150 w 1146175"/>
                    <a:gd name="connsiteY44" fmla="*/ 1234066 h 1661098"/>
                    <a:gd name="connsiteX45" fmla="*/ 952500 w 1146175"/>
                    <a:gd name="connsiteY45" fmla="*/ 1243591 h 1661098"/>
                    <a:gd name="connsiteX46" fmla="*/ 965200 w 1146175"/>
                    <a:gd name="connsiteY46" fmla="*/ 1268991 h 1661098"/>
                    <a:gd name="connsiteX47" fmla="*/ 974725 w 1146175"/>
                    <a:gd name="connsiteY47" fmla="*/ 1291216 h 1661098"/>
                    <a:gd name="connsiteX48" fmla="*/ 977900 w 1146175"/>
                    <a:gd name="connsiteY48" fmla="*/ 1303916 h 1661098"/>
                    <a:gd name="connsiteX49" fmla="*/ 981075 w 1146175"/>
                    <a:gd name="connsiteY49" fmla="*/ 1313441 h 1661098"/>
                    <a:gd name="connsiteX50" fmla="*/ 974725 w 1146175"/>
                    <a:gd name="connsiteY50" fmla="*/ 1348366 h 1661098"/>
                    <a:gd name="connsiteX51" fmla="*/ 949325 w 1146175"/>
                    <a:gd name="connsiteY51" fmla="*/ 1380116 h 1661098"/>
                    <a:gd name="connsiteX52" fmla="*/ 939800 w 1146175"/>
                    <a:gd name="connsiteY52" fmla="*/ 1386466 h 1661098"/>
                    <a:gd name="connsiteX53" fmla="*/ 930275 w 1146175"/>
                    <a:gd name="connsiteY53" fmla="*/ 1395991 h 1661098"/>
                    <a:gd name="connsiteX54" fmla="*/ 923925 w 1146175"/>
                    <a:gd name="connsiteY54" fmla="*/ 1405516 h 1661098"/>
                    <a:gd name="connsiteX55" fmla="*/ 908050 w 1146175"/>
                    <a:gd name="connsiteY55" fmla="*/ 1415041 h 1661098"/>
                    <a:gd name="connsiteX56" fmla="*/ 895350 w 1146175"/>
                    <a:gd name="connsiteY56" fmla="*/ 1427741 h 1661098"/>
                    <a:gd name="connsiteX57" fmla="*/ 882650 w 1146175"/>
                    <a:gd name="connsiteY57" fmla="*/ 1437266 h 1661098"/>
                    <a:gd name="connsiteX58" fmla="*/ 873125 w 1146175"/>
                    <a:gd name="connsiteY58" fmla="*/ 1446791 h 1661098"/>
                    <a:gd name="connsiteX59" fmla="*/ 844550 w 1146175"/>
                    <a:gd name="connsiteY59" fmla="*/ 1462666 h 1661098"/>
                    <a:gd name="connsiteX60" fmla="*/ 835025 w 1146175"/>
                    <a:gd name="connsiteY60" fmla="*/ 1465841 h 1661098"/>
                    <a:gd name="connsiteX61" fmla="*/ 815975 w 1146175"/>
                    <a:gd name="connsiteY61" fmla="*/ 1459491 h 1661098"/>
                    <a:gd name="connsiteX62" fmla="*/ 774700 w 1146175"/>
                    <a:gd name="connsiteY62" fmla="*/ 1443616 h 1661098"/>
                    <a:gd name="connsiteX63" fmla="*/ 749300 w 1146175"/>
                    <a:gd name="connsiteY63" fmla="*/ 1437266 h 1661098"/>
                    <a:gd name="connsiteX64" fmla="*/ 717550 w 1146175"/>
                    <a:gd name="connsiteY64" fmla="*/ 1424566 h 1661098"/>
                    <a:gd name="connsiteX65" fmla="*/ 688975 w 1146175"/>
                    <a:gd name="connsiteY65" fmla="*/ 1418216 h 1661098"/>
                    <a:gd name="connsiteX66" fmla="*/ 657225 w 1146175"/>
                    <a:gd name="connsiteY66" fmla="*/ 1408691 h 1661098"/>
                    <a:gd name="connsiteX67" fmla="*/ 635000 w 1146175"/>
                    <a:gd name="connsiteY67" fmla="*/ 1411866 h 1661098"/>
                    <a:gd name="connsiteX68" fmla="*/ 622300 w 1146175"/>
                    <a:gd name="connsiteY68" fmla="*/ 1418216 h 1661098"/>
                    <a:gd name="connsiteX69" fmla="*/ 606425 w 1146175"/>
                    <a:gd name="connsiteY69" fmla="*/ 1427741 h 1661098"/>
                    <a:gd name="connsiteX70" fmla="*/ 577850 w 1146175"/>
                    <a:gd name="connsiteY70" fmla="*/ 1443616 h 1661098"/>
                    <a:gd name="connsiteX71" fmla="*/ 558800 w 1146175"/>
                    <a:gd name="connsiteY71" fmla="*/ 1446791 h 1661098"/>
                    <a:gd name="connsiteX72" fmla="*/ 501650 w 1146175"/>
                    <a:gd name="connsiteY72" fmla="*/ 1453141 h 1661098"/>
                    <a:gd name="connsiteX73" fmla="*/ 492125 w 1146175"/>
                    <a:gd name="connsiteY73" fmla="*/ 1459491 h 1661098"/>
                    <a:gd name="connsiteX74" fmla="*/ 466725 w 1146175"/>
                    <a:gd name="connsiteY74" fmla="*/ 1491241 h 1661098"/>
                    <a:gd name="connsiteX75" fmla="*/ 457200 w 1146175"/>
                    <a:gd name="connsiteY75" fmla="*/ 1510291 h 1661098"/>
                    <a:gd name="connsiteX76" fmla="*/ 454025 w 1146175"/>
                    <a:gd name="connsiteY76" fmla="*/ 1519816 h 1661098"/>
                    <a:gd name="connsiteX77" fmla="*/ 447675 w 1146175"/>
                    <a:gd name="connsiteY77" fmla="*/ 1535691 h 1661098"/>
                    <a:gd name="connsiteX78" fmla="*/ 434975 w 1146175"/>
                    <a:gd name="connsiteY78" fmla="*/ 1561091 h 1661098"/>
                    <a:gd name="connsiteX79" fmla="*/ 431800 w 1146175"/>
                    <a:gd name="connsiteY79" fmla="*/ 1576966 h 1661098"/>
                    <a:gd name="connsiteX80" fmla="*/ 425450 w 1146175"/>
                    <a:gd name="connsiteY80" fmla="*/ 1602366 h 1661098"/>
                    <a:gd name="connsiteX81" fmla="*/ 422275 w 1146175"/>
                    <a:gd name="connsiteY81" fmla="*/ 1611891 h 1661098"/>
                    <a:gd name="connsiteX82" fmla="*/ 412750 w 1146175"/>
                    <a:gd name="connsiteY82" fmla="*/ 1621416 h 1661098"/>
                    <a:gd name="connsiteX83" fmla="*/ 222250 w 1146175"/>
                    <a:gd name="connsiteY83" fmla="*/ 1627766 h 1661098"/>
                    <a:gd name="connsiteX84" fmla="*/ 215900 w 1146175"/>
                    <a:gd name="connsiteY84" fmla="*/ 1611891 h 1661098"/>
                    <a:gd name="connsiteX85" fmla="*/ 206375 w 1146175"/>
                    <a:gd name="connsiteY85" fmla="*/ 1599191 h 1661098"/>
                    <a:gd name="connsiteX86" fmla="*/ 203200 w 1146175"/>
                    <a:gd name="connsiteY86" fmla="*/ 1586491 h 1661098"/>
                    <a:gd name="connsiteX87" fmla="*/ 196850 w 1146175"/>
                    <a:gd name="connsiteY87" fmla="*/ 1573791 h 1661098"/>
                    <a:gd name="connsiteX88" fmla="*/ 193675 w 1146175"/>
                    <a:gd name="connsiteY88" fmla="*/ 1564266 h 1661098"/>
                    <a:gd name="connsiteX89" fmla="*/ 187325 w 1146175"/>
                    <a:gd name="connsiteY89" fmla="*/ 1551566 h 1661098"/>
                    <a:gd name="connsiteX90" fmla="*/ 180975 w 1146175"/>
                    <a:gd name="connsiteY90" fmla="*/ 1535691 h 1661098"/>
                    <a:gd name="connsiteX91" fmla="*/ 161925 w 1146175"/>
                    <a:gd name="connsiteY91" fmla="*/ 1507116 h 1661098"/>
                    <a:gd name="connsiteX92" fmla="*/ 149225 w 1146175"/>
                    <a:gd name="connsiteY92" fmla="*/ 1484891 h 1661098"/>
                    <a:gd name="connsiteX93" fmla="*/ 142875 w 1146175"/>
                    <a:gd name="connsiteY93" fmla="*/ 1469016 h 1661098"/>
                    <a:gd name="connsiteX94" fmla="*/ 130175 w 1146175"/>
                    <a:gd name="connsiteY94" fmla="*/ 1465841 h 1661098"/>
                    <a:gd name="connsiteX95" fmla="*/ 101600 w 1146175"/>
                    <a:gd name="connsiteY95" fmla="*/ 1453141 h 1661098"/>
                    <a:gd name="connsiteX96" fmla="*/ 69850 w 1146175"/>
                    <a:gd name="connsiteY96" fmla="*/ 1443616 h 1661098"/>
                    <a:gd name="connsiteX97" fmla="*/ 41275 w 1146175"/>
                    <a:gd name="connsiteY97" fmla="*/ 1430916 h 1661098"/>
                    <a:gd name="connsiteX98" fmla="*/ 31750 w 1146175"/>
                    <a:gd name="connsiteY98" fmla="*/ 1424566 h 1661098"/>
                    <a:gd name="connsiteX99" fmla="*/ 15875 w 1146175"/>
                    <a:gd name="connsiteY99" fmla="*/ 1418216 h 1661098"/>
                    <a:gd name="connsiteX100" fmla="*/ 0 w 1146175"/>
                    <a:gd name="connsiteY10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038225 w 1146175"/>
                    <a:gd name="connsiteY30" fmla="*/ 957841 h 1661098"/>
                    <a:gd name="connsiteX31" fmla="*/ 996950 w 1146175"/>
                    <a:gd name="connsiteY31" fmla="*/ 983241 h 1661098"/>
                    <a:gd name="connsiteX32" fmla="*/ 977900 w 1146175"/>
                    <a:gd name="connsiteY32" fmla="*/ 989591 h 1661098"/>
                    <a:gd name="connsiteX33" fmla="*/ 968375 w 1146175"/>
                    <a:gd name="connsiteY33" fmla="*/ 1014991 h 1661098"/>
                    <a:gd name="connsiteX34" fmla="*/ 958850 w 1146175"/>
                    <a:gd name="connsiteY34" fmla="*/ 1040391 h 1661098"/>
                    <a:gd name="connsiteX35" fmla="*/ 955675 w 1146175"/>
                    <a:gd name="connsiteY35" fmla="*/ 1065791 h 1661098"/>
                    <a:gd name="connsiteX36" fmla="*/ 949325 w 1146175"/>
                    <a:gd name="connsiteY36" fmla="*/ 1075316 h 1661098"/>
                    <a:gd name="connsiteX37" fmla="*/ 946150 w 1146175"/>
                    <a:gd name="connsiteY37" fmla="*/ 1084841 h 1661098"/>
                    <a:gd name="connsiteX38" fmla="*/ 936625 w 1146175"/>
                    <a:gd name="connsiteY38" fmla="*/ 1100716 h 1661098"/>
                    <a:gd name="connsiteX39" fmla="*/ 923925 w 1146175"/>
                    <a:gd name="connsiteY39" fmla="*/ 1135641 h 1661098"/>
                    <a:gd name="connsiteX40" fmla="*/ 917575 w 1146175"/>
                    <a:gd name="connsiteY40" fmla="*/ 1145166 h 1661098"/>
                    <a:gd name="connsiteX41" fmla="*/ 923925 w 1146175"/>
                    <a:gd name="connsiteY41" fmla="*/ 1199141 h 1661098"/>
                    <a:gd name="connsiteX42" fmla="*/ 939800 w 1146175"/>
                    <a:gd name="connsiteY42" fmla="*/ 1221366 h 1661098"/>
                    <a:gd name="connsiteX43" fmla="*/ 946150 w 1146175"/>
                    <a:gd name="connsiteY43" fmla="*/ 1234066 h 1661098"/>
                    <a:gd name="connsiteX44" fmla="*/ 952500 w 1146175"/>
                    <a:gd name="connsiteY44" fmla="*/ 1243591 h 1661098"/>
                    <a:gd name="connsiteX45" fmla="*/ 965200 w 1146175"/>
                    <a:gd name="connsiteY45" fmla="*/ 1268991 h 1661098"/>
                    <a:gd name="connsiteX46" fmla="*/ 974725 w 1146175"/>
                    <a:gd name="connsiteY46" fmla="*/ 1291216 h 1661098"/>
                    <a:gd name="connsiteX47" fmla="*/ 977900 w 1146175"/>
                    <a:gd name="connsiteY47" fmla="*/ 1303916 h 1661098"/>
                    <a:gd name="connsiteX48" fmla="*/ 981075 w 1146175"/>
                    <a:gd name="connsiteY48" fmla="*/ 1313441 h 1661098"/>
                    <a:gd name="connsiteX49" fmla="*/ 974725 w 1146175"/>
                    <a:gd name="connsiteY49" fmla="*/ 1348366 h 1661098"/>
                    <a:gd name="connsiteX50" fmla="*/ 949325 w 1146175"/>
                    <a:gd name="connsiteY50" fmla="*/ 1380116 h 1661098"/>
                    <a:gd name="connsiteX51" fmla="*/ 939800 w 1146175"/>
                    <a:gd name="connsiteY51" fmla="*/ 1386466 h 1661098"/>
                    <a:gd name="connsiteX52" fmla="*/ 930275 w 1146175"/>
                    <a:gd name="connsiteY52" fmla="*/ 1395991 h 1661098"/>
                    <a:gd name="connsiteX53" fmla="*/ 923925 w 1146175"/>
                    <a:gd name="connsiteY53" fmla="*/ 1405516 h 1661098"/>
                    <a:gd name="connsiteX54" fmla="*/ 908050 w 1146175"/>
                    <a:gd name="connsiteY54" fmla="*/ 1415041 h 1661098"/>
                    <a:gd name="connsiteX55" fmla="*/ 895350 w 1146175"/>
                    <a:gd name="connsiteY55" fmla="*/ 1427741 h 1661098"/>
                    <a:gd name="connsiteX56" fmla="*/ 882650 w 1146175"/>
                    <a:gd name="connsiteY56" fmla="*/ 1437266 h 1661098"/>
                    <a:gd name="connsiteX57" fmla="*/ 873125 w 1146175"/>
                    <a:gd name="connsiteY57" fmla="*/ 1446791 h 1661098"/>
                    <a:gd name="connsiteX58" fmla="*/ 844550 w 1146175"/>
                    <a:gd name="connsiteY58" fmla="*/ 1462666 h 1661098"/>
                    <a:gd name="connsiteX59" fmla="*/ 835025 w 1146175"/>
                    <a:gd name="connsiteY59" fmla="*/ 1465841 h 1661098"/>
                    <a:gd name="connsiteX60" fmla="*/ 815975 w 1146175"/>
                    <a:gd name="connsiteY60" fmla="*/ 1459491 h 1661098"/>
                    <a:gd name="connsiteX61" fmla="*/ 774700 w 1146175"/>
                    <a:gd name="connsiteY61" fmla="*/ 1443616 h 1661098"/>
                    <a:gd name="connsiteX62" fmla="*/ 749300 w 1146175"/>
                    <a:gd name="connsiteY62" fmla="*/ 1437266 h 1661098"/>
                    <a:gd name="connsiteX63" fmla="*/ 717550 w 1146175"/>
                    <a:gd name="connsiteY63" fmla="*/ 1424566 h 1661098"/>
                    <a:gd name="connsiteX64" fmla="*/ 688975 w 1146175"/>
                    <a:gd name="connsiteY64" fmla="*/ 1418216 h 1661098"/>
                    <a:gd name="connsiteX65" fmla="*/ 657225 w 1146175"/>
                    <a:gd name="connsiteY65" fmla="*/ 1408691 h 1661098"/>
                    <a:gd name="connsiteX66" fmla="*/ 635000 w 1146175"/>
                    <a:gd name="connsiteY66" fmla="*/ 1411866 h 1661098"/>
                    <a:gd name="connsiteX67" fmla="*/ 622300 w 1146175"/>
                    <a:gd name="connsiteY67" fmla="*/ 1418216 h 1661098"/>
                    <a:gd name="connsiteX68" fmla="*/ 606425 w 1146175"/>
                    <a:gd name="connsiteY68" fmla="*/ 1427741 h 1661098"/>
                    <a:gd name="connsiteX69" fmla="*/ 577850 w 1146175"/>
                    <a:gd name="connsiteY69" fmla="*/ 1443616 h 1661098"/>
                    <a:gd name="connsiteX70" fmla="*/ 558800 w 1146175"/>
                    <a:gd name="connsiteY70" fmla="*/ 1446791 h 1661098"/>
                    <a:gd name="connsiteX71" fmla="*/ 501650 w 1146175"/>
                    <a:gd name="connsiteY71" fmla="*/ 1453141 h 1661098"/>
                    <a:gd name="connsiteX72" fmla="*/ 492125 w 1146175"/>
                    <a:gd name="connsiteY72" fmla="*/ 1459491 h 1661098"/>
                    <a:gd name="connsiteX73" fmla="*/ 466725 w 1146175"/>
                    <a:gd name="connsiteY73" fmla="*/ 1491241 h 1661098"/>
                    <a:gd name="connsiteX74" fmla="*/ 457200 w 1146175"/>
                    <a:gd name="connsiteY74" fmla="*/ 1510291 h 1661098"/>
                    <a:gd name="connsiteX75" fmla="*/ 454025 w 1146175"/>
                    <a:gd name="connsiteY75" fmla="*/ 1519816 h 1661098"/>
                    <a:gd name="connsiteX76" fmla="*/ 447675 w 1146175"/>
                    <a:gd name="connsiteY76" fmla="*/ 1535691 h 1661098"/>
                    <a:gd name="connsiteX77" fmla="*/ 434975 w 1146175"/>
                    <a:gd name="connsiteY77" fmla="*/ 1561091 h 1661098"/>
                    <a:gd name="connsiteX78" fmla="*/ 431800 w 1146175"/>
                    <a:gd name="connsiteY78" fmla="*/ 1576966 h 1661098"/>
                    <a:gd name="connsiteX79" fmla="*/ 425450 w 1146175"/>
                    <a:gd name="connsiteY79" fmla="*/ 1602366 h 1661098"/>
                    <a:gd name="connsiteX80" fmla="*/ 422275 w 1146175"/>
                    <a:gd name="connsiteY80" fmla="*/ 1611891 h 1661098"/>
                    <a:gd name="connsiteX81" fmla="*/ 412750 w 1146175"/>
                    <a:gd name="connsiteY81" fmla="*/ 1621416 h 1661098"/>
                    <a:gd name="connsiteX82" fmla="*/ 222250 w 1146175"/>
                    <a:gd name="connsiteY82" fmla="*/ 1627766 h 1661098"/>
                    <a:gd name="connsiteX83" fmla="*/ 215900 w 1146175"/>
                    <a:gd name="connsiteY83" fmla="*/ 1611891 h 1661098"/>
                    <a:gd name="connsiteX84" fmla="*/ 206375 w 1146175"/>
                    <a:gd name="connsiteY84" fmla="*/ 1599191 h 1661098"/>
                    <a:gd name="connsiteX85" fmla="*/ 203200 w 1146175"/>
                    <a:gd name="connsiteY85" fmla="*/ 1586491 h 1661098"/>
                    <a:gd name="connsiteX86" fmla="*/ 196850 w 1146175"/>
                    <a:gd name="connsiteY86" fmla="*/ 1573791 h 1661098"/>
                    <a:gd name="connsiteX87" fmla="*/ 193675 w 1146175"/>
                    <a:gd name="connsiteY87" fmla="*/ 1564266 h 1661098"/>
                    <a:gd name="connsiteX88" fmla="*/ 187325 w 1146175"/>
                    <a:gd name="connsiteY88" fmla="*/ 1551566 h 1661098"/>
                    <a:gd name="connsiteX89" fmla="*/ 180975 w 1146175"/>
                    <a:gd name="connsiteY89" fmla="*/ 1535691 h 1661098"/>
                    <a:gd name="connsiteX90" fmla="*/ 161925 w 1146175"/>
                    <a:gd name="connsiteY90" fmla="*/ 1507116 h 1661098"/>
                    <a:gd name="connsiteX91" fmla="*/ 149225 w 1146175"/>
                    <a:gd name="connsiteY91" fmla="*/ 1484891 h 1661098"/>
                    <a:gd name="connsiteX92" fmla="*/ 142875 w 1146175"/>
                    <a:gd name="connsiteY92" fmla="*/ 1469016 h 1661098"/>
                    <a:gd name="connsiteX93" fmla="*/ 130175 w 1146175"/>
                    <a:gd name="connsiteY93" fmla="*/ 1465841 h 1661098"/>
                    <a:gd name="connsiteX94" fmla="*/ 101600 w 1146175"/>
                    <a:gd name="connsiteY94" fmla="*/ 1453141 h 1661098"/>
                    <a:gd name="connsiteX95" fmla="*/ 69850 w 1146175"/>
                    <a:gd name="connsiteY95" fmla="*/ 1443616 h 1661098"/>
                    <a:gd name="connsiteX96" fmla="*/ 41275 w 1146175"/>
                    <a:gd name="connsiteY96" fmla="*/ 1430916 h 1661098"/>
                    <a:gd name="connsiteX97" fmla="*/ 31750 w 1146175"/>
                    <a:gd name="connsiteY97" fmla="*/ 1424566 h 1661098"/>
                    <a:gd name="connsiteX98" fmla="*/ 15875 w 1146175"/>
                    <a:gd name="connsiteY98" fmla="*/ 1418216 h 1661098"/>
                    <a:gd name="connsiteX99" fmla="*/ 0 w 1146175"/>
                    <a:gd name="connsiteY9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8850 w 1146175"/>
                    <a:gd name="connsiteY33" fmla="*/ 1040391 h 1661098"/>
                    <a:gd name="connsiteX34" fmla="*/ 955675 w 1146175"/>
                    <a:gd name="connsiteY34" fmla="*/ 1065791 h 1661098"/>
                    <a:gd name="connsiteX35" fmla="*/ 949325 w 1146175"/>
                    <a:gd name="connsiteY35" fmla="*/ 1075316 h 1661098"/>
                    <a:gd name="connsiteX36" fmla="*/ 946150 w 1146175"/>
                    <a:gd name="connsiteY36" fmla="*/ 1084841 h 1661098"/>
                    <a:gd name="connsiteX37" fmla="*/ 936625 w 1146175"/>
                    <a:gd name="connsiteY37" fmla="*/ 1100716 h 1661098"/>
                    <a:gd name="connsiteX38" fmla="*/ 923925 w 1146175"/>
                    <a:gd name="connsiteY38" fmla="*/ 1135641 h 1661098"/>
                    <a:gd name="connsiteX39" fmla="*/ 917575 w 1146175"/>
                    <a:gd name="connsiteY39" fmla="*/ 1145166 h 1661098"/>
                    <a:gd name="connsiteX40" fmla="*/ 923925 w 1146175"/>
                    <a:gd name="connsiteY40" fmla="*/ 1199141 h 1661098"/>
                    <a:gd name="connsiteX41" fmla="*/ 939800 w 1146175"/>
                    <a:gd name="connsiteY41" fmla="*/ 1221366 h 1661098"/>
                    <a:gd name="connsiteX42" fmla="*/ 946150 w 1146175"/>
                    <a:gd name="connsiteY42" fmla="*/ 1234066 h 1661098"/>
                    <a:gd name="connsiteX43" fmla="*/ 952500 w 1146175"/>
                    <a:gd name="connsiteY43" fmla="*/ 1243591 h 1661098"/>
                    <a:gd name="connsiteX44" fmla="*/ 965200 w 1146175"/>
                    <a:gd name="connsiteY44" fmla="*/ 1268991 h 1661098"/>
                    <a:gd name="connsiteX45" fmla="*/ 974725 w 1146175"/>
                    <a:gd name="connsiteY45" fmla="*/ 1291216 h 1661098"/>
                    <a:gd name="connsiteX46" fmla="*/ 977900 w 1146175"/>
                    <a:gd name="connsiteY46" fmla="*/ 1303916 h 1661098"/>
                    <a:gd name="connsiteX47" fmla="*/ 981075 w 1146175"/>
                    <a:gd name="connsiteY47" fmla="*/ 1313441 h 1661098"/>
                    <a:gd name="connsiteX48" fmla="*/ 974725 w 1146175"/>
                    <a:gd name="connsiteY48" fmla="*/ 1348366 h 1661098"/>
                    <a:gd name="connsiteX49" fmla="*/ 949325 w 1146175"/>
                    <a:gd name="connsiteY49" fmla="*/ 1380116 h 1661098"/>
                    <a:gd name="connsiteX50" fmla="*/ 939800 w 1146175"/>
                    <a:gd name="connsiteY50" fmla="*/ 1386466 h 1661098"/>
                    <a:gd name="connsiteX51" fmla="*/ 930275 w 1146175"/>
                    <a:gd name="connsiteY51" fmla="*/ 1395991 h 1661098"/>
                    <a:gd name="connsiteX52" fmla="*/ 923925 w 1146175"/>
                    <a:gd name="connsiteY52" fmla="*/ 1405516 h 1661098"/>
                    <a:gd name="connsiteX53" fmla="*/ 908050 w 1146175"/>
                    <a:gd name="connsiteY53" fmla="*/ 1415041 h 1661098"/>
                    <a:gd name="connsiteX54" fmla="*/ 895350 w 1146175"/>
                    <a:gd name="connsiteY54" fmla="*/ 1427741 h 1661098"/>
                    <a:gd name="connsiteX55" fmla="*/ 882650 w 1146175"/>
                    <a:gd name="connsiteY55" fmla="*/ 1437266 h 1661098"/>
                    <a:gd name="connsiteX56" fmla="*/ 873125 w 1146175"/>
                    <a:gd name="connsiteY56" fmla="*/ 1446791 h 1661098"/>
                    <a:gd name="connsiteX57" fmla="*/ 844550 w 1146175"/>
                    <a:gd name="connsiteY57" fmla="*/ 1462666 h 1661098"/>
                    <a:gd name="connsiteX58" fmla="*/ 835025 w 1146175"/>
                    <a:gd name="connsiteY58" fmla="*/ 1465841 h 1661098"/>
                    <a:gd name="connsiteX59" fmla="*/ 815975 w 1146175"/>
                    <a:gd name="connsiteY59" fmla="*/ 1459491 h 1661098"/>
                    <a:gd name="connsiteX60" fmla="*/ 774700 w 1146175"/>
                    <a:gd name="connsiteY60" fmla="*/ 1443616 h 1661098"/>
                    <a:gd name="connsiteX61" fmla="*/ 749300 w 1146175"/>
                    <a:gd name="connsiteY61" fmla="*/ 1437266 h 1661098"/>
                    <a:gd name="connsiteX62" fmla="*/ 717550 w 1146175"/>
                    <a:gd name="connsiteY62" fmla="*/ 1424566 h 1661098"/>
                    <a:gd name="connsiteX63" fmla="*/ 688975 w 1146175"/>
                    <a:gd name="connsiteY63" fmla="*/ 1418216 h 1661098"/>
                    <a:gd name="connsiteX64" fmla="*/ 657225 w 1146175"/>
                    <a:gd name="connsiteY64" fmla="*/ 1408691 h 1661098"/>
                    <a:gd name="connsiteX65" fmla="*/ 635000 w 1146175"/>
                    <a:gd name="connsiteY65" fmla="*/ 1411866 h 1661098"/>
                    <a:gd name="connsiteX66" fmla="*/ 622300 w 1146175"/>
                    <a:gd name="connsiteY66" fmla="*/ 1418216 h 1661098"/>
                    <a:gd name="connsiteX67" fmla="*/ 606425 w 1146175"/>
                    <a:gd name="connsiteY67" fmla="*/ 1427741 h 1661098"/>
                    <a:gd name="connsiteX68" fmla="*/ 577850 w 1146175"/>
                    <a:gd name="connsiteY68" fmla="*/ 1443616 h 1661098"/>
                    <a:gd name="connsiteX69" fmla="*/ 558800 w 1146175"/>
                    <a:gd name="connsiteY69" fmla="*/ 1446791 h 1661098"/>
                    <a:gd name="connsiteX70" fmla="*/ 501650 w 1146175"/>
                    <a:gd name="connsiteY70" fmla="*/ 1453141 h 1661098"/>
                    <a:gd name="connsiteX71" fmla="*/ 492125 w 1146175"/>
                    <a:gd name="connsiteY71" fmla="*/ 1459491 h 1661098"/>
                    <a:gd name="connsiteX72" fmla="*/ 466725 w 1146175"/>
                    <a:gd name="connsiteY72" fmla="*/ 1491241 h 1661098"/>
                    <a:gd name="connsiteX73" fmla="*/ 457200 w 1146175"/>
                    <a:gd name="connsiteY73" fmla="*/ 1510291 h 1661098"/>
                    <a:gd name="connsiteX74" fmla="*/ 454025 w 1146175"/>
                    <a:gd name="connsiteY74" fmla="*/ 1519816 h 1661098"/>
                    <a:gd name="connsiteX75" fmla="*/ 447675 w 1146175"/>
                    <a:gd name="connsiteY75" fmla="*/ 1535691 h 1661098"/>
                    <a:gd name="connsiteX76" fmla="*/ 434975 w 1146175"/>
                    <a:gd name="connsiteY76" fmla="*/ 1561091 h 1661098"/>
                    <a:gd name="connsiteX77" fmla="*/ 431800 w 1146175"/>
                    <a:gd name="connsiteY77" fmla="*/ 1576966 h 1661098"/>
                    <a:gd name="connsiteX78" fmla="*/ 425450 w 1146175"/>
                    <a:gd name="connsiteY78" fmla="*/ 1602366 h 1661098"/>
                    <a:gd name="connsiteX79" fmla="*/ 422275 w 1146175"/>
                    <a:gd name="connsiteY79" fmla="*/ 1611891 h 1661098"/>
                    <a:gd name="connsiteX80" fmla="*/ 412750 w 1146175"/>
                    <a:gd name="connsiteY80" fmla="*/ 1621416 h 1661098"/>
                    <a:gd name="connsiteX81" fmla="*/ 222250 w 1146175"/>
                    <a:gd name="connsiteY81" fmla="*/ 1627766 h 1661098"/>
                    <a:gd name="connsiteX82" fmla="*/ 215900 w 1146175"/>
                    <a:gd name="connsiteY82" fmla="*/ 1611891 h 1661098"/>
                    <a:gd name="connsiteX83" fmla="*/ 206375 w 1146175"/>
                    <a:gd name="connsiteY83" fmla="*/ 1599191 h 1661098"/>
                    <a:gd name="connsiteX84" fmla="*/ 203200 w 1146175"/>
                    <a:gd name="connsiteY84" fmla="*/ 1586491 h 1661098"/>
                    <a:gd name="connsiteX85" fmla="*/ 196850 w 1146175"/>
                    <a:gd name="connsiteY85" fmla="*/ 1573791 h 1661098"/>
                    <a:gd name="connsiteX86" fmla="*/ 193675 w 1146175"/>
                    <a:gd name="connsiteY86" fmla="*/ 1564266 h 1661098"/>
                    <a:gd name="connsiteX87" fmla="*/ 187325 w 1146175"/>
                    <a:gd name="connsiteY87" fmla="*/ 1551566 h 1661098"/>
                    <a:gd name="connsiteX88" fmla="*/ 180975 w 1146175"/>
                    <a:gd name="connsiteY88" fmla="*/ 1535691 h 1661098"/>
                    <a:gd name="connsiteX89" fmla="*/ 161925 w 1146175"/>
                    <a:gd name="connsiteY89" fmla="*/ 1507116 h 1661098"/>
                    <a:gd name="connsiteX90" fmla="*/ 149225 w 1146175"/>
                    <a:gd name="connsiteY90" fmla="*/ 1484891 h 1661098"/>
                    <a:gd name="connsiteX91" fmla="*/ 142875 w 1146175"/>
                    <a:gd name="connsiteY91" fmla="*/ 1469016 h 1661098"/>
                    <a:gd name="connsiteX92" fmla="*/ 130175 w 1146175"/>
                    <a:gd name="connsiteY92" fmla="*/ 1465841 h 1661098"/>
                    <a:gd name="connsiteX93" fmla="*/ 101600 w 1146175"/>
                    <a:gd name="connsiteY93" fmla="*/ 1453141 h 1661098"/>
                    <a:gd name="connsiteX94" fmla="*/ 69850 w 1146175"/>
                    <a:gd name="connsiteY94" fmla="*/ 1443616 h 1661098"/>
                    <a:gd name="connsiteX95" fmla="*/ 41275 w 1146175"/>
                    <a:gd name="connsiteY95" fmla="*/ 1430916 h 1661098"/>
                    <a:gd name="connsiteX96" fmla="*/ 31750 w 1146175"/>
                    <a:gd name="connsiteY96" fmla="*/ 1424566 h 1661098"/>
                    <a:gd name="connsiteX97" fmla="*/ 15875 w 1146175"/>
                    <a:gd name="connsiteY97" fmla="*/ 1418216 h 1661098"/>
                    <a:gd name="connsiteX98" fmla="*/ 0 w 1146175"/>
                    <a:gd name="connsiteY9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46150 w 1146175"/>
                    <a:gd name="connsiteY35" fmla="*/ 1084841 h 1661098"/>
                    <a:gd name="connsiteX36" fmla="*/ 936625 w 1146175"/>
                    <a:gd name="connsiteY36" fmla="*/ 1100716 h 1661098"/>
                    <a:gd name="connsiteX37" fmla="*/ 923925 w 1146175"/>
                    <a:gd name="connsiteY37" fmla="*/ 1135641 h 1661098"/>
                    <a:gd name="connsiteX38" fmla="*/ 917575 w 1146175"/>
                    <a:gd name="connsiteY38" fmla="*/ 1145166 h 1661098"/>
                    <a:gd name="connsiteX39" fmla="*/ 923925 w 1146175"/>
                    <a:gd name="connsiteY39" fmla="*/ 1199141 h 1661098"/>
                    <a:gd name="connsiteX40" fmla="*/ 939800 w 1146175"/>
                    <a:gd name="connsiteY40" fmla="*/ 1221366 h 1661098"/>
                    <a:gd name="connsiteX41" fmla="*/ 946150 w 1146175"/>
                    <a:gd name="connsiteY41" fmla="*/ 1234066 h 1661098"/>
                    <a:gd name="connsiteX42" fmla="*/ 952500 w 1146175"/>
                    <a:gd name="connsiteY42" fmla="*/ 1243591 h 1661098"/>
                    <a:gd name="connsiteX43" fmla="*/ 965200 w 1146175"/>
                    <a:gd name="connsiteY43" fmla="*/ 1268991 h 1661098"/>
                    <a:gd name="connsiteX44" fmla="*/ 974725 w 1146175"/>
                    <a:gd name="connsiteY44" fmla="*/ 1291216 h 1661098"/>
                    <a:gd name="connsiteX45" fmla="*/ 977900 w 1146175"/>
                    <a:gd name="connsiteY45" fmla="*/ 1303916 h 1661098"/>
                    <a:gd name="connsiteX46" fmla="*/ 981075 w 1146175"/>
                    <a:gd name="connsiteY46" fmla="*/ 1313441 h 1661098"/>
                    <a:gd name="connsiteX47" fmla="*/ 974725 w 1146175"/>
                    <a:gd name="connsiteY47" fmla="*/ 1348366 h 1661098"/>
                    <a:gd name="connsiteX48" fmla="*/ 949325 w 1146175"/>
                    <a:gd name="connsiteY48" fmla="*/ 1380116 h 1661098"/>
                    <a:gd name="connsiteX49" fmla="*/ 939800 w 1146175"/>
                    <a:gd name="connsiteY49" fmla="*/ 1386466 h 1661098"/>
                    <a:gd name="connsiteX50" fmla="*/ 930275 w 1146175"/>
                    <a:gd name="connsiteY50" fmla="*/ 1395991 h 1661098"/>
                    <a:gd name="connsiteX51" fmla="*/ 923925 w 1146175"/>
                    <a:gd name="connsiteY51" fmla="*/ 1405516 h 1661098"/>
                    <a:gd name="connsiteX52" fmla="*/ 908050 w 1146175"/>
                    <a:gd name="connsiteY52" fmla="*/ 1415041 h 1661098"/>
                    <a:gd name="connsiteX53" fmla="*/ 895350 w 1146175"/>
                    <a:gd name="connsiteY53" fmla="*/ 1427741 h 1661098"/>
                    <a:gd name="connsiteX54" fmla="*/ 882650 w 1146175"/>
                    <a:gd name="connsiteY54" fmla="*/ 1437266 h 1661098"/>
                    <a:gd name="connsiteX55" fmla="*/ 873125 w 1146175"/>
                    <a:gd name="connsiteY55" fmla="*/ 1446791 h 1661098"/>
                    <a:gd name="connsiteX56" fmla="*/ 844550 w 1146175"/>
                    <a:gd name="connsiteY56" fmla="*/ 1462666 h 1661098"/>
                    <a:gd name="connsiteX57" fmla="*/ 835025 w 1146175"/>
                    <a:gd name="connsiteY57" fmla="*/ 1465841 h 1661098"/>
                    <a:gd name="connsiteX58" fmla="*/ 815975 w 1146175"/>
                    <a:gd name="connsiteY58" fmla="*/ 1459491 h 1661098"/>
                    <a:gd name="connsiteX59" fmla="*/ 774700 w 1146175"/>
                    <a:gd name="connsiteY59" fmla="*/ 1443616 h 1661098"/>
                    <a:gd name="connsiteX60" fmla="*/ 749300 w 1146175"/>
                    <a:gd name="connsiteY60" fmla="*/ 1437266 h 1661098"/>
                    <a:gd name="connsiteX61" fmla="*/ 717550 w 1146175"/>
                    <a:gd name="connsiteY61" fmla="*/ 1424566 h 1661098"/>
                    <a:gd name="connsiteX62" fmla="*/ 688975 w 1146175"/>
                    <a:gd name="connsiteY62" fmla="*/ 1418216 h 1661098"/>
                    <a:gd name="connsiteX63" fmla="*/ 657225 w 1146175"/>
                    <a:gd name="connsiteY63" fmla="*/ 1408691 h 1661098"/>
                    <a:gd name="connsiteX64" fmla="*/ 635000 w 1146175"/>
                    <a:gd name="connsiteY64" fmla="*/ 1411866 h 1661098"/>
                    <a:gd name="connsiteX65" fmla="*/ 622300 w 1146175"/>
                    <a:gd name="connsiteY65" fmla="*/ 1418216 h 1661098"/>
                    <a:gd name="connsiteX66" fmla="*/ 606425 w 1146175"/>
                    <a:gd name="connsiteY66" fmla="*/ 1427741 h 1661098"/>
                    <a:gd name="connsiteX67" fmla="*/ 577850 w 1146175"/>
                    <a:gd name="connsiteY67" fmla="*/ 1443616 h 1661098"/>
                    <a:gd name="connsiteX68" fmla="*/ 558800 w 1146175"/>
                    <a:gd name="connsiteY68" fmla="*/ 1446791 h 1661098"/>
                    <a:gd name="connsiteX69" fmla="*/ 501650 w 1146175"/>
                    <a:gd name="connsiteY69" fmla="*/ 1453141 h 1661098"/>
                    <a:gd name="connsiteX70" fmla="*/ 492125 w 1146175"/>
                    <a:gd name="connsiteY70" fmla="*/ 1459491 h 1661098"/>
                    <a:gd name="connsiteX71" fmla="*/ 466725 w 1146175"/>
                    <a:gd name="connsiteY71" fmla="*/ 1491241 h 1661098"/>
                    <a:gd name="connsiteX72" fmla="*/ 457200 w 1146175"/>
                    <a:gd name="connsiteY72" fmla="*/ 1510291 h 1661098"/>
                    <a:gd name="connsiteX73" fmla="*/ 454025 w 1146175"/>
                    <a:gd name="connsiteY73" fmla="*/ 1519816 h 1661098"/>
                    <a:gd name="connsiteX74" fmla="*/ 447675 w 1146175"/>
                    <a:gd name="connsiteY74" fmla="*/ 1535691 h 1661098"/>
                    <a:gd name="connsiteX75" fmla="*/ 434975 w 1146175"/>
                    <a:gd name="connsiteY75" fmla="*/ 1561091 h 1661098"/>
                    <a:gd name="connsiteX76" fmla="*/ 431800 w 1146175"/>
                    <a:gd name="connsiteY76" fmla="*/ 1576966 h 1661098"/>
                    <a:gd name="connsiteX77" fmla="*/ 425450 w 1146175"/>
                    <a:gd name="connsiteY77" fmla="*/ 1602366 h 1661098"/>
                    <a:gd name="connsiteX78" fmla="*/ 422275 w 1146175"/>
                    <a:gd name="connsiteY78" fmla="*/ 1611891 h 1661098"/>
                    <a:gd name="connsiteX79" fmla="*/ 412750 w 1146175"/>
                    <a:gd name="connsiteY79" fmla="*/ 1621416 h 1661098"/>
                    <a:gd name="connsiteX80" fmla="*/ 222250 w 1146175"/>
                    <a:gd name="connsiteY80" fmla="*/ 1627766 h 1661098"/>
                    <a:gd name="connsiteX81" fmla="*/ 215900 w 1146175"/>
                    <a:gd name="connsiteY81" fmla="*/ 1611891 h 1661098"/>
                    <a:gd name="connsiteX82" fmla="*/ 206375 w 1146175"/>
                    <a:gd name="connsiteY82" fmla="*/ 1599191 h 1661098"/>
                    <a:gd name="connsiteX83" fmla="*/ 203200 w 1146175"/>
                    <a:gd name="connsiteY83" fmla="*/ 1586491 h 1661098"/>
                    <a:gd name="connsiteX84" fmla="*/ 196850 w 1146175"/>
                    <a:gd name="connsiteY84" fmla="*/ 1573791 h 1661098"/>
                    <a:gd name="connsiteX85" fmla="*/ 193675 w 1146175"/>
                    <a:gd name="connsiteY85" fmla="*/ 1564266 h 1661098"/>
                    <a:gd name="connsiteX86" fmla="*/ 187325 w 1146175"/>
                    <a:gd name="connsiteY86" fmla="*/ 1551566 h 1661098"/>
                    <a:gd name="connsiteX87" fmla="*/ 180975 w 1146175"/>
                    <a:gd name="connsiteY87" fmla="*/ 1535691 h 1661098"/>
                    <a:gd name="connsiteX88" fmla="*/ 161925 w 1146175"/>
                    <a:gd name="connsiteY88" fmla="*/ 1507116 h 1661098"/>
                    <a:gd name="connsiteX89" fmla="*/ 149225 w 1146175"/>
                    <a:gd name="connsiteY89" fmla="*/ 1484891 h 1661098"/>
                    <a:gd name="connsiteX90" fmla="*/ 142875 w 1146175"/>
                    <a:gd name="connsiteY90" fmla="*/ 1469016 h 1661098"/>
                    <a:gd name="connsiteX91" fmla="*/ 130175 w 1146175"/>
                    <a:gd name="connsiteY91" fmla="*/ 1465841 h 1661098"/>
                    <a:gd name="connsiteX92" fmla="*/ 101600 w 1146175"/>
                    <a:gd name="connsiteY92" fmla="*/ 1453141 h 1661098"/>
                    <a:gd name="connsiteX93" fmla="*/ 69850 w 1146175"/>
                    <a:gd name="connsiteY93" fmla="*/ 1443616 h 1661098"/>
                    <a:gd name="connsiteX94" fmla="*/ 41275 w 1146175"/>
                    <a:gd name="connsiteY94" fmla="*/ 1430916 h 1661098"/>
                    <a:gd name="connsiteX95" fmla="*/ 31750 w 1146175"/>
                    <a:gd name="connsiteY95" fmla="*/ 1424566 h 1661098"/>
                    <a:gd name="connsiteX96" fmla="*/ 15875 w 1146175"/>
                    <a:gd name="connsiteY96" fmla="*/ 1418216 h 1661098"/>
                    <a:gd name="connsiteX97" fmla="*/ 0 w 1146175"/>
                    <a:gd name="connsiteY9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46150 w 1146175"/>
                    <a:gd name="connsiteY35" fmla="*/ 1084841 h 1661098"/>
                    <a:gd name="connsiteX36" fmla="*/ 923925 w 1146175"/>
                    <a:gd name="connsiteY36" fmla="*/ 1135641 h 1661098"/>
                    <a:gd name="connsiteX37" fmla="*/ 917575 w 1146175"/>
                    <a:gd name="connsiteY37" fmla="*/ 1145166 h 1661098"/>
                    <a:gd name="connsiteX38" fmla="*/ 923925 w 1146175"/>
                    <a:gd name="connsiteY38" fmla="*/ 1199141 h 1661098"/>
                    <a:gd name="connsiteX39" fmla="*/ 939800 w 1146175"/>
                    <a:gd name="connsiteY39" fmla="*/ 1221366 h 1661098"/>
                    <a:gd name="connsiteX40" fmla="*/ 946150 w 1146175"/>
                    <a:gd name="connsiteY40" fmla="*/ 1234066 h 1661098"/>
                    <a:gd name="connsiteX41" fmla="*/ 952500 w 1146175"/>
                    <a:gd name="connsiteY41" fmla="*/ 1243591 h 1661098"/>
                    <a:gd name="connsiteX42" fmla="*/ 965200 w 1146175"/>
                    <a:gd name="connsiteY42" fmla="*/ 1268991 h 1661098"/>
                    <a:gd name="connsiteX43" fmla="*/ 974725 w 1146175"/>
                    <a:gd name="connsiteY43" fmla="*/ 1291216 h 1661098"/>
                    <a:gd name="connsiteX44" fmla="*/ 977900 w 1146175"/>
                    <a:gd name="connsiteY44" fmla="*/ 1303916 h 1661098"/>
                    <a:gd name="connsiteX45" fmla="*/ 981075 w 1146175"/>
                    <a:gd name="connsiteY45" fmla="*/ 1313441 h 1661098"/>
                    <a:gd name="connsiteX46" fmla="*/ 974725 w 1146175"/>
                    <a:gd name="connsiteY46" fmla="*/ 1348366 h 1661098"/>
                    <a:gd name="connsiteX47" fmla="*/ 949325 w 1146175"/>
                    <a:gd name="connsiteY47" fmla="*/ 1380116 h 1661098"/>
                    <a:gd name="connsiteX48" fmla="*/ 939800 w 1146175"/>
                    <a:gd name="connsiteY48" fmla="*/ 1386466 h 1661098"/>
                    <a:gd name="connsiteX49" fmla="*/ 930275 w 1146175"/>
                    <a:gd name="connsiteY49" fmla="*/ 1395991 h 1661098"/>
                    <a:gd name="connsiteX50" fmla="*/ 923925 w 1146175"/>
                    <a:gd name="connsiteY50" fmla="*/ 1405516 h 1661098"/>
                    <a:gd name="connsiteX51" fmla="*/ 908050 w 1146175"/>
                    <a:gd name="connsiteY51" fmla="*/ 1415041 h 1661098"/>
                    <a:gd name="connsiteX52" fmla="*/ 895350 w 1146175"/>
                    <a:gd name="connsiteY52" fmla="*/ 1427741 h 1661098"/>
                    <a:gd name="connsiteX53" fmla="*/ 882650 w 1146175"/>
                    <a:gd name="connsiteY53" fmla="*/ 1437266 h 1661098"/>
                    <a:gd name="connsiteX54" fmla="*/ 873125 w 1146175"/>
                    <a:gd name="connsiteY54" fmla="*/ 1446791 h 1661098"/>
                    <a:gd name="connsiteX55" fmla="*/ 844550 w 1146175"/>
                    <a:gd name="connsiteY55" fmla="*/ 1462666 h 1661098"/>
                    <a:gd name="connsiteX56" fmla="*/ 835025 w 1146175"/>
                    <a:gd name="connsiteY56" fmla="*/ 1465841 h 1661098"/>
                    <a:gd name="connsiteX57" fmla="*/ 815975 w 1146175"/>
                    <a:gd name="connsiteY57" fmla="*/ 1459491 h 1661098"/>
                    <a:gd name="connsiteX58" fmla="*/ 774700 w 1146175"/>
                    <a:gd name="connsiteY58" fmla="*/ 1443616 h 1661098"/>
                    <a:gd name="connsiteX59" fmla="*/ 749300 w 1146175"/>
                    <a:gd name="connsiteY59" fmla="*/ 1437266 h 1661098"/>
                    <a:gd name="connsiteX60" fmla="*/ 717550 w 1146175"/>
                    <a:gd name="connsiteY60" fmla="*/ 1424566 h 1661098"/>
                    <a:gd name="connsiteX61" fmla="*/ 688975 w 1146175"/>
                    <a:gd name="connsiteY61" fmla="*/ 1418216 h 1661098"/>
                    <a:gd name="connsiteX62" fmla="*/ 657225 w 1146175"/>
                    <a:gd name="connsiteY62" fmla="*/ 1408691 h 1661098"/>
                    <a:gd name="connsiteX63" fmla="*/ 635000 w 1146175"/>
                    <a:gd name="connsiteY63" fmla="*/ 1411866 h 1661098"/>
                    <a:gd name="connsiteX64" fmla="*/ 622300 w 1146175"/>
                    <a:gd name="connsiteY64" fmla="*/ 1418216 h 1661098"/>
                    <a:gd name="connsiteX65" fmla="*/ 606425 w 1146175"/>
                    <a:gd name="connsiteY65" fmla="*/ 1427741 h 1661098"/>
                    <a:gd name="connsiteX66" fmla="*/ 577850 w 1146175"/>
                    <a:gd name="connsiteY66" fmla="*/ 1443616 h 1661098"/>
                    <a:gd name="connsiteX67" fmla="*/ 558800 w 1146175"/>
                    <a:gd name="connsiteY67" fmla="*/ 1446791 h 1661098"/>
                    <a:gd name="connsiteX68" fmla="*/ 501650 w 1146175"/>
                    <a:gd name="connsiteY68" fmla="*/ 1453141 h 1661098"/>
                    <a:gd name="connsiteX69" fmla="*/ 492125 w 1146175"/>
                    <a:gd name="connsiteY69" fmla="*/ 1459491 h 1661098"/>
                    <a:gd name="connsiteX70" fmla="*/ 466725 w 1146175"/>
                    <a:gd name="connsiteY70" fmla="*/ 1491241 h 1661098"/>
                    <a:gd name="connsiteX71" fmla="*/ 457200 w 1146175"/>
                    <a:gd name="connsiteY71" fmla="*/ 1510291 h 1661098"/>
                    <a:gd name="connsiteX72" fmla="*/ 454025 w 1146175"/>
                    <a:gd name="connsiteY72" fmla="*/ 1519816 h 1661098"/>
                    <a:gd name="connsiteX73" fmla="*/ 447675 w 1146175"/>
                    <a:gd name="connsiteY73" fmla="*/ 1535691 h 1661098"/>
                    <a:gd name="connsiteX74" fmla="*/ 434975 w 1146175"/>
                    <a:gd name="connsiteY74" fmla="*/ 1561091 h 1661098"/>
                    <a:gd name="connsiteX75" fmla="*/ 431800 w 1146175"/>
                    <a:gd name="connsiteY75" fmla="*/ 1576966 h 1661098"/>
                    <a:gd name="connsiteX76" fmla="*/ 425450 w 1146175"/>
                    <a:gd name="connsiteY76" fmla="*/ 1602366 h 1661098"/>
                    <a:gd name="connsiteX77" fmla="*/ 422275 w 1146175"/>
                    <a:gd name="connsiteY77" fmla="*/ 1611891 h 1661098"/>
                    <a:gd name="connsiteX78" fmla="*/ 412750 w 1146175"/>
                    <a:gd name="connsiteY78" fmla="*/ 1621416 h 1661098"/>
                    <a:gd name="connsiteX79" fmla="*/ 222250 w 1146175"/>
                    <a:gd name="connsiteY79" fmla="*/ 1627766 h 1661098"/>
                    <a:gd name="connsiteX80" fmla="*/ 215900 w 1146175"/>
                    <a:gd name="connsiteY80" fmla="*/ 1611891 h 1661098"/>
                    <a:gd name="connsiteX81" fmla="*/ 206375 w 1146175"/>
                    <a:gd name="connsiteY81" fmla="*/ 1599191 h 1661098"/>
                    <a:gd name="connsiteX82" fmla="*/ 203200 w 1146175"/>
                    <a:gd name="connsiteY82" fmla="*/ 1586491 h 1661098"/>
                    <a:gd name="connsiteX83" fmla="*/ 196850 w 1146175"/>
                    <a:gd name="connsiteY83" fmla="*/ 1573791 h 1661098"/>
                    <a:gd name="connsiteX84" fmla="*/ 193675 w 1146175"/>
                    <a:gd name="connsiteY84" fmla="*/ 1564266 h 1661098"/>
                    <a:gd name="connsiteX85" fmla="*/ 187325 w 1146175"/>
                    <a:gd name="connsiteY85" fmla="*/ 1551566 h 1661098"/>
                    <a:gd name="connsiteX86" fmla="*/ 180975 w 1146175"/>
                    <a:gd name="connsiteY86" fmla="*/ 1535691 h 1661098"/>
                    <a:gd name="connsiteX87" fmla="*/ 161925 w 1146175"/>
                    <a:gd name="connsiteY87" fmla="*/ 1507116 h 1661098"/>
                    <a:gd name="connsiteX88" fmla="*/ 149225 w 1146175"/>
                    <a:gd name="connsiteY88" fmla="*/ 1484891 h 1661098"/>
                    <a:gd name="connsiteX89" fmla="*/ 142875 w 1146175"/>
                    <a:gd name="connsiteY89" fmla="*/ 1469016 h 1661098"/>
                    <a:gd name="connsiteX90" fmla="*/ 130175 w 1146175"/>
                    <a:gd name="connsiteY90" fmla="*/ 1465841 h 1661098"/>
                    <a:gd name="connsiteX91" fmla="*/ 101600 w 1146175"/>
                    <a:gd name="connsiteY91" fmla="*/ 1453141 h 1661098"/>
                    <a:gd name="connsiteX92" fmla="*/ 69850 w 1146175"/>
                    <a:gd name="connsiteY92" fmla="*/ 1443616 h 1661098"/>
                    <a:gd name="connsiteX93" fmla="*/ 41275 w 1146175"/>
                    <a:gd name="connsiteY93" fmla="*/ 1430916 h 1661098"/>
                    <a:gd name="connsiteX94" fmla="*/ 31750 w 1146175"/>
                    <a:gd name="connsiteY94" fmla="*/ 1424566 h 1661098"/>
                    <a:gd name="connsiteX95" fmla="*/ 15875 w 1146175"/>
                    <a:gd name="connsiteY95" fmla="*/ 1418216 h 1661098"/>
                    <a:gd name="connsiteX96" fmla="*/ 0 w 1146175"/>
                    <a:gd name="connsiteY9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23925 w 1146175"/>
                    <a:gd name="connsiteY35" fmla="*/ 1135641 h 1661098"/>
                    <a:gd name="connsiteX36" fmla="*/ 917575 w 1146175"/>
                    <a:gd name="connsiteY36" fmla="*/ 1145166 h 1661098"/>
                    <a:gd name="connsiteX37" fmla="*/ 923925 w 1146175"/>
                    <a:gd name="connsiteY37" fmla="*/ 1199141 h 1661098"/>
                    <a:gd name="connsiteX38" fmla="*/ 939800 w 1146175"/>
                    <a:gd name="connsiteY38" fmla="*/ 1221366 h 1661098"/>
                    <a:gd name="connsiteX39" fmla="*/ 946150 w 1146175"/>
                    <a:gd name="connsiteY39" fmla="*/ 1234066 h 1661098"/>
                    <a:gd name="connsiteX40" fmla="*/ 952500 w 1146175"/>
                    <a:gd name="connsiteY40" fmla="*/ 1243591 h 1661098"/>
                    <a:gd name="connsiteX41" fmla="*/ 965200 w 1146175"/>
                    <a:gd name="connsiteY41" fmla="*/ 1268991 h 1661098"/>
                    <a:gd name="connsiteX42" fmla="*/ 974725 w 1146175"/>
                    <a:gd name="connsiteY42" fmla="*/ 1291216 h 1661098"/>
                    <a:gd name="connsiteX43" fmla="*/ 977900 w 1146175"/>
                    <a:gd name="connsiteY43" fmla="*/ 1303916 h 1661098"/>
                    <a:gd name="connsiteX44" fmla="*/ 981075 w 1146175"/>
                    <a:gd name="connsiteY44" fmla="*/ 1313441 h 1661098"/>
                    <a:gd name="connsiteX45" fmla="*/ 974725 w 1146175"/>
                    <a:gd name="connsiteY45" fmla="*/ 1348366 h 1661098"/>
                    <a:gd name="connsiteX46" fmla="*/ 949325 w 1146175"/>
                    <a:gd name="connsiteY46" fmla="*/ 1380116 h 1661098"/>
                    <a:gd name="connsiteX47" fmla="*/ 939800 w 1146175"/>
                    <a:gd name="connsiteY47" fmla="*/ 1386466 h 1661098"/>
                    <a:gd name="connsiteX48" fmla="*/ 930275 w 1146175"/>
                    <a:gd name="connsiteY48" fmla="*/ 1395991 h 1661098"/>
                    <a:gd name="connsiteX49" fmla="*/ 923925 w 1146175"/>
                    <a:gd name="connsiteY49" fmla="*/ 1405516 h 1661098"/>
                    <a:gd name="connsiteX50" fmla="*/ 908050 w 1146175"/>
                    <a:gd name="connsiteY50" fmla="*/ 1415041 h 1661098"/>
                    <a:gd name="connsiteX51" fmla="*/ 895350 w 1146175"/>
                    <a:gd name="connsiteY51" fmla="*/ 1427741 h 1661098"/>
                    <a:gd name="connsiteX52" fmla="*/ 882650 w 1146175"/>
                    <a:gd name="connsiteY52" fmla="*/ 1437266 h 1661098"/>
                    <a:gd name="connsiteX53" fmla="*/ 873125 w 1146175"/>
                    <a:gd name="connsiteY53" fmla="*/ 1446791 h 1661098"/>
                    <a:gd name="connsiteX54" fmla="*/ 844550 w 1146175"/>
                    <a:gd name="connsiteY54" fmla="*/ 1462666 h 1661098"/>
                    <a:gd name="connsiteX55" fmla="*/ 835025 w 1146175"/>
                    <a:gd name="connsiteY55" fmla="*/ 1465841 h 1661098"/>
                    <a:gd name="connsiteX56" fmla="*/ 815975 w 1146175"/>
                    <a:gd name="connsiteY56" fmla="*/ 1459491 h 1661098"/>
                    <a:gd name="connsiteX57" fmla="*/ 774700 w 1146175"/>
                    <a:gd name="connsiteY57" fmla="*/ 1443616 h 1661098"/>
                    <a:gd name="connsiteX58" fmla="*/ 749300 w 1146175"/>
                    <a:gd name="connsiteY58" fmla="*/ 1437266 h 1661098"/>
                    <a:gd name="connsiteX59" fmla="*/ 717550 w 1146175"/>
                    <a:gd name="connsiteY59" fmla="*/ 1424566 h 1661098"/>
                    <a:gd name="connsiteX60" fmla="*/ 688975 w 1146175"/>
                    <a:gd name="connsiteY60" fmla="*/ 1418216 h 1661098"/>
                    <a:gd name="connsiteX61" fmla="*/ 657225 w 1146175"/>
                    <a:gd name="connsiteY61" fmla="*/ 1408691 h 1661098"/>
                    <a:gd name="connsiteX62" fmla="*/ 635000 w 1146175"/>
                    <a:gd name="connsiteY62" fmla="*/ 1411866 h 1661098"/>
                    <a:gd name="connsiteX63" fmla="*/ 622300 w 1146175"/>
                    <a:gd name="connsiteY63" fmla="*/ 1418216 h 1661098"/>
                    <a:gd name="connsiteX64" fmla="*/ 606425 w 1146175"/>
                    <a:gd name="connsiteY64" fmla="*/ 1427741 h 1661098"/>
                    <a:gd name="connsiteX65" fmla="*/ 577850 w 1146175"/>
                    <a:gd name="connsiteY65" fmla="*/ 1443616 h 1661098"/>
                    <a:gd name="connsiteX66" fmla="*/ 558800 w 1146175"/>
                    <a:gd name="connsiteY66" fmla="*/ 1446791 h 1661098"/>
                    <a:gd name="connsiteX67" fmla="*/ 501650 w 1146175"/>
                    <a:gd name="connsiteY67" fmla="*/ 1453141 h 1661098"/>
                    <a:gd name="connsiteX68" fmla="*/ 492125 w 1146175"/>
                    <a:gd name="connsiteY68" fmla="*/ 1459491 h 1661098"/>
                    <a:gd name="connsiteX69" fmla="*/ 466725 w 1146175"/>
                    <a:gd name="connsiteY69" fmla="*/ 1491241 h 1661098"/>
                    <a:gd name="connsiteX70" fmla="*/ 457200 w 1146175"/>
                    <a:gd name="connsiteY70" fmla="*/ 1510291 h 1661098"/>
                    <a:gd name="connsiteX71" fmla="*/ 454025 w 1146175"/>
                    <a:gd name="connsiteY71" fmla="*/ 1519816 h 1661098"/>
                    <a:gd name="connsiteX72" fmla="*/ 447675 w 1146175"/>
                    <a:gd name="connsiteY72" fmla="*/ 1535691 h 1661098"/>
                    <a:gd name="connsiteX73" fmla="*/ 434975 w 1146175"/>
                    <a:gd name="connsiteY73" fmla="*/ 1561091 h 1661098"/>
                    <a:gd name="connsiteX74" fmla="*/ 431800 w 1146175"/>
                    <a:gd name="connsiteY74" fmla="*/ 1576966 h 1661098"/>
                    <a:gd name="connsiteX75" fmla="*/ 425450 w 1146175"/>
                    <a:gd name="connsiteY75" fmla="*/ 1602366 h 1661098"/>
                    <a:gd name="connsiteX76" fmla="*/ 422275 w 1146175"/>
                    <a:gd name="connsiteY76" fmla="*/ 1611891 h 1661098"/>
                    <a:gd name="connsiteX77" fmla="*/ 412750 w 1146175"/>
                    <a:gd name="connsiteY77" fmla="*/ 1621416 h 1661098"/>
                    <a:gd name="connsiteX78" fmla="*/ 222250 w 1146175"/>
                    <a:gd name="connsiteY78" fmla="*/ 1627766 h 1661098"/>
                    <a:gd name="connsiteX79" fmla="*/ 215900 w 1146175"/>
                    <a:gd name="connsiteY79" fmla="*/ 1611891 h 1661098"/>
                    <a:gd name="connsiteX80" fmla="*/ 206375 w 1146175"/>
                    <a:gd name="connsiteY80" fmla="*/ 1599191 h 1661098"/>
                    <a:gd name="connsiteX81" fmla="*/ 203200 w 1146175"/>
                    <a:gd name="connsiteY81" fmla="*/ 1586491 h 1661098"/>
                    <a:gd name="connsiteX82" fmla="*/ 196850 w 1146175"/>
                    <a:gd name="connsiteY82" fmla="*/ 1573791 h 1661098"/>
                    <a:gd name="connsiteX83" fmla="*/ 193675 w 1146175"/>
                    <a:gd name="connsiteY83" fmla="*/ 1564266 h 1661098"/>
                    <a:gd name="connsiteX84" fmla="*/ 187325 w 1146175"/>
                    <a:gd name="connsiteY84" fmla="*/ 1551566 h 1661098"/>
                    <a:gd name="connsiteX85" fmla="*/ 180975 w 1146175"/>
                    <a:gd name="connsiteY85" fmla="*/ 1535691 h 1661098"/>
                    <a:gd name="connsiteX86" fmla="*/ 161925 w 1146175"/>
                    <a:gd name="connsiteY86" fmla="*/ 1507116 h 1661098"/>
                    <a:gd name="connsiteX87" fmla="*/ 149225 w 1146175"/>
                    <a:gd name="connsiteY87" fmla="*/ 1484891 h 1661098"/>
                    <a:gd name="connsiteX88" fmla="*/ 142875 w 1146175"/>
                    <a:gd name="connsiteY88" fmla="*/ 1469016 h 1661098"/>
                    <a:gd name="connsiteX89" fmla="*/ 130175 w 1146175"/>
                    <a:gd name="connsiteY89" fmla="*/ 1465841 h 1661098"/>
                    <a:gd name="connsiteX90" fmla="*/ 101600 w 1146175"/>
                    <a:gd name="connsiteY90" fmla="*/ 1453141 h 1661098"/>
                    <a:gd name="connsiteX91" fmla="*/ 69850 w 1146175"/>
                    <a:gd name="connsiteY91" fmla="*/ 1443616 h 1661098"/>
                    <a:gd name="connsiteX92" fmla="*/ 41275 w 1146175"/>
                    <a:gd name="connsiteY92" fmla="*/ 1430916 h 1661098"/>
                    <a:gd name="connsiteX93" fmla="*/ 31750 w 1146175"/>
                    <a:gd name="connsiteY93" fmla="*/ 1424566 h 1661098"/>
                    <a:gd name="connsiteX94" fmla="*/ 15875 w 1146175"/>
                    <a:gd name="connsiteY94" fmla="*/ 1418216 h 1661098"/>
                    <a:gd name="connsiteX95" fmla="*/ 0 w 1146175"/>
                    <a:gd name="connsiteY9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23925 w 1146175"/>
                    <a:gd name="connsiteY36" fmla="*/ 1199141 h 1661098"/>
                    <a:gd name="connsiteX37" fmla="*/ 939800 w 1146175"/>
                    <a:gd name="connsiteY37" fmla="*/ 1221366 h 1661098"/>
                    <a:gd name="connsiteX38" fmla="*/ 946150 w 1146175"/>
                    <a:gd name="connsiteY38" fmla="*/ 1234066 h 1661098"/>
                    <a:gd name="connsiteX39" fmla="*/ 952500 w 1146175"/>
                    <a:gd name="connsiteY39" fmla="*/ 1243591 h 1661098"/>
                    <a:gd name="connsiteX40" fmla="*/ 965200 w 1146175"/>
                    <a:gd name="connsiteY40" fmla="*/ 1268991 h 1661098"/>
                    <a:gd name="connsiteX41" fmla="*/ 974725 w 1146175"/>
                    <a:gd name="connsiteY41" fmla="*/ 1291216 h 1661098"/>
                    <a:gd name="connsiteX42" fmla="*/ 977900 w 1146175"/>
                    <a:gd name="connsiteY42" fmla="*/ 1303916 h 1661098"/>
                    <a:gd name="connsiteX43" fmla="*/ 981075 w 1146175"/>
                    <a:gd name="connsiteY43" fmla="*/ 1313441 h 1661098"/>
                    <a:gd name="connsiteX44" fmla="*/ 974725 w 1146175"/>
                    <a:gd name="connsiteY44" fmla="*/ 1348366 h 1661098"/>
                    <a:gd name="connsiteX45" fmla="*/ 949325 w 1146175"/>
                    <a:gd name="connsiteY45" fmla="*/ 1380116 h 1661098"/>
                    <a:gd name="connsiteX46" fmla="*/ 939800 w 1146175"/>
                    <a:gd name="connsiteY46" fmla="*/ 1386466 h 1661098"/>
                    <a:gd name="connsiteX47" fmla="*/ 930275 w 1146175"/>
                    <a:gd name="connsiteY47" fmla="*/ 1395991 h 1661098"/>
                    <a:gd name="connsiteX48" fmla="*/ 923925 w 1146175"/>
                    <a:gd name="connsiteY48" fmla="*/ 1405516 h 1661098"/>
                    <a:gd name="connsiteX49" fmla="*/ 908050 w 1146175"/>
                    <a:gd name="connsiteY49" fmla="*/ 1415041 h 1661098"/>
                    <a:gd name="connsiteX50" fmla="*/ 895350 w 1146175"/>
                    <a:gd name="connsiteY50" fmla="*/ 1427741 h 1661098"/>
                    <a:gd name="connsiteX51" fmla="*/ 882650 w 1146175"/>
                    <a:gd name="connsiteY51" fmla="*/ 1437266 h 1661098"/>
                    <a:gd name="connsiteX52" fmla="*/ 873125 w 1146175"/>
                    <a:gd name="connsiteY52" fmla="*/ 1446791 h 1661098"/>
                    <a:gd name="connsiteX53" fmla="*/ 844550 w 1146175"/>
                    <a:gd name="connsiteY53" fmla="*/ 1462666 h 1661098"/>
                    <a:gd name="connsiteX54" fmla="*/ 835025 w 1146175"/>
                    <a:gd name="connsiteY54" fmla="*/ 1465841 h 1661098"/>
                    <a:gd name="connsiteX55" fmla="*/ 815975 w 1146175"/>
                    <a:gd name="connsiteY55" fmla="*/ 1459491 h 1661098"/>
                    <a:gd name="connsiteX56" fmla="*/ 774700 w 1146175"/>
                    <a:gd name="connsiteY56" fmla="*/ 1443616 h 1661098"/>
                    <a:gd name="connsiteX57" fmla="*/ 749300 w 1146175"/>
                    <a:gd name="connsiteY57" fmla="*/ 1437266 h 1661098"/>
                    <a:gd name="connsiteX58" fmla="*/ 717550 w 1146175"/>
                    <a:gd name="connsiteY58" fmla="*/ 1424566 h 1661098"/>
                    <a:gd name="connsiteX59" fmla="*/ 688975 w 1146175"/>
                    <a:gd name="connsiteY59" fmla="*/ 1418216 h 1661098"/>
                    <a:gd name="connsiteX60" fmla="*/ 657225 w 1146175"/>
                    <a:gd name="connsiteY60" fmla="*/ 1408691 h 1661098"/>
                    <a:gd name="connsiteX61" fmla="*/ 635000 w 1146175"/>
                    <a:gd name="connsiteY61" fmla="*/ 1411866 h 1661098"/>
                    <a:gd name="connsiteX62" fmla="*/ 622300 w 1146175"/>
                    <a:gd name="connsiteY62" fmla="*/ 1418216 h 1661098"/>
                    <a:gd name="connsiteX63" fmla="*/ 606425 w 1146175"/>
                    <a:gd name="connsiteY63" fmla="*/ 1427741 h 1661098"/>
                    <a:gd name="connsiteX64" fmla="*/ 577850 w 1146175"/>
                    <a:gd name="connsiteY64" fmla="*/ 1443616 h 1661098"/>
                    <a:gd name="connsiteX65" fmla="*/ 558800 w 1146175"/>
                    <a:gd name="connsiteY65" fmla="*/ 1446791 h 1661098"/>
                    <a:gd name="connsiteX66" fmla="*/ 501650 w 1146175"/>
                    <a:gd name="connsiteY66" fmla="*/ 1453141 h 1661098"/>
                    <a:gd name="connsiteX67" fmla="*/ 492125 w 1146175"/>
                    <a:gd name="connsiteY67" fmla="*/ 1459491 h 1661098"/>
                    <a:gd name="connsiteX68" fmla="*/ 466725 w 1146175"/>
                    <a:gd name="connsiteY68" fmla="*/ 1491241 h 1661098"/>
                    <a:gd name="connsiteX69" fmla="*/ 457200 w 1146175"/>
                    <a:gd name="connsiteY69" fmla="*/ 1510291 h 1661098"/>
                    <a:gd name="connsiteX70" fmla="*/ 454025 w 1146175"/>
                    <a:gd name="connsiteY70" fmla="*/ 1519816 h 1661098"/>
                    <a:gd name="connsiteX71" fmla="*/ 447675 w 1146175"/>
                    <a:gd name="connsiteY71" fmla="*/ 1535691 h 1661098"/>
                    <a:gd name="connsiteX72" fmla="*/ 434975 w 1146175"/>
                    <a:gd name="connsiteY72" fmla="*/ 1561091 h 1661098"/>
                    <a:gd name="connsiteX73" fmla="*/ 431800 w 1146175"/>
                    <a:gd name="connsiteY73" fmla="*/ 1576966 h 1661098"/>
                    <a:gd name="connsiteX74" fmla="*/ 425450 w 1146175"/>
                    <a:gd name="connsiteY74" fmla="*/ 1602366 h 1661098"/>
                    <a:gd name="connsiteX75" fmla="*/ 422275 w 1146175"/>
                    <a:gd name="connsiteY75" fmla="*/ 1611891 h 1661098"/>
                    <a:gd name="connsiteX76" fmla="*/ 412750 w 1146175"/>
                    <a:gd name="connsiteY76" fmla="*/ 1621416 h 1661098"/>
                    <a:gd name="connsiteX77" fmla="*/ 222250 w 1146175"/>
                    <a:gd name="connsiteY77" fmla="*/ 1627766 h 1661098"/>
                    <a:gd name="connsiteX78" fmla="*/ 215900 w 1146175"/>
                    <a:gd name="connsiteY78" fmla="*/ 1611891 h 1661098"/>
                    <a:gd name="connsiteX79" fmla="*/ 206375 w 1146175"/>
                    <a:gd name="connsiteY79" fmla="*/ 1599191 h 1661098"/>
                    <a:gd name="connsiteX80" fmla="*/ 203200 w 1146175"/>
                    <a:gd name="connsiteY80" fmla="*/ 1586491 h 1661098"/>
                    <a:gd name="connsiteX81" fmla="*/ 196850 w 1146175"/>
                    <a:gd name="connsiteY81" fmla="*/ 1573791 h 1661098"/>
                    <a:gd name="connsiteX82" fmla="*/ 193675 w 1146175"/>
                    <a:gd name="connsiteY82" fmla="*/ 1564266 h 1661098"/>
                    <a:gd name="connsiteX83" fmla="*/ 187325 w 1146175"/>
                    <a:gd name="connsiteY83" fmla="*/ 1551566 h 1661098"/>
                    <a:gd name="connsiteX84" fmla="*/ 180975 w 1146175"/>
                    <a:gd name="connsiteY84" fmla="*/ 1535691 h 1661098"/>
                    <a:gd name="connsiteX85" fmla="*/ 161925 w 1146175"/>
                    <a:gd name="connsiteY85" fmla="*/ 1507116 h 1661098"/>
                    <a:gd name="connsiteX86" fmla="*/ 149225 w 1146175"/>
                    <a:gd name="connsiteY86" fmla="*/ 1484891 h 1661098"/>
                    <a:gd name="connsiteX87" fmla="*/ 142875 w 1146175"/>
                    <a:gd name="connsiteY87" fmla="*/ 1469016 h 1661098"/>
                    <a:gd name="connsiteX88" fmla="*/ 130175 w 1146175"/>
                    <a:gd name="connsiteY88" fmla="*/ 1465841 h 1661098"/>
                    <a:gd name="connsiteX89" fmla="*/ 101600 w 1146175"/>
                    <a:gd name="connsiteY89" fmla="*/ 1453141 h 1661098"/>
                    <a:gd name="connsiteX90" fmla="*/ 69850 w 1146175"/>
                    <a:gd name="connsiteY90" fmla="*/ 1443616 h 1661098"/>
                    <a:gd name="connsiteX91" fmla="*/ 41275 w 1146175"/>
                    <a:gd name="connsiteY91" fmla="*/ 1430916 h 1661098"/>
                    <a:gd name="connsiteX92" fmla="*/ 31750 w 1146175"/>
                    <a:gd name="connsiteY92" fmla="*/ 1424566 h 1661098"/>
                    <a:gd name="connsiteX93" fmla="*/ 15875 w 1146175"/>
                    <a:gd name="connsiteY93" fmla="*/ 1418216 h 1661098"/>
                    <a:gd name="connsiteX94" fmla="*/ 0 w 1146175"/>
                    <a:gd name="connsiteY9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23925 w 1146175"/>
                    <a:gd name="connsiteY36" fmla="*/ 1199141 h 1661098"/>
                    <a:gd name="connsiteX37" fmla="*/ 946150 w 1146175"/>
                    <a:gd name="connsiteY37" fmla="*/ 1234066 h 1661098"/>
                    <a:gd name="connsiteX38" fmla="*/ 952500 w 1146175"/>
                    <a:gd name="connsiteY38" fmla="*/ 1243591 h 1661098"/>
                    <a:gd name="connsiteX39" fmla="*/ 965200 w 1146175"/>
                    <a:gd name="connsiteY39" fmla="*/ 1268991 h 1661098"/>
                    <a:gd name="connsiteX40" fmla="*/ 974725 w 1146175"/>
                    <a:gd name="connsiteY40" fmla="*/ 1291216 h 1661098"/>
                    <a:gd name="connsiteX41" fmla="*/ 977900 w 1146175"/>
                    <a:gd name="connsiteY41" fmla="*/ 1303916 h 1661098"/>
                    <a:gd name="connsiteX42" fmla="*/ 981075 w 1146175"/>
                    <a:gd name="connsiteY42" fmla="*/ 1313441 h 1661098"/>
                    <a:gd name="connsiteX43" fmla="*/ 974725 w 1146175"/>
                    <a:gd name="connsiteY43" fmla="*/ 1348366 h 1661098"/>
                    <a:gd name="connsiteX44" fmla="*/ 949325 w 1146175"/>
                    <a:gd name="connsiteY44" fmla="*/ 1380116 h 1661098"/>
                    <a:gd name="connsiteX45" fmla="*/ 939800 w 1146175"/>
                    <a:gd name="connsiteY45" fmla="*/ 1386466 h 1661098"/>
                    <a:gd name="connsiteX46" fmla="*/ 930275 w 1146175"/>
                    <a:gd name="connsiteY46" fmla="*/ 1395991 h 1661098"/>
                    <a:gd name="connsiteX47" fmla="*/ 923925 w 1146175"/>
                    <a:gd name="connsiteY47" fmla="*/ 1405516 h 1661098"/>
                    <a:gd name="connsiteX48" fmla="*/ 908050 w 1146175"/>
                    <a:gd name="connsiteY48" fmla="*/ 1415041 h 1661098"/>
                    <a:gd name="connsiteX49" fmla="*/ 895350 w 1146175"/>
                    <a:gd name="connsiteY49" fmla="*/ 1427741 h 1661098"/>
                    <a:gd name="connsiteX50" fmla="*/ 882650 w 1146175"/>
                    <a:gd name="connsiteY50" fmla="*/ 1437266 h 1661098"/>
                    <a:gd name="connsiteX51" fmla="*/ 873125 w 1146175"/>
                    <a:gd name="connsiteY51" fmla="*/ 1446791 h 1661098"/>
                    <a:gd name="connsiteX52" fmla="*/ 844550 w 1146175"/>
                    <a:gd name="connsiteY52" fmla="*/ 1462666 h 1661098"/>
                    <a:gd name="connsiteX53" fmla="*/ 835025 w 1146175"/>
                    <a:gd name="connsiteY53" fmla="*/ 1465841 h 1661098"/>
                    <a:gd name="connsiteX54" fmla="*/ 815975 w 1146175"/>
                    <a:gd name="connsiteY54" fmla="*/ 1459491 h 1661098"/>
                    <a:gd name="connsiteX55" fmla="*/ 774700 w 1146175"/>
                    <a:gd name="connsiteY55" fmla="*/ 1443616 h 1661098"/>
                    <a:gd name="connsiteX56" fmla="*/ 749300 w 1146175"/>
                    <a:gd name="connsiteY56" fmla="*/ 1437266 h 1661098"/>
                    <a:gd name="connsiteX57" fmla="*/ 717550 w 1146175"/>
                    <a:gd name="connsiteY57" fmla="*/ 1424566 h 1661098"/>
                    <a:gd name="connsiteX58" fmla="*/ 688975 w 1146175"/>
                    <a:gd name="connsiteY58" fmla="*/ 1418216 h 1661098"/>
                    <a:gd name="connsiteX59" fmla="*/ 657225 w 1146175"/>
                    <a:gd name="connsiteY59" fmla="*/ 1408691 h 1661098"/>
                    <a:gd name="connsiteX60" fmla="*/ 635000 w 1146175"/>
                    <a:gd name="connsiteY60" fmla="*/ 1411866 h 1661098"/>
                    <a:gd name="connsiteX61" fmla="*/ 622300 w 1146175"/>
                    <a:gd name="connsiteY61" fmla="*/ 1418216 h 1661098"/>
                    <a:gd name="connsiteX62" fmla="*/ 606425 w 1146175"/>
                    <a:gd name="connsiteY62" fmla="*/ 1427741 h 1661098"/>
                    <a:gd name="connsiteX63" fmla="*/ 577850 w 1146175"/>
                    <a:gd name="connsiteY63" fmla="*/ 1443616 h 1661098"/>
                    <a:gd name="connsiteX64" fmla="*/ 558800 w 1146175"/>
                    <a:gd name="connsiteY64" fmla="*/ 1446791 h 1661098"/>
                    <a:gd name="connsiteX65" fmla="*/ 501650 w 1146175"/>
                    <a:gd name="connsiteY65" fmla="*/ 1453141 h 1661098"/>
                    <a:gd name="connsiteX66" fmla="*/ 492125 w 1146175"/>
                    <a:gd name="connsiteY66" fmla="*/ 1459491 h 1661098"/>
                    <a:gd name="connsiteX67" fmla="*/ 466725 w 1146175"/>
                    <a:gd name="connsiteY67" fmla="*/ 1491241 h 1661098"/>
                    <a:gd name="connsiteX68" fmla="*/ 457200 w 1146175"/>
                    <a:gd name="connsiteY68" fmla="*/ 1510291 h 1661098"/>
                    <a:gd name="connsiteX69" fmla="*/ 454025 w 1146175"/>
                    <a:gd name="connsiteY69" fmla="*/ 1519816 h 1661098"/>
                    <a:gd name="connsiteX70" fmla="*/ 447675 w 1146175"/>
                    <a:gd name="connsiteY70" fmla="*/ 1535691 h 1661098"/>
                    <a:gd name="connsiteX71" fmla="*/ 434975 w 1146175"/>
                    <a:gd name="connsiteY71" fmla="*/ 1561091 h 1661098"/>
                    <a:gd name="connsiteX72" fmla="*/ 431800 w 1146175"/>
                    <a:gd name="connsiteY72" fmla="*/ 1576966 h 1661098"/>
                    <a:gd name="connsiteX73" fmla="*/ 425450 w 1146175"/>
                    <a:gd name="connsiteY73" fmla="*/ 1602366 h 1661098"/>
                    <a:gd name="connsiteX74" fmla="*/ 422275 w 1146175"/>
                    <a:gd name="connsiteY74" fmla="*/ 1611891 h 1661098"/>
                    <a:gd name="connsiteX75" fmla="*/ 412750 w 1146175"/>
                    <a:gd name="connsiteY75" fmla="*/ 1621416 h 1661098"/>
                    <a:gd name="connsiteX76" fmla="*/ 222250 w 1146175"/>
                    <a:gd name="connsiteY76" fmla="*/ 1627766 h 1661098"/>
                    <a:gd name="connsiteX77" fmla="*/ 215900 w 1146175"/>
                    <a:gd name="connsiteY77" fmla="*/ 1611891 h 1661098"/>
                    <a:gd name="connsiteX78" fmla="*/ 206375 w 1146175"/>
                    <a:gd name="connsiteY78" fmla="*/ 1599191 h 1661098"/>
                    <a:gd name="connsiteX79" fmla="*/ 203200 w 1146175"/>
                    <a:gd name="connsiteY79" fmla="*/ 1586491 h 1661098"/>
                    <a:gd name="connsiteX80" fmla="*/ 196850 w 1146175"/>
                    <a:gd name="connsiteY80" fmla="*/ 1573791 h 1661098"/>
                    <a:gd name="connsiteX81" fmla="*/ 193675 w 1146175"/>
                    <a:gd name="connsiteY81" fmla="*/ 1564266 h 1661098"/>
                    <a:gd name="connsiteX82" fmla="*/ 187325 w 1146175"/>
                    <a:gd name="connsiteY82" fmla="*/ 1551566 h 1661098"/>
                    <a:gd name="connsiteX83" fmla="*/ 180975 w 1146175"/>
                    <a:gd name="connsiteY83" fmla="*/ 1535691 h 1661098"/>
                    <a:gd name="connsiteX84" fmla="*/ 161925 w 1146175"/>
                    <a:gd name="connsiteY84" fmla="*/ 1507116 h 1661098"/>
                    <a:gd name="connsiteX85" fmla="*/ 149225 w 1146175"/>
                    <a:gd name="connsiteY85" fmla="*/ 1484891 h 1661098"/>
                    <a:gd name="connsiteX86" fmla="*/ 142875 w 1146175"/>
                    <a:gd name="connsiteY86" fmla="*/ 1469016 h 1661098"/>
                    <a:gd name="connsiteX87" fmla="*/ 130175 w 1146175"/>
                    <a:gd name="connsiteY87" fmla="*/ 1465841 h 1661098"/>
                    <a:gd name="connsiteX88" fmla="*/ 101600 w 1146175"/>
                    <a:gd name="connsiteY88" fmla="*/ 1453141 h 1661098"/>
                    <a:gd name="connsiteX89" fmla="*/ 69850 w 1146175"/>
                    <a:gd name="connsiteY89" fmla="*/ 1443616 h 1661098"/>
                    <a:gd name="connsiteX90" fmla="*/ 41275 w 1146175"/>
                    <a:gd name="connsiteY90" fmla="*/ 1430916 h 1661098"/>
                    <a:gd name="connsiteX91" fmla="*/ 31750 w 1146175"/>
                    <a:gd name="connsiteY91" fmla="*/ 1424566 h 1661098"/>
                    <a:gd name="connsiteX92" fmla="*/ 15875 w 1146175"/>
                    <a:gd name="connsiteY92" fmla="*/ 1418216 h 1661098"/>
                    <a:gd name="connsiteX93" fmla="*/ 0 w 1146175"/>
                    <a:gd name="connsiteY9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52500 w 1146175"/>
                    <a:gd name="connsiteY37" fmla="*/ 1243591 h 1661098"/>
                    <a:gd name="connsiteX38" fmla="*/ 965200 w 1146175"/>
                    <a:gd name="connsiteY38" fmla="*/ 1268991 h 1661098"/>
                    <a:gd name="connsiteX39" fmla="*/ 974725 w 1146175"/>
                    <a:gd name="connsiteY39" fmla="*/ 1291216 h 1661098"/>
                    <a:gd name="connsiteX40" fmla="*/ 977900 w 1146175"/>
                    <a:gd name="connsiteY40" fmla="*/ 1303916 h 1661098"/>
                    <a:gd name="connsiteX41" fmla="*/ 981075 w 1146175"/>
                    <a:gd name="connsiteY41" fmla="*/ 1313441 h 1661098"/>
                    <a:gd name="connsiteX42" fmla="*/ 974725 w 1146175"/>
                    <a:gd name="connsiteY42" fmla="*/ 1348366 h 1661098"/>
                    <a:gd name="connsiteX43" fmla="*/ 949325 w 1146175"/>
                    <a:gd name="connsiteY43" fmla="*/ 1380116 h 1661098"/>
                    <a:gd name="connsiteX44" fmla="*/ 939800 w 1146175"/>
                    <a:gd name="connsiteY44" fmla="*/ 1386466 h 1661098"/>
                    <a:gd name="connsiteX45" fmla="*/ 930275 w 1146175"/>
                    <a:gd name="connsiteY45" fmla="*/ 1395991 h 1661098"/>
                    <a:gd name="connsiteX46" fmla="*/ 923925 w 1146175"/>
                    <a:gd name="connsiteY46" fmla="*/ 1405516 h 1661098"/>
                    <a:gd name="connsiteX47" fmla="*/ 908050 w 1146175"/>
                    <a:gd name="connsiteY47" fmla="*/ 1415041 h 1661098"/>
                    <a:gd name="connsiteX48" fmla="*/ 895350 w 1146175"/>
                    <a:gd name="connsiteY48" fmla="*/ 1427741 h 1661098"/>
                    <a:gd name="connsiteX49" fmla="*/ 882650 w 1146175"/>
                    <a:gd name="connsiteY49" fmla="*/ 1437266 h 1661098"/>
                    <a:gd name="connsiteX50" fmla="*/ 873125 w 1146175"/>
                    <a:gd name="connsiteY50" fmla="*/ 1446791 h 1661098"/>
                    <a:gd name="connsiteX51" fmla="*/ 844550 w 1146175"/>
                    <a:gd name="connsiteY51" fmla="*/ 1462666 h 1661098"/>
                    <a:gd name="connsiteX52" fmla="*/ 835025 w 1146175"/>
                    <a:gd name="connsiteY52" fmla="*/ 1465841 h 1661098"/>
                    <a:gd name="connsiteX53" fmla="*/ 815975 w 1146175"/>
                    <a:gd name="connsiteY53" fmla="*/ 1459491 h 1661098"/>
                    <a:gd name="connsiteX54" fmla="*/ 774700 w 1146175"/>
                    <a:gd name="connsiteY54" fmla="*/ 1443616 h 1661098"/>
                    <a:gd name="connsiteX55" fmla="*/ 749300 w 1146175"/>
                    <a:gd name="connsiteY55" fmla="*/ 1437266 h 1661098"/>
                    <a:gd name="connsiteX56" fmla="*/ 717550 w 1146175"/>
                    <a:gd name="connsiteY56" fmla="*/ 1424566 h 1661098"/>
                    <a:gd name="connsiteX57" fmla="*/ 688975 w 1146175"/>
                    <a:gd name="connsiteY57" fmla="*/ 1418216 h 1661098"/>
                    <a:gd name="connsiteX58" fmla="*/ 657225 w 1146175"/>
                    <a:gd name="connsiteY58" fmla="*/ 1408691 h 1661098"/>
                    <a:gd name="connsiteX59" fmla="*/ 635000 w 1146175"/>
                    <a:gd name="connsiteY59" fmla="*/ 1411866 h 1661098"/>
                    <a:gd name="connsiteX60" fmla="*/ 622300 w 1146175"/>
                    <a:gd name="connsiteY60" fmla="*/ 1418216 h 1661098"/>
                    <a:gd name="connsiteX61" fmla="*/ 606425 w 1146175"/>
                    <a:gd name="connsiteY61" fmla="*/ 1427741 h 1661098"/>
                    <a:gd name="connsiteX62" fmla="*/ 577850 w 1146175"/>
                    <a:gd name="connsiteY62" fmla="*/ 1443616 h 1661098"/>
                    <a:gd name="connsiteX63" fmla="*/ 558800 w 1146175"/>
                    <a:gd name="connsiteY63" fmla="*/ 1446791 h 1661098"/>
                    <a:gd name="connsiteX64" fmla="*/ 501650 w 1146175"/>
                    <a:gd name="connsiteY64" fmla="*/ 1453141 h 1661098"/>
                    <a:gd name="connsiteX65" fmla="*/ 492125 w 1146175"/>
                    <a:gd name="connsiteY65" fmla="*/ 1459491 h 1661098"/>
                    <a:gd name="connsiteX66" fmla="*/ 466725 w 1146175"/>
                    <a:gd name="connsiteY66" fmla="*/ 1491241 h 1661098"/>
                    <a:gd name="connsiteX67" fmla="*/ 457200 w 1146175"/>
                    <a:gd name="connsiteY67" fmla="*/ 1510291 h 1661098"/>
                    <a:gd name="connsiteX68" fmla="*/ 454025 w 1146175"/>
                    <a:gd name="connsiteY68" fmla="*/ 1519816 h 1661098"/>
                    <a:gd name="connsiteX69" fmla="*/ 447675 w 1146175"/>
                    <a:gd name="connsiteY69" fmla="*/ 1535691 h 1661098"/>
                    <a:gd name="connsiteX70" fmla="*/ 434975 w 1146175"/>
                    <a:gd name="connsiteY70" fmla="*/ 1561091 h 1661098"/>
                    <a:gd name="connsiteX71" fmla="*/ 431800 w 1146175"/>
                    <a:gd name="connsiteY71" fmla="*/ 1576966 h 1661098"/>
                    <a:gd name="connsiteX72" fmla="*/ 425450 w 1146175"/>
                    <a:gd name="connsiteY72" fmla="*/ 1602366 h 1661098"/>
                    <a:gd name="connsiteX73" fmla="*/ 422275 w 1146175"/>
                    <a:gd name="connsiteY73" fmla="*/ 1611891 h 1661098"/>
                    <a:gd name="connsiteX74" fmla="*/ 412750 w 1146175"/>
                    <a:gd name="connsiteY74" fmla="*/ 1621416 h 1661098"/>
                    <a:gd name="connsiteX75" fmla="*/ 222250 w 1146175"/>
                    <a:gd name="connsiteY75" fmla="*/ 1627766 h 1661098"/>
                    <a:gd name="connsiteX76" fmla="*/ 215900 w 1146175"/>
                    <a:gd name="connsiteY76" fmla="*/ 1611891 h 1661098"/>
                    <a:gd name="connsiteX77" fmla="*/ 206375 w 1146175"/>
                    <a:gd name="connsiteY77" fmla="*/ 1599191 h 1661098"/>
                    <a:gd name="connsiteX78" fmla="*/ 203200 w 1146175"/>
                    <a:gd name="connsiteY78" fmla="*/ 1586491 h 1661098"/>
                    <a:gd name="connsiteX79" fmla="*/ 196850 w 1146175"/>
                    <a:gd name="connsiteY79" fmla="*/ 1573791 h 1661098"/>
                    <a:gd name="connsiteX80" fmla="*/ 193675 w 1146175"/>
                    <a:gd name="connsiteY80" fmla="*/ 1564266 h 1661098"/>
                    <a:gd name="connsiteX81" fmla="*/ 187325 w 1146175"/>
                    <a:gd name="connsiteY81" fmla="*/ 1551566 h 1661098"/>
                    <a:gd name="connsiteX82" fmla="*/ 180975 w 1146175"/>
                    <a:gd name="connsiteY82" fmla="*/ 1535691 h 1661098"/>
                    <a:gd name="connsiteX83" fmla="*/ 161925 w 1146175"/>
                    <a:gd name="connsiteY83" fmla="*/ 1507116 h 1661098"/>
                    <a:gd name="connsiteX84" fmla="*/ 149225 w 1146175"/>
                    <a:gd name="connsiteY84" fmla="*/ 1484891 h 1661098"/>
                    <a:gd name="connsiteX85" fmla="*/ 142875 w 1146175"/>
                    <a:gd name="connsiteY85" fmla="*/ 1469016 h 1661098"/>
                    <a:gd name="connsiteX86" fmla="*/ 130175 w 1146175"/>
                    <a:gd name="connsiteY86" fmla="*/ 1465841 h 1661098"/>
                    <a:gd name="connsiteX87" fmla="*/ 101600 w 1146175"/>
                    <a:gd name="connsiteY87" fmla="*/ 1453141 h 1661098"/>
                    <a:gd name="connsiteX88" fmla="*/ 69850 w 1146175"/>
                    <a:gd name="connsiteY88" fmla="*/ 1443616 h 1661098"/>
                    <a:gd name="connsiteX89" fmla="*/ 41275 w 1146175"/>
                    <a:gd name="connsiteY89" fmla="*/ 1430916 h 1661098"/>
                    <a:gd name="connsiteX90" fmla="*/ 31750 w 1146175"/>
                    <a:gd name="connsiteY90" fmla="*/ 1424566 h 1661098"/>
                    <a:gd name="connsiteX91" fmla="*/ 15875 w 1146175"/>
                    <a:gd name="connsiteY91" fmla="*/ 1418216 h 1661098"/>
                    <a:gd name="connsiteX92" fmla="*/ 0 w 1146175"/>
                    <a:gd name="connsiteY9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52500 w 1146175"/>
                    <a:gd name="connsiteY37" fmla="*/ 1243591 h 1661098"/>
                    <a:gd name="connsiteX38" fmla="*/ 974725 w 1146175"/>
                    <a:gd name="connsiteY38" fmla="*/ 1291216 h 1661098"/>
                    <a:gd name="connsiteX39" fmla="*/ 977900 w 1146175"/>
                    <a:gd name="connsiteY39" fmla="*/ 1303916 h 1661098"/>
                    <a:gd name="connsiteX40" fmla="*/ 981075 w 1146175"/>
                    <a:gd name="connsiteY40" fmla="*/ 1313441 h 1661098"/>
                    <a:gd name="connsiteX41" fmla="*/ 974725 w 1146175"/>
                    <a:gd name="connsiteY41" fmla="*/ 1348366 h 1661098"/>
                    <a:gd name="connsiteX42" fmla="*/ 949325 w 1146175"/>
                    <a:gd name="connsiteY42" fmla="*/ 1380116 h 1661098"/>
                    <a:gd name="connsiteX43" fmla="*/ 939800 w 1146175"/>
                    <a:gd name="connsiteY43" fmla="*/ 1386466 h 1661098"/>
                    <a:gd name="connsiteX44" fmla="*/ 930275 w 1146175"/>
                    <a:gd name="connsiteY44" fmla="*/ 1395991 h 1661098"/>
                    <a:gd name="connsiteX45" fmla="*/ 923925 w 1146175"/>
                    <a:gd name="connsiteY45" fmla="*/ 1405516 h 1661098"/>
                    <a:gd name="connsiteX46" fmla="*/ 908050 w 1146175"/>
                    <a:gd name="connsiteY46" fmla="*/ 1415041 h 1661098"/>
                    <a:gd name="connsiteX47" fmla="*/ 895350 w 1146175"/>
                    <a:gd name="connsiteY47" fmla="*/ 1427741 h 1661098"/>
                    <a:gd name="connsiteX48" fmla="*/ 882650 w 1146175"/>
                    <a:gd name="connsiteY48" fmla="*/ 1437266 h 1661098"/>
                    <a:gd name="connsiteX49" fmla="*/ 873125 w 1146175"/>
                    <a:gd name="connsiteY49" fmla="*/ 1446791 h 1661098"/>
                    <a:gd name="connsiteX50" fmla="*/ 844550 w 1146175"/>
                    <a:gd name="connsiteY50" fmla="*/ 1462666 h 1661098"/>
                    <a:gd name="connsiteX51" fmla="*/ 835025 w 1146175"/>
                    <a:gd name="connsiteY51" fmla="*/ 1465841 h 1661098"/>
                    <a:gd name="connsiteX52" fmla="*/ 815975 w 1146175"/>
                    <a:gd name="connsiteY52" fmla="*/ 1459491 h 1661098"/>
                    <a:gd name="connsiteX53" fmla="*/ 774700 w 1146175"/>
                    <a:gd name="connsiteY53" fmla="*/ 1443616 h 1661098"/>
                    <a:gd name="connsiteX54" fmla="*/ 749300 w 1146175"/>
                    <a:gd name="connsiteY54" fmla="*/ 1437266 h 1661098"/>
                    <a:gd name="connsiteX55" fmla="*/ 717550 w 1146175"/>
                    <a:gd name="connsiteY55" fmla="*/ 1424566 h 1661098"/>
                    <a:gd name="connsiteX56" fmla="*/ 688975 w 1146175"/>
                    <a:gd name="connsiteY56" fmla="*/ 1418216 h 1661098"/>
                    <a:gd name="connsiteX57" fmla="*/ 657225 w 1146175"/>
                    <a:gd name="connsiteY57" fmla="*/ 1408691 h 1661098"/>
                    <a:gd name="connsiteX58" fmla="*/ 635000 w 1146175"/>
                    <a:gd name="connsiteY58" fmla="*/ 1411866 h 1661098"/>
                    <a:gd name="connsiteX59" fmla="*/ 622300 w 1146175"/>
                    <a:gd name="connsiteY59" fmla="*/ 1418216 h 1661098"/>
                    <a:gd name="connsiteX60" fmla="*/ 606425 w 1146175"/>
                    <a:gd name="connsiteY60" fmla="*/ 1427741 h 1661098"/>
                    <a:gd name="connsiteX61" fmla="*/ 577850 w 1146175"/>
                    <a:gd name="connsiteY61" fmla="*/ 1443616 h 1661098"/>
                    <a:gd name="connsiteX62" fmla="*/ 558800 w 1146175"/>
                    <a:gd name="connsiteY62" fmla="*/ 1446791 h 1661098"/>
                    <a:gd name="connsiteX63" fmla="*/ 501650 w 1146175"/>
                    <a:gd name="connsiteY63" fmla="*/ 1453141 h 1661098"/>
                    <a:gd name="connsiteX64" fmla="*/ 492125 w 1146175"/>
                    <a:gd name="connsiteY64" fmla="*/ 1459491 h 1661098"/>
                    <a:gd name="connsiteX65" fmla="*/ 466725 w 1146175"/>
                    <a:gd name="connsiteY65" fmla="*/ 1491241 h 1661098"/>
                    <a:gd name="connsiteX66" fmla="*/ 457200 w 1146175"/>
                    <a:gd name="connsiteY66" fmla="*/ 1510291 h 1661098"/>
                    <a:gd name="connsiteX67" fmla="*/ 454025 w 1146175"/>
                    <a:gd name="connsiteY67" fmla="*/ 1519816 h 1661098"/>
                    <a:gd name="connsiteX68" fmla="*/ 447675 w 1146175"/>
                    <a:gd name="connsiteY68" fmla="*/ 1535691 h 1661098"/>
                    <a:gd name="connsiteX69" fmla="*/ 434975 w 1146175"/>
                    <a:gd name="connsiteY69" fmla="*/ 1561091 h 1661098"/>
                    <a:gd name="connsiteX70" fmla="*/ 431800 w 1146175"/>
                    <a:gd name="connsiteY70" fmla="*/ 1576966 h 1661098"/>
                    <a:gd name="connsiteX71" fmla="*/ 425450 w 1146175"/>
                    <a:gd name="connsiteY71" fmla="*/ 1602366 h 1661098"/>
                    <a:gd name="connsiteX72" fmla="*/ 422275 w 1146175"/>
                    <a:gd name="connsiteY72" fmla="*/ 1611891 h 1661098"/>
                    <a:gd name="connsiteX73" fmla="*/ 412750 w 1146175"/>
                    <a:gd name="connsiteY73" fmla="*/ 1621416 h 1661098"/>
                    <a:gd name="connsiteX74" fmla="*/ 222250 w 1146175"/>
                    <a:gd name="connsiteY74" fmla="*/ 1627766 h 1661098"/>
                    <a:gd name="connsiteX75" fmla="*/ 215900 w 1146175"/>
                    <a:gd name="connsiteY75" fmla="*/ 1611891 h 1661098"/>
                    <a:gd name="connsiteX76" fmla="*/ 206375 w 1146175"/>
                    <a:gd name="connsiteY76" fmla="*/ 1599191 h 1661098"/>
                    <a:gd name="connsiteX77" fmla="*/ 203200 w 1146175"/>
                    <a:gd name="connsiteY77" fmla="*/ 1586491 h 1661098"/>
                    <a:gd name="connsiteX78" fmla="*/ 196850 w 1146175"/>
                    <a:gd name="connsiteY78" fmla="*/ 1573791 h 1661098"/>
                    <a:gd name="connsiteX79" fmla="*/ 193675 w 1146175"/>
                    <a:gd name="connsiteY79" fmla="*/ 1564266 h 1661098"/>
                    <a:gd name="connsiteX80" fmla="*/ 187325 w 1146175"/>
                    <a:gd name="connsiteY80" fmla="*/ 1551566 h 1661098"/>
                    <a:gd name="connsiteX81" fmla="*/ 180975 w 1146175"/>
                    <a:gd name="connsiteY81" fmla="*/ 1535691 h 1661098"/>
                    <a:gd name="connsiteX82" fmla="*/ 161925 w 1146175"/>
                    <a:gd name="connsiteY82" fmla="*/ 1507116 h 1661098"/>
                    <a:gd name="connsiteX83" fmla="*/ 149225 w 1146175"/>
                    <a:gd name="connsiteY83" fmla="*/ 1484891 h 1661098"/>
                    <a:gd name="connsiteX84" fmla="*/ 142875 w 1146175"/>
                    <a:gd name="connsiteY84" fmla="*/ 1469016 h 1661098"/>
                    <a:gd name="connsiteX85" fmla="*/ 130175 w 1146175"/>
                    <a:gd name="connsiteY85" fmla="*/ 1465841 h 1661098"/>
                    <a:gd name="connsiteX86" fmla="*/ 101600 w 1146175"/>
                    <a:gd name="connsiteY86" fmla="*/ 1453141 h 1661098"/>
                    <a:gd name="connsiteX87" fmla="*/ 69850 w 1146175"/>
                    <a:gd name="connsiteY87" fmla="*/ 1443616 h 1661098"/>
                    <a:gd name="connsiteX88" fmla="*/ 41275 w 1146175"/>
                    <a:gd name="connsiteY88" fmla="*/ 1430916 h 1661098"/>
                    <a:gd name="connsiteX89" fmla="*/ 31750 w 1146175"/>
                    <a:gd name="connsiteY89" fmla="*/ 1424566 h 1661098"/>
                    <a:gd name="connsiteX90" fmla="*/ 15875 w 1146175"/>
                    <a:gd name="connsiteY90" fmla="*/ 1418216 h 1661098"/>
                    <a:gd name="connsiteX91" fmla="*/ 0 w 1146175"/>
                    <a:gd name="connsiteY9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7900 w 1146175"/>
                    <a:gd name="connsiteY38" fmla="*/ 1303916 h 1661098"/>
                    <a:gd name="connsiteX39" fmla="*/ 981075 w 1146175"/>
                    <a:gd name="connsiteY39" fmla="*/ 1313441 h 1661098"/>
                    <a:gd name="connsiteX40" fmla="*/ 974725 w 1146175"/>
                    <a:gd name="connsiteY40" fmla="*/ 1348366 h 1661098"/>
                    <a:gd name="connsiteX41" fmla="*/ 949325 w 1146175"/>
                    <a:gd name="connsiteY41" fmla="*/ 1380116 h 1661098"/>
                    <a:gd name="connsiteX42" fmla="*/ 939800 w 1146175"/>
                    <a:gd name="connsiteY42" fmla="*/ 1386466 h 1661098"/>
                    <a:gd name="connsiteX43" fmla="*/ 930275 w 1146175"/>
                    <a:gd name="connsiteY43" fmla="*/ 1395991 h 1661098"/>
                    <a:gd name="connsiteX44" fmla="*/ 923925 w 1146175"/>
                    <a:gd name="connsiteY44" fmla="*/ 1405516 h 1661098"/>
                    <a:gd name="connsiteX45" fmla="*/ 908050 w 1146175"/>
                    <a:gd name="connsiteY45" fmla="*/ 1415041 h 1661098"/>
                    <a:gd name="connsiteX46" fmla="*/ 895350 w 1146175"/>
                    <a:gd name="connsiteY46" fmla="*/ 1427741 h 1661098"/>
                    <a:gd name="connsiteX47" fmla="*/ 882650 w 1146175"/>
                    <a:gd name="connsiteY47" fmla="*/ 1437266 h 1661098"/>
                    <a:gd name="connsiteX48" fmla="*/ 873125 w 1146175"/>
                    <a:gd name="connsiteY48" fmla="*/ 1446791 h 1661098"/>
                    <a:gd name="connsiteX49" fmla="*/ 844550 w 1146175"/>
                    <a:gd name="connsiteY49" fmla="*/ 1462666 h 1661098"/>
                    <a:gd name="connsiteX50" fmla="*/ 835025 w 1146175"/>
                    <a:gd name="connsiteY50" fmla="*/ 1465841 h 1661098"/>
                    <a:gd name="connsiteX51" fmla="*/ 815975 w 1146175"/>
                    <a:gd name="connsiteY51" fmla="*/ 1459491 h 1661098"/>
                    <a:gd name="connsiteX52" fmla="*/ 774700 w 1146175"/>
                    <a:gd name="connsiteY52" fmla="*/ 1443616 h 1661098"/>
                    <a:gd name="connsiteX53" fmla="*/ 749300 w 1146175"/>
                    <a:gd name="connsiteY53" fmla="*/ 1437266 h 1661098"/>
                    <a:gd name="connsiteX54" fmla="*/ 717550 w 1146175"/>
                    <a:gd name="connsiteY54" fmla="*/ 1424566 h 1661098"/>
                    <a:gd name="connsiteX55" fmla="*/ 688975 w 1146175"/>
                    <a:gd name="connsiteY55" fmla="*/ 1418216 h 1661098"/>
                    <a:gd name="connsiteX56" fmla="*/ 657225 w 1146175"/>
                    <a:gd name="connsiteY56" fmla="*/ 1408691 h 1661098"/>
                    <a:gd name="connsiteX57" fmla="*/ 635000 w 1146175"/>
                    <a:gd name="connsiteY57" fmla="*/ 1411866 h 1661098"/>
                    <a:gd name="connsiteX58" fmla="*/ 622300 w 1146175"/>
                    <a:gd name="connsiteY58" fmla="*/ 1418216 h 1661098"/>
                    <a:gd name="connsiteX59" fmla="*/ 606425 w 1146175"/>
                    <a:gd name="connsiteY59" fmla="*/ 1427741 h 1661098"/>
                    <a:gd name="connsiteX60" fmla="*/ 577850 w 1146175"/>
                    <a:gd name="connsiteY60" fmla="*/ 1443616 h 1661098"/>
                    <a:gd name="connsiteX61" fmla="*/ 558800 w 1146175"/>
                    <a:gd name="connsiteY61" fmla="*/ 1446791 h 1661098"/>
                    <a:gd name="connsiteX62" fmla="*/ 501650 w 1146175"/>
                    <a:gd name="connsiteY62" fmla="*/ 1453141 h 1661098"/>
                    <a:gd name="connsiteX63" fmla="*/ 492125 w 1146175"/>
                    <a:gd name="connsiteY63" fmla="*/ 1459491 h 1661098"/>
                    <a:gd name="connsiteX64" fmla="*/ 466725 w 1146175"/>
                    <a:gd name="connsiteY64" fmla="*/ 1491241 h 1661098"/>
                    <a:gd name="connsiteX65" fmla="*/ 457200 w 1146175"/>
                    <a:gd name="connsiteY65" fmla="*/ 1510291 h 1661098"/>
                    <a:gd name="connsiteX66" fmla="*/ 454025 w 1146175"/>
                    <a:gd name="connsiteY66" fmla="*/ 1519816 h 1661098"/>
                    <a:gd name="connsiteX67" fmla="*/ 447675 w 1146175"/>
                    <a:gd name="connsiteY67" fmla="*/ 1535691 h 1661098"/>
                    <a:gd name="connsiteX68" fmla="*/ 434975 w 1146175"/>
                    <a:gd name="connsiteY68" fmla="*/ 1561091 h 1661098"/>
                    <a:gd name="connsiteX69" fmla="*/ 431800 w 1146175"/>
                    <a:gd name="connsiteY69" fmla="*/ 1576966 h 1661098"/>
                    <a:gd name="connsiteX70" fmla="*/ 425450 w 1146175"/>
                    <a:gd name="connsiteY70" fmla="*/ 1602366 h 1661098"/>
                    <a:gd name="connsiteX71" fmla="*/ 422275 w 1146175"/>
                    <a:gd name="connsiteY71" fmla="*/ 1611891 h 1661098"/>
                    <a:gd name="connsiteX72" fmla="*/ 412750 w 1146175"/>
                    <a:gd name="connsiteY72" fmla="*/ 1621416 h 1661098"/>
                    <a:gd name="connsiteX73" fmla="*/ 222250 w 1146175"/>
                    <a:gd name="connsiteY73" fmla="*/ 1627766 h 1661098"/>
                    <a:gd name="connsiteX74" fmla="*/ 215900 w 1146175"/>
                    <a:gd name="connsiteY74" fmla="*/ 1611891 h 1661098"/>
                    <a:gd name="connsiteX75" fmla="*/ 206375 w 1146175"/>
                    <a:gd name="connsiteY75" fmla="*/ 1599191 h 1661098"/>
                    <a:gd name="connsiteX76" fmla="*/ 203200 w 1146175"/>
                    <a:gd name="connsiteY76" fmla="*/ 1586491 h 1661098"/>
                    <a:gd name="connsiteX77" fmla="*/ 196850 w 1146175"/>
                    <a:gd name="connsiteY77" fmla="*/ 1573791 h 1661098"/>
                    <a:gd name="connsiteX78" fmla="*/ 193675 w 1146175"/>
                    <a:gd name="connsiteY78" fmla="*/ 1564266 h 1661098"/>
                    <a:gd name="connsiteX79" fmla="*/ 187325 w 1146175"/>
                    <a:gd name="connsiteY79" fmla="*/ 1551566 h 1661098"/>
                    <a:gd name="connsiteX80" fmla="*/ 180975 w 1146175"/>
                    <a:gd name="connsiteY80" fmla="*/ 1535691 h 1661098"/>
                    <a:gd name="connsiteX81" fmla="*/ 161925 w 1146175"/>
                    <a:gd name="connsiteY81" fmla="*/ 1507116 h 1661098"/>
                    <a:gd name="connsiteX82" fmla="*/ 149225 w 1146175"/>
                    <a:gd name="connsiteY82" fmla="*/ 1484891 h 1661098"/>
                    <a:gd name="connsiteX83" fmla="*/ 142875 w 1146175"/>
                    <a:gd name="connsiteY83" fmla="*/ 1469016 h 1661098"/>
                    <a:gd name="connsiteX84" fmla="*/ 130175 w 1146175"/>
                    <a:gd name="connsiteY84" fmla="*/ 1465841 h 1661098"/>
                    <a:gd name="connsiteX85" fmla="*/ 101600 w 1146175"/>
                    <a:gd name="connsiteY85" fmla="*/ 1453141 h 1661098"/>
                    <a:gd name="connsiteX86" fmla="*/ 69850 w 1146175"/>
                    <a:gd name="connsiteY86" fmla="*/ 1443616 h 1661098"/>
                    <a:gd name="connsiteX87" fmla="*/ 41275 w 1146175"/>
                    <a:gd name="connsiteY87" fmla="*/ 1430916 h 1661098"/>
                    <a:gd name="connsiteX88" fmla="*/ 31750 w 1146175"/>
                    <a:gd name="connsiteY88" fmla="*/ 1424566 h 1661098"/>
                    <a:gd name="connsiteX89" fmla="*/ 15875 w 1146175"/>
                    <a:gd name="connsiteY89" fmla="*/ 1418216 h 1661098"/>
                    <a:gd name="connsiteX90" fmla="*/ 0 w 1146175"/>
                    <a:gd name="connsiteY9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7900 w 1146175"/>
                    <a:gd name="connsiteY38" fmla="*/ 1303916 h 1661098"/>
                    <a:gd name="connsiteX39" fmla="*/ 974725 w 1146175"/>
                    <a:gd name="connsiteY39" fmla="*/ 1348366 h 1661098"/>
                    <a:gd name="connsiteX40" fmla="*/ 949325 w 1146175"/>
                    <a:gd name="connsiteY40" fmla="*/ 1380116 h 1661098"/>
                    <a:gd name="connsiteX41" fmla="*/ 939800 w 1146175"/>
                    <a:gd name="connsiteY41" fmla="*/ 1386466 h 1661098"/>
                    <a:gd name="connsiteX42" fmla="*/ 930275 w 1146175"/>
                    <a:gd name="connsiteY42" fmla="*/ 1395991 h 1661098"/>
                    <a:gd name="connsiteX43" fmla="*/ 923925 w 1146175"/>
                    <a:gd name="connsiteY43" fmla="*/ 1405516 h 1661098"/>
                    <a:gd name="connsiteX44" fmla="*/ 908050 w 1146175"/>
                    <a:gd name="connsiteY44" fmla="*/ 1415041 h 1661098"/>
                    <a:gd name="connsiteX45" fmla="*/ 895350 w 1146175"/>
                    <a:gd name="connsiteY45" fmla="*/ 1427741 h 1661098"/>
                    <a:gd name="connsiteX46" fmla="*/ 882650 w 1146175"/>
                    <a:gd name="connsiteY46" fmla="*/ 1437266 h 1661098"/>
                    <a:gd name="connsiteX47" fmla="*/ 873125 w 1146175"/>
                    <a:gd name="connsiteY47" fmla="*/ 1446791 h 1661098"/>
                    <a:gd name="connsiteX48" fmla="*/ 844550 w 1146175"/>
                    <a:gd name="connsiteY48" fmla="*/ 1462666 h 1661098"/>
                    <a:gd name="connsiteX49" fmla="*/ 835025 w 1146175"/>
                    <a:gd name="connsiteY49" fmla="*/ 1465841 h 1661098"/>
                    <a:gd name="connsiteX50" fmla="*/ 815975 w 1146175"/>
                    <a:gd name="connsiteY50" fmla="*/ 1459491 h 1661098"/>
                    <a:gd name="connsiteX51" fmla="*/ 774700 w 1146175"/>
                    <a:gd name="connsiteY51" fmla="*/ 1443616 h 1661098"/>
                    <a:gd name="connsiteX52" fmla="*/ 749300 w 1146175"/>
                    <a:gd name="connsiteY52" fmla="*/ 1437266 h 1661098"/>
                    <a:gd name="connsiteX53" fmla="*/ 717550 w 1146175"/>
                    <a:gd name="connsiteY53" fmla="*/ 1424566 h 1661098"/>
                    <a:gd name="connsiteX54" fmla="*/ 688975 w 1146175"/>
                    <a:gd name="connsiteY54" fmla="*/ 1418216 h 1661098"/>
                    <a:gd name="connsiteX55" fmla="*/ 657225 w 1146175"/>
                    <a:gd name="connsiteY55" fmla="*/ 1408691 h 1661098"/>
                    <a:gd name="connsiteX56" fmla="*/ 635000 w 1146175"/>
                    <a:gd name="connsiteY56" fmla="*/ 1411866 h 1661098"/>
                    <a:gd name="connsiteX57" fmla="*/ 622300 w 1146175"/>
                    <a:gd name="connsiteY57" fmla="*/ 1418216 h 1661098"/>
                    <a:gd name="connsiteX58" fmla="*/ 606425 w 1146175"/>
                    <a:gd name="connsiteY58" fmla="*/ 1427741 h 1661098"/>
                    <a:gd name="connsiteX59" fmla="*/ 577850 w 1146175"/>
                    <a:gd name="connsiteY59" fmla="*/ 1443616 h 1661098"/>
                    <a:gd name="connsiteX60" fmla="*/ 558800 w 1146175"/>
                    <a:gd name="connsiteY60" fmla="*/ 1446791 h 1661098"/>
                    <a:gd name="connsiteX61" fmla="*/ 501650 w 1146175"/>
                    <a:gd name="connsiteY61" fmla="*/ 1453141 h 1661098"/>
                    <a:gd name="connsiteX62" fmla="*/ 492125 w 1146175"/>
                    <a:gd name="connsiteY62" fmla="*/ 1459491 h 1661098"/>
                    <a:gd name="connsiteX63" fmla="*/ 466725 w 1146175"/>
                    <a:gd name="connsiteY63" fmla="*/ 1491241 h 1661098"/>
                    <a:gd name="connsiteX64" fmla="*/ 457200 w 1146175"/>
                    <a:gd name="connsiteY64" fmla="*/ 1510291 h 1661098"/>
                    <a:gd name="connsiteX65" fmla="*/ 454025 w 1146175"/>
                    <a:gd name="connsiteY65" fmla="*/ 1519816 h 1661098"/>
                    <a:gd name="connsiteX66" fmla="*/ 447675 w 1146175"/>
                    <a:gd name="connsiteY66" fmla="*/ 1535691 h 1661098"/>
                    <a:gd name="connsiteX67" fmla="*/ 434975 w 1146175"/>
                    <a:gd name="connsiteY67" fmla="*/ 1561091 h 1661098"/>
                    <a:gd name="connsiteX68" fmla="*/ 431800 w 1146175"/>
                    <a:gd name="connsiteY68" fmla="*/ 1576966 h 1661098"/>
                    <a:gd name="connsiteX69" fmla="*/ 425450 w 1146175"/>
                    <a:gd name="connsiteY69" fmla="*/ 1602366 h 1661098"/>
                    <a:gd name="connsiteX70" fmla="*/ 422275 w 1146175"/>
                    <a:gd name="connsiteY70" fmla="*/ 1611891 h 1661098"/>
                    <a:gd name="connsiteX71" fmla="*/ 412750 w 1146175"/>
                    <a:gd name="connsiteY71" fmla="*/ 1621416 h 1661098"/>
                    <a:gd name="connsiteX72" fmla="*/ 222250 w 1146175"/>
                    <a:gd name="connsiteY72" fmla="*/ 1627766 h 1661098"/>
                    <a:gd name="connsiteX73" fmla="*/ 215900 w 1146175"/>
                    <a:gd name="connsiteY73" fmla="*/ 1611891 h 1661098"/>
                    <a:gd name="connsiteX74" fmla="*/ 206375 w 1146175"/>
                    <a:gd name="connsiteY74" fmla="*/ 1599191 h 1661098"/>
                    <a:gd name="connsiteX75" fmla="*/ 203200 w 1146175"/>
                    <a:gd name="connsiteY75" fmla="*/ 1586491 h 1661098"/>
                    <a:gd name="connsiteX76" fmla="*/ 196850 w 1146175"/>
                    <a:gd name="connsiteY76" fmla="*/ 1573791 h 1661098"/>
                    <a:gd name="connsiteX77" fmla="*/ 193675 w 1146175"/>
                    <a:gd name="connsiteY77" fmla="*/ 1564266 h 1661098"/>
                    <a:gd name="connsiteX78" fmla="*/ 187325 w 1146175"/>
                    <a:gd name="connsiteY78" fmla="*/ 1551566 h 1661098"/>
                    <a:gd name="connsiteX79" fmla="*/ 180975 w 1146175"/>
                    <a:gd name="connsiteY79" fmla="*/ 1535691 h 1661098"/>
                    <a:gd name="connsiteX80" fmla="*/ 161925 w 1146175"/>
                    <a:gd name="connsiteY80" fmla="*/ 1507116 h 1661098"/>
                    <a:gd name="connsiteX81" fmla="*/ 149225 w 1146175"/>
                    <a:gd name="connsiteY81" fmla="*/ 1484891 h 1661098"/>
                    <a:gd name="connsiteX82" fmla="*/ 142875 w 1146175"/>
                    <a:gd name="connsiteY82" fmla="*/ 1469016 h 1661098"/>
                    <a:gd name="connsiteX83" fmla="*/ 130175 w 1146175"/>
                    <a:gd name="connsiteY83" fmla="*/ 1465841 h 1661098"/>
                    <a:gd name="connsiteX84" fmla="*/ 101600 w 1146175"/>
                    <a:gd name="connsiteY84" fmla="*/ 1453141 h 1661098"/>
                    <a:gd name="connsiteX85" fmla="*/ 69850 w 1146175"/>
                    <a:gd name="connsiteY85" fmla="*/ 1443616 h 1661098"/>
                    <a:gd name="connsiteX86" fmla="*/ 41275 w 1146175"/>
                    <a:gd name="connsiteY86" fmla="*/ 1430916 h 1661098"/>
                    <a:gd name="connsiteX87" fmla="*/ 31750 w 1146175"/>
                    <a:gd name="connsiteY87" fmla="*/ 1424566 h 1661098"/>
                    <a:gd name="connsiteX88" fmla="*/ 15875 w 1146175"/>
                    <a:gd name="connsiteY88" fmla="*/ 1418216 h 1661098"/>
                    <a:gd name="connsiteX89" fmla="*/ 0 w 1146175"/>
                    <a:gd name="connsiteY8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30275 w 1146175"/>
                    <a:gd name="connsiteY41" fmla="*/ 1395991 h 1661098"/>
                    <a:gd name="connsiteX42" fmla="*/ 923925 w 1146175"/>
                    <a:gd name="connsiteY42" fmla="*/ 1405516 h 1661098"/>
                    <a:gd name="connsiteX43" fmla="*/ 908050 w 1146175"/>
                    <a:gd name="connsiteY43" fmla="*/ 1415041 h 1661098"/>
                    <a:gd name="connsiteX44" fmla="*/ 895350 w 1146175"/>
                    <a:gd name="connsiteY44" fmla="*/ 1427741 h 1661098"/>
                    <a:gd name="connsiteX45" fmla="*/ 882650 w 1146175"/>
                    <a:gd name="connsiteY45" fmla="*/ 1437266 h 1661098"/>
                    <a:gd name="connsiteX46" fmla="*/ 873125 w 1146175"/>
                    <a:gd name="connsiteY46" fmla="*/ 1446791 h 1661098"/>
                    <a:gd name="connsiteX47" fmla="*/ 844550 w 1146175"/>
                    <a:gd name="connsiteY47" fmla="*/ 1462666 h 1661098"/>
                    <a:gd name="connsiteX48" fmla="*/ 835025 w 1146175"/>
                    <a:gd name="connsiteY48" fmla="*/ 1465841 h 1661098"/>
                    <a:gd name="connsiteX49" fmla="*/ 815975 w 1146175"/>
                    <a:gd name="connsiteY49" fmla="*/ 1459491 h 1661098"/>
                    <a:gd name="connsiteX50" fmla="*/ 774700 w 1146175"/>
                    <a:gd name="connsiteY50" fmla="*/ 1443616 h 1661098"/>
                    <a:gd name="connsiteX51" fmla="*/ 749300 w 1146175"/>
                    <a:gd name="connsiteY51" fmla="*/ 1437266 h 1661098"/>
                    <a:gd name="connsiteX52" fmla="*/ 717550 w 1146175"/>
                    <a:gd name="connsiteY52" fmla="*/ 1424566 h 1661098"/>
                    <a:gd name="connsiteX53" fmla="*/ 688975 w 1146175"/>
                    <a:gd name="connsiteY53" fmla="*/ 1418216 h 1661098"/>
                    <a:gd name="connsiteX54" fmla="*/ 657225 w 1146175"/>
                    <a:gd name="connsiteY54" fmla="*/ 1408691 h 1661098"/>
                    <a:gd name="connsiteX55" fmla="*/ 635000 w 1146175"/>
                    <a:gd name="connsiteY55" fmla="*/ 1411866 h 1661098"/>
                    <a:gd name="connsiteX56" fmla="*/ 622300 w 1146175"/>
                    <a:gd name="connsiteY56" fmla="*/ 1418216 h 1661098"/>
                    <a:gd name="connsiteX57" fmla="*/ 606425 w 1146175"/>
                    <a:gd name="connsiteY57" fmla="*/ 1427741 h 1661098"/>
                    <a:gd name="connsiteX58" fmla="*/ 577850 w 1146175"/>
                    <a:gd name="connsiteY58" fmla="*/ 1443616 h 1661098"/>
                    <a:gd name="connsiteX59" fmla="*/ 558800 w 1146175"/>
                    <a:gd name="connsiteY59" fmla="*/ 1446791 h 1661098"/>
                    <a:gd name="connsiteX60" fmla="*/ 501650 w 1146175"/>
                    <a:gd name="connsiteY60" fmla="*/ 1453141 h 1661098"/>
                    <a:gd name="connsiteX61" fmla="*/ 492125 w 1146175"/>
                    <a:gd name="connsiteY61" fmla="*/ 1459491 h 1661098"/>
                    <a:gd name="connsiteX62" fmla="*/ 466725 w 1146175"/>
                    <a:gd name="connsiteY62" fmla="*/ 1491241 h 1661098"/>
                    <a:gd name="connsiteX63" fmla="*/ 457200 w 1146175"/>
                    <a:gd name="connsiteY63" fmla="*/ 1510291 h 1661098"/>
                    <a:gd name="connsiteX64" fmla="*/ 454025 w 1146175"/>
                    <a:gd name="connsiteY64" fmla="*/ 1519816 h 1661098"/>
                    <a:gd name="connsiteX65" fmla="*/ 447675 w 1146175"/>
                    <a:gd name="connsiteY65" fmla="*/ 1535691 h 1661098"/>
                    <a:gd name="connsiteX66" fmla="*/ 434975 w 1146175"/>
                    <a:gd name="connsiteY66" fmla="*/ 1561091 h 1661098"/>
                    <a:gd name="connsiteX67" fmla="*/ 431800 w 1146175"/>
                    <a:gd name="connsiteY67" fmla="*/ 1576966 h 1661098"/>
                    <a:gd name="connsiteX68" fmla="*/ 425450 w 1146175"/>
                    <a:gd name="connsiteY68" fmla="*/ 1602366 h 1661098"/>
                    <a:gd name="connsiteX69" fmla="*/ 422275 w 1146175"/>
                    <a:gd name="connsiteY69" fmla="*/ 1611891 h 1661098"/>
                    <a:gd name="connsiteX70" fmla="*/ 412750 w 1146175"/>
                    <a:gd name="connsiteY70" fmla="*/ 1621416 h 1661098"/>
                    <a:gd name="connsiteX71" fmla="*/ 222250 w 1146175"/>
                    <a:gd name="connsiteY71" fmla="*/ 1627766 h 1661098"/>
                    <a:gd name="connsiteX72" fmla="*/ 215900 w 1146175"/>
                    <a:gd name="connsiteY72" fmla="*/ 1611891 h 1661098"/>
                    <a:gd name="connsiteX73" fmla="*/ 206375 w 1146175"/>
                    <a:gd name="connsiteY73" fmla="*/ 1599191 h 1661098"/>
                    <a:gd name="connsiteX74" fmla="*/ 203200 w 1146175"/>
                    <a:gd name="connsiteY74" fmla="*/ 1586491 h 1661098"/>
                    <a:gd name="connsiteX75" fmla="*/ 196850 w 1146175"/>
                    <a:gd name="connsiteY75" fmla="*/ 1573791 h 1661098"/>
                    <a:gd name="connsiteX76" fmla="*/ 193675 w 1146175"/>
                    <a:gd name="connsiteY76" fmla="*/ 1564266 h 1661098"/>
                    <a:gd name="connsiteX77" fmla="*/ 187325 w 1146175"/>
                    <a:gd name="connsiteY77" fmla="*/ 1551566 h 1661098"/>
                    <a:gd name="connsiteX78" fmla="*/ 180975 w 1146175"/>
                    <a:gd name="connsiteY78" fmla="*/ 1535691 h 1661098"/>
                    <a:gd name="connsiteX79" fmla="*/ 161925 w 1146175"/>
                    <a:gd name="connsiteY79" fmla="*/ 1507116 h 1661098"/>
                    <a:gd name="connsiteX80" fmla="*/ 149225 w 1146175"/>
                    <a:gd name="connsiteY80" fmla="*/ 1484891 h 1661098"/>
                    <a:gd name="connsiteX81" fmla="*/ 142875 w 1146175"/>
                    <a:gd name="connsiteY81" fmla="*/ 1469016 h 1661098"/>
                    <a:gd name="connsiteX82" fmla="*/ 130175 w 1146175"/>
                    <a:gd name="connsiteY82" fmla="*/ 1465841 h 1661098"/>
                    <a:gd name="connsiteX83" fmla="*/ 101600 w 1146175"/>
                    <a:gd name="connsiteY83" fmla="*/ 1453141 h 1661098"/>
                    <a:gd name="connsiteX84" fmla="*/ 69850 w 1146175"/>
                    <a:gd name="connsiteY84" fmla="*/ 1443616 h 1661098"/>
                    <a:gd name="connsiteX85" fmla="*/ 41275 w 1146175"/>
                    <a:gd name="connsiteY85" fmla="*/ 1430916 h 1661098"/>
                    <a:gd name="connsiteX86" fmla="*/ 31750 w 1146175"/>
                    <a:gd name="connsiteY86" fmla="*/ 1424566 h 1661098"/>
                    <a:gd name="connsiteX87" fmla="*/ 15875 w 1146175"/>
                    <a:gd name="connsiteY87" fmla="*/ 1418216 h 1661098"/>
                    <a:gd name="connsiteX88" fmla="*/ 0 w 1146175"/>
                    <a:gd name="connsiteY8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23925 w 1146175"/>
                    <a:gd name="connsiteY41" fmla="*/ 1405516 h 1661098"/>
                    <a:gd name="connsiteX42" fmla="*/ 908050 w 1146175"/>
                    <a:gd name="connsiteY42" fmla="*/ 1415041 h 1661098"/>
                    <a:gd name="connsiteX43" fmla="*/ 895350 w 1146175"/>
                    <a:gd name="connsiteY43" fmla="*/ 1427741 h 1661098"/>
                    <a:gd name="connsiteX44" fmla="*/ 882650 w 1146175"/>
                    <a:gd name="connsiteY44" fmla="*/ 1437266 h 1661098"/>
                    <a:gd name="connsiteX45" fmla="*/ 873125 w 1146175"/>
                    <a:gd name="connsiteY45" fmla="*/ 1446791 h 1661098"/>
                    <a:gd name="connsiteX46" fmla="*/ 844550 w 1146175"/>
                    <a:gd name="connsiteY46" fmla="*/ 1462666 h 1661098"/>
                    <a:gd name="connsiteX47" fmla="*/ 835025 w 1146175"/>
                    <a:gd name="connsiteY47" fmla="*/ 1465841 h 1661098"/>
                    <a:gd name="connsiteX48" fmla="*/ 815975 w 1146175"/>
                    <a:gd name="connsiteY48" fmla="*/ 1459491 h 1661098"/>
                    <a:gd name="connsiteX49" fmla="*/ 774700 w 1146175"/>
                    <a:gd name="connsiteY49" fmla="*/ 1443616 h 1661098"/>
                    <a:gd name="connsiteX50" fmla="*/ 749300 w 1146175"/>
                    <a:gd name="connsiteY50" fmla="*/ 1437266 h 1661098"/>
                    <a:gd name="connsiteX51" fmla="*/ 717550 w 1146175"/>
                    <a:gd name="connsiteY51" fmla="*/ 1424566 h 1661098"/>
                    <a:gd name="connsiteX52" fmla="*/ 688975 w 1146175"/>
                    <a:gd name="connsiteY52" fmla="*/ 1418216 h 1661098"/>
                    <a:gd name="connsiteX53" fmla="*/ 657225 w 1146175"/>
                    <a:gd name="connsiteY53" fmla="*/ 1408691 h 1661098"/>
                    <a:gd name="connsiteX54" fmla="*/ 635000 w 1146175"/>
                    <a:gd name="connsiteY54" fmla="*/ 1411866 h 1661098"/>
                    <a:gd name="connsiteX55" fmla="*/ 622300 w 1146175"/>
                    <a:gd name="connsiteY55" fmla="*/ 1418216 h 1661098"/>
                    <a:gd name="connsiteX56" fmla="*/ 606425 w 1146175"/>
                    <a:gd name="connsiteY56" fmla="*/ 1427741 h 1661098"/>
                    <a:gd name="connsiteX57" fmla="*/ 577850 w 1146175"/>
                    <a:gd name="connsiteY57" fmla="*/ 1443616 h 1661098"/>
                    <a:gd name="connsiteX58" fmla="*/ 558800 w 1146175"/>
                    <a:gd name="connsiteY58" fmla="*/ 1446791 h 1661098"/>
                    <a:gd name="connsiteX59" fmla="*/ 501650 w 1146175"/>
                    <a:gd name="connsiteY59" fmla="*/ 1453141 h 1661098"/>
                    <a:gd name="connsiteX60" fmla="*/ 492125 w 1146175"/>
                    <a:gd name="connsiteY60" fmla="*/ 1459491 h 1661098"/>
                    <a:gd name="connsiteX61" fmla="*/ 466725 w 1146175"/>
                    <a:gd name="connsiteY61" fmla="*/ 1491241 h 1661098"/>
                    <a:gd name="connsiteX62" fmla="*/ 457200 w 1146175"/>
                    <a:gd name="connsiteY62" fmla="*/ 1510291 h 1661098"/>
                    <a:gd name="connsiteX63" fmla="*/ 454025 w 1146175"/>
                    <a:gd name="connsiteY63" fmla="*/ 1519816 h 1661098"/>
                    <a:gd name="connsiteX64" fmla="*/ 447675 w 1146175"/>
                    <a:gd name="connsiteY64" fmla="*/ 1535691 h 1661098"/>
                    <a:gd name="connsiteX65" fmla="*/ 434975 w 1146175"/>
                    <a:gd name="connsiteY65" fmla="*/ 1561091 h 1661098"/>
                    <a:gd name="connsiteX66" fmla="*/ 431800 w 1146175"/>
                    <a:gd name="connsiteY66" fmla="*/ 1576966 h 1661098"/>
                    <a:gd name="connsiteX67" fmla="*/ 425450 w 1146175"/>
                    <a:gd name="connsiteY67" fmla="*/ 1602366 h 1661098"/>
                    <a:gd name="connsiteX68" fmla="*/ 422275 w 1146175"/>
                    <a:gd name="connsiteY68" fmla="*/ 1611891 h 1661098"/>
                    <a:gd name="connsiteX69" fmla="*/ 412750 w 1146175"/>
                    <a:gd name="connsiteY69" fmla="*/ 1621416 h 1661098"/>
                    <a:gd name="connsiteX70" fmla="*/ 222250 w 1146175"/>
                    <a:gd name="connsiteY70" fmla="*/ 1627766 h 1661098"/>
                    <a:gd name="connsiteX71" fmla="*/ 215900 w 1146175"/>
                    <a:gd name="connsiteY71" fmla="*/ 1611891 h 1661098"/>
                    <a:gd name="connsiteX72" fmla="*/ 206375 w 1146175"/>
                    <a:gd name="connsiteY72" fmla="*/ 1599191 h 1661098"/>
                    <a:gd name="connsiteX73" fmla="*/ 203200 w 1146175"/>
                    <a:gd name="connsiteY73" fmla="*/ 1586491 h 1661098"/>
                    <a:gd name="connsiteX74" fmla="*/ 196850 w 1146175"/>
                    <a:gd name="connsiteY74" fmla="*/ 1573791 h 1661098"/>
                    <a:gd name="connsiteX75" fmla="*/ 193675 w 1146175"/>
                    <a:gd name="connsiteY75" fmla="*/ 1564266 h 1661098"/>
                    <a:gd name="connsiteX76" fmla="*/ 187325 w 1146175"/>
                    <a:gd name="connsiteY76" fmla="*/ 1551566 h 1661098"/>
                    <a:gd name="connsiteX77" fmla="*/ 180975 w 1146175"/>
                    <a:gd name="connsiteY77" fmla="*/ 1535691 h 1661098"/>
                    <a:gd name="connsiteX78" fmla="*/ 161925 w 1146175"/>
                    <a:gd name="connsiteY78" fmla="*/ 1507116 h 1661098"/>
                    <a:gd name="connsiteX79" fmla="*/ 149225 w 1146175"/>
                    <a:gd name="connsiteY79" fmla="*/ 1484891 h 1661098"/>
                    <a:gd name="connsiteX80" fmla="*/ 142875 w 1146175"/>
                    <a:gd name="connsiteY80" fmla="*/ 1469016 h 1661098"/>
                    <a:gd name="connsiteX81" fmla="*/ 130175 w 1146175"/>
                    <a:gd name="connsiteY81" fmla="*/ 1465841 h 1661098"/>
                    <a:gd name="connsiteX82" fmla="*/ 101600 w 1146175"/>
                    <a:gd name="connsiteY82" fmla="*/ 1453141 h 1661098"/>
                    <a:gd name="connsiteX83" fmla="*/ 69850 w 1146175"/>
                    <a:gd name="connsiteY83" fmla="*/ 1443616 h 1661098"/>
                    <a:gd name="connsiteX84" fmla="*/ 41275 w 1146175"/>
                    <a:gd name="connsiteY84" fmla="*/ 1430916 h 1661098"/>
                    <a:gd name="connsiteX85" fmla="*/ 31750 w 1146175"/>
                    <a:gd name="connsiteY85" fmla="*/ 1424566 h 1661098"/>
                    <a:gd name="connsiteX86" fmla="*/ 15875 w 1146175"/>
                    <a:gd name="connsiteY86" fmla="*/ 1418216 h 1661098"/>
                    <a:gd name="connsiteX87" fmla="*/ 0 w 1146175"/>
                    <a:gd name="connsiteY8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08050 w 1146175"/>
                    <a:gd name="connsiteY41" fmla="*/ 1415041 h 1661098"/>
                    <a:gd name="connsiteX42" fmla="*/ 895350 w 1146175"/>
                    <a:gd name="connsiteY42" fmla="*/ 1427741 h 1661098"/>
                    <a:gd name="connsiteX43" fmla="*/ 882650 w 1146175"/>
                    <a:gd name="connsiteY43" fmla="*/ 1437266 h 1661098"/>
                    <a:gd name="connsiteX44" fmla="*/ 873125 w 1146175"/>
                    <a:gd name="connsiteY44" fmla="*/ 1446791 h 1661098"/>
                    <a:gd name="connsiteX45" fmla="*/ 844550 w 1146175"/>
                    <a:gd name="connsiteY45" fmla="*/ 1462666 h 1661098"/>
                    <a:gd name="connsiteX46" fmla="*/ 835025 w 1146175"/>
                    <a:gd name="connsiteY46" fmla="*/ 1465841 h 1661098"/>
                    <a:gd name="connsiteX47" fmla="*/ 815975 w 1146175"/>
                    <a:gd name="connsiteY47" fmla="*/ 1459491 h 1661098"/>
                    <a:gd name="connsiteX48" fmla="*/ 774700 w 1146175"/>
                    <a:gd name="connsiteY48" fmla="*/ 1443616 h 1661098"/>
                    <a:gd name="connsiteX49" fmla="*/ 749300 w 1146175"/>
                    <a:gd name="connsiteY49" fmla="*/ 1437266 h 1661098"/>
                    <a:gd name="connsiteX50" fmla="*/ 717550 w 1146175"/>
                    <a:gd name="connsiteY50" fmla="*/ 1424566 h 1661098"/>
                    <a:gd name="connsiteX51" fmla="*/ 688975 w 1146175"/>
                    <a:gd name="connsiteY51" fmla="*/ 1418216 h 1661098"/>
                    <a:gd name="connsiteX52" fmla="*/ 657225 w 1146175"/>
                    <a:gd name="connsiteY52" fmla="*/ 1408691 h 1661098"/>
                    <a:gd name="connsiteX53" fmla="*/ 635000 w 1146175"/>
                    <a:gd name="connsiteY53" fmla="*/ 1411866 h 1661098"/>
                    <a:gd name="connsiteX54" fmla="*/ 622300 w 1146175"/>
                    <a:gd name="connsiteY54" fmla="*/ 1418216 h 1661098"/>
                    <a:gd name="connsiteX55" fmla="*/ 606425 w 1146175"/>
                    <a:gd name="connsiteY55" fmla="*/ 1427741 h 1661098"/>
                    <a:gd name="connsiteX56" fmla="*/ 577850 w 1146175"/>
                    <a:gd name="connsiteY56" fmla="*/ 1443616 h 1661098"/>
                    <a:gd name="connsiteX57" fmla="*/ 558800 w 1146175"/>
                    <a:gd name="connsiteY57" fmla="*/ 1446791 h 1661098"/>
                    <a:gd name="connsiteX58" fmla="*/ 501650 w 1146175"/>
                    <a:gd name="connsiteY58" fmla="*/ 1453141 h 1661098"/>
                    <a:gd name="connsiteX59" fmla="*/ 492125 w 1146175"/>
                    <a:gd name="connsiteY59" fmla="*/ 1459491 h 1661098"/>
                    <a:gd name="connsiteX60" fmla="*/ 466725 w 1146175"/>
                    <a:gd name="connsiteY60" fmla="*/ 1491241 h 1661098"/>
                    <a:gd name="connsiteX61" fmla="*/ 457200 w 1146175"/>
                    <a:gd name="connsiteY61" fmla="*/ 1510291 h 1661098"/>
                    <a:gd name="connsiteX62" fmla="*/ 454025 w 1146175"/>
                    <a:gd name="connsiteY62" fmla="*/ 1519816 h 1661098"/>
                    <a:gd name="connsiteX63" fmla="*/ 447675 w 1146175"/>
                    <a:gd name="connsiteY63" fmla="*/ 1535691 h 1661098"/>
                    <a:gd name="connsiteX64" fmla="*/ 434975 w 1146175"/>
                    <a:gd name="connsiteY64" fmla="*/ 1561091 h 1661098"/>
                    <a:gd name="connsiteX65" fmla="*/ 431800 w 1146175"/>
                    <a:gd name="connsiteY65" fmla="*/ 1576966 h 1661098"/>
                    <a:gd name="connsiteX66" fmla="*/ 425450 w 1146175"/>
                    <a:gd name="connsiteY66" fmla="*/ 1602366 h 1661098"/>
                    <a:gd name="connsiteX67" fmla="*/ 422275 w 1146175"/>
                    <a:gd name="connsiteY67" fmla="*/ 1611891 h 1661098"/>
                    <a:gd name="connsiteX68" fmla="*/ 412750 w 1146175"/>
                    <a:gd name="connsiteY68" fmla="*/ 1621416 h 1661098"/>
                    <a:gd name="connsiteX69" fmla="*/ 222250 w 1146175"/>
                    <a:gd name="connsiteY69" fmla="*/ 1627766 h 1661098"/>
                    <a:gd name="connsiteX70" fmla="*/ 215900 w 1146175"/>
                    <a:gd name="connsiteY70" fmla="*/ 1611891 h 1661098"/>
                    <a:gd name="connsiteX71" fmla="*/ 206375 w 1146175"/>
                    <a:gd name="connsiteY71" fmla="*/ 1599191 h 1661098"/>
                    <a:gd name="connsiteX72" fmla="*/ 203200 w 1146175"/>
                    <a:gd name="connsiteY72" fmla="*/ 1586491 h 1661098"/>
                    <a:gd name="connsiteX73" fmla="*/ 196850 w 1146175"/>
                    <a:gd name="connsiteY73" fmla="*/ 1573791 h 1661098"/>
                    <a:gd name="connsiteX74" fmla="*/ 193675 w 1146175"/>
                    <a:gd name="connsiteY74" fmla="*/ 1564266 h 1661098"/>
                    <a:gd name="connsiteX75" fmla="*/ 187325 w 1146175"/>
                    <a:gd name="connsiteY75" fmla="*/ 1551566 h 1661098"/>
                    <a:gd name="connsiteX76" fmla="*/ 180975 w 1146175"/>
                    <a:gd name="connsiteY76" fmla="*/ 1535691 h 1661098"/>
                    <a:gd name="connsiteX77" fmla="*/ 161925 w 1146175"/>
                    <a:gd name="connsiteY77" fmla="*/ 1507116 h 1661098"/>
                    <a:gd name="connsiteX78" fmla="*/ 149225 w 1146175"/>
                    <a:gd name="connsiteY78" fmla="*/ 1484891 h 1661098"/>
                    <a:gd name="connsiteX79" fmla="*/ 142875 w 1146175"/>
                    <a:gd name="connsiteY79" fmla="*/ 1469016 h 1661098"/>
                    <a:gd name="connsiteX80" fmla="*/ 130175 w 1146175"/>
                    <a:gd name="connsiteY80" fmla="*/ 1465841 h 1661098"/>
                    <a:gd name="connsiteX81" fmla="*/ 101600 w 1146175"/>
                    <a:gd name="connsiteY81" fmla="*/ 1453141 h 1661098"/>
                    <a:gd name="connsiteX82" fmla="*/ 69850 w 1146175"/>
                    <a:gd name="connsiteY82" fmla="*/ 1443616 h 1661098"/>
                    <a:gd name="connsiteX83" fmla="*/ 41275 w 1146175"/>
                    <a:gd name="connsiteY83" fmla="*/ 1430916 h 1661098"/>
                    <a:gd name="connsiteX84" fmla="*/ 31750 w 1146175"/>
                    <a:gd name="connsiteY84" fmla="*/ 1424566 h 1661098"/>
                    <a:gd name="connsiteX85" fmla="*/ 15875 w 1146175"/>
                    <a:gd name="connsiteY85" fmla="*/ 1418216 h 1661098"/>
                    <a:gd name="connsiteX86" fmla="*/ 0 w 1146175"/>
                    <a:gd name="connsiteY8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82650 w 1146175"/>
                    <a:gd name="connsiteY42" fmla="*/ 1437266 h 1661098"/>
                    <a:gd name="connsiteX43" fmla="*/ 873125 w 1146175"/>
                    <a:gd name="connsiteY43" fmla="*/ 1446791 h 1661098"/>
                    <a:gd name="connsiteX44" fmla="*/ 844550 w 1146175"/>
                    <a:gd name="connsiteY44" fmla="*/ 1462666 h 1661098"/>
                    <a:gd name="connsiteX45" fmla="*/ 835025 w 1146175"/>
                    <a:gd name="connsiteY45" fmla="*/ 1465841 h 1661098"/>
                    <a:gd name="connsiteX46" fmla="*/ 815975 w 1146175"/>
                    <a:gd name="connsiteY46" fmla="*/ 1459491 h 1661098"/>
                    <a:gd name="connsiteX47" fmla="*/ 774700 w 1146175"/>
                    <a:gd name="connsiteY47" fmla="*/ 1443616 h 1661098"/>
                    <a:gd name="connsiteX48" fmla="*/ 749300 w 1146175"/>
                    <a:gd name="connsiteY48" fmla="*/ 1437266 h 1661098"/>
                    <a:gd name="connsiteX49" fmla="*/ 717550 w 1146175"/>
                    <a:gd name="connsiteY49" fmla="*/ 1424566 h 1661098"/>
                    <a:gd name="connsiteX50" fmla="*/ 688975 w 1146175"/>
                    <a:gd name="connsiteY50" fmla="*/ 1418216 h 1661098"/>
                    <a:gd name="connsiteX51" fmla="*/ 657225 w 1146175"/>
                    <a:gd name="connsiteY51" fmla="*/ 1408691 h 1661098"/>
                    <a:gd name="connsiteX52" fmla="*/ 635000 w 1146175"/>
                    <a:gd name="connsiteY52" fmla="*/ 1411866 h 1661098"/>
                    <a:gd name="connsiteX53" fmla="*/ 622300 w 1146175"/>
                    <a:gd name="connsiteY53" fmla="*/ 1418216 h 1661098"/>
                    <a:gd name="connsiteX54" fmla="*/ 606425 w 1146175"/>
                    <a:gd name="connsiteY54" fmla="*/ 1427741 h 1661098"/>
                    <a:gd name="connsiteX55" fmla="*/ 577850 w 1146175"/>
                    <a:gd name="connsiteY55" fmla="*/ 1443616 h 1661098"/>
                    <a:gd name="connsiteX56" fmla="*/ 558800 w 1146175"/>
                    <a:gd name="connsiteY56" fmla="*/ 1446791 h 1661098"/>
                    <a:gd name="connsiteX57" fmla="*/ 501650 w 1146175"/>
                    <a:gd name="connsiteY57" fmla="*/ 1453141 h 1661098"/>
                    <a:gd name="connsiteX58" fmla="*/ 492125 w 1146175"/>
                    <a:gd name="connsiteY58" fmla="*/ 1459491 h 1661098"/>
                    <a:gd name="connsiteX59" fmla="*/ 466725 w 1146175"/>
                    <a:gd name="connsiteY59" fmla="*/ 1491241 h 1661098"/>
                    <a:gd name="connsiteX60" fmla="*/ 457200 w 1146175"/>
                    <a:gd name="connsiteY60" fmla="*/ 1510291 h 1661098"/>
                    <a:gd name="connsiteX61" fmla="*/ 454025 w 1146175"/>
                    <a:gd name="connsiteY61" fmla="*/ 1519816 h 1661098"/>
                    <a:gd name="connsiteX62" fmla="*/ 447675 w 1146175"/>
                    <a:gd name="connsiteY62" fmla="*/ 1535691 h 1661098"/>
                    <a:gd name="connsiteX63" fmla="*/ 434975 w 1146175"/>
                    <a:gd name="connsiteY63" fmla="*/ 1561091 h 1661098"/>
                    <a:gd name="connsiteX64" fmla="*/ 431800 w 1146175"/>
                    <a:gd name="connsiteY64" fmla="*/ 1576966 h 1661098"/>
                    <a:gd name="connsiteX65" fmla="*/ 425450 w 1146175"/>
                    <a:gd name="connsiteY65" fmla="*/ 1602366 h 1661098"/>
                    <a:gd name="connsiteX66" fmla="*/ 422275 w 1146175"/>
                    <a:gd name="connsiteY66" fmla="*/ 1611891 h 1661098"/>
                    <a:gd name="connsiteX67" fmla="*/ 412750 w 1146175"/>
                    <a:gd name="connsiteY67" fmla="*/ 1621416 h 1661098"/>
                    <a:gd name="connsiteX68" fmla="*/ 222250 w 1146175"/>
                    <a:gd name="connsiteY68" fmla="*/ 1627766 h 1661098"/>
                    <a:gd name="connsiteX69" fmla="*/ 215900 w 1146175"/>
                    <a:gd name="connsiteY69" fmla="*/ 1611891 h 1661098"/>
                    <a:gd name="connsiteX70" fmla="*/ 206375 w 1146175"/>
                    <a:gd name="connsiteY70" fmla="*/ 1599191 h 1661098"/>
                    <a:gd name="connsiteX71" fmla="*/ 203200 w 1146175"/>
                    <a:gd name="connsiteY71" fmla="*/ 1586491 h 1661098"/>
                    <a:gd name="connsiteX72" fmla="*/ 196850 w 1146175"/>
                    <a:gd name="connsiteY72" fmla="*/ 1573791 h 1661098"/>
                    <a:gd name="connsiteX73" fmla="*/ 193675 w 1146175"/>
                    <a:gd name="connsiteY73" fmla="*/ 1564266 h 1661098"/>
                    <a:gd name="connsiteX74" fmla="*/ 187325 w 1146175"/>
                    <a:gd name="connsiteY74" fmla="*/ 1551566 h 1661098"/>
                    <a:gd name="connsiteX75" fmla="*/ 180975 w 1146175"/>
                    <a:gd name="connsiteY75" fmla="*/ 1535691 h 1661098"/>
                    <a:gd name="connsiteX76" fmla="*/ 161925 w 1146175"/>
                    <a:gd name="connsiteY76" fmla="*/ 1507116 h 1661098"/>
                    <a:gd name="connsiteX77" fmla="*/ 149225 w 1146175"/>
                    <a:gd name="connsiteY77" fmla="*/ 1484891 h 1661098"/>
                    <a:gd name="connsiteX78" fmla="*/ 142875 w 1146175"/>
                    <a:gd name="connsiteY78" fmla="*/ 1469016 h 1661098"/>
                    <a:gd name="connsiteX79" fmla="*/ 130175 w 1146175"/>
                    <a:gd name="connsiteY79" fmla="*/ 1465841 h 1661098"/>
                    <a:gd name="connsiteX80" fmla="*/ 101600 w 1146175"/>
                    <a:gd name="connsiteY80" fmla="*/ 1453141 h 1661098"/>
                    <a:gd name="connsiteX81" fmla="*/ 69850 w 1146175"/>
                    <a:gd name="connsiteY81" fmla="*/ 1443616 h 1661098"/>
                    <a:gd name="connsiteX82" fmla="*/ 41275 w 1146175"/>
                    <a:gd name="connsiteY82" fmla="*/ 1430916 h 1661098"/>
                    <a:gd name="connsiteX83" fmla="*/ 31750 w 1146175"/>
                    <a:gd name="connsiteY83" fmla="*/ 1424566 h 1661098"/>
                    <a:gd name="connsiteX84" fmla="*/ 15875 w 1146175"/>
                    <a:gd name="connsiteY84" fmla="*/ 1418216 h 1661098"/>
                    <a:gd name="connsiteX85" fmla="*/ 0 w 1146175"/>
                    <a:gd name="connsiteY8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73125 w 1146175"/>
                    <a:gd name="connsiteY42" fmla="*/ 1446791 h 1661098"/>
                    <a:gd name="connsiteX43" fmla="*/ 844550 w 1146175"/>
                    <a:gd name="connsiteY43" fmla="*/ 1462666 h 1661098"/>
                    <a:gd name="connsiteX44" fmla="*/ 835025 w 1146175"/>
                    <a:gd name="connsiteY44" fmla="*/ 1465841 h 1661098"/>
                    <a:gd name="connsiteX45" fmla="*/ 815975 w 1146175"/>
                    <a:gd name="connsiteY45" fmla="*/ 1459491 h 1661098"/>
                    <a:gd name="connsiteX46" fmla="*/ 774700 w 1146175"/>
                    <a:gd name="connsiteY46" fmla="*/ 1443616 h 1661098"/>
                    <a:gd name="connsiteX47" fmla="*/ 749300 w 1146175"/>
                    <a:gd name="connsiteY47" fmla="*/ 1437266 h 1661098"/>
                    <a:gd name="connsiteX48" fmla="*/ 717550 w 1146175"/>
                    <a:gd name="connsiteY48" fmla="*/ 1424566 h 1661098"/>
                    <a:gd name="connsiteX49" fmla="*/ 688975 w 1146175"/>
                    <a:gd name="connsiteY49" fmla="*/ 1418216 h 1661098"/>
                    <a:gd name="connsiteX50" fmla="*/ 657225 w 1146175"/>
                    <a:gd name="connsiteY50" fmla="*/ 1408691 h 1661098"/>
                    <a:gd name="connsiteX51" fmla="*/ 635000 w 1146175"/>
                    <a:gd name="connsiteY51" fmla="*/ 1411866 h 1661098"/>
                    <a:gd name="connsiteX52" fmla="*/ 622300 w 1146175"/>
                    <a:gd name="connsiteY52" fmla="*/ 1418216 h 1661098"/>
                    <a:gd name="connsiteX53" fmla="*/ 606425 w 1146175"/>
                    <a:gd name="connsiteY53" fmla="*/ 1427741 h 1661098"/>
                    <a:gd name="connsiteX54" fmla="*/ 577850 w 1146175"/>
                    <a:gd name="connsiteY54" fmla="*/ 1443616 h 1661098"/>
                    <a:gd name="connsiteX55" fmla="*/ 558800 w 1146175"/>
                    <a:gd name="connsiteY55" fmla="*/ 1446791 h 1661098"/>
                    <a:gd name="connsiteX56" fmla="*/ 501650 w 1146175"/>
                    <a:gd name="connsiteY56" fmla="*/ 1453141 h 1661098"/>
                    <a:gd name="connsiteX57" fmla="*/ 492125 w 1146175"/>
                    <a:gd name="connsiteY57" fmla="*/ 1459491 h 1661098"/>
                    <a:gd name="connsiteX58" fmla="*/ 466725 w 1146175"/>
                    <a:gd name="connsiteY58" fmla="*/ 1491241 h 1661098"/>
                    <a:gd name="connsiteX59" fmla="*/ 457200 w 1146175"/>
                    <a:gd name="connsiteY59" fmla="*/ 1510291 h 1661098"/>
                    <a:gd name="connsiteX60" fmla="*/ 454025 w 1146175"/>
                    <a:gd name="connsiteY60" fmla="*/ 1519816 h 1661098"/>
                    <a:gd name="connsiteX61" fmla="*/ 447675 w 1146175"/>
                    <a:gd name="connsiteY61" fmla="*/ 1535691 h 1661098"/>
                    <a:gd name="connsiteX62" fmla="*/ 434975 w 1146175"/>
                    <a:gd name="connsiteY62" fmla="*/ 1561091 h 1661098"/>
                    <a:gd name="connsiteX63" fmla="*/ 431800 w 1146175"/>
                    <a:gd name="connsiteY63" fmla="*/ 1576966 h 1661098"/>
                    <a:gd name="connsiteX64" fmla="*/ 425450 w 1146175"/>
                    <a:gd name="connsiteY64" fmla="*/ 1602366 h 1661098"/>
                    <a:gd name="connsiteX65" fmla="*/ 422275 w 1146175"/>
                    <a:gd name="connsiteY65" fmla="*/ 1611891 h 1661098"/>
                    <a:gd name="connsiteX66" fmla="*/ 412750 w 1146175"/>
                    <a:gd name="connsiteY66" fmla="*/ 1621416 h 1661098"/>
                    <a:gd name="connsiteX67" fmla="*/ 222250 w 1146175"/>
                    <a:gd name="connsiteY67" fmla="*/ 1627766 h 1661098"/>
                    <a:gd name="connsiteX68" fmla="*/ 215900 w 1146175"/>
                    <a:gd name="connsiteY68" fmla="*/ 1611891 h 1661098"/>
                    <a:gd name="connsiteX69" fmla="*/ 206375 w 1146175"/>
                    <a:gd name="connsiteY69" fmla="*/ 1599191 h 1661098"/>
                    <a:gd name="connsiteX70" fmla="*/ 203200 w 1146175"/>
                    <a:gd name="connsiteY70" fmla="*/ 1586491 h 1661098"/>
                    <a:gd name="connsiteX71" fmla="*/ 196850 w 1146175"/>
                    <a:gd name="connsiteY71" fmla="*/ 1573791 h 1661098"/>
                    <a:gd name="connsiteX72" fmla="*/ 193675 w 1146175"/>
                    <a:gd name="connsiteY72" fmla="*/ 1564266 h 1661098"/>
                    <a:gd name="connsiteX73" fmla="*/ 187325 w 1146175"/>
                    <a:gd name="connsiteY73" fmla="*/ 1551566 h 1661098"/>
                    <a:gd name="connsiteX74" fmla="*/ 180975 w 1146175"/>
                    <a:gd name="connsiteY74" fmla="*/ 1535691 h 1661098"/>
                    <a:gd name="connsiteX75" fmla="*/ 161925 w 1146175"/>
                    <a:gd name="connsiteY75" fmla="*/ 1507116 h 1661098"/>
                    <a:gd name="connsiteX76" fmla="*/ 149225 w 1146175"/>
                    <a:gd name="connsiteY76" fmla="*/ 1484891 h 1661098"/>
                    <a:gd name="connsiteX77" fmla="*/ 142875 w 1146175"/>
                    <a:gd name="connsiteY77" fmla="*/ 1469016 h 1661098"/>
                    <a:gd name="connsiteX78" fmla="*/ 130175 w 1146175"/>
                    <a:gd name="connsiteY78" fmla="*/ 1465841 h 1661098"/>
                    <a:gd name="connsiteX79" fmla="*/ 101600 w 1146175"/>
                    <a:gd name="connsiteY79" fmla="*/ 1453141 h 1661098"/>
                    <a:gd name="connsiteX80" fmla="*/ 69850 w 1146175"/>
                    <a:gd name="connsiteY80" fmla="*/ 1443616 h 1661098"/>
                    <a:gd name="connsiteX81" fmla="*/ 41275 w 1146175"/>
                    <a:gd name="connsiteY81" fmla="*/ 1430916 h 1661098"/>
                    <a:gd name="connsiteX82" fmla="*/ 31750 w 1146175"/>
                    <a:gd name="connsiteY82" fmla="*/ 1424566 h 1661098"/>
                    <a:gd name="connsiteX83" fmla="*/ 15875 w 1146175"/>
                    <a:gd name="connsiteY83" fmla="*/ 1418216 h 1661098"/>
                    <a:gd name="connsiteX84" fmla="*/ 0 w 1146175"/>
                    <a:gd name="connsiteY8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44550 w 1146175"/>
                    <a:gd name="connsiteY42" fmla="*/ 1462666 h 1661098"/>
                    <a:gd name="connsiteX43" fmla="*/ 835025 w 1146175"/>
                    <a:gd name="connsiteY43" fmla="*/ 1465841 h 1661098"/>
                    <a:gd name="connsiteX44" fmla="*/ 815975 w 1146175"/>
                    <a:gd name="connsiteY44" fmla="*/ 1459491 h 1661098"/>
                    <a:gd name="connsiteX45" fmla="*/ 774700 w 1146175"/>
                    <a:gd name="connsiteY45" fmla="*/ 1443616 h 1661098"/>
                    <a:gd name="connsiteX46" fmla="*/ 749300 w 1146175"/>
                    <a:gd name="connsiteY46" fmla="*/ 1437266 h 1661098"/>
                    <a:gd name="connsiteX47" fmla="*/ 717550 w 1146175"/>
                    <a:gd name="connsiteY47" fmla="*/ 1424566 h 1661098"/>
                    <a:gd name="connsiteX48" fmla="*/ 688975 w 1146175"/>
                    <a:gd name="connsiteY48" fmla="*/ 1418216 h 1661098"/>
                    <a:gd name="connsiteX49" fmla="*/ 657225 w 1146175"/>
                    <a:gd name="connsiteY49" fmla="*/ 1408691 h 1661098"/>
                    <a:gd name="connsiteX50" fmla="*/ 635000 w 1146175"/>
                    <a:gd name="connsiteY50" fmla="*/ 1411866 h 1661098"/>
                    <a:gd name="connsiteX51" fmla="*/ 622300 w 1146175"/>
                    <a:gd name="connsiteY51" fmla="*/ 1418216 h 1661098"/>
                    <a:gd name="connsiteX52" fmla="*/ 606425 w 1146175"/>
                    <a:gd name="connsiteY52" fmla="*/ 1427741 h 1661098"/>
                    <a:gd name="connsiteX53" fmla="*/ 577850 w 1146175"/>
                    <a:gd name="connsiteY53" fmla="*/ 1443616 h 1661098"/>
                    <a:gd name="connsiteX54" fmla="*/ 558800 w 1146175"/>
                    <a:gd name="connsiteY54" fmla="*/ 1446791 h 1661098"/>
                    <a:gd name="connsiteX55" fmla="*/ 501650 w 1146175"/>
                    <a:gd name="connsiteY55" fmla="*/ 1453141 h 1661098"/>
                    <a:gd name="connsiteX56" fmla="*/ 492125 w 1146175"/>
                    <a:gd name="connsiteY56" fmla="*/ 1459491 h 1661098"/>
                    <a:gd name="connsiteX57" fmla="*/ 466725 w 1146175"/>
                    <a:gd name="connsiteY57" fmla="*/ 1491241 h 1661098"/>
                    <a:gd name="connsiteX58" fmla="*/ 457200 w 1146175"/>
                    <a:gd name="connsiteY58" fmla="*/ 1510291 h 1661098"/>
                    <a:gd name="connsiteX59" fmla="*/ 454025 w 1146175"/>
                    <a:gd name="connsiteY59" fmla="*/ 1519816 h 1661098"/>
                    <a:gd name="connsiteX60" fmla="*/ 447675 w 1146175"/>
                    <a:gd name="connsiteY60" fmla="*/ 1535691 h 1661098"/>
                    <a:gd name="connsiteX61" fmla="*/ 434975 w 1146175"/>
                    <a:gd name="connsiteY61" fmla="*/ 1561091 h 1661098"/>
                    <a:gd name="connsiteX62" fmla="*/ 431800 w 1146175"/>
                    <a:gd name="connsiteY62" fmla="*/ 1576966 h 1661098"/>
                    <a:gd name="connsiteX63" fmla="*/ 425450 w 1146175"/>
                    <a:gd name="connsiteY63" fmla="*/ 1602366 h 1661098"/>
                    <a:gd name="connsiteX64" fmla="*/ 422275 w 1146175"/>
                    <a:gd name="connsiteY64" fmla="*/ 1611891 h 1661098"/>
                    <a:gd name="connsiteX65" fmla="*/ 412750 w 1146175"/>
                    <a:gd name="connsiteY65" fmla="*/ 1621416 h 1661098"/>
                    <a:gd name="connsiteX66" fmla="*/ 222250 w 1146175"/>
                    <a:gd name="connsiteY66" fmla="*/ 1627766 h 1661098"/>
                    <a:gd name="connsiteX67" fmla="*/ 215900 w 1146175"/>
                    <a:gd name="connsiteY67" fmla="*/ 1611891 h 1661098"/>
                    <a:gd name="connsiteX68" fmla="*/ 206375 w 1146175"/>
                    <a:gd name="connsiteY68" fmla="*/ 1599191 h 1661098"/>
                    <a:gd name="connsiteX69" fmla="*/ 203200 w 1146175"/>
                    <a:gd name="connsiteY69" fmla="*/ 1586491 h 1661098"/>
                    <a:gd name="connsiteX70" fmla="*/ 196850 w 1146175"/>
                    <a:gd name="connsiteY70" fmla="*/ 1573791 h 1661098"/>
                    <a:gd name="connsiteX71" fmla="*/ 193675 w 1146175"/>
                    <a:gd name="connsiteY71" fmla="*/ 1564266 h 1661098"/>
                    <a:gd name="connsiteX72" fmla="*/ 187325 w 1146175"/>
                    <a:gd name="connsiteY72" fmla="*/ 1551566 h 1661098"/>
                    <a:gd name="connsiteX73" fmla="*/ 180975 w 1146175"/>
                    <a:gd name="connsiteY73" fmla="*/ 1535691 h 1661098"/>
                    <a:gd name="connsiteX74" fmla="*/ 161925 w 1146175"/>
                    <a:gd name="connsiteY74" fmla="*/ 1507116 h 1661098"/>
                    <a:gd name="connsiteX75" fmla="*/ 149225 w 1146175"/>
                    <a:gd name="connsiteY75" fmla="*/ 1484891 h 1661098"/>
                    <a:gd name="connsiteX76" fmla="*/ 142875 w 1146175"/>
                    <a:gd name="connsiteY76" fmla="*/ 1469016 h 1661098"/>
                    <a:gd name="connsiteX77" fmla="*/ 130175 w 1146175"/>
                    <a:gd name="connsiteY77" fmla="*/ 1465841 h 1661098"/>
                    <a:gd name="connsiteX78" fmla="*/ 101600 w 1146175"/>
                    <a:gd name="connsiteY78" fmla="*/ 1453141 h 1661098"/>
                    <a:gd name="connsiteX79" fmla="*/ 69850 w 1146175"/>
                    <a:gd name="connsiteY79" fmla="*/ 1443616 h 1661098"/>
                    <a:gd name="connsiteX80" fmla="*/ 41275 w 1146175"/>
                    <a:gd name="connsiteY80" fmla="*/ 1430916 h 1661098"/>
                    <a:gd name="connsiteX81" fmla="*/ 31750 w 1146175"/>
                    <a:gd name="connsiteY81" fmla="*/ 1424566 h 1661098"/>
                    <a:gd name="connsiteX82" fmla="*/ 15875 w 1146175"/>
                    <a:gd name="connsiteY82" fmla="*/ 1418216 h 1661098"/>
                    <a:gd name="connsiteX83" fmla="*/ 0 w 1146175"/>
                    <a:gd name="connsiteY8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74700 w 1146175"/>
                    <a:gd name="connsiteY44" fmla="*/ 1443616 h 1661098"/>
                    <a:gd name="connsiteX45" fmla="*/ 749300 w 1146175"/>
                    <a:gd name="connsiteY45" fmla="*/ 1437266 h 1661098"/>
                    <a:gd name="connsiteX46" fmla="*/ 717550 w 1146175"/>
                    <a:gd name="connsiteY46" fmla="*/ 1424566 h 1661098"/>
                    <a:gd name="connsiteX47" fmla="*/ 688975 w 1146175"/>
                    <a:gd name="connsiteY47" fmla="*/ 1418216 h 1661098"/>
                    <a:gd name="connsiteX48" fmla="*/ 657225 w 1146175"/>
                    <a:gd name="connsiteY48" fmla="*/ 1408691 h 1661098"/>
                    <a:gd name="connsiteX49" fmla="*/ 635000 w 1146175"/>
                    <a:gd name="connsiteY49" fmla="*/ 1411866 h 1661098"/>
                    <a:gd name="connsiteX50" fmla="*/ 622300 w 1146175"/>
                    <a:gd name="connsiteY50" fmla="*/ 1418216 h 1661098"/>
                    <a:gd name="connsiteX51" fmla="*/ 606425 w 1146175"/>
                    <a:gd name="connsiteY51" fmla="*/ 1427741 h 1661098"/>
                    <a:gd name="connsiteX52" fmla="*/ 577850 w 1146175"/>
                    <a:gd name="connsiteY52" fmla="*/ 1443616 h 1661098"/>
                    <a:gd name="connsiteX53" fmla="*/ 558800 w 1146175"/>
                    <a:gd name="connsiteY53" fmla="*/ 1446791 h 1661098"/>
                    <a:gd name="connsiteX54" fmla="*/ 501650 w 1146175"/>
                    <a:gd name="connsiteY54" fmla="*/ 1453141 h 1661098"/>
                    <a:gd name="connsiteX55" fmla="*/ 492125 w 1146175"/>
                    <a:gd name="connsiteY55" fmla="*/ 1459491 h 1661098"/>
                    <a:gd name="connsiteX56" fmla="*/ 466725 w 1146175"/>
                    <a:gd name="connsiteY56" fmla="*/ 1491241 h 1661098"/>
                    <a:gd name="connsiteX57" fmla="*/ 457200 w 1146175"/>
                    <a:gd name="connsiteY57" fmla="*/ 1510291 h 1661098"/>
                    <a:gd name="connsiteX58" fmla="*/ 454025 w 1146175"/>
                    <a:gd name="connsiteY58" fmla="*/ 1519816 h 1661098"/>
                    <a:gd name="connsiteX59" fmla="*/ 447675 w 1146175"/>
                    <a:gd name="connsiteY59" fmla="*/ 1535691 h 1661098"/>
                    <a:gd name="connsiteX60" fmla="*/ 434975 w 1146175"/>
                    <a:gd name="connsiteY60" fmla="*/ 1561091 h 1661098"/>
                    <a:gd name="connsiteX61" fmla="*/ 431800 w 1146175"/>
                    <a:gd name="connsiteY61" fmla="*/ 1576966 h 1661098"/>
                    <a:gd name="connsiteX62" fmla="*/ 425450 w 1146175"/>
                    <a:gd name="connsiteY62" fmla="*/ 1602366 h 1661098"/>
                    <a:gd name="connsiteX63" fmla="*/ 422275 w 1146175"/>
                    <a:gd name="connsiteY63" fmla="*/ 1611891 h 1661098"/>
                    <a:gd name="connsiteX64" fmla="*/ 412750 w 1146175"/>
                    <a:gd name="connsiteY64" fmla="*/ 1621416 h 1661098"/>
                    <a:gd name="connsiteX65" fmla="*/ 222250 w 1146175"/>
                    <a:gd name="connsiteY65" fmla="*/ 1627766 h 1661098"/>
                    <a:gd name="connsiteX66" fmla="*/ 215900 w 1146175"/>
                    <a:gd name="connsiteY66" fmla="*/ 1611891 h 1661098"/>
                    <a:gd name="connsiteX67" fmla="*/ 206375 w 1146175"/>
                    <a:gd name="connsiteY67" fmla="*/ 1599191 h 1661098"/>
                    <a:gd name="connsiteX68" fmla="*/ 203200 w 1146175"/>
                    <a:gd name="connsiteY68" fmla="*/ 1586491 h 1661098"/>
                    <a:gd name="connsiteX69" fmla="*/ 196850 w 1146175"/>
                    <a:gd name="connsiteY69" fmla="*/ 1573791 h 1661098"/>
                    <a:gd name="connsiteX70" fmla="*/ 193675 w 1146175"/>
                    <a:gd name="connsiteY70" fmla="*/ 1564266 h 1661098"/>
                    <a:gd name="connsiteX71" fmla="*/ 187325 w 1146175"/>
                    <a:gd name="connsiteY71" fmla="*/ 1551566 h 1661098"/>
                    <a:gd name="connsiteX72" fmla="*/ 180975 w 1146175"/>
                    <a:gd name="connsiteY72" fmla="*/ 1535691 h 1661098"/>
                    <a:gd name="connsiteX73" fmla="*/ 161925 w 1146175"/>
                    <a:gd name="connsiteY73" fmla="*/ 1507116 h 1661098"/>
                    <a:gd name="connsiteX74" fmla="*/ 149225 w 1146175"/>
                    <a:gd name="connsiteY74" fmla="*/ 1484891 h 1661098"/>
                    <a:gd name="connsiteX75" fmla="*/ 142875 w 1146175"/>
                    <a:gd name="connsiteY75" fmla="*/ 1469016 h 1661098"/>
                    <a:gd name="connsiteX76" fmla="*/ 130175 w 1146175"/>
                    <a:gd name="connsiteY76" fmla="*/ 1465841 h 1661098"/>
                    <a:gd name="connsiteX77" fmla="*/ 101600 w 1146175"/>
                    <a:gd name="connsiteY77" fmla="*/ 1453141 h 1661098"/>
                    <a:gd name="connsiteX78" fmla="*/ 69850 w 1146175"/>
                    <a:gd name="connsiteY78" fmla="*/ 1443616 h 1661098"/>
                    <a:gd name="connsiteX79" fmla="*/ 41275 w 1146175"/>
                    <a:gd name="connsiteY79" fmla="*/ 1430916 h 1661098"/>
                    <a:gd name="connsiteX80" fmla="*/ 31750 w 1146175"/>
                    <a:gd name="connsiteY80" fmla="*/ 1424566 h 1661098"/>
                    <a:gd name="connsiteX81" fmla="*/ 15875 w 1146175"/>
                    <a:gd name="connsiteY81" fmla="*/ 1418216 h 1661098"/>
                    <a:gd name="connsiteX82" fmla="*/ 0 w 1146175"/>
                    <a:gd name="connsiteY8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49300 w 1146175"/>
                    <a:gd name="connsiteY44" fmla="*/ 1437266 h 1661098"/>
                    <a:gd name="connsiteX45" fmla="*/ 717550 w 1146175"/>
                    <a:gd name="connsiteY45" fmla="*/ 1424566 h 1661098"/>
                    <a:gd name="connsiteX46" fmla="*/ 688975 w 1146175"/>
                    <a:gd name="connsiteY46" fmla="*/ 1418216 h 1661098"/>
                    <a:gd name="connsiteX47" fmla="*/ 657225 w 1146175"/>
                    <a:gd name="connsiteY47" fmla="*/ 1408691 h 1661098"/>
                    <a:gd name="connsiteX48" fmla="*/ 635000 w 1146175"/>
                    <a:gd name="connsiteY48" fmla="*/ 1411866 h 1661098"/>
                    <a:gd name="connsiteX49" fmla="*/ 622300 w 1146175"/>
                    <a:gd name="connsiteY49" fmla="*/ 1418216 h 1661098"/>
                    <a:gd name="connsiteX50" fmla="*/ 606425 w 1146175"/>
                    <a:gd name="connsiteY50" fmla="*/ 1427741 h 1661098"/>
                    <a:gd name="connsiteX51" fmla="*/ 577850 w 1146175"/>
                    <a:gd name="connsiteY51" fmla="*/ 1443616 h 1661098"/>
                    <a:gd name="connsiteX52" fmla="*/ 558800 w 1146175"/>
                    <a:gd name="connsiteY52" fmla="*/ 1446791 h 1661098"/>
                    <a:gd name="connsiteX53" fmla="*/ 501650 w 1146175"/>
                    <a:gd name="connsiteY53" fmla="*/ 1453141 h 1661098"/>
                    <a:gd name="connsiteX54" fmla="*/ 492125 w 1146175"/>
                    <a:gd name="connsiteY54" fmla="*/ 1459491 h 1661098"/>
                    <a:gd name="connsiteX55" fmla="*/ 466725 w 1146175"/>
                    <a:gd name="connsiteY55" fmla="*/ 1491241 h 1661098"/>
                    <a:gd name="connsiteX56" fmla="*/ 457200 w 1146175"/>
                    <a:gd name="connsiteY56" fmla="*/ 1510291 h 1661098"/>
                    <a:gd name="connsiteX57" fmla="*/ 454025 w 1146175"/>
                    <a:gd name="connsiteY57" fmla="*/ 1519816 h 1661098"/>
                    <a:gd name="connsiteX58" fmla="*/ 447675 w 1146175"/>
                    <a:gd name="connsiteY58" fmla="*/ 1535691 h 1661098"/>
                    <a:gd name="connsiteX59" fmla="*/ 434975 w 1146175"/>
                    <a:gd name="connsiteY59" fmla="*/ 1561091 h 1661098"/>
                    <a:gd name="connsiteX60" fmla="*/ 431800 w 1146175"/>
                    <a:gd name="connsiteY60" fmla="*/ 1576966 h 1661098"/>
                    <a:gd name="connsiteX61" fmla="*/ 425450 w 1146175"/>
                    <a:gd name="connsiteY61" fmla="*/ 1602366 h 1661098"/>
                    <a:gd name="connsiteX62" fmla="*/ 422275 w 1146175"/>
                    <a:gd name="connsiteY62" fmla="*/ 1611891 h 1661098"/>
                    <a:gd name="connsiteX63" fmla="*/ 412750 w 1146175"/>
                    <a:gd name="connsiteY63" fmla="*/ 1621416 h 1661098"/>
                    <a:gd name="connsiteX64" fmla="*/ 222250 w 1146175"/>
                    <a:gd name="connsiteY64" fmla="*/ 1627766 h 1661098"/>
                    <a:gd name="connsiteX65" fmla="*/ 215900 w 1146175"/>
                    <a:gd name="connsiteY65" fmla="*/ 1611891 h 1661098"/>
                    <a:gd name="connsiteX66" fmla="*/ 206375 w 1146175"/>
                    <a:gd name="connsiteY66" fmla="*/ 1599191 h 1661098"/>
                    <a:gd name="connsiteX67" fmla="*/ 203200 w 1146175"/>
                    <a:gd name="connsiteY67" fmla="*/ 1586491 h 1661098"/>
                    <a:gd name="connsiteX68" fmla="*/ 196850 w 1146175"/>
                    <a:gd name="connsiteY68" fmla="*/ 1573791 h 1661098"/>
                    <a:gd name="connsiteX69" fmla="*/ 193675 w 1146175"/>
                    <a:gd name="connsiteY69" fmla="*/ 1564266 h 1661098"/>
                    <a:gd name="connsiteX70" fmla="*/ 187325 w 1146175"/>
                    <a:gd name="connsiteY70" fmla="*/ 1551566 h 1661098"/>
                    <a:gd name="connsiteX71" fmla="*/ 180975 w 1146175"/>
                    <a:gd name="connsiteY71" fmla="*/ 1535691 h 1661098"/>
                    <a:gd name="connsiteX72" fmla="*/ 161925 w 1146175"/>
                    <a:gd name="connsiteY72" fmla="*/ 1507116 h 1661098"/>
                    <a:gd name="connsiteX73" fmla="*/ 149225 w 1146175"/>
                    <a:gd name="connsiteY73" fmla="*/ 1484891 h 1661098"/>
                    <a:gd name="connsiteX74" fmla="*/ 142875 w 1146175"/>
                    <a:gd name="connsiteY74" fmla="*/ 1469016 h 1661098"/>
                    <a:gd name="connsiteX75" fmla="*/ 130175 w 1146175"/>
                    <a:gd name="connsiteY75" fmla="*/ 1465841 h 1661098"/>
                    <a:gd name="connsiteX76" fmla="*/ 101600 w 1146175"/>
                    <a:gd name="connsiteY76" fmla="*/ 1453141 h 1661098"/>
                    <a:gd name="connsiteX77" fmla="*/ 69850 w 1146175"/>
                    <a:gd name="connsiteY77" fmla="*/ 1443616 h 1661098"/>
                    <a:gd name="connsiteX78" fmla="*/ 41275 w 1146175"/>
                    <a:gd name="connsiteY78" fmla="*/ 1430916 h 1661098"/>
                    <a:gd name="connsiteX79" fmla="*/ 31750 w 1146175"/>
                    <a:gd name="connsiteY79" fmla="*/ 1424566 h 1661098"/>
                    <a:gd name="connsiteX80" fmla="*/ 15875 w 1146175"/>
                    <a:gd name="connsiteY80" fmla="*/ 1418216 h 1661098"/>
                    <a:gd name="connsiteX81" fmla="*/ 0 w 1146175"/>
                    <a:gd name="connsiteY8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88975 w 1146175"/>
                    <a:gd name="connsiteY45" fmla="*/ 1418216 h 1661098"/>
                    <a:gd name="connsiteX46" fmla="*/ 657225 w 1146175"/>
                    <a:gd name="connsiteY46" fmla="*/ 1408691 h 1661098"/>
                    <a:gd name="connsiteX47" fmla="*/ 635000 w 1146175"/>
                    <a:gd name="connsiteY47" fmla="*/ 1411866 h 1661098"/>
                    <a:gd name="connsiteX48" fmla="*/ 622300 w 1146175"/>
                    <a:gd name="connsiteY48" fmla="*/ 1418216 h 1661098"/>
                    <a:gd name="connsiteX49" fmla="*/ 606425 w 1146175"/>
                    <a:gd name="connsiteY49" fmla="*/ 1427741 h 1661098"/>
                    <a:gd name="connsiteX50" fmla="*/ 577850 w 1146175"/>
                    <a:gd name="connsiteY50" fmla="*/ 1443616 h 1661098"/>
                    <a:gd name="connsiteX51" fmla="*/ 558800 w 1146175"/>
                    <a:gd name="connsiteY51" fmla="*/ 1446791 h 1661098"/>
                    <a:gd name="connsiteX52" fmla="*/ 501650 w 1146175"/>
                    <a:gd name="connsiteY52" fmla="*/ 1453141 h 1661098"/>
                    <a:gd name="connsiteX53" fmla="*/ 492125 w 1146175"/>
                    <a:gd name="connsiteY53" fmla="*/ 1459491 h 1661098"/>
                    <a:gd name="connsiteX54" fmla="*/ 466725 w 1146175"/>
                    <a:gd name="connsiteY54" fmla="*/ 1491241 h 1661098"/>
                    <a:gd name="connsiteX55" fmla="*/ 457200 w 1146175"/>
                    <a:gd name="connsiteY55" fmla="*/ 1510291 h 1661098"/>
                    <a:gd name="connsiteX56" fmla="*/ 454025 w 1146175"/>
                    <a:gd name="connsiteY56" fmla="*/ 1519816 h 1661098"/>
                    <a:gd name="connsiteX57" fmla="*/ 447675 w 1146175"/>
                    <a:gd name="connsiteY57" fmla="*/ 1535691 h 1661098"/>
                    <a:gd name="connsiteX58" fmla="*/ 434975 w 1146175"/>
                    <a:gd name="connsiteY58" fmla="*/ 1561091 h 1661098"/>
                    <a:gd name="connsiteX59" fmla="*/ 431800 w 1146175"/>
                    <a:gd name="connsiteY59" fmla="*/ 1576966 h 1661098"/>
                    <a:gd name="connsiteX60" fmla="*/ 425450 w 1146175"/>
                    <a:gd name="connsiteY60" fmla="*/ 1602366 h 1661098"/>
                    <a:gd name="connsiteX61" fmla="*/ 422275 w 1146175"/>
                    <a:gd name="connsiteY61" fmla="*/ 1611891 h 1661098"/>
                    <a:gd name="connsiteX62" fmla="*/ 412750 w 1146175"/>
                    <a:gd name="connsiteY62" fmla="*/ 1621416 h 1661098"/>
                    <a:gd name="connsiteX63" fmla="*/ 222250 w 1146175"/>
                    <a:gd name="connsiteY63" fmla="*/ 1627766 h 1661098"/>
                    <a:gd name="connsiteX64" fmla="*/ 215900 w 1146175"/>
                    <a:gd name="connsiteY64" fmla="*/ 1611891 h 1661098"/>
                    <a:gd name="connsiteX65" fmla="*/ 206375 w 1146175"/>
                    <a:gd name="connsiteY65" fmla="*/ 1599191 h 1661098"/>
                    <a:gd name="connsiteX66" fmla="*/ 203200 w 1146175"/>
                    <a:gd name="connsiteY66" fmla="*/ 1586491 h 1661098"/>
                    <a:gd name="connsiteX67" fmla="*/ 196850 w 1146175"/>
                    <a:gd name="connsiteY67" fmla="*/ 1573791 h 1661098"/>
                    <a:gd name="connsiteX68" fmla="*/ 193675 w 1146175"/>
                    <a:gd name="connsiteY68" fmla="*/ 1564266 h 1661098"/>
                    <a:gd name="connsiteX69" fmla="*/ 187325 w 1146175"/>
                    <a:gd name="connsiteY69" fmla="*/ 1551566 h 1661098"/>
                    <a:gd name="connsiteX70" fmla="*/ 180975 w 1146175"/>
                    <a:gd name="connsiteY70" fmla="*/ 1535691 h 1661098"/>
                    <a:gd name="connsiteX71" fmla="*/ 161925 w 1146175"/>
                    <a:gd name="connsiteY71" fmla="*/ 1507116 h 1661098"/>
                    <a:gd name="connsiteX72" fmla="*/ 149225 w 1146175"/>
                    <a:gd name="connsiteY72" fmla="*/ 1484891 h 1661098"/>
                    <a:gd name="connsiteX73" fmla="*/ 142875 w 1146175"/>
                    <a:gd name="connsiteY73" fmla="*/ 1469016 h 1661098"/>
                    <a:gd name="connsiteX74" fmla="*/ 130175 w 1146175"/>
                    <a:gd name="connsiteY74" fmla="*/ 1465841 h 1661098"/>
                    <a:gd name="connsiteX75" fmla="*/ 101600 w 1146175"/>
                    <a:gd name="connsiteY75" fmla="*/ 1453141 h 1661098"/>
                    <a:gd name="connsiteX76" fmla="*/ 69850 w 1146175"/>
                    <a:gd name="connsiteY76" fmla="*/ 1443616 h 1661098"/>
                    <a:gd name="connsiteX77" fmla="*/ 41275 w 1146175"/>
                    <a:gd name="connsiteY77" fmla="*/ 1430916 h 1661098"/>
                    <a:gd name="connsiteX78" fmla="*/ 31750 w 1146175"/>
                    <a:gd name="connsiteY78" fmla="*/ 1424566 h 1661098"/>
                    <a:gd name="connsiteX79" fmla="*/ 15875 w 1146175"/>
                    <a:gd name="connsiteY79" fmla="*/ 1418216 h 1661098"/>
                    <a:gd name="connsiteX80" fmla="*/ 0 w 1146175"/>
                    <a:gd name="connsiteY8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77850 w 1146175"/>
                    <a:gd name="connsiteY49" fmla="*/ 1443616 h 1661098"/>
                    <a:gd name="connsiteX50" fmla="*/ 558800 w 1146175"/>
                    <a:gd name="connsiteY50" fmla="*/ 1446791 h 1661098"/>
                    <a:gd name="connsiteX51" fmla="*/ 501650 w 1146175"/>
                    <a:gd name="connsiteY51" fmla="*/ 1453141 h 1661098"/>
                    <a:gd name="connsiteX52" fmla="*/ 492125 w 1146175"/>
                    <a:gd name="connsiteY52" fmla="*/ 1459491 h 1661098"/>
                    <a:gd name="connsiteX53" fmla="*/ 466725 w 1146175"/>
                    <a:gd name="connsiteY53" fmla="*/ 1491241 h 1661098"/>
                    <a:gd name="connsiteX54" fmla="*/ 457200 w 1146175"/>
                    <a:gd name="connsiteY54" fmla="*/ 1510291 h 1661098"/>
                    <a:gd name="connsiteX55" fmla="*/ 454025 w 1146175"/>
                    <a:gd name="connsiteY55" fmla="*/ 1519816 h 1661098"/>
                    <a:gd name="connsiteX56" fmla="*/ 447675 w 1146175"/>
                    <a:gd name="connsiteY56" fmla="*/ 1535691 h 1661098"/>
                    <a:gd name="connsiteX57" fmla="*/ 434975 w 1146175"/>
                    <a:gd name="connsiteY57" fmla="*/ 1561091 h 1661098"/>
                    <a:gd name="connsiteX58" fmla="*/ 431800 w 1146175"/>
                    <a:gd name="connsiteY58" fmla="*/ 1576966 h 1661098"/>
                    <a:gd name="connsiteX59" fmla="*/ 425450 w 1146175"/>
                    <a:gd name="connsiteY59" fmla="*/ 1602366 h 1661098"/>
                    <a:gd name="connsiteX60" fmla="*/ 422275 w 1146175"/>
                    <a:gd name="connsiteY60" fmla="*/ 1611891 h 1661098"/>
                    <a:gd name="connsiteX61" fmla="*/ 412750 w 1146175"/>
                    <a:gd name="connsiteY61" fmla="*/ 1621416 h 1661098"/>
                    <a:gd name="connsiteX62" fmla="*/ 222250 w 1146175"/>
                    <a:gd name="connsiteY62" fmla="*/ 1627766 h 1661098"/>
                    <a:gd name="connsiteX63" fmla="*/ 215900 w 1146175"/>
                    <a:gd name="connsiteY63" fmla="*/ 1611891 h 1661098"/>
                    <a:gd name="connsiteX64" fmla="*/ 206375 w 1146175"/>
                    <a:gd name="connsiteY64" fmla="*/ 1599191 h 1661098"/>
                    <a:gd name="connsiteX65" fmla="*/ 203200 w 1146175"/>
                    <a:gd name="connsiteY65" fmla="*/ 1586491 h 1661098"/>
                    <a:gd name="connsiteX66" fmla="*/ 196850 w 1146175"/>
                    <a:gd name="connsiteY66" fmla="*/ 1573791 h 1661098"/>
                    <a:gd name="connsiteX67" fmla="*/ 193675 w 1146175"/>
                    <a:gd name="connsiteY67" fmla="*/ 1564266 h 1661098"/>
                    <a:gd name="connsiteX68" fmla="*/ 187325 w 1146175"/>
                    <a:gd name="connsiteY68" fmla="*/ 1551566 h 1661098"/>
                    <a:gd name="connsiteX69" fmla="*/ 180975 w 1146175"/>
                    <a:gd name="connsiteY69" fmla="*/ 1535691 h 1661098"/>
                    <a:gd name="connsiteX70" fmla="*/ 161925 w 1146175"/>
                    <a:gd name="connsiteY70" fmla="*/ 1507116 h 1661098"/>
                    <a:gd name="connsiteX71" fmla="*/ 149225 w 1146175"/>
                    <a:gd name="connsiteY71" fmla="*/ 1484891 h 1661098"/>
                    <a:gd name="connsiteX72" fmla="*/ 142875 w 1146175"/>
                    <a:gd name="connsiteY72" fmla="*/ 1469016 h 1661098"/>
                    <a:gd name="connsiteX73" fmla="*/ 130175 w 1146175"/>
                    <a:gd name="connsiteY73" fmla="*/ 1465841 h 1661098"/>
                    <a:gd name="connsiteX74" fmla="*/ 101600 w 1146175"/>
                    <a:gd name="connsiteY74" fmla="*/ 1453141 h 1661098"/>
                    <a:gd name="connsiteX75" fmla="*/ 69850 w 1146175"/>
                    <a:gd name="connsiteY75" fmla="*/ 1443616 h 1661098"/>
                    <a:gd name="connsiteX76" fmla="*/ 41275 w 1146175"/>
                    <a:gd name="connsiteY76" fmla="*/ 1430916 h 1661098"/>
                    <a:gd name="connsiteX77" fmla="*/ 31750 w 1146175"/>
                    <a:gd name="connsiteY77" fmla="*/ 1424566 h 1661098"/>
                    <a:gd name="connsiteX78" fmla="*/ 15875 w 1146175"/>
                    <a:gd name="connsiteY78" fmla="*/ 1418216 h 1661098"/>
                    <a:gd name="connsiteX79" fmla="*/ 0 w 1146175"/>
                    <a:gd name="connsiteY7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58800 w 1146175"/>
                    <a:gd name="connsiteY49" fmla="*/ 1446791 h 1661098"/>
                    <a:gd name="connsiteX50" fmla="*/ 501650 w 1146175"/>
                    <a:gd name="connsiteY50" fmla="*/ 1453141 h 1661098"/>
                    <a:gd name="connsiteX51" fmla="*/ 492125 w 1146175"/>
                    <a:gd name="connsiteY51" fmla="*/ 1459491 h 1661098"/>
                    <a:gd name="connsiteX52" fmla="*/ 466725 w 1146175"/>
                    <a:gd name="connsiteY52" fmla="*/ 1491241 h 1661098"/>
                    <a:gd name="connsiteX53" fmla="*/ 457200 w 1146175"/>
                    <a:gd name="connsiteY53" fmla="*/ 1510291 h 1661098"/>
                    <a:gd name="connsiteX54" fmla="*/ 454025 w 1146175"/>
                    <a:gd name="connsiteY54" fmla="*/ 1519816 h 1661098"/>
                    <a:gd name="connsiteX55" fmla="*/ 447675 w 1146175"/>
                    <a:gd name="connsiteY55" fmla="*/ 1535691 h 1661098"/>
                    <a:gd name="connsiteX56" fmla="*/ 434975 w 1146175"/>
                    <a:gd name="connsiteY56" fmla="*/ 1561091 h 1661098"/>
                    <a:gd name="connsiteX57" fmla="*/ 431800 w 1146175"/>
                    <a:gd name="connsiteY57" fmla="*/ 1576966 h 1661098"/>
                    <a:gd name="connsiteX58" fmla="*/ 425450 w 1146175"/>
                    <a:gd name="connsiteY58" fmla="*/ 1602366 h 1661098"/>
                    <a:gd name="connsiteX59" fmla="*/ 422275 w 1146175"/>
                    <a:gd name="connsiteY59" fmla="*/ 1611891 h 1661098"/>
                    <a:gd name="connsiteX60" fmla="*/ 412750 w 1146175"/>
                    <a:gd name="connsiteY60" fmla="*/ 1621416 h 1661098"/>
                    <a:gd name="connsiteX61" fmla="*/ 222250 w 1146175"/>
                    <a:gd name="connsiteY61" fmla="*/ 1627766 h 1661098"/>
                    <a:gd name="connsiteX62" fmla="*/ 215900 w 1146175"/>
                    <a:gd name="connsiteY62" fmla="*/ 1611891 h 1661098"/>
                    <a:gd name="connsiteX63" fmla="*/ 206375 w 1146175"/>
                    <a:gd name="connsiteY63" fmla="*/ 1599191 h 1661098"/>
                    <a:gd name="connsiteX64" fmla="*/ 203200 w 1146175"/>
                    <a:gd name="connsiteY64" fmla="*/ 1586491 h 1661098"/>
                    <a:gd name="connsiteX65" fmla="*/ 196850 w 1146175"/>
                    <a:gd name="connsiteY65" fmla="*/ 1573791 h 1661098"/>
                    <a:gd name="connsiteX66" fmla="*/ 193675 w 1146175"/>
                    <a:gd name="connsiteY66" fmla="*/ 1564266 h 1661098"/>
                    <a:gd name="connsiteX67" fmla="*/ 187325 w 1146175"/>
                    <a:gd name="connsiteY67" fmla="*/ 1551566 h 1661098"/>
                    <a:gd name="connsiteX68" fmla="*/ 180975 w 1146175"/>
                    <a:gd name="connsiteY68" fmla="*/ 1535691 h 1661098"/>
                    <a:gd name="connsiteX69" fmla="*/ 161925 w 1146175"/>
                    <a:gd name="connsiteY69" fmla="*/ 1507116 h 1661098"/>
                    <a:gd name="connsiteX70" fmla="*/ 149225 w 1146175"/>
                    <a:gd name="connsiteY70" fmla="*/ 1484891 h 1661098"/>
                    <a:gd name="connsiteX71" fmla="*/ 142875 w 1146175"/>
                    <a:gd name="connsiteY71" fmla="*/ 1469016 h 1661098"/>
                    <a:gd name="connsiteX72" fmla="*/ 130175 w 1146175"/>
                    <a:gd name="connsiteY72" fmla="*/ 1465841 h 1661098"/>
                    <a:gd name="connsiteX73" fmla="*/ 101600 w 1146175"/>
                    <a:gd name="connsiteY73" fmla="*/ 1453141 h 1661098"/>
                    <a:gd name="connsiteX74" fmla="*/ 69850 w 1146175"/>
                    <a:gd name="connsiteY74" fmla="*/ 1443616 h 1661098"/>
                    <a:gd name="connsiteX75" fmla="*/ 41275 w 1146175"/>
                    <a:gd name="connsiteY75" fmla="*/ 1430916 h 1661098"/>
                    <a:gd name="connsiteX76" fmla="*/ 31750 w 1146175"/>
                    <a:gd name="connsiteY76" fmla="*/ 1424566 h 1661098"/>
                    <a:gd name="connsiteX77" fmla="*/ 15875 w 1146175"/>
                    <a:gd name="connsiteY77" fmla="*/ 1418216 h 1661098"/>
                    <a:gd name="connsiteX78" fmla="*/ 0 w 1146175"/>
                    <a:gd name="connsiteY7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01650 w 1146175"/>
                    <a:gd name="connsiteY49" fmla="*/ 1453141 h 1661098"/>
                    <a:gd name="connsiteX50" fmla="*/ 492125 w 1146175"/>
                    <a:gd name="connsiteY50" fmla="*/ 1459491 h 1661098"/>
                    <a:gd name="connsiteX51" fmla="*/ 466725 w 1146175"/>
                    <a:gd name="connsiteY51" fmla="*/ 1491241 h 1661098"/>
                    <a:gd name="connsiteX52" fmla="*/ 457200 w 1146175"/>
                    <a:gd name="connsiteY52" fmla="*/ 1510291 h 1661098"/>
                    <a:gd name="connsiteX53" fmla="*/ 454025 w 1146175"/>
                    <a:gd name="connsiteY53" fmla="*/ 1519816 h 1661098"/>
                    <a:gd name="connsiteX54" fmla="*/ 447675 w 1146175"/>
                    <a:gd name="connsiteY54" fmla="*/ 1535691 h 1661098"/>
                    <a:gd name="connsiteX55" fmla="*/ 434975 w 1146175"/>
                    <a:gd name="connsiteY55" fmla="*/ 1561091 h 1661098"/>
                    <a:gd name="connsiteX56" fmla="*/ 431800 w 1146175"/>
                    <a:gd name="connsiteY56" fmla="*/ 1576966 h 1661098"/>
                    <a:gd name="connsiteX57" fmla="*/ 425450 w 1146175"/>
                    <a:gd name="connsiteY57" fmla="*/ 1602366 h 1661098"/>
                    <a:gd name="connsiteX58" fmla="*/ 422275 w 1146175"/>
                    <a:gd name="connsiteY58" fmla="*/ 1611891 h 1661098"/>
                    <a:gd name="connsiteX59" fmla="*/ 412750 w 1146175"/>
                    <a:gd name="connsiteY59" fmla="*/ 1621416 h 1661098"/>
                    <a:gd name="connsiteX60" fmla="*/ 222250 w 1146175"/>
                    <a:gd name="connsiteY60" fmla="*/ 1627766 h 1661098"/>
                    <a:gd name="connsiteX61" fmla="*/ 215900 w 1146175"/>
                    <a:gd name="connsiteY61" fmla="*/ 1611891 h 1661098"/>
                    <a:gd name="connsiteX62" fmla="*/ 206375 w 1146175"/>
                    <a:gd name="connsiteY62" fmla="*/ 1599191 h 1661098"/>
                    <a:gd name="connsiteX63" fmla="*/ 203200 w 1146175"/>
                    <a:gd name="connsiteY63" fmla="*/ 1586491 h 1661098"/>
                    <a:gd name="connsiteX64" fmla="*/ 196850 w 1146175"/>
                    <a:gd name="connsiteY64" fmla="*/ 1573791 h 1661098"/>
                    <a:gd name="connsiteX65" fmla="*/ 193675 w 1146175"/>
                    <a:gd name="connsiteY65" fmla="*/ 1564266 h 1661098"/>
                    <a:gd name="connsiteX66" fmla="*/ 187325 w 1146175"/>
                    <a:gd name="connsiteY66" fmla="*/ 1551566 h 1661098"/>
                    <a:gd name="connsiteX67" fmla="*/ 180975 w 1146175"/>
                    <a:gd name="connsiteY67" fmla="*/ 1535691 h 1661098"/>
                    <a:gd name="connsiteX68" fmla="*/ 161925 w 1146175"/>
                    <a:gd name="connsiteY68" fmla="*/ 1507116 h 1661098"/>
                    <a:gd name="connsiteX69" fmla="*/ 149225 w 1146175"/>
                    <a:gd name="connsiteY69" fmla="*/ 1484891 h 1661098"/>
                    <a:gd name="connsiteX70" fmla="*/ 142875 w 1146175"/>
                    <a:gd name="connsiteY70" fmla="*/ 1469016 h 1661098"/>
                    <a:gd name="connsiteX71" fmla="*/ 130175 w 1146175"/>
                    <a:gd name="connsiteY71" fmla="*/ 1465841 h 1661098"/>
                    <a:gd name="connsiteX72" fmla="*/ 101600 w 1146175"/>
                    <a:gd name="connsiteY72" fmla="*/ 1453141 h 1661098"/>
                    <a:gd name="connsiteX73" fmla="*/ 69850 w 1146175"/>
                    <a:gd name="connsiteY73" fmla="*/ 1443616 h 1661098"/>
                    <a:gd name="connsiteX74" fmla="*/ 41275 w 1146175"/>
                    <a:gd name="connsiteY74" fmla="*/ 1430916 h 1661098"/>
                    <a:gd name="connsiteX75" fmla="*/ 31750 w 1146175"/>
                    <a:gd name="connsiteY75" fmla="*/ 1424566 h 1661098"/>
                    <a:gd name="connsiteX76" fmla="*/ 15875 w 1146175"/>
                    <a:gd name="connsiteY76" fmla="*/ 1418216 h 1661098"/>
                    <a:gd name="connsiteX77" fmla="*/ 0 w 1146175"/>
                    <a:gd name="connsiteY7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54025 w 1146175"/>
                    <a:gd name="connsiteY52" fmla="*/ 1519816 h 1661098"/>
                    <a:gd name="connsiteX53" fmla="*/ 447675 w 1146175"/>
                    <a:gd name="connsiteY53" fmla="*/ 1535691 h 1661098"/>
                    <a:gd name="connsiteX54" fmla="*/ 434975 w 1146175"/>
                    <a:gd name="connsiteY54" fmla="*/ 1561091 h 1661098"/>
                    <a:gd name="connsiteX55" fmla="*/ 431800 w 1146175"/>
                    <a:gd name="connsiteY55" fmla="*/ 1576966 h 1661098"/>
                    <a:gd name="connsiteX56" fmla="*/ 425450 w 1146175"/>
                    <a:gd name="connsiteY56" fmla="*/ 1602366 h 1661098"/>
                    <a:gd name="connsiteX57" fmla="*/ 422275 w 1146175"/>
                    <a:gd name="connsiteY57" fmla="*/ 1611891 h 1661098"/>
                    <a:gd name="connsiteX58" fmla="*/ 412750 w 1146175"/>
                    <a:gd name="connsiteY58" fmla="*/ 1621416 h 1661098"/>
                    <a:gd name="connsiteX59" fmla="*/ 222250 w 1146175"/>
                    <a:gd name="connsiteY59" fmla="*/ 1627766 h 1661098"/>
                    <a:gd name="connsiteX60" fmla="*/ 215900 w 1146175"/>
                    <a:gd name="connsiteY60" fmla="*/ 1611891 h 1661098"/>
                    <a:gd name="connsiteX61" fmla="*/ 206375 w 1146175"/>
                    <a:gd name="connsiteY61" fmla="*/ 1599191 h 1661098"/>
                    <a:gd name="connsiteX62" fmla="*/ 203200 w 1146175"/>
                    <a:gd name="connsiteY62" fmla="*/ 1586491 h 1661098"/>
                    <a:gd name="connsiteX63" fmla="*/ 196850 w 1146175"/>
                    <a:gd name="connsiteY63" fmla="*/ 1573791 h 1661098"/>
                    <a:gd name="connsiteX64" fmla="*/ 193675 w 1146175"/>
                    <a:gd name="connsiteY64" fmla="*/ 1564266 h 1661098"/>
                    <a:gd name="connsiteX65" fmla="*/ 187325 w 1146175"/>
                    <a:gd name="connsiteY65" fmla="*/ 1551566 h 1661098"/>
                    <a:gd name="connsiteX66" fmla="*/ 180975 w 1146175"/>
                    <a:gd name="connsiteY66" fmla="*/ 1535691 h 1661098"/>
                    <a:gd name="connsiteX67" fmla="*/ 161925 w 1146175"/>
                    <a:gd name="connsiteY67" fmla="*/ 1507116 h 1661098"/>
                    <a:gd name="connsiteX68" fmla="*/ 149225 w 1146175"/>
                    <a:gd name="connsiteY68" fmla="*/ 1484891 h 1661098"/>
                    <a:gd name="connsiteX69" fmla="*/ 142875 w 1146175"/>
                    <a:gd name="connsiteY69" fmla="*/ 1469016 h 1661098"/>
                    <a:gd name="connsiteX70" fmla="*/ 130175 w 1146175"/>
                    <a:gd name="connsiteY70" fmla="*/ 1465841 h 1661098"/>
                    <a:gd name="connsiteX71" fmla="*/ 101600 w 1146175"/>
                    <a:gd name="connsiteY71" fmla="*/ 1453141 h 1661098"/>
                    <a:gd name="connsiteX72" fmla="*/ 69850 w 1146175"/>
                    <a:gd name="connsiteY72" fmla="*/ 1443616 h 1661098"/>
                    <a:gd name="connsiteX73" fmla="*/ 41275 w 1146175"/>
                    <a:gd name="connsiteY73" fmla="*/ 1430916 h 1661098"/>
                    <a:gd name="connsiteX74" fmla="*/ 31750 w 1146175"/>
                    <a:gd name="connsiteY74" fmla="*/ 1424566 h 1661098"/>
                    <a:gd name="connsiteX75" fmla="*/ 15875 w 1146175"/>
                    <a:gd name="connsiteY75" fmla="*/ 1418216 h 1661098"/>
                    <a:gd name="connsiteX76" fmla="*/ 0 w 1146175"/>
                    <a:gd name="connsiteY7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47675 w 1146175"/>
                    <a:gd name="connsiteY52" fmla="*/ 1535691 h 1661098"/>
                    <a:gd name="connsiteX53" fmla="*/ 434975 w 1146175"/>
                    <a:gd name="connsiteY53" fmla="*/ 1561091 h 1661098"/>
                    <a:gd name="connsiteX54" fmla="*/ 431800 w 1146175"/>
                    <a:gd name="connsiteY54" fmla="*/ 1576966 h 1661098"/>
                    <a:gd name="connsiteX55" fmla="*/ 425450 w 1146175"/>
                    <a:gd name="connsiteY55" fmla="*/ 1602366 h 1661098"/>
                    <a:gd name="connsiteX56" fmla="*/ 422275 w 1146175"/>
                    <a:gd name="connsiteY56" fmla="*/ 1611891 h 1661098"/>
                    <a:gd name="connsiteX57" fmla="*/ 412750 w 1146175"/>
                    <a:gd name="connsiteY57" fmla="*/ 1621416 h 1661098"/>
                    <a:gd name="connsiteX58" fmla="*/ 222250 w 1146175"/>
                    <a:gd name="connsiteY58" fmla="*/ 1627766 h 1661098"/>
                    <a:gd name="connsiteX59" fmla="*/ 215900 w 1146175"/>
                    <a:gd name="connsiteY59" fmla="*/ 1611891 h 1661098"/>
                    <a:gd name="connsiteX60" fmla="*/ 206375 w 1146175"/>
                    <a:gd name="connsiteY60" fmla="*/ 1599191 h 1661098"/>
                    <a:gd name="connsiteX61" fmla="*/ 203200 w 1146175"/>
                    <a:gd name="connsiteY61" fmla="*/ 1586491 h 1661098"/>
                    <a:gd name="connsiteX62" fmla="*/ 196850 w 1146175"/>
                    <a:gd name="connsiteY62" fmla="*/ 1573791 h 1661098"/>
                    <a:gd name="connsiteX63" fmla="*/ 193675 w 1146175"/>
                    <a:gd name="connsiteY63" fmla="*/ 1564266 h 1661098"/>
                    <a:gd name="connsiteX64" fmla="*/ 187325 w 1146175"/>
                    <a:gd name="connsiteY64" fmla="*/ 1551566 h 1661098"/>
                    <a:gd name="connsiteX65" fmla="*/ 180975 w 1146175"/>
                    <a:gd name="connsiteY65" fmla="*/ 1535691 h 1661098"/>
                    <a:gd name="connsiteX66" fmla="*/ 161925 w 1146175"/>
                    <a:gd name="connsiteY66" fmla="*/ 1507116 h 1661098"/>
                    <a:gd name="connsiteX67" fmla="*/ 149225 w 1146175"/>
                    <a:gd name="connsiteY67" fmla="*/ 1484891 h 1661098"/>
                    <a:gd name="connsiteX68" fmla="*/ 142875 w 1146175"/>
                    <a:gd name="connsiteY68" fmla="*/ 1469016 h 1661098"/>
                    <a:gd name="connsiteX69" fmla="*/ 130175 w 1146175"/>
                    <a:gd name="connsiteY69" fmla="*/ 1465841 h 1661098"/>
                    <a:gd name="connsiteX70" fmla="*/ 101600 w 1146175"/>
                    <a:gd name="connsiteY70" fmla="*/ 1453141 h 1661098"/>
                    <a:gd name="connsiteX71" fmla="*/ 69850 w 1146175"/>
                    <a:gd name="connsiteY71" fmla="*/ 1443616 h 1661098"/>
                    <a:gd name="connsiteX72" fmla="*/ 41275 w 1146175"/>
                    <a:gd name="connsiteY72" fmla="*/ 1430916 h 1661098"/>
                    <a:gd name="connsiteX73" fmla="*/ 31750 w 1146175"/>
                    <a:gd name="connsiteY73" fmla="*/ 1424566 h 1661098"/>
                    <a:gd name="connsiteX74" fmla="*/ 15875 w 1146175"/>
                    <a:gd name="connsiteY74" fmla="*/ 1418216 h 1661098"/>
                    <a:gd name="connsiteX75" fmla="*/ 0 w 1146175"/>
                    <a:gd name="connsiteY7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34975 w 1146175"/>
                    <a:gd name="connsiteY52" fmla="*/ 1561091 h 1661098"/>
                    <a:gd name="connsiteX53" fmla="*/ 431800 w 1146175"/>
                    <a:gd name="connsiteY53" fmla="*/ 1576966 h 1661098"/>
                    <a:gd name="connsiteX54" fmla="*/ 425450 w 1146175"/>
                    <a:gd name="connsiteY54" fmla="*/ 1602366 h 1661098"/>
                    <a:gd name="connsiteX55" fmla="*/ 422275 w 1146175"/>
                    <a:gd name="connsiteY55" fmla="*/ 1611891 h 1661098"/>
                    <a:gd name="connsiteX56" fmla="*/ 412750 w 1146175"/>
                    <a:gd name="connsiteY56" fmla="*/ 1621416 h 1661098"/>
                    <a:gd name="connsiteX57" fmla="*/ 222250 w 1146175"/>
                    <a:gd name="connsiteY57" fmla="*/ 1627766 h 1661098"/>
                    <a:gd name="connsiteX58" fmla="*/ 215900 w 1146175"/>
                    <a:gd name="connsiteY58" fmla="*/ 1611891 h 1661098"/>
                    <a:gd name="connsiteX59" fmla="*/ 206375 w 1146175"/>
                    <a:gd name="connsiteY59" fmla="*/ 1599191 h 1661098"/>
                    <a:gd name="connsiteX60" fmla="*/ 203200 w 1146175"/>
                    <a:gd name="connsiteY60" fmla="*/ 1586491 h 1661098"/>
                    <a:gd name="connsiteX61" fmla="*/ 196850 w 1146175"/>
                    <a:gd name="connsiteY61" fmla="*/ 1573791 h 1661098"/>
                    <a:gd name="connsiteX62" fmla="*/ 193675 w 1146175"/>
                    <a:gd name="connsiteY62" fmla="*/ 1564266 h 1661098"/>
                    <a:gd name="connsiteX63" fmla="*/ 187325 w 1146175"/>
                    <a:gd name="connsiteY63" fmla="*/ 1551566 h 1661098"/>
                    <a:gd name="connsiteX64" fmla="*/ 180975 w 1146175"/>
                    <a:gd name="connsiteY64" fmla="*/ 1535691 h 1661098"/>
                    <a:gd name="connsiteX65" fmla="*/ 161925 w 1146175"/>
                    <a:gd name="connsiteY65" fmla="*/ 1507116 h 1661098"/>
                    <a:gd name="connsiteX66" fmla="*/ 149225 w 1146175"/>
                    <a:gd name="connsiteY66" fmla="*/ 1484891 h 1661098"/>
                    <a:gd name="connsiteX67" fmla="*/ 142875 w 1146175"/>
                    <a:gd name="connsiteY67" fmla="*/ 1469016 h 1661098"/>
                    <a:gd name="connsiteX68" fmla="*/ 130175 w 1146175"/>
                    <a:gd name="connsiteY68" fmla="*/ 1465841 h 1661098"/>
                    <a:gd name="connsiteX69" fmla="*/ 101600 w 1146175"/>
                    <a:gd name="connsiteY69" fmla="*/ 1453141 h 1661098"/>
                    <a:gd name="connsiteX70" fmla="*/ 69850 w 1146175"/>
                    <a:gd name="connsiteY70" fmla="*/ 1443616 h 1661098"/>
                    <a:gd name="connsiteX71" fmla="*/ 41275 w 1146175"/>
                    <a:gd name="connsiteY71" fmla="*/ 1430916 h 1661098"/>
                    <a:gd name="connsiteX72" fmla="*/ 31750 w 1146175"/>
                    <a:gd name="connsiteY72" fmla="*/ 1424566 h 1661098"/>
                    <a:gd name="connsiteX73" fmla="*/ 15875 w 1146175"/>
                    <a:gd name="connsiteY73" fmla="*/ 1418216 h 1661098"/>
                    <a:gd name="connsiteX74" fmla="*/ 0 w 1146175"/>
                    <a:gd name="connsiteY7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31800 w 1146175"/>
                    <a:gd name="connsiteY52" fmla="*/ 1576966 h 1661098"/>
                    <a:gd name="connsiteX53" fmla="*/ 425450 w 1146175"/>
                    <a:gd name="connsiteY53" fmla="*/ 1602366 h 1661098"/>
                    <a:gd name="connsiteX54" fmla="*/ 422275 w 1146175"/>
                    <a:gd name="connsiteY54" fmla="*/ 1611891 h 1661098"/>
                    <a:gd name="connsiteX55" fmla="*/ 412750 w 1146175"/>
                    <a:gd name="connsiteY55" fmla="*/ 1621416 h 1661098"/>
                    <a:gd name="connsiteX56" fmla="*/ 222250 w 1146175"/>
                    <a:gd name="connsiteY56" fmla="*/ 1627766 h 1661098"/>
                    <a:gd name="connsiteX57" fmla="*/ 215900 w 1146175"/>
                    <a:gd name="connsiteY57" fmla="*/ 1611891 h 1661098"/>
                    <a:gd name="connsiteX58" fmla="*/ 206375 w 1146175"/>
                    <a:gd name="connsiteY58" fmla="*/ 1599191 h 1661098"/>
                    <a:gd name="connsiteX59" fmla="*/ 203200 w 1146175"/>
                    <a:gd name="connsiteY59" fmla="*/ 1586491 h 1661098"/>
                    <a:gd name="connsiteX60" fmla="*/ 196850 w 1146175"/>
                    <a:gd name="connsiteY60" fmla="*/ 1573791 h 1661098"/>
                    <a:gd name="connsiteX61" fmla="*/ 193675 w 1146175"/>
                    <a:gd name="connsiteY61" fmla="*/ 1564266 h 1661098"/>
                    <a:gd name="connsiteX62" fmla="*/ 187325 w 1146175"/>
                    <a:gd name="connsiteY62" fmla="*/ 1551566 h 1661098"/>
                    <a:gd name="connsiteX63" fmla="*/ 180975 w 1146175"/>
                    <a:gd name="connsiteY63" fmla="*/ 1535691 h 1661098"/>
                    <a:gd name="connsiteX64" fmla="*/ 161925 w 1146175"/>
                    <a:gd name="connsiteY64" fmla="*/ 1507116 h 1661098"/>
                    <a:gd name="connsiteX65" fmla="*/ 149225 w 1146175"/>
                    <a:gd name="connsiteY65" fmla="*/ 1484891 h 1661098"/>
                    <a:gd name="connsiteX66" fmla="*/ 142875 w 1146175"/>
                    <a:gd name="connsiteY66" fmla="*/ 1469016 h 1661098"/>
                    <a:gd name="connsiteX67" fmla="*/ 130175 w 1146175"/>
                    <a:gd name="connsiteY67" fmla="*/ 1465841 h 1661098"/>
                    <a:gd name="connsiteX68" fmla="*/ 101600 w 1146175"/>
                    <a:gd name="connsiteY68" fmla="*/ 1453141 h 1661098"/>
                    <a:gd name="connsiteX69" fmla="*/ 69850 w 1146175"/>
                    <a:gd name="connsiteY69" fmla="*/ 1443616 h 1661098"/>
                    <a:gd name="connsiteX70" fmla="*/ 41275 w 1146175"/>
                    <a:gd name="connsiteY70" fmla="*/ 1430916 h 1661098"/>
                    <a:gd name="connsiteX71" fmla="*/ 31750 w 1146175"/>
                    <a:gd name="connsiteY71" fmla="*/ 1424566 h 1661098"/>
                    <a:gd name="connsiteX72" fmla="*/ 15875 w 1146175"/>
                    <a:gd name="connsiteY72" fmla="*/ 1418216 h 1661098"/>
                    <a:gd name="connsiteX73" fmla="*/ 0 w 1146175"/>
                    <a:gd name="connsiteY7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22275 w 1146175"/>
                    <a:gd name="connsiteY53" fmla="*/ 1611891 h 1661098"/>
                    <a:gd name="connsiteX54" fmla="*/ 412750 w 1146175"/>
                    <a:gd name="connsiteY54" fmla="*/ 1621416 h 1661098"/>
                    <a:gd name="connsiteX55" fmla="*/ 222250 w 1146175"/>
                    <a:gd name="connsiteY55" fmla="*/ 1627766 h 1661098"/>
                    <a:gd name="connsiteX56" fmla="*/ 215900 w 1146175"/>
                    <a:gd name="connsiteY56" fmla="*/ 1611891 h 1661098"/>
                    <a:gd name="connsiteX57" fmla="*/ 206375 w 1146175"/>
                    <a:gd name="connsiteY57" fmla="*/ 1599191 h 1661098"/>
                    <a:gd name="connsiteX58" fmla="*/ 203200 w 1146175"/>
                    <a:gd name="connsiteY58" fmla="*/ 1586491 h 1661098"/>
                    <a:gd name="connsiteX59" fmla="*/ 196850 w 1146175"/>
                    <a:gd name="connsiteY59" fmla="*/ 1573791 h 1661098"/>
                    <a:gd name="connsiteX60" fmla="*/ 193675 w 1146175"/>
                    <a:gd name="connsiteY60" fmla="*/ 1564266 h 1661098"/>
                    <a:gd name="connsiteX61" fmla="*/ 187325 w 1146175"/>
                    <a:gd name="connsiteY61" fmla="*/ 1551566 h 1661098"/>
                    <a:gd name="connsiteX62" fmla="*/ 180975 w 1146175"/>
                    <a:gd name="connsiteY62" fmla="*/ 1535691 h 1661098"/>
                    <a:gd name="connsiteX63" fmla="*/ 161925 w 1146175"/>
                    <a:gd name="connsiteY63" fmla="*/ 1507116 h 1661098"/>
                    <a:gd name="connsiteX64" fmla="*/ 149225 w 1146175"/>
                    <a:gd name="connsiteY64" fmla="*/ 1484891 h 1661098"/>
                    <a:gd name="connsiteX65" fmla="*/ 142875 w 1146175"/>
                    <a:gd name="connsiteY65" fmla="*/ 1469016 h 1661098"/>
                    <a:gd name="connsiteX66" fmla="*/ 130175 w 1146175"/>
                    <a:gd name="connsiteY66" fmla="*/ 1465841 h 1661098"/>
                    <a:gd name="connsiteX67" fmla="*/ 101600 w 1146175"/>
                    <a:gd name="connsiteY67" fmla="*/ 1453141 h 1661098"/>
                    <a:gd name="connsiteX68" fmla="*/ 69850 w 1146175"/>
                    <a:gd name="connsiteY68" fmla="*/ 1443616 h 1661098"/>
                    <a:gd name="connsiteX69" fmla="*/ 41275 w 1146175"/>
                    <a:gd name="connsiteY69" fmla="*/ 1430916 h 1661098"/>
                    <a:gd name="connsiteX70" fmla="*/ 31750 w 1146175"/>
                    <a:gd name="connsiteY70" fmla="*/ 1424566 h 1661098"/>
                    <a:gd name="connsiteX71" fmla="*/ 15875 w 1146175"/>
                    <a:gd name="connsiteY71" fmla="*/ 1418216 h 1661098"/>
                    <a:gd name="connsiteX72" fmla="*/ 0 w 1146175"/>
                    <a:gd name="connsiteY7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93675 w 1146175"/>
                    <a:gd name="connsiteY59" fmla="*/ 1564266 h 1661098"/>
                    <a:gd name="connsiteX60" fmla="*/ 187325 w 1146175"/>
                    <a:gd name="connsiteY60" fmla="*/ 1551566 h 1661098"/>
                    <a:gd name="connsiteX61" fmla="*/ 180975 w 1146175"/>
                    <a:gd name="connsiteY61" fmla="*/ 1535691 h 1661098"/>
                    <a:gd name="connsiteX62" fmla="*/ 161925 w 1146175"/>
                    <a:gd name="connsiteY62" fmla="*/ 1507116 h 1661098"/>
                    <a:gd name="connsiteX63" fmla="*/ 149225 w 1146175"/>
                    <a:gd name="connsiteY63" fmla="*/ 1484891 h 1661098"/>
                    <a:gd name="connsiteX64" fmla="*/ 142875 w 1146175"/>
                    <a:gd name="connsiteY64" fmla="*/ 1469016 h 1661098"/>
                    <a:gd name="connsiteX65" fmla="*/ 130175 w 1146175"/>
                    <a:gd name="connsiteY65" fmla="*/ 1465841 h 1661098"/>
                    <a:gd name="connsiteX66" fmla="*/ 101600 w 1146175"/>
                    <a:gd name="connsiteY66" fmla="*/ 1453141 h 1661098"/>
                    <a:gd name="connsiteX67" fmla="*/ 69850 w 1146175"/>
                    <a:gd name="connsiteY67" fmla="*/ 1443616 h 1661098"/>
                    <a:gd name="connsiteX68" fmla="*/ 41275 w 1146175"/>
                    <a:gd name="connsiteY68" fmla="*/ 1430916 h 1661098"/>
                    <a:gd name="connsiteX69" fmla="*/ 31750 w 1146175"/>
                    <a:gd name="connsiteY69" fmla="*/ 1424566 h 1661098"/>
                    <a:gd name="connsiteX70" fmla="*/ 15875 w 1146175"/>
                    <a:gd name="connsiteY70" fmla="*/ 1418216 h 1661098"/>
                    <a:gd name="connsiteX71" fmla="*/ 0 w 1146175"/>
                    <a:gd name="connsiteY7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93675 w 1146175"/>
                    <a:gd name="connsiteY59" fmla="*/ 1564266 h 1661098"/>
                    <a:gd name="connsiteX60" fmla="*/ 187325 w 1146175"/>
                    <a:gd name="connsiteY60" fmla="*/ 1551566 h 1661098"/>
                    <a:gd name="connsiteX61" fmla="*/ 161925 w 1146175"/>
                    <a:gd name="connsiteY61" fmla="*/ 1507116 h 1661098"/>
                    <a:gd name="connsiteX62" fmla="*/ 149225 w 1146175"/>
                    <a:gd name="connsiteY62" fmla="*/ 1484891 h 1661098"/>
                    <a:gd name="connsiteX63" fmla="*/ 142875 w 1146175"/>
                    <a:gd name="connsiteY63" fmla="*/ 1469016 h 1661098"/>
                    <a:gd name="connsiteX64" fmla="*/ 130175 w 1146175"/>
                    <a:gd name="connsiteY64" fmla="*/ 1465841 h 1661098"/>
                    <a:gd name="connsiteX65" fmla="*/ 101600 w 1146175"/>
                    <a:gd name="connsiteY65" fmla="*/ 1453141 h 1661098"/>
                    <a:gd name="connsiteX66" fmla="*/ 69850 w 1146175"/>
                    <a:gd name="connsiteY66" fmla="*/ 1443616 h 1661098"/>
                    <a:gd name="connsiteX67" fmla="*/ 41275 w 1146175"/>
                    <a:gd name="connsiteY67" fmla="*/ 1430916 h 1661098"/>
                    <a:gd name="connsiteX68" fmla="*/ 31750 w 1146175"/>
                    <a:gd name="connsiteY68" fmla="*/ 1424566 h 1661098"/>
                    <a:gd name="connsiteX69" fmla="*/ 15875 w 1146175"/>
                    <a:gd name="connsiteY69" fmla="*/ 1418216 h 1661098"/>
                    <a:gd name="connsiteX70" fmla="*/ 0 w 1146175"/>
                    <a:gd name="connsiteY7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87325 w 1146175"/>
                    <a:gd name="connsiteY59" fmla="*/ 1551566 h 1661098"/>
                    <a:gd name="connsiteX60" fmla="*/ 161925 w 1146175"/>
                    <a:gd name="connsiteY60" fmla="*/ 1507116 h 1661098"/>
                    <a:gd name="connsiteX61" fmla="*/ 149225 w 1146175"/>
                    <a:gd name="connsiteY61" fmla="*/ 1484891 h 1661098"/>
                    <a:gd name="connsiteX62" fmla="*/ 142875 w 1146175"/>
                    <a:gd name="connsiteY62" fmla="*/ 1469016 h 1661098"/>
                    <a:gd name="connsiteX63" fmla="*/ 130175 w 1146175"/>
                    <a:gd name="connsiteY63" fmla="*/ 1465841 h 1661098"/>
                    <a:gd name="connsiteX64" fmla="*/ 101600 w 1146175"/>
                    <a:gd name="connsiteY64" fmla="*/ 1453141 h 1661098"/>
                    <a:gd name="connsiteX65" fmla="*/ 69850 w 1146175"/>
                    <a:gd name="connsiteY65" fmla="*/ 1443616 h 1661098"/>
                    <a:gd name="connsiteX66" fmla="*/ 41275 w 1146175"/>
                    <a:gd name="connsiteY66" fmla="*/ 1430916 h 1661098"/>
                    <a:gd name="connsiteX67" fmla="*/ 31750 w 1146175"/>
                    <a:gd name="connsiteY67" fmla="*/ 1424566 h 1661098"/>
                    <a:gd name="connsiteX68" fmla="*/ 15875 w 1146175"/>
                    <a:gd name="connsiteY68" fmla="*/ 1418216 h 1661098"/>
                    <a:gd name="connsiteX69" fmla="*/ 0 w 1146175"/>
                    <a:gd name="connsiteY6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96850 w 1146175"/>
                    <a:gd name="connsiteY57" fmla="*/ 1573791 h 1661098"/>
                    <a:gd name="connsiteX58" fmla="*/ 187325 w 1146175"/>
                    <a:gd name="connsiteY58" fmla="*/ 1551566 h 1661098"/>
                    <a:gd name="connsiteX59" fmla="*/ 161925 w 1146175"/>
                    <a:gd name="connsiteY59" fmla="*/ 1507116 h 1661098"/>
                    <a:gd name="connsiteX60" fmla="*/ 149225 w 1146175"/>
                    <a:gd name="connsiteY60" fmla="*/ 1484891 h 1661098"/>
                    <a:gd name="connsiteX61" fmla="*/ 142875 w 1146175"/>
                    <a:gd name="connsiteY61" fmla="*/ 1469016 h 1661098"/>
                    <a:gd name="connsiteX62" fmla="*/ 130175 w 1146175"/>
                    <a:gd name="connsiteY62" fmla="*/ 1465841 h 1661098"/>
                    <a:gd name="connsiteX63" fmla="*/ 101600 w 1146175"/>
                    <a:gd name="connsiteY63" fmla="*/ 1453141 h 1661098"/>
                    <a:gd name="connsiteX64" fmla="*/ 69850 w 1146175"/>
                    <a:gd name="connsiteY64" fmla="*/ 1443616 h 1661098"/>
                    <a:gd name="connsiteX65" fmla="*/ 41275 w 1146175"/>
                    <a:gd name="connsiteY65" fmla="*/ 1430916 h 1661098"/>
                    <a:gd name="connsiteX66" fmla="*/ 31750 w 1146175"/>
                    <a:gd name="connsiteY66" fmla="*/ 1424566 h 1661098"/>
                    <a:gd name="connsiteX67" fmla="*/ 15875 w 1146175"/>
                    <a:gd name="connsiteY67" fmla="*/ 1418216 h 1661098"/>
                    <a:gd name="connsiteX68" fmla="*/ 0 w 1146175"/>
                    <a:gd name="connsiteY6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96850 w 1146175"/>
                    <a:gd name="connsiteY57" fmla="*/ 1573791 h 1661098"/>
                    <a:gd name="connsiteX58" fmla="*/ 161925 w 1146175"/>
                    <a:gd name="connsiteY58" fmla="*/ 1507116 h 1661098"/>
                    <a:gd name="connsiteX59" fmla="*/ 149225 w 1146175"/>
                    <a:gd name="connsiteY59" fmla="*/ 1484891 h 1661098"/>
                    <a:gd name="connsiteX60" fmla="*/ 142875 w 1146175"/>
                    <a:gd name="connsiteY60" fmla="*/ 1469016 h 1661098"/>
                    <a:gd name="connsiteX61" fmla="*/ 130175 w 1146175"/>
                    <a:gd name="connsiteY61" fmla="*/ 1465841 h 1661098"/>
                    <a:gd name="connsiteX62" fmla="*/ 101600 w 1146175"/>
                    <a:gd name="connsiteY62" fmla="*/ 1453141 h 1661098"/>
                    <a:gd name="connsiteX63" fmla="*/ 69850 w 1146175"/>
                    <a:gd name="connsiteY63" fmla="*/ 1443616 h 1661098"/>
                    <a:gd name="connsiteX64" fmla="*/ 41275 w 1146175"/>
                    <a:gd name="connsiteY64" fmla="*/ 1430916 h 1661098"/>
                    <a:gd name="connsiteX65" fmla="*/ 31750 w 1146175"/>
                    <a:gd name="connsiteY65" fmla="*/ 1424566 h 1661098"/>
                    <a:gd name="connsiteX66" fmla="*/ 15875 w 1146175"/>
                    <a:gd name="connsiteY66" fmla="*/ 1418216 h 1661098"/>
                    <a:gd name="connsiteX67" fmla="*/ 0 w 1146175"/>
                    <a:gd name="connsiteY6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31750 w 1146175"/>
                    <a:gd name="connsiteY64" fmla="*/ 1424566 h 1661098"/>
                    <a:gd name="connsiteX65" fmla="*/ 15875 w 1146175"/>
                    <a:gd name="connsiteY65" fmla="*/ 1418216 h 1661098"/>
                    <a:gd name="connsiteX66" fmla="*/ 0 w 1146175"/>
                    <a:gd name="connsiteY6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15875 w 1146175"/>
                    <a:gd name="connsiteY64" fmla="*/ 1418216 h 1661098"/>
                    <a:gd name="connsiteX65" fmla="*/ 0 w 1146175"/>
                    <a:gd name="connsiteY6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0 w 1146175"/>
                    <a:gd name="connsiteY6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41275 w 1146175"/>
                    <a:gd name="connsiteY62" fmla="*/ 1430916 h 1661098"/>
                    <a:gd name="connsiteX63" fmla="*/ 0 w 1146175"/>
                    <a:gd name="connsiteY6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41275 w 1146175"/>
                    <a:gd name="connsiteY61" fmla="*/ 1430916 h 1661098"/>
                    <a:gd name="connsiteX62" fmla="*/ 0 w 1146175"/>
                    <a:gd name="connsiteY6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41275 w 1146175"/>
                    <a:gd name="connsiteY60" fmla="*/ 1430916 h 1661098"/>
                    <a:gd name="connsiteX61" fmla="*/ 0 w 1146175"/>
                    <a:gd name="connsiteY6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49225 w 1146175"/>
                    <a:gd name="connsiteY57" fmla="*/ 1484891 h 1661098"/>
                    <a:gd name="connsiteX58" fmla="*/ 142875 w 1146175"/>
                    <a:gd name="connsiteY58" fmla="*/ 1469016 h 1661098"/>
                    <a:gd name="connsiteX59" fmla="*/ 41275 w 1146175"/>
                    <a:gd name="connsiteY59" fmla="*/ 1430916 h 1661098"/>
                    <a:gd name="connsiteX60" fmla="*/ 0 w 1146175"/>
                    <a:gd name="connsiteY60" fmla="*/ 1402341 h 1661098"/>
                    <a:gd name="connsiteX0" fmla="*/ 9525 w 1146175"/>
                    <a:gd name="connsiteY0" fmla="*/ 227591 h 1657445"/>
                    <a:gd name="connsiteX1" fmla="*/ 50800 w 1146175"/>
                    <a:gd name="connsiteY1" fmla="*/ 205366 h 1657445"/>
                    <a:gd name="connsiteX2" fmla="*/ 127000 w 1146175"/>
                    <a:gd name="connsiteY2" fmla="*/ 170441 h 1657445"/>
                    <a:gd name="connsiteX3" fmla="*/ 155575 w 1146175"/>
                    <a:gd name="connsiteY3" fmla="*/ 160916 h 1657445"/>
                    <a:gd name="connsiteX4" fmla="*/ 168275 w 1146175"/>
                    <a:gd name="connsiteY4" fmla="*/ 148216 h 1657445"/>
                    <a:gd name="connsiteX5" fmla="*/ 209550 w 1146175"/>
                    <a:gd name="connsiteY5" fmla="*/ 65666 h 1657445"/>
                    <a:gd name="connsiteX6" fmla="*/ 238125 w 1146175"/>
                    <a:gd name="connsiteY6" fmla="*/ 14866 h 1657445"/>
                    <a:gd name="connsiteX7" fmla="*/ 269875 w 1146175"/>
                    <a:gd name="connsiteY7" fmla="*/ 5341 h 1657445"/>
                    <a:gd name="connsiteX8" fmla="*/ 428625 w 1146175"/>
                    <a:gd name="connsiteY8" fmla="*/ 11691 h 1657445"/>
                    <a:gd name="connsiteX9" fmla="*/ 492125 w 1146175"/>
                    <a:gd name="connsiteY9" fmla="*/ 145041 h 1657445"/>
                    <a:gd name="connsiteX10" fmla="*/ 508000 w 1146175"/>
                    <a:gd name="connsiteY10" fmla="*/ 170441 h 1657445"/>
                    <a:gd name="connsiteX11" fmla="*/ 558800 w 1146175"/>
                    <a:gd name="connsiteY11" fmla="*/ 189491 h 1657445"/>
                    <a:gd name="connsiteX12" fmla="*/ 635000 w 1146175"/>
                    <a:gd name="connsiteY12" fmla="*/ 221241 h 1657445"/>
                    <a:gd name="connsiteX13" fmla="*/ 717550 w 1146175"/>
                    <a:gd name="connsiteY13" fmla="*/ 218066 h 1657445"/>
                    <a:gd name="connsiteX14" fmla="*/ 838200 w 1146175"/>
                    <a:gd name="connsiteY14" fmla="*/ 186316 h 1657445"/>
                    <a:gd name="connsiteX15" fmla="*/ 879475 w 1146175"/>
                    <a:gd name="connsiteY15" fmla="*/ 205366 h 1657445"/>
                    <a:gd name="connsiteX16" fmla="*/ 974725 w 1146175"/>
                    <a:gd name="connsiteY16" fmla="*/ 303791 h 1657445"/>
                    <a:gd name="connsiteX17" fmla="*/ 968375 w 1146175"/>
                    <a:gd name="connsiteY17" fmla="*/ 338716 h 1657445"/>
                    <a:gd name="connsiteX18" fmla="*/ 936625 w 1146175"/>
                    <a:gd name="connsiteY18" fmla="*/ 402216 h 1657445"/>
                    <a:gd name="connsiteX19" fmla="*/ 917575 w 1146175"/>
                    <a:gd name="connsiteY19" fmla="*/ 459366 h 1657445"/>
                    <a:gd name="connsiteX20" fmla="*/ 917575 w 1146175"/>
                    <a:gd name="connsiteY20" fmla="*/ 506991 h 1657445"/>
                    <a:gd name="connsiteX21" fmla="*/ 923925 w 1146175"/>
                    <a:gd name="connsiteY21" fmla="*/ 519691 h 1657445"/>
                    <a:gd name="connsiteX22" fmla="*/ 955675 w 1146175"/>
                    <a:gd name="connsiteY22" fmla="*/ 573666 h 1657445"/>
                    <a:gd name="connsiteX23" fmla="*/ 974725 w 1146175"/>
                    <a:gd name="connsiteY23" fmla="*/ 627641 h 1657445"/>
                    <a:gd name="connsiteX24" fmla="*/ 981075 w 1146175"/>
                    <a:gd name="connsiteY24" fmla="*/ 646691 h 1657445"/>
                    <a:gd name="connsiteX25" fmla="*/ 1041400 w 1146175"/>
                    <a:gd name="connsiteY25" fmla="*/ 665741 h 1657445"/>
                    <a:gd name="connsiteX26" fmla="*/ 1117600 w 1146175"/>
                    <a:gd name="connsiteY26" fmla="*/ 707016 h 1657445"/>
                    <a:gd name="connsiteX27" fmla="*/ 1136650 w 1146175"/>
                    <a:gd name="connsiteY27" fmla="*/ 713366 h 1657445"/>
                    <a:gd name="connsiteX28" fmla="*/ 1146175 w 1146175"/>
                    <a:gd name="connsiteY28" fmla="*/ 903866 h 1657445"/>
                    <a:gd name="connsiteX29" fmla="*/ 1127125 w 1146175"/>
                    <a:gd name="connsiteY29" fmla="*/ 913391 h 1657445"/>
                    <a:gd name="connsiteX30" fmla="*/ 996950 w 1146175"/>
                    <a:gd name="connsiteY30" fmla="*/ 983241 h 1657445"/>
                    <a:gd name="connsiteX31" fmla="*/ 977900 w 1146175"/>
                    <a:gd name="connsiteY31" fmla="*/ 989591 h 1657445"/>
                    <a:gd name="connsiteX32" fmla="*/ 968375 w 1146175"/>
                    <a:gd name="connsiteY32" fmla="*/ 1014991 h 1657445"/>
                    <a:gd name="connsiteX33" fmla="*/ 955675 w 1146175"/>
                    <a:gd name="connsiteY33" fmla="*/ 1065791 h 1657445"/>
                    <a:gd name="connsiteX34" fmla="*/ 923925 w 1146175"/>
                    <a:gd name="connsiteY34" fmla="*/ 1135641 h 1657445"/>
                    <a:gd name="connsiteX35" fmla="*/ 917575 w 1146175"/>
                    <a:gd name="connsiteY35" fmla="*/ 1145166 h 1657445"/>
                    <a:gd name="connsiteX36" fmla="*/ 946150 w 1146175"/>
                    <a:gd name="connsiteY36" fmla="*/ 1234066 h 1657445"/>
                    <a:gd name="connsiteX37" fmla="*/ 974725 w 1146175"/>
                    <a:gd name="connsiteY37" fmla="*/ 1291216 h 1657445"/>
                    <a:gd name="connsiteX38" fmla="*/ 974725 w 1146175"/>
                    <a:gd name="connsiteY38" fmla="*/ 1348366 h 1657445"/>
                    <a:gd name="connsiteX39" fmla="*/ 949325 w 1146175"/>
                    <a:gd name="connsiteY39" fmla="*/ 1380116 h 1657445"/>
                    <a:gd name="connsiteX40" fmla="*/ 895350 w 1146175"/>
                    <a:gd name="connsiteY40" fmla="*/ 1427741 h 1657445"/>
                    <a:gd name="connsiteX41" fmla="*/ 844550 w 1146175"/>
                    <a:gd name="connsiteY41" fmla="*/ 1462666 h 1657445"/>
                    <a:gd name="connsiteX42" fmla="*/ 835025 w 1146175"/>
                    <a:gd name="connsiteY42" fmla="*/ 1465841 h 1657445"/>
                    <a:gd name="connsiteX43" fmla="*/ 815975 w 1146175"/>
                    <a:gd name="connsiteY43" fmla="*/ 1459491 h 1657445"/>
                    <a:gd name="connsiteX44" fmla="*/ 717550 w 1146175"/>
                    <a:gd name="connsiteY44" fmla="*/ 1424566 h 1657445"/>
                    <a:gd name="connsiteX45" fmla="*/ 657225 w 1146175"/>
                    <a:gd name="connsiteY45" fmla="*/ 1408691 h 1657445"/>
                    <a:gd name="connsiteX46" fmla="*/ 635000 w 1146175"/>
                    <a:gd name="connsiteY46" fmla="*/ 1411866 h 1657445"/>
                    <a:gd name="connsiteX47" fmla="*/ 622300 w 1146175"/>
                    <a:gd name="connsiteY47" fmla="*/ 1418216 h 1657445"/>
                    <a:gd name="connsiteX48" fmla="*/ 501650 w 1146175"/>
                    <a:gd name="connsiteY48" fmla="*/ 1453141 h 1657445"/>
                    <a:gd name="connsiteX49" fmla="*/ 492125 w 1146175"/>
                    <a:gd name="connsiteY49" fmla="*/ 1459491 h 1657445"/>
                    <a:gd name="connsiteX50" fmla="*/ 466725 w 1146175"/>
                    <a:gd name="connsiteY50" fmla="*/ 1491241 h 1657445"/>
                    <a:gd name="connsiteX51" fmla="*/ 457200 w 1146175"/>
                    <a:gd name="connsiteY51" fmla="*/ 1510291 h 1657445"/>
                    <a:gd name="connsiteX52" fmla="*/ 425450 w 1146175"/>
                    <a:gd name="connsiteY52" fmla="*/ 1602366 h 1657445"/>
                    <a:gd name="connsiteX53" fmla="*/ 381794 w 1146175"/>
                    <a:gd name="connsiteY53" fmla="*/ 1623797 h 1657445"/>
                    <a:gd name="connsiteX54" fmla="*/ 222250 w 1146175"/>
                    <a:gd name="connsiteY54" fmla="*/ 1627766 h 1657445"/>
                    <a:gd name="connsiteX55" fmla="*/ 215900 w 1146175"/>
                    <a:gd name="connsiteY55" fmla="*/ 1611891 h 1657445"/>
                    <a:gd name="connsiteX56" fmla="*/ 206375 w 1146175"/>
                    <a:gd name="connsiteY56" fmla="*/ 1599191 h 1657445"/>
                    <a:gd name="connsiteX57" fmla="*/ 149225 w 1146175"/>
                    <a:gd name="connsiteY57" fmla="*/ 1484891 h 1657445"/>
                    <a:gd name="connsiteX58" fmla="*/ 142875 w 1146175"/>
                    <a:gd name="connsiteY58" fmla="*/ 1469016 h 1657445"/>
                    <a:gd name="connsiteX59" fmla="*/ 41275 w 1146175"/>
                    <a:gd name="connsiteY59" fmla="*/ 1430916 h 1657445"/>
                    <a:gd name="connsiteX60" fmla="*/ 0 w 1146175"/>
                    <a:gd name="connsiteY60" fmla="*/ 1402341 h 1657445"/>
                    <a:gd name="connsiteX0" fmla="*/ 9525 w 1146175"/>
                    <a:gd name="connsiteY0" fmla="*/ 227591 h 1631346"/>
                    <a:gd name="connsiteX1" fmla="*/ 50800 w 1146175"/>
                    <a:gd name="connsiteY1" fmla="*/ 205366 h 1631346"/>
                    <a:gd name="connsiteX2" fmla="*/ 127000 w 1146175"/>
                    <a:gd name="connsiteY2" fmla="*/ 170441 h 1631346"/>
                    <a:gd name="connsiteX3" fmla="*/ 155575 w 1146175"/>
                    <a:gd name="connsiteY3" fmla="*/ 160916 h 1631346"/>
                    <a:gd name="connsiteX4" fmla="*/ 168275 w 1146175"/>
                    <a:gd name="connsiteY4" fmla="*/ 148216 h 1631346"/>
                    <a:gd name="connsiteX5" fmla="*/ 209550 w 1146175"/>
                    <a:gd name="connsiteY5" fmla="*/ 65666 h 1631346"/>
                    <a:gd name="connsiteX6" fmla="*/ 238125 w 1146175"/>
                    <a:gd name="connsiteY6" fmla="*/ 14866 h 1631346"/>
                    <a:gd name="connsiteX7" fmla="*/ 269875 w 1146175"/>
                    <a:gd name="connsiteY7" fmla="*/ 5341 h 1631346"/>
                    <a:gd name="connsiteX8" fmla="*/ 428625 w 1146175"/>
                    <a:gd name="connsiteY8" fmla="*/ 11691 h 1631346"/>
                    <a:gd name="connsiteX9" fmla="*/ 492125 w 1146175"/>
                    <a:gd name="connsiteY9" fmla="*/ 145041 h 1631346"/>
                    <a:gd name="connsiteX10" fmla="*/ 508000 w 1146175"/>
                    <a:gd name="connsiteY10" fmla="*/ 170441 h 1631346"/>
                    <a:gd name="connsiteX11" fmla="*/ 558800 w 1146175"/>
                    <a:gd name="connsiteY11" fmla="*/ 189491 h 1631346"/>
                    <a:gd name="connsiteX12" fmla="*/ 635000 w 1146175"/>
                    <a:gd name="connsiteY12" fmla="*/ 221241 h 1631346"/>
                    <a:gd name="connsiteX13" fmla="*/ 717550 w 1146175"/>
                    <a:gd name="connsiteY13" fmla="*/ 218066 h 1631346"/>
                    <a:gd name="connsiteX14" fmla="*/ 838200 w 1146175"/>
                    <a:gd name="connsiteY14" fmla="*/ 186316 h 1631346"/>
                    <a:gd name="connsiteX15" fmla="*/ 879475 w 1146175"/>
                    <a:gd name="connsiteY15" fmla="*/ 205366 h 1631346"/>
                    <a:gd name="connsiteX16" fmla="*/ 974725 w 1146175"/>
                    <a:gd name="connsiteY16" fmla="*/ 303791 h 1631346"/>
                    <a:gd name="connsiteX17" fmla="*/ 968375 w 1146175"/>
                    <a:gd name="connsiteY17" fmla="*/ 338716 h 1631346"/>
                    <a:gd name="connsiteX18" fmla="*/ 936625 w 1146175"/>
                    <a:gd name="connsiteY18" fmla="*/ 402216 h 1631346"/>
                    <a:gd name="connsiteX19" fmla="*/ 917575 w 1146175"/>
                    <a:gd name="connsiteY19" fmla="*/ 459366 h 1631346"/>
                    <a:gd name="connsiteX20" fmla="*/ 917575 w 1146175"/>
                    <a:gd name="connsiteY20" fmla="*/ 506991 h 1631346"/>
                    <a:gd name="connsiteX21" fmla="*/ 923925 w 1146175"/>
                    <a:gd name="connsiteY21" fmla="*/ 519691 h 1631346"/>
                    <a:gd name="connsiteX22" fmla="*/ 955675 w 1146175"/>
                    <a:gd name="connsiteY22" fmla="*/ 573666 h 1631346"/>
                    <a:gd name="connsiteX23" fmla="*/ 974725 w 1146175"/>
                    <a:gd name="connsiteY23" fmla="*/ 627641 h 1631346"/>
                    <a:gd name="connsiteX24" fmla="*/ 981075 w 1146175"/>
                    <a:gd name="connsiteY24" fmla="*/ 646691 h 1631346"/>
                    <a:gd name="connsiteX25" fmla="*/ 1041400 w 1146175"/>
                    <a:gd name="connsiteY25" fmla="*/ 665741 h 1631346"/>
                    <a:gd name="connsiteX26" fmla="*/ 1117600 w 1146175"/>
                    <a:gd name="connsiteY26" fmla="*/ 707016 h 1631346"/>
                    <a:gd name="connsiteX27" fmla="*/ 1136650 w 1146175"/>
                    <a:gd name="connsiteY27" fmla="*/ 713366 h 1631346"/>
                    <a:gd name="connsiteX28" fmla="*/ 1146175 w 1146175"/>
                    <a:gd name="connsiteY28" fmla="*/ 903866 h 1631346"/>
                    <a:gd name="connsiteX29" fmla="*/ 1127125 w 1146175"/>
                    <a:gd name="connsiteY29" fmla="*/ 913391 h 1631346"/>
                    <a:gd name="connsiteX30" fmla="*/ 996950 w 1146175"/>
                    <a:gd name="connsiteY30" fmla="*/ 983241 h 1631346"/>
                    <a:gd name="connsiteX31" fmla="*/ 977900 w 1146175"/>
                    <a:gd name="connsiteY31" fmla="*/ 989591 h 1631346"/>
                    <a:gd name="connsiteX32" fmla="*/ 968375 w 1146175"/>
                    <a:gd name="connsiteY32" fmla="*/ 1014991 h 1631346"/>
                    <a:gd name="connsiteX33" fmla="*/ 955675 w 1146175"/>
                    <a:gd name="connsiteY33" fmla="*/ 1065791 h 1631346"/>
                    <a:gd name="connsiteX34" fmla="*/ 923925 w 1146175"/>
                    <a:gd name="connsiteY34" fmla="*/ 1135641 h 1631346"/>
                    <a:gd name="connsiteX35" fmla="*/ 917575 w 1146175"/>
                    <a:gd name="connsiteY35" fmla="*/ 1145166 h 1631346"/>
                    <a:gd name="connsiteX36" fmla="*/ 946150 w 1146175"/>
                    <a:gd name="connsiteY36" fmla="*/ 1234066 h 1631346"/>
                    <a:gd name="connsiteX37" fmla="*/ 974725 w 1146175"/>
                    <a:gd name="connsiteY37" fmla="*/ 1291216 h 1631346"/>
                    <a:gd name="connsiteX38" fmla="*/ 974725 w 1146175"/>
                    <a:gd name="connsiteY38" fmla="*/ 1348366 h 1631346"/>
                    <a:gd name="connsiteX39" fmla="*/ 949325 w 1146175"/>
                    <a:gd name="connsiteY39" fmla="*/ 1380116 h 1631346"/>
                    <a:gd name="connsiteX40" fmla="*/ 895350 w 1146175"/>
                    <a:gd name="connsiteY40" fmla="*/ 1427741 h 1631346"/>
                    <a:gd name="connsiteX41" fmla="*/ 844550 w 1146175"/>
                    <a:gd name="connsiteY41" fmla="*/ 1462666 h 1631346"/>
                    <a:gd name="connsiteX42" fmla="*/ 835025 w 1146175"/>
                    <a:gd name="connsiteY42" fmla="*/ 1465841 h 1631346"/>
                    <a:gd name="connsiteX43" fmla="*/ 815975 w 1146175"/>
                    <a:gd name="connsiteY43" fmla="*/ 1459491 h 1631346"/>
                    <a:gd name="connsiteX44" fmla="*/ 717550 w 1146175"/>
                    <a:gd name="connsiteY44" fmla="*/ 1424566 h 1631346"/>
                    <a:gd name="connsiteX45" fmla="*/ 657225 w 1146175"/>
                    <a:gd name="connsiteY45" fmla="*/ 1408691 h 1631346"/>
                    <a:gd name="connsiteX46" fmla="*/ 635000 w 1146175"/>
                    <a:gd name="connsiteY46" fmla="*/ 1411866 h 1631346"/>
                    <a:gd name="connsiteX47" fmla="*/ 622300 w 1146175"/>
                    <a:gd name="connsiteY47" fmla="*/ 1418216 h 1631346"/>
                    <a:gd name="connsiteX48" fmla="*/ 501650 w 1146175"/>
                    <a:gd name="connsiteY48" fmla="*/ 1453141 h 1631346"/>
                    <a:gd name="connsiteX49" fmla="*/ 492125 w 1146175"/>
                    <a:gd name="connsiteY49" fmla="*/ 1459491 h 1631346"/>
                    <a:gd name="connsiteX50" fmla="*/ 466725 w 1146175"/>
                    <a:gd name="connsiteY50" fmla="*/ 1491241 h 1631346"/>
                    <a:gd name="connsiteX51" fmla="*/ 457200 w 1146175"/>
                    <a:gd name="connsiteY51" fmla="*/ 1510291 h 1631346"/>
                    <a:gd name="connsiteX52" fmla="*/ 425450 w 1146175"/>
                    <a:gd name="connsiteY52" fmla="*/ 1602366 h 1631346"/>
                    <a:gd name="connsiteX53" fmla="*/ 381794 w 1146175"/>
                    <a:gd name="connsiteY53" fmla="*/ 1623797 h 1631346"/>
                    <a:gd name="connsiteX54" fmla="*/ 222250 w 1146175"/>
                    <a:gd name="connsiteY54" fmla="*/ 1627766 h 1631346"/>
                    <a:gd name="connsiteX55" fmla="*/ 215900 w 1146175"/>
                    <a:gd name="connsiteY55" fmla="*/ 1611891 h 1631346"/>
                    <a:gd name="connsiteX56" fmla="*/ 206375 w 1146175"/>
                    <a:gd name="connsiteY56" fmla="*/ 1599191 h 1631346"/>
                    <a:gd name="connsiteX57" fmla="*/ 149225 w 1146175"/>
                    <a:gd name="connsiteY57" fmla="*/ 1484891 h 1631346"/>
                    <a:gd name="connsiteX58" fmla="*/ 142875 w 1146175"/>
                    <a:gd name="connsiteY58" fmla="*/ 1469016 h 1631346"/>
                    <a:gd name="connsiteX59" fmla="*/ 41275 w 1146175"/>
                    <a:gd name="connsiteY59" fmla="*/ 1430916 h 1631346"/>
                    <a:gd name="connsiteX60" fmla="*/ 0 w 1146175"/>
                    <a:gd name="connsiteY60" fmla="*/ 1402341 h 1631346"/>
                    <a:gd name="connsiteX0" fmla="*/ 9525 w 1146175"/>
                    <a:gd name="connsiteY0" fmla="*/ 227591 h 1632095"/>
                    <a:gd name="connsiteX1" fmla="*/ 50800 w 1146175"/>
                    <a:gd name="connsiteY1" fmla="*/ 205366 h 1632095"/>
                    <a:gd name="connsiteX2" fmla="*/ 127000 w 1146175"/>
                    <a:gd name="connsiteY2" fmla="*/ 170441 h 1632095"/>
                    <a:gd name="connsiteX3" fmla="*/ 155575 w 1146175"/>
                    <a:gd name="connsiteY3" fmla="*/ 160916 h 1632095"/>
                    <a:gd name="connsiteX4" fmla="*/ 168275 w 1146175"/>
                    <a:gd name="connsiteY4" fmla="*/ 148216 h 1632095"/>
                    <a:gd name="connsiteX5" fmla="*/ 209550 w 1146175"/>
                    <a:gd name="connsiteY5" fmla="*/ 65666 h 1632095"/>
                    <a:gd name="connsiteX6" fmla="*/ 238125 w 1146175"/>
                    <a:gd name="connsiteY6" fmla="*/ 14866 h 1632095"/>
                    <a:gd name="connsiteX7" fmla="*/ 269875 w 1146175"/>
                    <a:gd name="connsiteY7" fmla="*/ 5341 h 1632095"/>
                    <a:gd name="connsiteX8" fmla="*/ 428625 w 1146175"/>
                    <a:gd name="connsiteY8" fmla="*/ 11691 h 1632095"/>
                    <a:gd name="connsiteX9" fmla="*/ 492125 w 1146175"/>
                    <a:gd name="connsiteY9" fmla="*/ 145041 h 1632095"/>
                    <a:gd name="connsiteX10" fmla="*/ 508000 w 1146175"/>
                    <a:gd name="connsiteY10" fmla="*/ 170441 h 1632095"/>
                    <a:gd name="connsiteX11" fmla="*/ 558800 w 1146175"/>
                    <a:gd name="connsiteY11" fmla="*/ 189491 h 1632095"/>
                    <a:gd name="connsiteX12" fmla="*/ 635000 w 1146175"/>
                    <a:gd name="connsiteY12" fmla="*/ 221241 h 1632095"/>
                    <a:gd name="connsiteX13" fmla="*/ 717550 w 1146175"/>
                    <a:gd name="connsiteY13" fmla="*/ 218066 h 1632095"/>
                    <a:gd name="connsiteX14" fmla="*/ 838200 w 1146175"/>
                    <a:gd name="connsiteY14" fmla="*/ 186316 h 1632095"/>
                    <a:gd name="connsiteX15" fmla="*/ 879475 w 1146175"/>
                    <a:gd name="connsiteY15" fmla="*/ 205366 h 1632095"/>
                    <a:gd name="connsiteX16" fmla="*/ 974725 w 1146175"/>
                    <a:gd name="connsiteY16" fmla="*/ 303791 h 1632095"/>
                    <a:gd name="connsiteX17" fmla="*/ 968375 w 1146175"/>
                    <a:gd name="connsiteY17" fmla="*/ 338716 h 1632095"/>
                    <a:gd name="connsiteX18" fmla="*/ 936625 w 1146175"/>
                    <a:gd name="connsiteY18" fmla="*/ 402216 h 1632095"/>
                    <a:gd name="connsiteX19" fmla="*/ 917575 w 1146175"/>
                    <a:gd name="connsiteY19" fmla="*/ 459366 h 1632095"/>
                    <a:gd name="connsiteX20" fmla="*/ 917575 w 1146175"/>
                    <a:gd name="connsiteY20" fmla="*/ 506991 h 1632095"/>
                    <a:gd name="connsiteX21" fmla="*/ 923925 w 1146175"/>
                    <a:gd name="connsiteY21" fmla="*/ 519691 h 1632095"/>
                    <a:gd name="connsiteX22" fmla="*/ 955675 w 1146175"/>
                    <a:gd name="connsiteY22" fmla="*/ 573666 h 1632095"/>
                    <a:gd name="connsiteX23" fmla="*/ 974725 w 1146175"/>
                    <a:gd name="connsiteY23" fmla="*/ 627641 h 1632095"/>
                    <a:gd name="connsiteX24" fmla="*/ 981075 w 1146175"/>
                    <a:gd name="connsiteY24" fmla="*/ 646691 h 1632095"/>
                    <a:gd name="connsiteX25" fmla="*/ 1041400 w 1146175"/>
                    <a:gd name="connsiteY25" fmla="*/ 665741 h 1632095"/>
                    <a:gd name="connsiteX26" fmla="*/ 1117600 w 1146175"/>
                    <a:gd name="connsiteY26" fmla="*/ 707016 h 1632095"/>
                    <a:gd name="connsiteX27" fmla="*/ 1136650 w 1146175"/>
                    <a:gd name="connsiteY27" fmla="*/ 713366 h 1632095"/>
                    <a:gd name="connsiteX28" fmla="*/ 1146175 w 1146175"/>
                    <a:gd name="connsiteY28" fmla="*/ 903866 h 1632095"/>
                    <a:gd name="connsiteX29" fmla="*/ 1127125 w 1146175"/>
                    <a:gd name="connsiteY29" fmla="*/ 913391 h 1632095"/>
                    <a:gd name="connsiteX30" fmla="*/ 996950 w 1146175"/>
                    <a:gd name="connsiteY30" fmla="*/ 983241 h 1632095"/>
                    <a:gd name="connsiteX31" fmla="*/ 977900 w 1146175"/>
                    <a:gd name="connsiteY31" fmla="*/ 989591 h 1632095"/>
                    <a:gd name="connsiteX32" fmla="*/ 968375 w 1146175"/>
                    <a:gd name="connsiteY32" fmla="*/ 1014991 h 1632095"/>
                    <a:gd name="connsiteX33" fmla="*/ 955675 w 1146175"/>
                    <a:gd name="connsiteY33" fmla="*/ 1065791 h 1632095"/>
                    <a:gd name="connsiteX34" fmla="*/ 923925 w 1146175"/>
                    <a:gd name="connsiteY34" fmla="*/ 1135641 h 1632095"/>
                    <a:gd name="connsiteX35" fmla="*/ 917575 w 1146175"/>
                    <a:gd name="connsiteY35" fmla="*/ 1145166 h 1632095"/>
                    <a:gd name="connsiteX36" fmla="*/ 946150 w 1146175"/>
                    <a:gd name="connsiteY36" fmla="*/ 1234066 h 1632095"/>
                    <a:gd name="connsiteX37" fmla="*/ 974725 w 1146175"/>
                    <a:gd name="connsiteY37" fmla="*/ 1291216 h 1632095"/>
                    <a:gd name="connsiteX38" fmla="*/ 974725 w 1146175"/>
                    <a:gd name="connsiteY38" fmla="*/ 1348366 h 1632095"/>
                    <a:gd name="connsiteX39" fmla="*/ 949325 w 1146175"/>
                    <a:gd name="connsiteY39" fmla="*/ 1380116 h 1632095"/>
                    <a:gd name="connsiteX40" fmla="*/ 895350 w 1146175"/>
                    <a:gd name="connsiteY40" fmla="*/ 1427741 h 1632095"/>
                    <a:gd name="connsiteX41" fmla="*/ 844550 w 1146175"/>
                    <a:gd name="connsiteY41" fmla="*/ 1462666 h 1632095"/>
                    <a:gd name="connsiteX42" fmla="*/ 835025 w 1146175"/>
                    <a:gd name="connsiteY42" fmla="*/ 1465841 h 1632095"/>
                    <a:gd name="connsiteX43" fmla="*/ 815975 w 1146175"/>
                    <a:gd name="connsiteY43" fmla="*/ 1459491 h 1632095"/>
                    <a:gd name="connsiteX44" fmla="*/ 717550 w 1146175"/>
                    <a:gd name="connsiteY44" fmla="*/ 1424566 h 1632095"/>
                    <a:gd name="connsiteX45" fmla="*/ 657225 w 1146175"/>
                    <a:gd name="connsiteY45" fmla="*/ 1408691 h 1632095"/>
                    <a:gd name="connsiteX46" fmla="*/ 635000 w 1146175"/>
                    <a:gd name="connsiteY46" fmla="*/ 1411866 h 1632095"/>
                    <a:gd name="connsiteX47" fmla="*/ 622300 w 1146175"/>
                    <a:gd name="connsiteY47" fmla="*/ 1418216 h 1632095"/>
                    <a:gd name="connsiteX48" fmla="*/ 501650 w 1146175"/>
                    <a:gd name="connsiteY48" fmla="*/ 1453141 h 1632095"/>
                    <a:gd name="connsiteX49" fmla="*/ 492125 w 1146175"/>
                    <a:gd name="connsiteY49" fmla="*/ 1459491 h 1632095"/>
                    <a:gd name="connsiteX50" fmla="*/ 466725 w 1146175"/>
                    <a:gd name="connsiteY50" fmla="*/ 1491241 h 1632095"/>
                    <a:gd name="connsiteX51" fmla="*/ 457200 w 1146175"/>
                    <a:gd name="connsiteY51" fmla="*/ 1510291 h 1632095"/>
                    <a:gd name="connsiteX52" fmla="*/ 425450 w 1146175"/>
                    <a:gd name="connsiteY52" fmla="*/ 1602366 h 1632095"/>
                    <a:gd name="connsiteX53" fmla="*/ 381794 w 1146175"/>
                    <a:gd name="connsiteY53" fmla="*/ 1623797 h 1632095"/>
                    <a:gd name="connsiteX54" fmla="*/ 222250 w 1146175"/>
                    <a:gd name="connsiteY54" fmla="*/ 1627766 h 1632095"/>
                    <a:gd name="connsiteX55" fmla="*/ 206375 w 1146175"/>
                    <a:gd name="connsiteY55" fmla="*/ 1599191 h 1632095"/>
                    <a:gd name="connsiteX56" fmla="*/ 149225 w 1146175"/>
                    <a:gd name="connsiteY56" fmla="*/ 1484891 h 1632095"/>
                    <a:gd name="connsiteX57" fmla="*/ 142875 w 1146175"/>
                    <a:gd name="connsiteY57" fmla="*/ 1469016 h 1632095"/>
                    <a:gd name="connsiteX58" fmla="*/ 41275 w 1146175"/>
                    <a:gd name="connsiteY58" fmla="*/ 1430916 h 1632095"/>
                    <a:gd name="connsiteX59" fmla="*/ 0 w 1146175"/>
                    <a:gd name="connsiteY59" fmla="*/ 1402341 h 1632095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92125 w 1146175"/>
                    <a:gd name="connsiteY49" fmla="*/ 1459491 h 1631057"/>
                    <a:gd name="connsiteX50" fmla="*/ 466725 w 1146175"/>
                    <a:gd name="connsiteY50" fmla="*/ 1491241 h 1631057"/>
                    <a:gd name="connsiteX51" fmla="*/ 457200 w 1146175"/>
                    <a:gd name="connsiteY51" fmla="*/ 1510291 h 1631057"/>
                    <a:gd name="connsiteX52" fmla="*/ 425450 w 1146175"/>
                    <a:gd name="connsiteY52" fmla="*/ 1602366 h 1631057"/>
                    <a:gd name="connsiteX53" fmla="*/ 381794 w 1146175"/>
                    <a:gd name="connsiteY53" fmla="*/ 1623797 h 1631057"/>
                    <a:gd name="connsiteX54" fmla="*/ 250825 w 1146175"/>
                    <a:gd name="connsiteY54" fmla="*/ 1625385 h 1631057"/>
                    <a:gd name="connsiteX55" fmla="*/ 206375 w 1146175"/>
                    <a:gd name="connsiteY55" fmla="*/ 1599191 h 1631057"/>
                    <a:gd name="connsiteX56" fmla="*/ 149225 w 1146175"/>
                    <a:gd name="connsiteY56" fmla="*/ 1484891 h 1631057"/>
                    <a:gd name="connsiteX57" fmla="*/ 142875 w 1146175"/>
                    <a:gd name="connsiteY57" fmla="*/ 1469016 h 1631057"/>
                    <a:gd name="connsiteX58" fmla="*/ 41275 w 1146175"/>
                    <a:gd name="connsiteY58" fmla="*/ 1430916 h 1631057"/>
                    <a:gd name="connsiteX59" fmla="*/ 0 w 1146175"/>
                    <a:gd name="connsiteY59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66725 w 1146175"/>
                    <a:gd name="connsiteY49" fmla="*/ 1491241 h 1631057"/>
                    <a:gd name="connsiteX50" fmla="*/ 457200 w 1146175"/>
                    <a:gd name="connsiteY50" fmla="*/ 1510291 h 1631057"/>
                    <a:gd name="connsiteX51" fmla="*/ 425450 w 1146175"/>
                    <a:gd name="connsiteY51" fmla="*/ 1602366 h 1631057"/>
                    <a:gd name="connsiteX52" fmla="*/ 381794 w 1146175"/>
                    <a:gd name="connsiteY52" fmla="*/ 1623797 h 1631057"/>
                    <a:gd name="connsiteX53" fmla="*/ 250825 w 1146175"/>
                    <a:gd name="connsiteY53" fmla="*/ 1625385 h 1631057"/>
                    <a:gd name="connsiteX54" fmla="*/ 206375 w 1146175"/>
                    <a:gd name="connsiteY54" fmla="*/ 1599191 h 1631057"/>
                    <a:gd name="connsiteX55" fmla="*/ 149225 w 1146175"/>
                    <a:gd name="connsiteY55" fmla="*/ 1484891 h 1631057"/>
                    <a:gd name="connsiteX56" fmla="*/ 142875 w 1146175"/>
                    <a:gd name="connsiteY56" fmla="*/ 1469016 h 1631057"/>
                    <a:gd name="connsiteX57" fmla="*/ 41275 w 1146175"/>
                    <a:gd name="connsiteY57" fmla="*/ 1430916 h 1631057"/>
                    <a:gd name="connsiteX58" fmla="*/ 0 w 1146175"/>
                    <a:gd name="connsiteY58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57200 w 1146175"/>
                    <a:gd name="connsiteY49" fmla="*/ 1510291 h 1631057"/>
                    <a:gd name="connsiteX50" fmla="*/ 425450 w 1146175"/>
                    <a:gd name="connsiteY50" fmla="*/ 1602366 h 1631057"/>
                    <a:gd name="connsiteX51" fmla="*/ 381794 w 1146175"/>
                    <a:gd name="connsiteY51" fmla="*/ 1623797 h 1631057"/>
                    <a:gd name="connsiteX52" fmla="*/ 250825 w 1146175"/>
                    <a:gd name="connsiteY52" fmla="*/ 1625385 h 1631057"/>
                    <a:gd name="connsiteX53" fmla="*/ 206375 w 1146175"/>
                    <a:gd name="connsiteY53" fmla="*/ 1599191 h 1631057"/>
                    <a:gd name="connsiteX54" fmla="*/ 149225 w 1146175"/>
                    <a:gd name="connsiteY54" fmla="*/ 1484891 h 1631057"/>
                    <a:gd name="connsiteX55" fmla="*/ 142875 w 1146175"/>
                    <a:gd name="connsiteY55" fmla="*/ 1469016 h 1631057"/>
                    <a:gd name="connsiteX56" fmla="*/ 41275 w 1146175"/>
                    <a:gd name="connsiteY56" fmla="*/ 1430916 h 1631057"/>
                    <a:gd name="connsiteX57" fmla="*/ 0 w 1146175"/>
                    <a:gd name="connsiteY57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64344 w 1146175"/>
                    <a:gd name="connsiteY49" fmla="*/ 1522198 h 1631057"/>
                    <a:gd name="connsiteX50" fmla="*/ 425450 w 1146175"/>
                    <a:gd name="connsiteY50" fmla="*/ 1602366 h 1631057"/>
                    <a:gd name="connsiteX51" fmla="*/ 381794 w 1146175"/>
                    <a:gd name="connsiteY51" fmla="*/ 1623797 h 1631057"/>
                    <a:gd name="connsiteX52" fmla="*/ 250825 w 1146175"/>
                    <a:gd name="connsiteY52" fmla="*/ 1625385 h 1631057"/>
                    <a:gd name="connsiteX53" fmla="*/ 206375 w 1146175"/>
                    <a:gd name="connsiteY53" fmla="*/ 1599191 h 1631057"/>
                    <a:gd name="connsiteX54" fmla="*/ 149225 w 1146175"/>
                    <a:gd name="connsiteY54" fmla="*/ 1484891 h 1631057"/>
                    <a:gd name="connsiteX55" fmla="*/ 142875 w 1146175"/>
                    <a:gd name="connsiteY55" fmla="*/ 1469016 h 1631057"/>
                    <a:gd name="connsiteX56" fmla="*/ 41275 w 1146175"/>
                    <a:gd name="connsiteY56" fmla="*/ 1430916 h 1631057"/>
                    <a:gd name="connsiteX57" fmla="*/ 0 w 1146175"/>
                    <a:gd name="connsiteY57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501650 w 1146175"/>
                    <a:gd name="connsiteY47" fmla="*/ 1453141 h 1631057"/>
                    <a:gd name="connsiteX48" fmla="*/ 464344 w 1146175"/>
                    <a:gd name="connsiteY48" fmla="*/ 1522198 h 1631057"/>
                    <a:gd name="connsiteX49" fmla="*/ 425450 w 1146175"/>
                    <a:gd name="connsiteY49" fmla="*/ 1602366 h 1631057"/>
                    <a:gd name="connsiteX50" fmla="*/ 381794 w 1146175"/>
                    <a:gd name="connsiteY50" fmla="*/ 1623797 h 1631057"/>
                    <a:gd name="connsiteX51" fmla="*/ 250825 w 1146175"/>
                    <a:gd name="connsiteY51" fmla="*/ 1625385 h 1631057"/>
                    <a:gd name="connsiteX52" fmla="*/ 206375 w 1146175"/>
                    <a:gd name="connsiteY52" fmla="*/ 1599191 h 1631057"/>
                    <a:gd name="connsiteX53" fmla="*/ 149225 w 1146175"/>
                    <a:gd name="connsiteY53" fmla="*/ 1484891 h 1631057"/>
                    <a:gd name="connsiteX54" fmla="*/ 142875 w 1146175"/>
                    <a:gd name="connsiteY54" fmla="*/ 1469016 h 1631057"/>
                    <a:gd name="connsiteX55" fmla="*/ 41275 w 1146175"/>
                    <a:gd name="connsiteY55" fmla="*/ 1430916 h 1631057"/>
                    <a:gd name="connsiteX56" fmla="*/ 0 w 1146175"/>
                    <a:gd name="connsiteY56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895350 w 1146175"/>
                    <a:gd name="connsiteY39" fmla="*/ 1427741 h 1631057"/>
                    <a:gd name="connsiteX40" fmla="*/ 844550 w 1146175"/>
                    <a:gd name="connsiteY40" fmla="*/ 1462666 h 1631057"/>
                    <a:gd name="connsiteX41" fmla="*/ 835025 w 1146175"/>
                    <a:gd name="connsiteY41" fmla="*/ 1465841 h 1631057"/>
                    <a:gd name="connsiteX42" fmla="*/ 815975 w 1146175"/>
                    <a:gd name="connsiteY42" fmla="*/ 1459491 h 1631057"/>
                    <a:gd name="connsiteX43" fmla="*/ 717550 w 1146175"/>
                    <a:gd name="connsiteY43" fmla="*/ 1424566 h 1631057"/>
                    <a:gd name="connsiteX44" fmla="*/ 657225 w 1146175"/>
                    <a:gd name="connsiteY44" fmla="*/ 1408691 h 1631057"/>
                    <a:gd name="connsiteX45" fmla="*/ 635000 w 1146175"/>
                    <a:gd name="connsiteY45" fmla="*/ 1411866 h 1631057"/>
                    <a:gd name="connsiteX46" fmla="*/ 501650 w 1146175"/>
                    <a:gd name="connsiteY46" fmla="*/ 1453141 h 1631057"/>
                    <a:gd name="connsiteX47" fmla="*/ 464344 w 1146175"/>
                    <a:gd name="connsiteY47" fmla="*/ 1522198 h 1631057"/>
                    <a:gd name="connsiteX48" fmla="*/ 425450 w 1146175"/>
                    <a:gd name="connsiteY48" fmla="*/ 1602366 h 1631057"/>
                    <a:gd name="connsiteX49" fmla="*/ 381794 w 1146175"/>
                    <a:gd name="connsiteY49" fmla="*/ 1623797 h 1631057"/>
                    <a:gd name="connsiteX50" fmla="*/ 250825 w 1146175"/>
                    <a:gd name="connsiteY50" fmla="*/ 1625385 h 1631057"/>
                    <a:gd name="connsiteX51" fmla="*/ 206375 w 1146175"/>
                    <a:gd name="connsiteY51" fmla="*/ 1599191 h 1631057"/>
                    <a:gd name="connsiteX52" fmla="*/ 149225 w 1146175"/>
                    <a:gd name="connsiteY52" fmla="*/ 1484891 h 1631057"/>
                    <a:gd name="connsiteX53" fmla="*/ 142875 w 1146175"/>
                    <a:gd name="connsiteY53" fmla="*/ 1469016 h 1631057"/>
                    <a:gd name="connsiteX54" fmla="*/ 41275 w 1146175"/>
                    <a:gd name="connsiteY54" fmla="*/ 1430916 h 1631057"/>
                    <a:gd name="connsiteX55" fmla="*/ 0 w 1146175"/>
                    <a:gd name="connsiteY55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67581 w 1146175"/>
                    <a:gd name="connsiteY38" fmla="*/ 1334078 h 1631057"/>
                    <a:gd name="connsiteX39" fmla="*/ 895350 w 1146175"/>
                    <a:gd name="connsiteY39" fmla="*/ 1427741 h 1631057"/>
                    <a:gd name="connsiteX40" fmla="*/ 844550 w 1146175"/>
                    <a:gd name="connsiteY40" fmla="*/ 1462666 h 1631057"/>
                    <a:gd name="connsiteX41" fmla="*/ 835025 w 1146175"/>
                    <a:gd name="connsiteY41" fmla="*/ 1465841 h 1631057"/>
                    <a:gd name="connsiteX42" fmla="*/ 815975 w 1146175"/>
                    <a:gd name="connsiteY42" fmla="*/ 1459491 h 1631057"/>
                    <a:gd name="connsiteX43" fmla="*/ 717550 w 1146175"/>
                    <a:gd name="connsiteY43" fmla="*/ 1424566 h 1631057"/>
                    <a:gd name="connsiteX44" fmla="*/ 657225 w 1146175"/>
                    <a:gd name="connsiteY44" fmla="*/ 1408691 h 1631057"/>
                    <a:gd name="connsiteX45" fmla="*/ 635000 w 1146175"/>
                    <a:gd name="connsiteY45" fmla="*/ 1411866 h 1631057"/>
                    <a:gd name="connsiteX46" fmla="*/ 501650 w 1146175"/>
                    <a:gd name="connsiteY46" fmla="*/ 1453141 h 1631057"/>
                    <a:gd name="connsiteX47" fmla="*/ 464344 w 1146175"/>
                    <a:gd name="connsiteY47" fmla="*/ 1522198 h 1631057"/>
                    <a:gd name="connsiteX48" fmla="*/ 425450 w 1146175"/>
                    <a:gd name="connsiteY48" fmla="*/ 1602366 h 1631057"/>
                    <a:gd name="connsiteX49" fmla="*/ 381794 w 1146175"/>
                    <a:gd name="connsiteY49" fmla="*/ 1623797 h 1631057"/>
                    <a:gd name="connsiteX50" fmla="*/ 250825 w 1146175"/>
                    <a:gd name="connsiteY50" fmla="*/ 1625385 h 1631057"/>
                    <a:gd name="connsiteX51" fmla="*/ 206375 w 1146175"/>
                    <a:gd name="connsiteY51" fmla="*/ 1599191 h 1631057"/>
                    <a:gd name="connsiteX52" fmla="*/ 149225 w 1146175"/>
                    <a:gd name="connsiteY52" fmla="*/ 1484891 h 1631057"/>
                    <a:gd name="connsiteX53" fmla="*/ 142875 w 1146175"/>
                    <a:gd name="connsiteY53" fmla="*/ 1469016 h 1631057"/>
                    <a:gd name="connsiteX54" fmla="*/ 41275 w 1146175"/>
                    <a:gd name="connsiteY54" fmla="*/ 1430916 h 1631057"/>
                    <a:gd name="connsiteX55" fmla="*/ 0 w 1146175"/>
                    <a:gd name="connsiteY55" fmla="*/ 1402341 h 1631057"/>
                    <a:gd name="connsiteX0" fmla="*/ 9525 w 1147289"/>
                    <a:gd name="connsiteY0" fmla="*/ 227591 h 1631057"/>
                    <a:gd name="connsiteX1" fmla="*/ 50800 w 1147289"/>
                    <a:gd name="connsiteY1" fmla="*/ 205366 h 1631057"/>
                    <a:gd name="connsiteX2" fmla="*/ 127000 w 1147289"/>
                    <a:gd name="connsiteY2" fmla="*/ 170441 h 1631057"/>
                    <a:gd name="connsiteX3" fmla="*/ 155575 w 1147289"/>
                    <a:gd name="connsiteY3" fmla="*/ 160916 h 1631057"/>
                    <a:gd name="connsiteX4" fmla="*/ 168275 w 1147289"/>
                    <a:gd name="connsiteY4" fmla="*/ 148216 h 1631057"/>
                    <a:gd name="connsiteX5" fmla="*/ 209550 w 1147289"/>
                    <a:gd name="connsiteY5" fmla="*/ 65666 h 1631057"/>
                    <a:gd name="connsiteX6" fmla="*/ 238125 w 1147289"/>
                    <a:gd name="connsiteY6" fmla="*/ 14866 h 1631057"/>
                    <a:gd name="connsiteX7" fmla="*/ 269875 w 1147289"/>
                    <a:gd name="connsiteY7" fmla="*/ 5341 h 1631057"/>
                    <a:gd name="connsiteX8" fmla="*/ 428625 w 1147289"/>
                    <a:gd name="connsiteY8" fmla="*/ 11691 h 1631057"/>
                    <a:gd name="connsiteX9" fmla="*/ 492125 w 1147289"/>
                    <a:gd name="connsiteY9" fmla="*/ 145041 h 1631057"/>
                    <a:gd name="connsiteX10" fmla="*/ 508000 w 1147289"/>
                    <a:gd name="connsiteY10" fmla="*/ 170441 h 1631057"/>
                    <a:gd name="connsiteX11" fmla="*/ 558800 w 1147289"/>
                    <a:gd name="connsiteY11" fmla="*/ 189491 h 1631057"/>
                    <a:gd name="connsiteX12" fmla="*/ 635000 w 1147289"/>
                    <a:gd name="connsiteY12" fmla="*/ 221241 h 1631057"/>
                    <a:gd name="connsiteX13" fmla="*/ 717550 w 1147289"/>
                    <a:gd name="connsiteY13" fmla="*/ 218066 h 1631057"/>
                    <a:gd name="connsiteX14" fmla="*/ 838200 w 1147289"/>
                    <a:gd name="connsiteY14" fmla="*/ 186316 h 1631057"/>
                    <a:gd name="connsiteX15" fmla="*/ 879475 w 1147289"/>
                    <a:gd name="connsiteY15" fmla="*/ 205366 h 1631057"/>
                    <a:gd name="connsiteX16" fmla="*/ 974725 w 1147289"/>
                    <a:gd name="connsiteY16" fmla="*/ 303791 h 1631057"/>
                    <a:gd name="connsiteX17" fmla="*/ 968375 w 1147289"/>
                    <a:gd name="connsiteY17" fmla="*/ 338716 h 1631057"/>
                    <a:gd name="connsiteX18" fmla="*/ 936625 w 1147289"/>
                    <a:gd name="connsiteY18" fmla="*/ 402216 h 1631057"/>
                    <a:gd name="connsiteX19" fmla="*/ 917575 w 1147289"/>
                    <a:gd name="connsiteY19" fmla="*/ 459366 h 1631057"/>
                    <a:gd name="connsiteX20" fmla="*/ 917575 w 1147289"/>
                    <a:gd name="connsiteY20" fmla="*/ 506991 h 1631057"/>
                    <a:gd name="connsiteX21" fmla="*/ 923925 w 1147289"/>
                    <a:gd name="connsiteY21" fmla="*/ 519691 h 1631057"/>
                    <a:gd name="connsiteX22" fmla="*/ 955675 w 1147289"/>
                    <a:gd name="connsiteY22" fmla="*/ 573666 h 1631057"/>
                    <a:gd name="connsiteX23" fmla="*/ 974725 w 1147289"/>
                    <a:gd name="connsiteY23" fmla="*/ 627641 h 1631057"/>
                    <a:gd name="connsiteX24" fmla="*/ 981075 w 1147289"/>
                    <a:gd name="connsiteY24" fmla="*/ 646691 h 1631057"/>
                    <a:gd name="connsiteX25" fmla="*/ 1041400 w 1147289"/>
                    <a:gd name="connsiteY25" fmla="*/ 665741 h 1631057"/>
                    <a:gd name="connsiteX26" fmla="*/ 1117600 w 1147289"/>
                    <a:gd name="connsiteY26" fmla="*/ 707016 h 1631057"/>
                    <a:gd name="connsiteX27" fmla="*/ 1136650 w 1147289"/>
                    <a:gd name="connsiteY27" fmla="*/ 713366 h 1631057"/>
                    <a:gd name="connsiteX28" fmla="*/ 1146175 w 1147289"/>
                    <a:gd name="connsiteY28" fmla="*/ 903866 h 1631057"/>
                    <a:gd name="connsiteX29" fmla="*/ 1127125 w 1147289"/>
                    <a:gd name="connsiteY29" fmla="*/ 913391 h 1631057"/>
                    <a:gd name="connsiteX30" fmla="*/ 996950 w 1147289"/>
                    <a:gd name="connsiteY30" fmla="*/ 983241 h 1631057"/>
                    <a:gd name="connsiteX31" fmla="*/ 977900 w 1147289"/>
                    <a:gd name="connsiteY31" fmla="*/ 989591 h 1631057"/>
                    <a:gd name="connsiteX32" fmla="*/ 968375 w 1147289"/>
                    <a:gd name="connsiteY32" fmla="*/ 1014991 h 1631057"/>
                    <a:gd name="connsiteX33" fmla="*/ 955675 w 1147289"/>
                    <a:gd name="connsiteY33" fmla="*/ 1065791 h 1631057"/>
                    <a:gd name="connsiteX34" fmla="*/ 923925 w 1147289"/>
                    <a:gd name="connsiteY34" fmla="*/ 1135641 h 1631057"/>
                    <a:gd name="connsiteX35" fmla="*/ 917575 w 1147289"/>
                    <a:gd name="connsiteY35" fmla="*/ 1145166 h 1631057"/>
                    <a:gd name="connsiteX36" fmla="*/ 946150 w 1147289"/>
                    <a:gd name="connsiteY36" fmla="*/ 1234066 h 1631057"/>
                    <a:gd name="connsiteX37" fmla="*/ 974725 w 1147289"/>
                    <a:gd name="connsiteY37" fmla="*/ 1291216 h 1631057"/>
                    <a:gd name="connsiteX38" fmla="*/ 967581 w 1147289"/>
                    <a:gd name="connsiteY38" fmla="*/ 1334078 h 1631057"/>
                    <a:gd name="connsiteX39" fmla="*/ 895350 w 1147289"/>
                    <a:gd name="connsiteY39" fmla="*/ 1427741 h 1631057"/>
                    <a:gd name="connsiteX40" fmla="*/ 844550 w 1147289"/>
                    <a:gd name="connsiteY40" fmla="*/ 1462666 h 1631057"/>
                    <a:gd name="connsiteX41" fmla="*/ 835025 w 1147289"/>
                    <a:gd name="connsiteY41" fmla="*/ 1465841 h 1631057"/>
                    <a:gd name="connsiteX42" fmla="*/ 815975 w 1147289"/>
                    <a:gd name="connsiteY42" fmla="*/ 1459491 h 1631057"/>
                    <a:gd name="connsiteX43" fmla="*/ 717550 w 1147289"/>
                    <a:gd name="connsiteY43" fmla="*/ 1424566 h 1631057"/>
                    <a:gd name="connsiteX44" fmla="*/ 657225 w 1147289"/>
                    <a:gd name="connsiteY44" fmla="*/ 1408691 h 1631057"/>
                    <a:gd name="connsiteX45" fmla="*/ 635000 w 1147289"/>
                    <a:gd name="connsiteY45" fmla="*/ 1411866 h 1631057"/>
                    <a:gd name="connsiteX46" fmla="*/ 501650 w 1147289"/>
                    <a:gd name="connsiteY46" fmla="*/ 1453141 h 1631057"/>
                    <a:gd name="connsiteX47" fmla="*/ 464344 w 1147289"/>
                    <a:gd name="connsiteY47" fmla="*/ 1522198 h 1631057"/>
                    <a:gd name="connsiteX48" fmla="*/ 425450 w 1147289"/>
                    <a:gd name="connsiteY48" fmla="*/ 1602366 h 1631057"/>
                    <a:gd name="connsiteX49" fmla="*/ 381794 w 1147289"/>
                    <a:gd name="connsiteY49" fmla="*/ 1623797 h 1631057"/>
                    <a:gd name="connsiteX50" fmla="*/ 250825 w 1147289"/>
                    <a:gd name="connsiteY50" fmla="*/ 1625385 h 1631057"/>
                    <a:gd name="connsiteX51" fmla="*/ 206375 w 1147289"/>
                    <a:gd name="connsiteY51" fmla="*/ 1599191 h 1631057"/>
                    <a:gd name="connsiteX52" fmla="*/ 149225 w 1147289"/>
                    <a:gd name="connsiteY52" fmla="*/ 1484891 h 1631057"/>
                    <a:gd name="connsiteX53" fmla="*/ 142875 w 1147289"/>
                    <a:gd name="connsiteY53" fmla="*/ 1469016 h 1631057"/>
                    <a:gd name="connsiteX54" fmla="*/ 41275 w 1147289"/>
                    <a:gd name="connsiteY54" fmla="*/ 1430916 h 1631057"/>
                    <a:gd name="connsiteX55" fmla="*/ 0 w 1147289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558800 w 1149871"/>
                    <a:gd name="connsiteY11" fmla="*/ 189491 h 1631057"/>
                    <a:gd name="connsiteX12" fmla="*/ 635000 w 1149871"/>
                    <a:gd name="connsiteY12" fmla="*/ 221241 h 1631057"/>
                    <a:gd name="connsiteX13" fmla="*/ 717550 w 1149871"/>
                    <a:gd name="connsiteY13" fmla="*/ 218066 h 1631057"/>
                    <a:gd name="connsiteX14" fmla="*/ 838200 w 1149871"/>
                    <a:gd name="connsiteY14" fmla="*/ 186316 h 1631057"/>
                    <a:gd name="connsiteX15" fmla="*/ 879475 w 1149871"/>
                    <a:gd name="connsiteY15" fmla="*/ 205366 h 1631057"/>
                    <a:gd name="connsiteX16" fmla="*/ 974725 w 1149871"/>
                    <a:gd name="connsiteY16" fmla="*/ 303791 h 1631057"/>
                    <a:gd name="connsiteX17" fmla="*/ 968375 w 1149871"/>
                    <a:gd name="connsiteY17" fmla="*/ 338716 h 1631057"/>
                    <a:gd name="connsiteX18" fmla="*/ 936625 w 1149871"/>
                    <a:gd name="connsiteY18" fmla="*/ 402216 h 1631057"/>
                    <a:gd name="connsiteX19" fmla="*/ 917575 w 1149871"/>
                    <a:gd name="connsiteY19" fmla="*/ 459366 h 1631057"/>
                    <a:gd name="connsiteX20" fmla="*/ 917575 w 1149871"/>
                    <a:gd name="connsiteY20" fmla="*/ 506991 h 1631057"/>
                    <a:gd name="connsiteX21" fmla="*/ 923925 w 1149871"/>
                    <a:gd name="connsiteY21" fmla="*/ 519691 h 1631057"/>
                    <a:gd name="connsiteX22" fmla="*/ 955675 w 1149871"/>
                    <a:gd name="connsiteY22" fmla="*/ 573666 h 1631057"/>
                    <a:gd name="connsiteX23" fmla="*/ 974725 w 1149871"/>
                    <a:gd name="connsiteY23" fmla="*/ 627641 h 1631057"/>
                    <a:gd name="connsiteX24" fmla="*/ 981075 w 1149871"/>
                    <a:gd name="connsiteY24" fmla="*/ 646691 h 1631057"/>
                    <a:gd name="connsiteX25" fmla="*/ 1041400 w 1149871"/>
                    <a:gd name="connsiteY25" fmla="*/ 665741 h 1631057"/>
                    <a:gd name="connsiteX26" fmla="*/ 1117600 w 1149871"/>
                    <a:gd name="connsiteY26" fmla="*/ 707016 h 1631057"/>
                    <a:gd name="connsiteX27" fmla="*/ 1148557 w 1149871"/>
                    <a:gd name="connsiteY27" fmla="*/ 715747 h 1631057"/>
                    <a:gd name="connsiteX28" fmla="*/ 1146175 w 1149871"/>
                    <a:gd name="connsiteY28" fmla="*/ 903866 h 1631057"/>
                    <a:gd name="connsiteX29" fmla="*/ 1127125 w 1149871"/>
                    <a:gd name="connsiteY29" fmla="*/ 913391 h 1631057"/>
                    <a:gd name="connsiteX30" fmla="*/ 996950 w 1149871"/>
                    <a:gd name="connsiteY30" fmla="*/ 983241 h 1631057"/>
                    <a:gd name="connsiteX31" fmla="*/ 977900 w 1149871"/>
                    <a:gd name="connsiteY31" fmla="*/ 989591 h 1631057"/>
                    <a:gd name="connsiteX32" fmla="*/ 968375 w 1149871"/>
                    <a:gd name="connsiteY32" fmla="*/ 1014991 h 1631057"/>
                    <a:gd name="connsiteX33" fmla="*/ 955675 w 1149871"/>
                    <a:gd name="connsiteY33" fmla="*/ 1065791 h 1631057"/>
                    <a:gd name="connsiteX34" fmla="*/ 923925 w 1149871"/>
                    <a:gd name="connsiteY34" fmla="*/ 1135641 h 1631057"/>
                    <a:gd name="connsiteX35" fmla="*/ 917575 w 1149871"/>
                    <a:gd name="connsiteY35" fmla="*/ 1145166 h 1631057"/>
                    <a:gd name="connsiteX36" fmla="*/ 946150 w 1149871"/>
                    <a:gd name="connsiteY36" fmla="*/ 1234066 h 1631057"/>
                    <a:gd name="connsiteX37" fmla="*/ 974725 w 1149871"/>
                    <a:gd name="connsiteY37" fmla="*/ 1291216 h 1631057"/>
                    <a:gd name="connsiteX38" fmla="*/ 967581 w 1149871"/>
                    <a:gd name="connsiteY38" fmla="*/ 1334078 h 1631057"/>
                    <a:gd name="connsiteX39" fmla="*/ 895350 w 1149871"/>
                    <a:gd name="connsiteY39" fmla="*/ 1427741 h 1631057"/>
                    <a:gd name="connsiteX40" fmla="*/ 844550 w 1149871"/>
                    <a:gd name="connsiteY40" fmla="*/ 1462666 h 1631057"/>
                    <a:gd name="connsiteX41" fmla="*/ 835025 w 1149871"/>
                    <a:gd name="connsiteY41" fmla="*/ 1465841 h 1631057"/>
                    <a:gd name="connsiteX42" fmla="*/ 815975 w 1149871"/>
                    <a:gd name="connsiteY42" fmla="*/ 1459491 h 1631057"/>
                    <a:gd name="connsiteX43" fmla="*/ 717550 w 1149871"/>
                    <a:gd name="connsiteY43" fmla="*/ 1424566 h 1631057"/>
                    <a:gd name="connsiteX44" fmla="*/ 657225 w 1149871"/>
                    <a:gd name="connsiteY44" fmla="*/ 1408691 h 1631057"/>
                    <a:gd name="connsiteX45" fmla="*/ 635000 w 1149871"/>
                    <a:gd name="connsiteY45" fmla="*/ 1411866 h 1631057"/>
                    <a:gd name="connsiteX46" fmla="*/ 501650 w 1149871"/>
                    <a:gd name="connsiteY46" fmla="*/ 1453141 h 1631057"/>
                    <a:gd name="connsiteX47" fmla="*/ 464344 w 1149871"/>
                    <a:gd name="connsiteY47" fmla="*/ 1522198 h 1631057"/>
                    <a:gd name="connsiteX48" fmla="*/ 425450 w 1149871"/>
                    <a:gd name="connsiteY48" fmla="*/ 1602366 h 1631057"/>
                    <a:gd name="connsiteX49" fmla="*/ 381794 w 1149871"/>
                    <a:gd name="connsiteY49" fmla="*/ 1623797 h 1631057"/>
                    <a:gd name="connsiteX50" fmla="*/ 250825 w 1149871"/>
                    <a:gd name="connsiteY50" fmla="*/ 1625385 h 1631057"/>
                    <a:gd name="connsiteX51" fmla="*/ 206375 w 1149871"/>
                    <a:gd name="connsiteY51" fmla="*/ 1599191 h 1631057"/>
                    <a:gd name="connsiteX52" fmla="*/ 149225 w 1149871"/>
                    <a:gd name="connsiteY52" fmla="*/ 1484891 h 1631057"/>
                    <a:gd name="connsiteX53" fmla="*/ 142875 w 1149871"/>
                    <a:gd name="connsiteY53" fmla="*/ 1469016 h 1631057"/>
                    <a:gd name="connsiteX54" fmla="*/ 41275 w 1149871"/>
                    <a:gd name="connsiteY54" fmla="*/ 1430916 h 1631057"/>
                    <a:gd name="connsiteX55" fmla="*/ 0 w 1149871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558800 w 1149871"/>
                    <a:gd name="connsiteY11" fmla="*/ 189491 h 1631057"/>
                    <a:gd name="connsiteX12" fmla="*/ 635000 w 1149871"/>
                    <a:gd name="connsiteY12" fmla="*/ 221241 h 1631057"/>
                    <a:gd name="connsiteX13" fmla="*/ 717550 w 1149871"/>
                    <a:gd name="connsiteY13" fmla="*/ 218066 h 1631057"/>
                    <a:gd name="connsiteX14" fmla="*/ 835818 w 1149871"/>
                    <a:gd name="connsiteY14" fmla="*/ 179172 h 1631057"/>
                    <a:gd name="connsiteX15" fmla="*/ 879475 w 1149871"/>
                    <a:gd name="connsiteY15" fmla="*/ 205366 h 1631057"/>
                    <a:gd name="connsiteX16" fmla="*/ 974725 w 1149871"/>
                    <a:gd name="connsiteY16" fmla="*/ 303791 h 1631057"/>
                    <a:gd name="connsiteX17" fmla="*/ 968375 w 1149871"/>
                    <a:gd name="connsiteY17" fmla="*/ 338716 h 1631057"/>
                    <a:gd name="connsiteX18" fmla="*/ 936625 w 1149871"/>
                    <a:gd name="connsiteY18" fmla="*/ 402216 h 1631057"/>
                    <a:gd name="connsiteX19" fmla="*/ 917575 w 1149871"/>
                    <a:gd name="connsiteY19" fmla="*/ 459366 h 1631057"/>
                    <a:gd name="connsiteX20" fmla="*/ 917575 w 1149871"/>
                    <a:gd name="connsiteY20" fmla="*/ 506991 h 1631057"/>
                    <a:gd name="connsiteX21" fmla="*/ 923925 w 1149871"/>
                    <a:gd name="connsiteY21" fmla="*/ 519691 h 1631057"/>
                    <a:gd name="connsiteX22" fmla="*/ 955675 w 1149871"/>
                    <a:gd name="connsiteY22" fmla="*/ 573666 h 1631057"/>
                    <a:gd name="connsiteX23" fmla="*/ 974725 w 1149871"/>
                    <a:gd name="connsiteY23" fmla="*/ 627641 h 1631057"/>
                    <a:gd name="connsiteX24" fmla="*/ 981075 w 1149871"/>
                    <a:gd name="connsiteY24" fmla="*/ 646691 h 1631057"/>
                    <a:gd name="connsiteX25" fmla="*/ 1041400 w 1149871"/>
                    <a:gd name="connsiteY25" fmla="*/ 665741 h 1631057"/>
                    <a:gd name="connsiteX26" fmla="*/ 1117600 w 1149871"/>
                    <a:gd name="connsiteY26" fmla="*/ 707016 h 1631057"/>
                    <a:gd name="connsiteX27" fmla="*/ 1148557 w 1149871"/>
                    <a:gd name="connsiteY27" fmla="*/ 715747 h 1631057"/>
                    <a:gd name="connsiteX28" fmla="*/ 1146175 w 1149871"/>
                    <a:gd name="connsiteY28" fmla="*/ 903866 h 1631057"/>
                    <a:gd name="connsiteX29" fmla="*/ 1127125 w 1149871"/>
                    <a:gd name="connsiteY29" fmla="*/ 913391 h 1631057"/>
                    <a:gd name="connsiteX30" fmla="*/ 996950 w 1149871"/>
                    <a:gd name="connsiteY30" fmla="*/ 983241 h 1631057"/>
                    <a:gd name="connsiteX31" fmla="*/ 977900 w 1149871"/>
                    <a:gd name="connsiteY31" fmla="*/ 989591 h 1631057"/>
                    <a:gd name="connsiteX32" fmla="*/ 968375 w 1149871"/>
                    <a:gd name="connsiteY32" fmla="*/ 1014991 h 1631057"/>
                    <a:gd name="connsiteX33" fmla="*/ 955675 w 1149871"/>
                    <a:gd name="connsiteY33" fmla="*/ 1065791 h 1631057"/>
                    <a:gd name="connsiteX34" fmla="*/ 923925 w 1149871"/>
                    <a:gd name="connsiteY34" fmla="*/ 1135641 h 1631057"/>
                    <a:gd name="connsiteX35" fmla="*/ 917575 w 1149871"/>
                    <a:gd name="connsiteY35" fmla="*/ 1145166 h 1631057"/>
                    <a:gd name="connsiteX36" fmla="*/ 946150 w 1149871"/>
                    <a:gd name="connsiteY36" fmla="*/ 1234066 h 1631057"/>
                    <a:gd name="connsiteX37" fmla="*/ 974725 w 1149871"/>
                    <a:gd name="connsiteY37" fmla="*/ 1291216 h 1631057"/>
                    <a:gd name="connsiteX38" fmla="*/ 967581 w 1149871"/>
                    <a:gd name="connsiteY38" fmla="*/ 1334078 h 1631057"/>
                    <a:gd name="connsiteX39" fmla="*/ 895350 w 1149871"/>
                    <a:gd name="connsiteY39" fmla="*/ 1427741 h 1631057"/>
                    <a:gd name="connsiteX40" fmla="*/ 844550 w 1149871"/>
                    <a:gd name="connsiteY40" fmla="*/ 1462666 h 1631057"/>
                    <a:gd name="connsiteX41" fmla="*/ 835025 w 1149871"/>
                    <a:gd name="connsiteY41" fmla="*/ 1465841 h 1631057"/>
                    <a:gd name="connsiteX42" fmla="*/ 815975 w 1149871"/>
                    <a:gd name="connsiteY42" fmla="*/ 1459491 h 1631057"/>
                    <a:gd name="connsiteX43" fmla="*/ 717550 w 1149871"/>
                    <a:gd name="connsiteY43" fmla="*/ 1424566 h 1631057"/>
                    <a:gd name="connsiteX44" fmla="*/ 657225 w 1149871"/>
                    <a:gd name="connsiteY44" fmla="*/ 1408691 h 1631057"/>
                    <a:gd name="connsiteX45" fmla="*/ 635000 w 1149871"/>
                    <a:gd name="connsiteY45" fmla="*/ 1411866 h 1631057"/>
                    <a:gd name="connsiteX46" fmla="*/ 501650 w 1149871"/>
                    <a:gd name="connsiteY46" fmla="*/ 1453141 h 1631057"/>
                    <a:gd name="connsiteX47" fmla="*/ 464344 w 1149871"/>
                    <a:gd name="connsiteY47" fmla="*/ 1522198 h 1631057"/>
                    <a:gd name="connsiteX48" fmla="*/ 425450 w 1149871"/>
                    <a:gd name="connsiteY48" fmla="*/ 1602366 h 1631057"/>
                    <a:gd name="connsiteX49" fmla="*/ 381794 w 1149871"/>
                    <a:gd name="connsiteY49" fmla="*/ 1623797 h 1631057"/>
                    <a:gd name="connsiteX50" fmla="*/ 250825 w 1149871"/>
                    <a:gd name="connsiteY50" fmla="*/ 1625385 h 1631057"/>
                    <a:gd name="connsiteX51" fmla="*/ 206375 w 1149871"/>
                    <a:gd name="connsiteY51" fmla="*/ 1599191 h 1631057"/>
                    <a:gd name="connsiteX52" fmla="*/ 149225 w 1149871"/>
                    <a:gd name="connsiteY52" fmla="*/ 1484891 h 1631057"/>
                    <a:gd name="connsiteX53" fmla="*/ 142875 w 1149871"/>
                    <a:gd name="connsiteY53" fmla="*/ 1469016 h 1631057"/>
                    <a:gd name="connsiteX54" fmla="*/ 41275 w 1149871"/>
                    <a:gd name="connsiteY54" fmla="*/ 1430916 h 1631057"/>
                    <a:gd name="connsiteX55" fmla="*/ 0 w 1149871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35000 w 1149871"/>
                    <a:gd name="connsiteY11" fmla="*/ 221241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65956 w 1149871"/>
                    <a:gd name="connsiteY11" fmla="*/ 226004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65956 w 1149871"/>
                    <a:gd name="connsiteY11" fmla="*/ 226004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55575 w 1149871"/>
                    <a:gd name="connsiteY2" fmla="*/ 160916 h 1631057"/>
                    <a:gd name="connsiteX3" fmla="*/ 168275 w 1149871"/>
                    <a:gd name="connsiteY3" fmla="*/ 148216 h 1631057"/>
                    <a:gd name="connsiteX4" fmla="*/ 209550 w 1149871"/>
                    <a:gd name="connsiteY4" fmla="*/ 65666 h 1631057"/>
                    <a:gd name="connsiteX5" fmla="*/ 238125 w 1149871"/>
                    <a:gd name="connsiteY5" fmla="*/ 14866 h 1631057"/>
                    <a:gd name="connsiteX6" fmla="*/ 269875 w 1149871"/>
                    <a:gd name="connsiteY6" fmla="*/ 5341 h 1631057"/>
                    <a:gd name="connsiteX7" fmla="*/ 428625 w 1149871"/>
                    <a:gd name="connsiteY7" fmla="*/ 11691 h 1631057"/>
                    <a:gd name="connsiteX8" fmla="*/ 492125 w 1149871"/>
                    <a:gd name="connsiteY8" fmla="*/ 145041 h 1631057"/>
                    <a:gd name="connsiteX9" fmla="*/ 508000 w 1149871"/>
                    <a:gd name="connsiteY9" fmla="*/ 170441 h 1631057"/>
                    <a:gd name="connsiteX10" fmla="*/ 665956 w 1149871"/>
                    <a:gd name="connsiteY10" fmla="*/ 226004 h 1631057"/>
                    <a:gd name="connsiteX11" fmla="*/ 717550 w 1149871"/>
                    <a:gd name="connsiteY11" fmla="*/ 218066 h 1631057"/>
                    <a:gd name="connsiteX12" fmla="*/ 835818 w 1149871"/>
                    <a:gd name="connsiteY12" fmla="*/ 179172 h 1631057"/>
                    <a:gd name="connsiteX13" fmla="*/ 879475 w 1149871"/>
                    <a:gd name="connsiteY13" fmla="*/ 205366 h 1631057"/>
                    <a:gd name="connsiteX14" fmla="*/ 974725 w 1149871"/>
                    <a:gd name="connsiteY14" fmla="*/ 303791 h 1631057"/>
                    <a:gd name="connsiteX15" fmla="*/ 968375 w 1149871"/>
                    <a:gd name="connsiteY15" fmla="*/ 338716 h 1631057"/>
                    <a:gd name="connsiteX16" fmla="*/ 936625 w 1149871"/>
                    <a:gd name="connsiteY16" fmla="*/ 402216 h 1631057"/>
                    <a:gd name="connsiteX17" fmla="*/ 917575 w 1149871"/>
                    <a:gd name="connsiteY17" fmla="*/ 459366 h 1631057"/>
                    <a:gd name="connsiteX18" fmla="*/ 917575 w 1149871"/>
                    <a:gd name="connsiteY18" fmla="*/ 506991 h 1631057"/>
                    <a:gd name="connsiteX19" fmla="*/ 923925 w 1149871"/>
                    <a:gd name="connsiteY19" fmla="*/ 519691 h 1631057"/>
                    <a:gd name="connsiteX20" fmla="*/ 955675 w 1149871"/>
                    <a:gd name="connsiteY20" fmla="*/ 573666 h 1631057"/>
                    <a:gd name="connsiteX21" fmla="*/ 974725 w 1149871"/>
                    <a:gd name="connsiteY21" fmla="*/ 627641 h 1631057"/>
                    <a:gd name="connsiteX22" fmla="*/ 981075 w 1149871"/>
                    <a:gd name="connsiteY22" fmla="*/ 646691 h 1631057"/>
                    <a:gd name="connsiteX23" fmla="*/ 1041400 w 1149871"/>
                    <a:gd name="connsiteY23" fmla="*/ 665741 h 1631057"/>
                    <a:gd name="connsiteX24" fmla="*/ 1117600 w 1149871"/>
                    <a:gd name="connsiteY24" fmla="*/ 707016 h 1631057"/>
                    <a:gd name="connsiteX25" fmla="*/ 1148557 w 1149871"/>
                    <a:gd name="connsiteY25" fmla="*/ 715747 h 1631057"/>
                    <a:gd name="connsiteX26" fmla="*/ 1146175 w 1149871"/>
                    <a:gd name="connsiteY26" fmla="*/ 903866 h 1631057"/>
                    <a:gd name="connsiteX27" fmla="*/ 1127125 w 1149871"/>
                    <a:gd name="connsiteY27" fmla="*/ 913391 h 1631057"/>
                    <a:gd name="connsiteX28" fmla="*/ 996950 w 1149871"/>
                    <a:gd name="connsiteY28" fmla="*/ 983241 h 1631057"/>
                    <a:gd name="connsiteX29" fmla="*/ 977900 w 1149871"/>
                    <a:gd name="connsiteY29" fmla="*/ 989591 h 1631057"/>
                    <a:gd name="connsiteX30" fmla="*/ 968375 w 1149871"/>
                    <a:gd name="connsiteY30" fmla="*/ 1014991 h 1631057"/>
                    <a:gd name="connsiteX31" fmla="*/ 955675 w 1149871"/>
                    <a:gd name="connsiteY31" fmla="*/ 1065791 h 1631057"/>
                    <a:gd name="connsiteX32" fmla="*/ 923925 w 1149871"/>
                    <a:gd name="connsiteY32" fmla="*/ 1135641 h 1631057"/>
                    <a:gd name="connsiteX33" fmla="*/ 917575 w 1149871"/>
                    <a:gd name="connsiteY33" fmla="*/ 1145166 h 1631057"/>
                    <a:gd name="connsiteX34" fmla="*/ 946150 w 1149871"/>
                    <a:gd name="connsiteY34" fmla="*/ 1234066 h 1631057"/>
                    <a:gd name="connsiteX35" fmla="*/ 974725 w 1149871"/>
                    <a:gd name="connsiteY35" fmla="*/ 1291216 h 1631057"/>
                    <a:gd name="connsiteX36" fmla="*/ 967581 w 1149871"/>
                    <a:gd name="connsiteY36" fmla="*/ 1334078 h 1631057"/>
                    <a:gd name="connsiteX37" fmla="*/ 895350 w 1149871"/>
                    <a:gd name="connsiteY37" fmla="*/ 1427741 h 1631057"/>
                    <a:gd name="connsiteX38" fmla="*/ 844550 w 1149871"/>
                    <a:gd name="connsiteY38" fmla="*/ 1462666 h 1631057"/>
                    <a:gd name="connsiteX39" fmla="*/ 835025 w 1149871"/>
                    <a:gd name="connsiteY39" fmla="*/ 1465841 h 1631057"/>
                    <a:gd name="connsiteX40" fmla="*/ 815975 w 1149871"/>
                    <a:gd name="connsiteY40" fmla="*/ 1459491 h 1631057"/>
                    <a:gd name="connsiteX41" fmla="*/ 717550 w 1149871"/>
                    <a:gd name="connsiteY41" fmla="*/ 1424566 h 1631057"/>
                    <a:gd name="connsiteX42" fmla="*/ 657225 w 1149871"/>
                    <a:gd name="connsiteY42" fmla="*/ 1408691 h 1631057"/>
                    <a:gd name="connsiteX43" fmla="*/ 635000 w 1149871"/>
                    <a:gd name="connsiteY43" fmla="*/ 1411866 h 1631057"/>
                    <a:gd name="connsiteX44" fmla="*/ 501650 w 1149871"/>
                    <a:gd name="connsiteY44" fmla="*/ 1453141 h 1631057"/>
                    <a:gd name="connsiteX45" fmla="*/ 464344 w 1149871"/>
                    <a:gd name="connsiteY45" fmla="*/ 1522198 h 1631057"/>
                    <a:gd name="connsiteX46" fmla="*/ 425450 w 1149871"/>
                    <a:gd name="connsiteY46" fmla="*/ 1602366 h 1631057"/>
                    <a:gd name="connsiteX47" fmla="*/ 381794 w 1149871"/>
                    <a:gd name="connsiteY47" fmla="*/ 1623797 h 1631057"/>
                    <a:gd name="connsiteX48" fmla="*/ 250825 w 1149871"/>
                    <a:gd name="connsiteY48" fmla="*/ 1625385 h 1631057"/>
                    <a:gd name="connsiteX49" fmla="*/ 206375 w 1149871"/>
                    <a:gd name="connsiteY49" fmla="*/ 1599191 h 1631057"/>
                    <a:gd name="connsiteX50" fmla="*/ 149225 w 1149871"/>
                    <a:gd name="connsiteY50" fmla="*/ 1484891 h 1631057"/>
                    <a:gd name="connsiteX51" fmla="*/ 142875 w 1149871"/>
                    <a:gd name="connsiteY51" fmla="*/ 1469016 h 1631057"/>
                    <a:gd name="connsiteX52" fmla="*/ 41275 w 1149871"/>
                    <a:gd name="connsiteY52" fmla="*/ 1430916 h 1631057"/>
                    <a:gd name="connsiteX53" fmla="*/ 0 w 1149871"/>
                    <a:gd name="connsiteY53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1149871" h="1631057">
                      <a:moveTo>
                        <a:pt x="9525" y="227591"/>
                      </a:moveTo>
                      <a:cubicBezTo>
                        <a:pt x="58208" y="205366"/>
                        <a:pt x="80698" y="180759"/>
                        <a:pt x="155575" y="160916"/>
                      </a:cubicBezTo>
                      <a:cubicBezTo>
                        <a:pt x="184169" y="153338"/>
                        <a:pt x="159279" y="164091"/>
                        <a:pt x="168275" y="148216"/>
                      </a:cubicBezTo>
                      <a:cubicBezTo>
                        <a:pt x="177271" y="132341"/>
                        <a:pt x="197908" y="87891"/>
                        <a:pt x="209550" y="65666"/>
                      </a:cubicBezTo>
                      <a:cubicBezTo>
                        <a:pt x="221192" y="43441"/>
                        <a:pt x="228071" y="24920"/>
                        <a:pt x="238125" y="14866"/>
                      </a:cubicBezTo>
                      <a:cubicBezTo>
                        <a:pt x="248179" y="4812"/>
                        <a:pt x="255886" y="7339"/>
                        <a:pt x="269875" y="5341"/>
                      </a:cubicBezTo>
                      <a:cubicBezTo>
                        <a:pt x="322792" y="7458"/>
                        <a:pt x="391583" y="-11592"/>
                        <a:pt x="428625" y="11691"/>
                      </a:cubicBezTo>
                      <a:cubicBezTo>
                        <a:pt x="465667" y="34974"/>
                        <a:pt x="478896" y="118583"/>
                        <a:pt x="492125" y="145041"/>
                      </a:cubicBezTo>
                      <a:cubicBezTo>
                        <a:pt x="505354" y="171499"/>
                        <a:pt x="479028" y="156947"/>
                        <a:pt x="508000" y="170441"/>
                      </a:cubicBezTo>
                      <a:cubicBezTo>
                        <a:pt x="536972" y="183935"/>
                        <a:pt x="595312" y="184730"/>
                        <a:pt x="665956" y="226004"/>
                      </a:cubicBezTo>
                      <a:cubicBezTo>
                        <a:pt x="700881" y="233941"/>
                        <a:pt x="689240" y="225871"/>
                        <a:pt x="717550" y="218066"/>
                      </a:cubicBezTo>
                      <a:cubicBezTo>
                        <a:pt x="745860" y="210261"/>
                        <a:pt x="808831" y="181289"/>
                        <a:pt x="835818" y="179172"/>
                      </a:cubicBezTo>
                      <a:cubicBezTo>
                        <a:pt x="849576" y="185522"/>
                        <a:pt x="856324" y="184596"/>
                        <a:pt x="879475" y="205366"/>
                      </a:cubicBezTo>
                      <a:cubicBezTo>
                        <a:pt x="902626" y="226136"/>
                        <a:pt x="959908" y="281566"/>
                        <a:pt x="974725" y="303791"/>
                      </a:cubicBezTo>
                      <a:cubicBezTo>
                        <a:pt x="989542" y="326016"/>
                        <a:pt x="974725" y="322312"/>
                        <a:pt x="968375" y="338716"/>
                      </a:cubicBezTo>
                      <a:cubicBezTo>
                        <a:pt x="962025" y="355120"/>
                        <a:pt x="945092" y="382108"/>
                        <a:pt x="936625" y="402216"/>
                      </a:cubicBezTo>
                      <a:cubicBezTo>
                        <a:pt x="928158" y="422324"/>
                        <a:pt x="921279" y="448254"/>
                        <a:pt x="917575" y="459366"/>
                      </a:cubicBezTo>
                      <a:lnTo>
                        <a:pt x="917575" y="506991"/>
                      </a:lnTo>
                      <a:cubicBezTo>
                        <a:pt x="918447" y="511643"/>
                        <a:pt x="917575" y="508579"/>
                        <a:pt x="923925" y="519691"/>
                      </a:cubicBezTo>
                      <a:cubicBezTo>
                        <a:pt x="930275" y="530803"/>
                        <a:pt x="947208" y="555674"/>
                        <a:pt x="955675" y="573666"/>
                      </a:cubicBezTo>
                      <a:cubicBezTo>
                        <a:pt x="964142" y="591658"/>
                        <a:pt x="970492" y="615470"/>
                        <a:pt x="974725" y="627641"/>
                      </a:cubicBezTo>
                      <a:cubicBezTo>
                        <a:pt x="978958" y="639812"/>
                        <a:pt x="969963" y="640341"/>
                        <a:pt x="981075" y="646691"/>
                      </a:cubicBezTo>
                      <a:cubicBezTo>
                        <a:pt x="992187" y="653041"/>
                        <a:pt x="1018646" y="655687"/>
                        <a:pt x="1041400" y="665741"/>
                      </a:cubicBezTo>
                      <a:cubicBezTo>
                        <a:pt x="1064154" y="675795"/>
                        <a:pt x="1099740" y="698682"/>
                        <a:pt x="1117600" y="707016"/>
                      </a:cubicBezTo>
                      <a:cubicBezTo>
                        <a:pt x="1135460" y="715350"/>
                        <a:pt x="1142207" y="713630"/>
                        <a:pt x="1148557" y="715747"/>
                      </a:cubicBezTo>
                      <a:cubicBezTo>
                        <a:pt x="1150246" y="805271"/>
                        <a:pt x="1151072" y="825687"/>
                        <a:pt x="1146175" y="903866"/>
                      </a:cubicBezTo>
                      <a:cubicBezTo>
                        <a:pt x="1139825" y="907041"/>
                        <a:pt x="1151996" y="900162"/>
                        <a:pt x="1127125" y="913391"/>
                      </a:cubicBezTo>
                      <a:lnTo>
                        <a:pt x="996950" y="983241"/>
                      </a:lnTo>
                      <a:lnTo>
                        <a:pt x="977900" y="989591"/>
                      </a:lnTo>
                      <a:cubicBezTo>
                        <a:pt x="974725" y="998058"/>
                        <a:pt x="972079" y="1002291"/>
                        <a:pt x="968375" y="1014991"/>
                      </a:cubicBezTo>
                      <a:cubicBezTo>
                        <a:pt x="964671" y="1027691"/>
                        <a:pt x="963083" y="1045683"/>
                        <a:pt x="955675" y="1065791"/>
                      </a:cubicBezTo>
                      <a:cubicBezTo>
                        <a:pt x="948267" y="1085899"/>
                        <a:pt x="930275" y="1122412"/>
                        <a:pt x="923925" y="1135641"/>
                      </a:cubicBezTo>
                      <a:cubicBezTo>
                        <a:pt x="917575" y="1148870"/>
                        <a:pt x="919692" y="1141991"/>
                        <a:pt x="917575" y="1145166"/>
                      </a:cubicBezTo>
                      <a:cubicBezTo>
                        <a:pt x="921279" y="1161570"/>
                        <a:pt x="936625" y="1209724"/>
                        <a:pt x="946150" y="1234066"/>
                      </a:cubicBezTo>
                      <a:cubicBezTo>
                        <a:pt x="955675" y="1258408"/>
                        <a:pt x="969433" y="1279574"/>
                        <a:pt x="974725" y="1291216"/>
                      </a:cubicBezTo>
                      <a:cubicBezTo>
                        <a:pt x="979487" y="1310266"/>
                        <a:pt x="980810" y="1311324"/>
                        <a:pt x="967581" y="1334078"/>
                      </a:cubicBezTo>
                      <a:cubicBezTo>
                        <a:pt x="954352" y="1356832"/>
                        <a:pt x="915855" y="1406310"/>
                        <a:pt x="895350" y="1427741"/>
                      </a:cubicBezTo>
                      <a:cubicBezTo>
                        <a:pt x="874845" y="1449172"/>
                        <a:pt x="854604" y="1456316"/>
                        <a:pt x="844550" y="1462666"/>
                      </a:cubicBezTo>
                      <a:cubicBezTo>
                        <a:pt x="834496" y="1469016"/>
                        <a:pt x="838200" y="1464783"/>
                        <a:pt x="835025" y="1465841"/>
                      </a:cubicBezTo>
                      <a:lnTo>
                        <a:pt x="815975" y="1459491"/>
                      </a:lnTo>
                      <a:cubicBezTo>
                        <a:pt x="783167" y="1447849"/>
                        <a:pt x="744008" y="1433033"/>
                        <a:pt x="717550" y="1424566"/>
                      </a:cubicBezTo>
                      <a:cubicBezTo>
                        <a:pt x="691092" y="1416099"/>
                        <a:pt x="670983" y="1410808"/>
                        <a:pt x="657225" y="1408691"/>
                      </a:cubicBezTo>
                      <a:cubicBezTo>
                        <a:pt x="643467" y="1406574"/>
                        <a:pt x="660929" y="1404458"/>
                        <a:pt x="635000" y="1411866"/>
                      </a:cubicBezTo>
                      <a:cubicBezTo>
                        <a:pt x="609071" y="1419274"/>
                        <a:pt x="530093" y="1434752"/>
                        <a:pt x="501650" y="1453141"/>
                      </a:cubicBezTo>
                      <a:cubicBezTo>
                        <a:pt x="473207" y="1471530"/>
                        <a:pt x="477044" y="1497327"/>
                        <a:pt x="464344" y="1522198"/>
                      </a:cubicBezTo>
                      <a:cubicBezTo>
                        <a:pt x="451644" y="1547069"/>
                        <a:pt x="439208" y="1585433"/>
                        <a:pt x="425450" y="1602366"/>
                      </a:cubicBezTo>
                      <a:cubicBezTo>
                        <a:pt x="411692" y="1619299"/>
                        <a:pt x="415661" y="1619564"/>
                        <a:pt x="381794" y="1623797"/>
                      </a:cubicBezTo>
                      <a:cubicBezTo>
                        <a:pt x="344679" y="1636526"/>
                        <a:pt x="280062" y="1629486"/>
                        <a:pt x="250825" y="1625385"/>
                      </a:cubicBezTo>
                      <a:cubicBezTo>
                        <a:pt x="221589" y="1621284"/>
                        <a:pt x="218546" y="1623004"/>
                        <a:pt x="206375" y="1599191"/>
                      </a:cubicBezTo>
                      <a:cubicBezTo>
                        <a:pt x="194204" y="1575379"/>
                        <a:pt x="159808" y="1506587"/>
                        <a:pt x="149225" y="1484891"/>
                      </a:cubicBezTo>
                      <a:cubicBezTo>
                        <a:pt x="138642" y="1463195"/>
                        <a:pt x="160867" y="1478012"/>
                        <a:pt x="142875" y="1469016"/>
                      </a:cubicBezTo>
                      <a:cubicBezTo>
                        <a:pt x="124883" y="1460020"/>
                        <a:pt x="65088" y="1442029"/>
                        <a:pt x="41275" y="1430916"/>
                      </a:cubicBezTo>
                      <a:cubicBezTo>
                        <a:pt x="17463" y="1419804"/>
                        <a:pt x="8599" y="1408294"/>
                        <a:pt x="0" y="1402341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1A162A24-003F-E219-24D6-5FB2CD84DCAF}"/>
                    </a:ext>
                  </a:extLst>
                </p:cNvPr>
                <p:cNvSpPr/>
                <p:nvPr/>
              </p:nvSpPr>
              <p:spPr>
                <a:xfrm>
                  <a:off x="2890484" y="4477399"/>
                  <a:ext cx="473686" cy="1292689"/>
                </a:xfrm>
                <a:custGeom>
                  <a:avLst/>
                  <a:gdLst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06375 w 488950"/>
                    <a:gd name="connsiteY13" fmla="*/ 250825 h 1289050"/>
                    <a:gd name="connsiteX14" fmla="*/ 209550 w 488950"/>
                    <a:gd name="connsiteY14" fmla="*/ 269875 h 1289050"/>
                    <a:gd name="connsiteX15" fmla="*/ 222250 w 488950"/>
                    <a:gd name="connsiteY15" fmla="*/ 295275 h 1289050"/>
                    <a:gd name="connsiteX16" fmla="*/ 228600 w 488950"/>
                    <a:gd name="connsiteY16" fmla="*/ 317500 h 1289050"/>
                    <a:gd name="connsiteX17" fmla="*/ 225425 w 488950"/>
                    <a:gd name="connsiteY17" fmla="*/ 336550 h 1289050"/>
                    <a:gd name="connsiteX18" fmla="*/ 193675 w 488950"/>
                    <a:gd name="connsiteY18" fmla="*/ 377825 h 1289050"/>
                    <a:gd name="connsiteX19" fmla="*/ 184150 w 488950"/>
                    <a:gd name="connsiteY19" fmla="*/ 403225 h 1289050"/>
                    <a:gd name="connsiteX20" fmla="*/ 177800 w 488950"/>
                    <a:gd name="connsiteY20" fmla="*/ 415925 h 1289050"/>
                    <a:gd name="connsiteX21" fmla="*/ 174625 w 488950"/>
                    <a:gd name="connsiteY21" fmla="*/ 438150 h 1289050"/>
                    <a:gd name="connsiteX22" fmla="*/ 171450 w 488950"/>
                    <a:gd name="connsiteY22" fmla="*/ 463550 h 1289050"/>
                    <a:gd name="connsiteX23" fmla="*/ 161925 w 488950"/>
                    <a:gd name="connsiteY23" fmla="*/ 466725 h 1289050"/>
                    <a:gd name="connsiteX24" fmla="*/ 136525 w 488950"/>
                    <a:gd name="connsiteY24" fmla="*/ 479425 h 1289050"/>
                    <a:gd name="connsiteX25" fmla="*/ 123825 w 488950"/>
                    <a:gd name="connsiteY25" fmla="*/ 485775 h 1289050"/>
                    <a:gd name="connsiteX26" fmla="*/ 111125 w 488950"/>
                    <a:gd name="connsiteY26" fmla="*/ 492125 h 1289050"/>
                    <a:gd name="connsiteX27" fmla="*/ 98425 w 488950"/>
                    <a:gd name="connsiteY27" fmla="*/ 504825 h 1289050"/>
                    <a:gd name="connsiteX28" fmla="*/ 76200 w 488950"/>
                    <a:gd name="connsiteY28" fmla="*/ 514350 h 1289050"/>
                    <a:gd name="connsiteX29" fmla="*/ 41275 w 488950"/>
                    <a:gd name="connsiteY29" fmla="*/ 523875 h 1289050"/>
                    <a:gd name="connsiteX30" fmla="*/ 28575 w 488950"/>
                    <a:gd name="connsiteY30" fmla="*/ 533400 h 1289050"/>
                    <a:gd name="connsiteX31" fmla="*/ 19050 w 488950"/>
                    <a:gd name="connsiteY31" fmla="*/ 536575 h 1289050"/>
                    <a:gd name="connsiteX32" fmla="*/ 9525 w 488950"/>
                    <a:gd name="connsiteY32" fmla="*/ 542925 h 1289050"/>
                    <a:gd name="connsiteX33" fmla="*/ 3175 w 488950"/>
                    <a:gd name="connsiteY33" fmla="*/ 628650 h 1289050"/>
                    <a:gd name="connsiteX34" fmla="*/ 0 w 488950"/>
                    <a:gd name="connsiteY34" fmla="*/ 654050 h 1289050"/>
                    <a:gd name="connsiteX35" fmla="*/ 3175 w 488950"/>
                    <a:gd name="connsiteY35" fmla="*/ 736600 h 1289050"/>
                    <a:gd name="connsiteX36" fmla="*/ 6350 w 488950"/>
                    <a:gd name="connsiteY36" fmla="*/ 746125 h 1289050"/>
                    <a:gd name="connsiteX37" fmla="*/ 19050 w 488950"/>
                    <a:gd name="connsiteY37" fmla="*/ 755650 h 1289050"/>
                    <a:gd name="connsiteX38" fmla="*/ 34925 w 488950"/>
                    <a:gd name="connsiteY38" fmla="*/ 758825 h 1289050"/>
                    <a:gd name="connsiteX39" fmla="*/ 47625 w 488950"/>
                    <a:gd name="connsiteY39" fmla="*/ 762000 h 1289050"/>
                    <a:gd name="connsiteX40" fmla="*/ 104775 w 488950"/>
                    <a:gd name="connsiteY40" fmla="*/ 784225 h 1289050"/>
                    <a:gd name="connsiteX41" fmla="*/ 117475 w 488950"/>
                    <a:gd name="connsiteY41" fmla="*/ 793750 h 1289050"/>
                    <a:gd name="connsiteX42" fmla="*/ 136525 w 488950"/>
                    <a:gd name="connsiteY42" fmla="*/ 803275 h 1289050"/>
                    <a:gd name="connsiteX43" fmla="*/ 165100 w 488950"/>
                    <a:gd name="connsiteY43" fmla="*/ 838200 h 1289050"/>
                    <a:gd name="connsiteX44" fmla="*/ 174625 w 488950"/>
                    <a:gd name="connsiteY44" fmla="*/ 866775 h 1289050"/>
                    <a:gd name="connsiteX45" fmla="*/ 177800 w 488950"/>
                    <a:gd name="connsiteY45" fmla="*/ 879475 h 1289050"/>
                    <a:gd name="connsiteX46" fmla="*/ 190500 w 488950"/>
                    <a:gd name="connsiteY46" fmla="*/ 895350 h 1289050"/>
                    <a:gd name="connsiteX47" fmla="*/ 196850 w 488950"/>
                    <a:gd name="connsiteY47" fmla="*/ 911225 h 1289050"/>
                    <a:gd name="connsiteX48" fmla="*/ 212725 w 488950"/>
                    <a:gd name="connsiteY48" fmla="*/ 939800 h 1289050"/>
                    <a:gd name="connsiteX49" fmla="*/ 228600 w 488950"/>
                    <a:gd name="connsiteY49" fmla="*/ 971550 h 1289050"/>
                    <a:gd name="connsiteX50" fmla="*/ 231775 w 488950"/>
                    <a:gd name="connsiteY50" fmla="*/ 984250 h 1289050"/>
                    <a:gd name="connsiteX51" fmla="*/ 215900 w 488950"/>
                    <a:gd name="connsiteY51" fmla="*/ 1035050 h 1289050"/>
                    <a:gd name="connsiteX52" fmla="*/ 209550 w 488950"/>
                    <a:gd name="connsiteY52" fmla="*/ 1066800 h 1289050"/>
                    <a:gd name="connsiteX53" fmla="*/ 196850 w 488950"/>
                    <a:gd name="connsiteY53" fmla="*/ 1098550 h 1289050"/>
                    <a:gd name="connsiteX54" fmla="*/ 190500 w 488950"/>
                    <a:gd name="connsiteY54" fmla="*/ 1133475 h 1289050"/>
                    <a:gd name="connsiteX55" fmla="*/ 187325 w 488950"/>
                    <a:gd name="connsiteY55" fmla="*/ 1152525 h 1289050"/>
                    <a:gd name="connsiteX56" fmla="*/ 190500 w 488950"/>
                    <a:gd name="connsiteY56" fmla="*/ 1174750 h 1289050"/>
                    <a:gd name="connsiteX57" fmla="*/ 215900 w 488950"/>
                    <a:gd name="connsiteY57" fmla="*/ 1196975 h 1289050"/>
                    <a:gd name="connsiteX58" fmla="*/ 238125 w 488950"/>
                    <a:gd name="connsiteY58" fmla="*/ 1206500 h 1289050"/>
                    <a:gd name="connsiteX59" fmla="*/ 257175 w 488950"/>
                    <a:gd name="connsiteY59" fmla="*/ 1225550 h 1289050"/>
                    <a:gd name="connsiteX60" fmla="*/ 273050 w 488950"/>
                    <a:gd name="connsiteY60" fmla="*/ 1241425 h 1289050"/>
                    <a:gd name="connsiteX61" fmla="*/ 285750 w 488950"/>
                    <a:gd name="connsiteY61" fmla="*/ 1250950 h 1289050"/>
                    <a:gd name="connsiteX62" fmla="*/ 301625 w 488950"/>
                    <a:gd name="connsiteY62" fmla="*/ 1285875 h 1289050"/>
                    <a:gd name="connsiteX63" fmla="*/ 311150 w 488950"/>
                    <a:gd name="connsiteY63" fmla="*/ 1289050 h 1289050"/>
                    <a:gd name="connsiteX64" fmla="*/ 352425 w 488950"/>
                    <a:gd name="connsiteY64" fmla="*/ 1276350 h 1289050"/>
                    <a:gd name="connsiteX65" fmla="*/ 368300 w 488950"/>
                    <a:gd name="connsiteY65" fmla="*/ 1266825 h 1289050"/>
                    <a:gd name="connsiteX66" fmla="*/ 384175 w 488950"/>
                    <a:gd name="connsiteY66" fmla="*/ 1263650 h 1289050"/>
                    <a:gd name="connsiteX67" fmla="*/ 396875 w 488950"/>
                    <a:gd name="connsiteY67" fmla="*/ 1260475 h 1289050"/>
                    <a:gd name="connsiteX68" fmla="*/ 409575 w 488950"/>
                    <a:gd name="connsiteY68" fmla="*/ 1254125 h 1289050"/>
                    <a:gd name="connsiteX69" fmla="*/ 438150 w 488950"/>
                    <a:gd name="connsiteY69" fmla="*/ 1247775 h 1289050"/>
                    <a:gd name="connsiteX70" fmla="*/ 463550 w 488950"/>
                    <a:gd name="connsiteY70" fmla="*/ 1241425 h 1289050"/>
                    <a:gd name="connsiteX71" fmla="*/ 476250 w 488950"/>
                    <a:gd name="connsiteY71" fmla="*/ 1238250 h 1289050"/>
                    <a:gd name="connsiteX72" fmla="*/ 488950 w 488950"/>
                    <a:gd name="connsiteY72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06375 w 488950"/>
                    <a:gd name="connsiteY13" fmla="*/ 250825 h 1289050"/>
                    <a:gd name="connsiteX14" fmla="*/ 222250 w 488950"/>
                    <a:gd name="connsiteY14" fmla="*/ 295275 h 1289050"/>
                    <a:gd name="connsiteX15" fmla="*/ 228600 w 488950"/>
                    <a:gd name="connsiteY15" fmla="*/ 317500 h 1289050"/>
                    <a:gd name="connsiteX16" fmla="*/ 225425 w 488950"/>
                    <a:gd name="connsiteY16" fmla="*/ 336550 h 1289050"/>
                    <a:gd name="connsiteX17" fmla="*/ 193675 w 488950"/>
                    <a:gd name="connsiteY17" fmla="*/ 377825 h 1289050"/>
                    <a:gd name="connsiteX18" fmla="*/ 184150 w 488950"/>
                    <a:gd name="connsiteY18" fmla="*/ 403225 h 1289050"/>
                    <a:gd name="connsiteX19" fmla="*/ 177800 w 488950"/>
                    <a:gd name="connsiteY19" fmla="*/ 415925 h 1289050"/>
                    <a:gd name="connsiteX20" fmla="*/ 174625 w 488950"/>
                    <a:gd name="connsiteY20" fmla="*/ 438150 h 1289050"/>
                    <a:gd name="connsiteX21" fmla="*/ 171450 w 488950"/>
                    <a:gd name="connsiteY21" fmla="*/ 463550 h 1289050"/>
                    <a:gd name="connsiteX22" fmla="*/ 161925 w 488950"/>
                    <a:gd name="connsiteY22" fmla="*/ 466725 h 1289050"/>
                    <a:gd name="connsiteX23" fmla="*/ 136525 w 488950"/>
                    <a:gd name="connsiteY23" fmla="*/ 479425 h 1289050"/>
                    <a:gd name="connsiteX24" fmla="*/ 123825 w 488950"/>
                    <a:gd name="connsiteY24" fmla="*/ 485775 h 1289050"/>
                    <a:gd name="connsiteX25" fmla="*/ 111125 w 488950"/>
                    <a:gd name="connsiteY25" fmla="*/ 492125 h 1289050"/>
                    <a:gd name="connsiteX26" fmla="*/ 98425 w 488950"/>
                    <a:gd name="connsiteY26" fmla="*/ 504825 h 1289050"/>
                    <a:gd name="connsiteX27" fmla="*/ 76200 w 488950"/>
                    <a:gd name="connsiteY27" fmla="*/ 514350 h 1289050"/>
                    <a:gd name="connsiteX28" fmla="*/ 41275 w 488950"/>
                    <a:gd name="connsiteY28" fmla="*/ 523875 h 1289050"/>
                    <a:gd name="connsiteX29" fmla="*/ 28575 w 488950"/>
                    <a:gd name="connsiteY29" fmla="*/ 533400 h 1289050"/>
                    <a:gd name="connsiteX30" fmla="*/ 19050 w 488950"/>
                    <a:gd name="connsiteY30" fmla="*/ 536575 h 1289050"/>
                    <a:gd name="connsiteX31" fmla="*/ 9525 w 488950"/>
                    <a:gd name="connsiteY31" fmla="*/ 542925 h 1289050"/>
                    <a:gd name="connsiteX32" fmla="*/ 3175 w 488950"/>
                    <a:gd name="connsiteY32" fmla="*/ 628650 h 1289050"/>
                    <a:gd name="connsiteX33" fmla="*/ 0 w 488950"/>
                    <a:gd name="connsiteY33" fmla="*/ 654050 h 1289050"/>
                    <a:gd name="connsiteX34" fmla="*/ 3175 w 488950"/>
                    <a:gd name="connsiteY34" fmla="*/ 736600 h 1289050"/>
                    <a:gd name="connsiteX35" fmla="*/ 6350 w 488950"/>
                    <a:gd name="connsiteY35" fmla="*/ 746125 h 1289050"/>
                    <a:gd name="connsiteX36" fmla="*/ 19050 w 488950"/>
                    <a:gd name="connsiteY36" fmla="*/ 755650 h 1289050"/>
                    <a:gd name="connsiteX37" fmla="*/ 34925 w 488950"/>
                    <a:gd name="connsiteY37" fmla="*/ 758825 h 1289050"/>
                    <a:gd name="connsiteX38" fmla="*/ 47625 w 488950"/>
                    <a:gd name="connsiteY38" fmla="*/ 762000 h 1289050"/>
                    <a:gd name="connsiteX39" fmla="*/ 104775 w 488950"/>
                    <a:gd name="connsiteY39" fmla="*/ 784225 h 1289050"/>
                    <a:gd name="connsiteX40" fmla="*/ 117475 w 488950"/>
                    <a:gd name="connsiteY40" fmla="*/ 793750 h 1289050"/>
                    <a:gd name="connsiteX41" fmla="*/ 136525 w 488950"/>
                    <a:gd name="connsiteY41" fmla="*/ 803275 h 1289050"/>
                    <a:gd name="connsiteX42" fmla="*/ 165100 w 488950"/>
                    <a:gd name="connsiteY42" fmla="*/ 838200 h 1289050"/>
                    <a:gd name="connsiteX43" fmla="*/ 174625 w 488950"/>
                    <a:gd name="connsiteY43" fmla="*/ 866775 h 1289050"/>
                    <a:gd name="connsiteX44" fmla="*/ 177800 w 488950"/>
                    <a:gd name="connsiteY44" fmla="*/ 879475 h 1289050"/>
                    <a:gd name="connsiteX45" fmla="*/ 190500 w 488950"/>
                    <a:gd name="connsiteY45" fmla="*/ 895350 h 1289050"/>
                    <a:gd name="connsiteX46" fmla="*/ 196850 w 488950"/>
                    <a:gd name="connsiteY46" fmla="*/ 911225 h 1289050"/>
                    <a:gd name="connsiteX47" fmla="*/ 212725 w 488950"/>
                    <a:gd name="connsiteY47" fmla="*/ 939800 h 1289050"/>
                    <a:gd name="connsiteX48" fmla="*/ 228600 w 488950"/>
                    <a:gd name="connsiteY48" fmla="*/ 971550 h 1289050"/>
                    <a:gd name="connsiteX49" fmla="*/ 231775 w 488950"/>
                    <a:gd name="connsiteY49" fmla="*/ 984250 h 1289050"/>
                    <a:gd name="connsiteX50" fmla="*/ 215900 w 488950"/>
                    <a:gd name="connsiteY50" fmla="*/ 1035050 h 1289050"/>
                    <a:gd name="connsiteX51" fmla="*/ 209550 w 488950"/>
                    <a:gd name="connsiteY51" fmla="*/ 1066800 h 1289050"/>
                    <a:gd name="connsiteX52" fmla="*/ 196850 w 488950"/>
                    <a:gd name="connsiteY52" fmla="*/ 1098550 h 1289050"/>
                    <a:gd name="connsiteX53" fmla="*/ 190500 w 488950"/>
                    <a:gd name="connsiteY53" fmla="*/ 1133475 h 1289050"/>
                    <a:gd name="connsiteX54" fmla="*/ 187325 w 488950"/>
                    <a:gd name="connsiteY54" fmla="*/ 1152525 h 1289050"/>
                    <a:gd name="connsiteX55" fmla="*/ 190500 w 488950"/>
                    <a:gd name="connsiteY55" fmla="*/ 1174750 h 1289050"/>
                    <a:gd name="connsiteX56" fmla="*/ 215900 w 488950"/>
                    <a:gd name="connsiteY56" fmla="*/ 1196975 h 1289050"/>
                    <a:gd name="connsiteX57" fmla="*/ 238125 w 488950"/>
                    <a:gd name="connsiteY57" fmla="*/ 1206500 h 1289050"/>
                    <a:gd name="connsiteX58" fmla="*/ 257175 w 488950"/>
                    <a:gd name="connsiteY58" fmla="*/ 1225550 h 1289050"/>
                    <a:gd name="connsiteX59" fmla="*/ 273050 w 488950"/>
                    <a:gd name="connsiteY59" fmla="*/ 1241425 h 1289050"/>
                    <a:gd name="connsiteX60" fmla="*/ 285750 w 488950"/>
                    <a:gd name="connsiteY60" fmla="*/ 1250950 h 1289050"/>
                    <a:gd name="connsiteX61" fmla="*/ 301625 w 488950"/>
                    <a:gd name="connsiteY61" fmla="*/ 1285875 h 1289050"/>
                    <a:gd name="connsiteX62" fmla="*/ 311150 w 488950"/>
                    <a:gd name="connsiteY62" fmla="*/ 1289050 h 1289050"/>
                    <a:gd name="connsiteX63" fmla="*/ 352425 w 488950"/>
                    <a:gd name="connsiteY63" fmla="*/ 1276350 h 1289050"/>
                    <a:gd name="connsiteX64" fmla="*/ 368300 w 488950"/>
                    <a:gd name="connsiteY64" fmla="*/ 1266825 h 1289050"/>
                    <a:gd name="connsiteX65" fmla="*/ 384175 w 488950"/>
                    <a:gd name="connsiteY65" fmla="*/ 1263650 h 1289050"/>
                    <a:gd name="connsiteX66" fmla="*/ 396875 w 488950"/>
                    <a:gd name="connsiteY66" fmla="*/ 1260475 h 1289050"/>
                    <a:gd name="connsiteX67" fmla="*/ 409575 w 488950"/>
                    <a:gd name="connsiteY67" fmla="*/ 1254125 h 1289050"/>
                    <a:gd name="connsiteX68" fmla="*/ 438150 w 488950"/>
                    <a:gd name="connsiteY68" fmla="*/ 1247775 h 1289050"/>
                    <a:gd name="connsiteX69" fmla="*/ 463550 w 488950"/>
                    <a:gd name="connsiteY69" fmla="*/ 1241425 h 1289050"/>
                    <a:gd name="connsiteX70" fmla="*/ 476250 w 488950"/>
                    <a:gd name="connsiteY70" fmla="*/ 1238250 h 1289050"/>
                    <a:gd name="connsiteX71" fmla="*/ 488950 w 488950"/>
                    <a:gd name="connsiteY71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22250 w 488950"/>
                    <a:gd name="connsiteY13" fmla="*/ 295275 h 1289050"/>
                    <a:gd name="connsiteX14" fmla="*/ 228600 w 488950"/>
                    <a:gd name="connsiteY14" fmla="*/ 317500 h 1289050"/>
                    <a:gd name="connsiteX15" fmla="*/ 225425 w 488950"/>
                    <a:gd name="connsiteY15" fmla="*/ 336550 h 1289050"/>
                    <a:gd name="connsiteX16" fmla="*/ 193675 w 488950"/>
                    <a:gd name="connsiteY16" fmla="*/ 377825 h 1289050"/>
                    <a:gd name="connsiteX17" fmla="*/ 184150 w 488950"/>
                    <a:gd name="connsiteY17" fmla="*/ 403225 h 1289050"/>
                    <a:gd name="connsiteX18" fmla="*/ 177800 w 488950"/>
                    <a:gd name="connsiteY18" fmla="*/ 415925 h 1289050"/>
                    <a:gd name="connsiteX19" fmla="*/ 174625 w 488950"/>
                    <a:gd name="connsiteY19" fmla="*/ 438150 h 1289050"/>
                    <a:gd name="connsiteX20" fmla="*/ 171450 w 488950"/>
                    <a:gd name="connsiteY20" fmla="*/ 463550 h 1289050"/>
                    <a:gd name="connsiteX21" fmla="*/ 161925 w 488950"/>
                    <a:gd name="connsiteY21" fmla="*/ 466725 h 1289050"/>
                    <a:gd name="connsiteX22" fmla="*/ 136525 w 488950"/>
                    <a:gd name="connsiteY22" fmla="*/ 479425 h 1289050"/>
                    <a:gd name="connsiteX23" fmla="*/ 123825 w 488950"/>
                    <a:gd name="connsiteY23" fmla="*/ 485775 h 1289050"/>
                    <a:gd name="connsiteX24" fmla="*/ 111125 w 488950"/>
                    <a:gd name="connsiteY24" fmla="*/ 492125 h 1289050"/>
                    <a:gd name="connsiteX25" fmla="*/ 98425 w 488950"/>
                    <a:gd name="connsiteY25" fmla="*/ 504825 h 1289050"/>
                    <a:gd name="connsiteX26" fmla="*/ 76200 w 488950"/>
                    <a:gd name="connsiteY26" fmla="*/ 514350 h 1289050"/>
                    <a:gd name="connsiteX27" fmla="*/ 41275 w 488950"/>
                    <a:gd name="connsiteY27" fmla="*/ 523875 h 1289050"/>
                    <a:gd name="connsiteX28" fmla="*/ 28575 w 488950"/>
                    <a:gd name="connsiteY28" fmla="*/ 533400 h 1289050"/>
                    <a:gd name="connsiteX29" fmla="*/ 19050 w 488950"/>
                    <a:gd name="connsiteY29" fmla="*/ 536575 h 1289050"/>
                    <a:gd name="connsiteX30" fmla="*/ 9525 w 488950"/>
                    <a:gd name="connsiteY30" fmla="*/ 542925 h 1289050"/>
                    <a:gd name="connsiteX31" fmla="*/ 3175 w 488950"/>
                    <a:gd name="connsiteY31" fmla="*/ 628650 h 1289050"/>
                    <a:gd name="connsiteX32" fmla="*/ 0 w 488950"/>
                    <a:gd name="connsiteY32" fmla="*/ 654050 h 1289050"/>
                    <a:gd name="connsiteX33" fmla="*/ 3175 w 488950"/>
                    <a:gd name="connsiteY33" fmla="*/ 736600 h 1289050"/>
                    <a:gd name="connsiteX34" fmla="*/ 6350 w 488950"/>
                    <a:gd name="connsiteY34" fmla="*/ 746125 h 1289050"/>
                    <a:gd name="connsiteX35" fmla="*/ 19050 w 488950"/>
                    <a:gd name="connsiteY35" fmla="*/ 755650 h 1289050"/>
                    <a:gd name="connsiteX36" fmla="*/ 34925 w 488950"/>
                    <a:gd name="connsiteY36" fmla="*/ 758825 h 1289050"/>
                    <a:gd name="connsiteX37" fmla="*/ 47625 w 488950"/>
                    <a:gd name="connsiteY37" fmla="*/ 762000 h 1289050"/>
                    <a:gd name="connsiteX38" fmla="*/ 104775 w 488950"/>
                    <a:gd name="connsiteY38" fmla="*/ 784225 h 1289050"/>
                    <a:gd name="connsiteX39" fmla="*/ 117475 w 488950"/>
                    <a:gd name="connsiteY39" fmla="*/ 793750 h 1289050"/>
                    <a:gd name="connsiteX40" fmla="*/ 136525 w 488950"/>
                    <a:gd name="connsiteY40" fmla="*/ 803275 h 1289050"/>
                    <a:gd name="connsiteX41" fmla="*/ 165100 w 488950"/>
                    <a:gd name="connsiteY41" fmla="*/ 838200 h 1289050"/>
                    <a:gd name="connsiteX42" fmla="*/ 174625 w 488950"/>
                    <a:gd name="connsiteY42" fmla="*/ 866775 h 1289050"/>
                    <a:gd name="connsiteX43" fmla="*/ 177800 w 488950"/>
                    <a:gd name="connsiteY43" fmla="*/ 879475 h 1289050"/>
                    <a:gd name="connsiteX44" fmla="*/ 190500 w 488950"/>
                    <a:gd name="connsiteY44" fmla="*/ 895350 h 1289050"/>
                    <a:gd name="connsiteX45" fmla="*/ 196850 w 488950"/>
                    <a:gd name="connsiteY45" fmla="*/ 911225 h 1289050"/>
                    <a:gd name="connsiteX46" fmla="*/ 212725 w 488950"/>
                    <a:gd name="connsiteY46" fmla="*/ 939800 h 1289050"/>
                    <a:gd name="connsiteX47" fmla="*/ 228600 w 488950"/>
                    <a:gd name="connsiteY47" fmla="*/ 971550 h 1289050"/>
                    <a:gd name="connsiteX48" fmla="*/ 231775 w 488950"/>
                    <a:gd name="connsiteY48" fmla="*/ 984250 h 1289050"/>
                    <a:gd name="connsiteX49" fmla="*/ 215900 w 488950"/>
                    <a:gd name="connsiteY49" fmla="*/ 1035050 h 1289050"/>
                    <a:gd name="connsiteX50" fmla="*/ 209550 w 488950"/>
                    <a:gd name="connsiteY50" fmla="*/ 1066800 h 1289050"/>
                    <a:gd name="connsiteX51" fmla="*/ 196850 w 488950"/>
                    <a:gd name="connsiteY51" fmla="*/ 1098550 h 1289050"/>
                    <a:gd name="connsiteX52" fmla="*/ 190500 w 488950"/>
                    <a:gd name="connsiteY52" fmla="*/ 1133475 h 1289050"/>
                    <a:gd name="connsiteX53" fmla="*/ 187325 w 488950"/>
                    <a:gd name="connsiteY53" fmla="*/ 1152525 h 1289050"/>
                    <a:gd name="connsiteX54" fmla="*/ 190500 w 488950"/>
                    <a:gd name="connsiteY54" fmla="*/ 1174750 h 1289050"/>
                    <a:gd name="connsiteX55" fmla="*/ 215900 w 488950"/>
                    <a:gd name="connsiteY55" fmla="*/ 1196975 h 1289050"/>
                    <a:gd name="connsiteX56" fmla="*/ 238125 w 488950"/>
                    <a:gd name="connsiteY56" fmla="*/ 1206500 h 1289050"/>
                    <a:gd name="connsiteX57" fmla="*/ 257175 w 488950"/>
                    <a:gd name="connsiteY57" fmla="*/ 1225550 h 1289050"/>
                    <a:gd name="connsiteX58" fmla="*/ 273050 w 488950"/>
                    <a:gd name="connsiteY58" fmla="*/ 1241425 h 1289050"/>
                    <a:gd name="connsiteX59" fmla="*/ 285750 w 488950"/>
                    <a:gd name="connsiteY59" fmla="*/ 1250950 h 1289050"/>
                    <a:gd name="connsiteX60" fmla="*/ 301625 w 488950"/>
                    <a:gd name="connsiteY60" fmla="*/ 1285875 h 1289050"/>
                    <a:gd name="connsiteX61" fmla="*/ 311150 w 488950"/>
                    <a:gd name="connsiteY61" fmla="*/ 1289050 h 1289050"/>
                    <a:gd name="connsiteX62" fmla="*/ 352425 w 488950"/>
                    <a:gd name="connsiteY62" fmla="*/ 1276350 h 1289050"/>
                    <a:gd name="connsiteX63" fmla="*/ 368300 w 488950"/>
                    <a:gd name="connsiteY63" fmla="*/ 1266825 h 1289050"/>
                    <a:gd name="connsiteX64" fmla="*/ 384175 w 488950"/>
                    <a:gd name="connsiteY64" fmla="*/ 1263650 h 1289050"/>
                    <a:gd name="connsiteX65" fmla="*/ 396875 w 488950"/>
                    <a:gd name="connsiteY65" fmla="*/ 1260475 h 1289050"/>
                    <a:gd name="connsiteX66" fmla="*/ 409575 w 488950"/>
                    <a:gd name="connsiteY66" fmla="*/ 1254125 h 1289050"/>
                    <a:gd name="connsiteX67" fmla="*/ 438150 w 488950"/>
                    <a:gd name="connsiteY67" fmla="*/ 1247775 h 1289050"/>
                    <a:gd name="connsiteX68" fmla="*/ 463550 w 488950"/>
                    <a:gd name="connsiteY68" fmla="*/ 1241425 h 1289050"/>
                    <a:gd name="connsiteX69" fmla="*/ 476250 w 488950"/>
                    <a:gd name="connsiteY69" fmla="*/ 1238250 h 1289050"/>
                    <a:gd name="connsiteX70" fmla="*/ 488950 w 488950"/>
                    <a:gd name="connsiteY70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22250 w 488950"/>
                    <a:gd name="connsiteY12" fmla="*/ 295275 h 1289050"/>
                    <a:gd name="connsiteX13" fmla="*/ 228600 w 488950"/>
                    <a:gd name="connsiteY13" fmla="*/ 317500 h 1289050"/>
                    <a:gd name="connsiteX14" fmla="*/ 225425 w 488950"/>
                    <a:gd name="connsiteY14" fmla="*/ 336550 h 1289050"/>
                    <a:gd name="connsiteX15" fmla="*/ 193675 w 488950"/>
                    <a:gd name="connsiteY15" fmla="*/ 377825 h 1289050"/>
                    <a:gd name="connsiteX16" fmla="*/ 184150 w 488950"/>
                    <a:gd name="connsiteY16" fmla="*/ 403225 h 1289050"/>
                    <a:gd name="connsiteX17" fmla="*/ 177800 w 488950"/>
                    <a:gd name="connsiteY17" fmla="*/ 415925 h 1289050"/>
                    <a:gd name="connsiteX18" fmla="*/ 174625 w 488950"/>
                    <a:gd name="connsiteY18" fmla="*/ 438150 h 1289050"/>
                    <a:gd name="connsiteX19" fmla="*/ 171450 w 488950"/>
                    <a:gd name="connsiteY19" fmla="*/ 463550 h 1289050"/>
                    <a:gd name="connsiteX20" fmla="*/ 161925 w 488950"/>
                    <a:gd name="connsiteY20" fmla="*/ 466725 h 1289050"/>
                    <a:gd name="connsiteX21" fmla="*/ 136525 w 488950"/>
                    <a:gd name="connsiteY21" fmla="*/ 479425 h 1289050"/>
                    <a:gd name="connsiteX22" fmla="*/ 123825 w 488950"/>
                    <a:gd name="connsiteY22" fmla="*/ 485775 h 1289050"/>
                    <a:gd name="connsiteX23" fmla="*/ 111125 w 488950"/>
                    <a:gd name="connsiteY23" fmla="*/ 492125 h 1289050"/>
                    <a:gd name="connsiteX24" fmla="*/ 98425 w 488950"/>
                    <a:gd name="connsiteY24" fmla="*/ 504825 h 1289050"/>
                    <a:gd name="connsiteX25" fmla="*/ 76200 w 488950"/>
                    <a:gd name="connsiteY25" fmla="*/ 514350 h 1289050"/>
                    <a:gd name="connsiteX26" fmla="*/ 41275 w 488950"/>
                    <a:gd name="connsiteY26" fmla="*/ 523875 h 1289050"/>
                    <a:gd name="connsiteX27" fmla="*/ 28575 w 488950"/>
                    <a:gd name="connsiteY27" fmla="*/ 533400 h 1289050"/>
                    <a:gd name="connsiteX28" fmla="*/ 19050 w 488950"/>
                    <a:gd name="connsiteY28" fmla="*/ 536575 h 1289050"/>
                    <a:gd name="connsiteX29" fmla="*/ 9525 w 488950"/>
                    <a:gd name="connsiteY29" fmla="*/ 542925 h 1289050"/>
                    <a:gd name="connsiteX30" fmla="*/ 3175 w 488950"/>
                    <a:gd name="connsiteY30" fmla="*/ 628650 h 1289050"/>
                    <a:gd name="connsiteX31" fmla="*/ 0 w 488950"/>
                    <a:gd name="connsiteY31" fmla="*/ 654050 h 1289050"/>
                    <a:gd name="connsiteX32" fmla="*/ 3175 w 488950"/>
                    <a:gd name="connsiteY32" fmla="*/ 736600 h 1289050"/>
                    <a:gd name="connsiteX33" fmla="*/ 6350 w 488950"/>
                    <a:gd name="connsiteY33" fmla="*/ 746125 h 1289050"/>
                    <a:gd name="connsiteX34" fmla="*/ 19050 w 488950"/>
                    <a:gd name="connsiteY34" fmla="*/ 755650 h 1289050"/>
                    <a:gd name="connsiteX35" fmla="*/ 34925 w 488950"/>
                    <a:gd name="connsiteY35" fmla="*/ 758825 h 1289050"/>
                    <a:gd name="connsiteX36" fmla="*/ 47625 w 488950"/>
                    <a:gd name="connsiteY36" fmla="*/ 762000 h 1289050"/>
                    <a:gd name="connsiteX37" fmla="*/ 104775 w 488950"/>
                    <a:gd name="connsiteY37" fmla="*/ 784225 h 1289050"/>
                    <a:gd name="connsiteX38" fmla="*/ 117475 w 488950"/>
                    <a:gd name="connsiteY38" fmla="*/ 793750 h 1289050"/>
                    <a:gd name="connsiteX39" fmla="*/ 136525 w 488950"/>
                    <a:gd name="connsiteY39" fmla="*/ 803275 h 1289050"/>
                    <a:gd name="connsiteX40" fmla="*/ 165100 w 488950"/>
                    <a:gd name="connsiteY40" fmla="*/ 838200 h 1289050"/>
                    <a:gd name="connsiteX41" fmla="*/ 174625 w 488950"/>
                    <a:gd name="connsiteY41" fmla="*/ 866775 h 1289050"/>
                    <a:gd name="connsiteX42" fmla="*/ 177800 w 488950"/>
                    <a:gd name="connsiteY42" fmla="*/ 879475 h 1289050"/>
                    <a:gd name="connsiteX43" fmla="*/ 190500 w 488950"/>
                    <a:gd name="connsiteY43" fmla="*/ 895350 h 1289050"/>
                    <a:gd name="connsiteX44" fmla="*/ 196850 w 488950"/>
                    <a:gd name="connsiteY44" fmla="*/ 911225 h 1289050"/>
                    <a:gd name="connsiteX45" fmla="*/ 212725 w 488950"/>
                    <a:gd name="connsiteY45" fmla="*/ 939800 h 1289050"/>
                    <a:gd name="connsiteX46" fmla="*/ 228600 w 488950"/>
                    <a:gd name="connsiteY46" fmla="*/ 971550 h 1289050"/>
                    <a:gd name="connsiteX47" fmla="*/ 231775 w 488950"/>
                    <a:gd name="connsiteY47" fmla="*/ 984250 h 1289050"/>
                    <a:gd name="connsiteX48" fmla="*/ 215900 w 488950"/>
                    <a:gd name="connsiteY48" fmla="*/ 1035050 h 1289050"/>
                    <a:gd name="connsiteX49" fmla="*/ 209550 w 488950"/>
                    <a:gd name="connsiteY49" fmla="*/ 1066800 h 1289050"/>
                    <a:gd name="connsiteX50" fmla="*/ 196850 w 488950"/>
                    <a:gd name="connsiteY50" fmla="*/ 1098550 h 1289050"/>
                    <a:gd name="connsiteX51" fmla="*/ 190500 w 488950"/>
                    <a:gd name="connsiteY51" fmla="*/ 1133475 h 1289050"/>
                    <a:gd name="connsiteX52" fmla="*/ 187325 w 488950"/>
                    <a:gd name="connsiteY52" fmla="*/ 1152525 h 1289050"/>
                    <a:gd name="connsiteX53" fmla="*/ 190500 w 488950"/>
                    <a:gd name="connsiteY53" fmla="*/ 1174750 h 1289050"/>
                    <a:gd name="connsiteX54" fmla="*/ 215900 w 488950"/>
                    <a:gd name="connsiteY54" fmla="*/ 1196975 h 1289050"/>
                    <a:gd name="connsiteX55" fmla="*/ 238125 w 488950"/>
                    <a:gd name="connsiteY55" fmla="*/ 1206500 h 1289050"/>
                    <a:gd name="connsiteX56" fmla="*/ 257175 w 488950"/>
                    <a:gd name="connsiteY56" fmla="*/ 1225550 h 1289050"/>
                    <a:gd name="connsiteX57" fmla="*/ 273050 w 488950"/>
                    <a:gd name="connsiteY57" fmla="*/ 1241425 h 1289050"/>
                    <a:gd name="connsiteX58" fmla="*/ 285750 w 488950"/>
                    <a:gd name="connsiteY58" fmla="*/ 1250950 h 1289050"/>
                    <a:gd name="connsiteX59" fmla="*/ 301625 w 488950"/>
                    <a:gd name="connsiteY59" fmla="*/ 1285875 h 1289050"/>
                    <a:gd name="connsiteX60" fmla="*/ 311150 w 488950"/>
                    <a:gd name="connsiteY60" fmla="*/ 1289050 h 1289050"/>
                    <a:gd name="connsiteX61" fmla="*/ 352425 w 488950"/>
                    <a:gd name="connsiteY61" fmla="*/ 1276350 h 1289050"/>
                    <a:gd name="connsiteX62" fmla="*/ 368300 w 488950"/>
                    <a:gd name="connsiteY62" fmla="*/ 1266825 h 1289050"/>
                    <a:gd name="connsiteX63" fmla="*/ 384175 w 488950"/>
                    <a:gd name="connsiteY63" fmla="*/ 1263650 h 1289050"/>
                    <a:gd name="connsiteX64" fmla="*/ 396875 w 488950"/>
                    <a:gd name="connsiteY64" fmla="*/ 1260475 h 1289050"/>
                    <a:gd name="connsiteX65" fmla="*/ 409575 w 488950"/>
                    <a:gd name="connsiteY65" fmla="*/ 1254125 h 1289050"/>
                    <a:gd name="connsiteX66" fmla="*/ 438150 w 488950"/>
                    <a:gd name="connsiteY66" fmla="*/ 1247775 h 1289050"/>
                    <a:gd name="connsiteX67" fmla="*/ 463550 w 488950"/>
                    <a:gd name="connsiteY67" fmla="*/ 1241425 h 1289050"/>
                    <a:gd name="connsiteX68" fmla="*/ 476250 w 488950"/>
                    <a:gd name="connsiteY68" fmla="*/ 1238250 h 1289050"/>
                    <a:gd name="connsiteX69" fmla="*/ 488950 w 488950"/>
                    <a:gd name="connsiteY69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22250 w 488950"/>
                    <a:gd name="connsiteY11" fmla="*/ 295275 h 1289050"/>
                    <a:gd name="connsiteX12" fmla="*/ 228600 w 488950"/>
                    <a:gd name="connsiteY12" fmla="*/ 317500 h 1289050"/>
                    <a:gd name="connsiteX13" fmla="*/ 225425 w 488950"/>
                    <a:gd name="connsiteY13" fmla="*/ 336550 h 1289050"/>
                    <a:gd name="connsiteX14" fmla="*/ 193675 w 488950"/>
                    <a:gd name="connsiteY14" fmla="*/ 377825 h 1289050"/>
                    <a:gd name="connsiteX15" fmla="*/ 184150 w 488950"/>
                    <a:gd name="connsiteY15" fmla="*/ 403225 h 1289050"/>
                    <a:gd name="connsiteX16" fmla="*/ 177800 w 488950"/>
                    <a:gd name="connsiteY16" fmla="*/ 415925 h 1289050"/>
                    <a:gd name="connsiteX17" fmla="*/ 174625 w 488950"/>
                    <a:gd name="connsiteY17" fmla="*/ 438150 h 1289050"/>
                    <a:gd name="connsiteX18" fmla="*/ 171450 w 488950"/>
                    <a:gd name="connsiteY18" fmla="*/ 463550 h 1289050"/>
                    <a:gd name="connsiteX19" fmla="*/ 161925 w 488950"/>
                    <a:gd name="connsiteY19" fmla="*/ 466725 h 1289050"/>
                    <a:gd name="connsiteX20" fmla="*/ 136525 w 488950"/>
                    <a:gd name="connsiteY20" fmla="*/ 479425 h 1289050"/>
                    <a:gd name="connsiteX21" fmla="*/ 123825 w 488950"/>
                    <a:gd name="connsiteY21" fmla="*/ 485775 h 1289050"/>
                    <a:gd name="connsiteX22" fmla="*/ 111125 w 488950"/>
                    <a:gd name="connsiteY22" fmla="*/ 492125 h 1289050"/>
                    <a:gd name="connsiteX23" fmla="*/ 98425 w 488950"/>
                    <a:gd name="connsiteY23" fmla="*/ 504825 h 1289050"/>
                    <a:gd name="connsiteX24" fmla="*/ 76200 w 488950"/>
                    <a:gd name="connsiteY24" fmla="*/ 514350 h 1289050"/>
                    <a:gd name="connsiteX25" fmla="*/ 41275 w 488950"/>
                    <a:gd name="connsiteY25" fmla="*/ 523875 h 1289050"/>
                    <a:gd name="connsiteX26" fmla="*/ 28575 w 488950"/>
                    <a:gd name="connsiteY26" fmla="*/ 533400 h 1289050"/>
                    <a:gd name="connsiteX27" fmla="*/ 19050 w 488950"/>
                    <a:gd name="connsiteY27" fmla="*/ 536575 h 1289050"/>
                    <a:gd name="connsiteX28" fmla="*/ 9525 w 488950"/>
                    <a:gd name="connsiteY28" fmla="*/ 542925 h 1289050"/>
                    <a:gd name="connsiteX29" fmla="*/ 3175 w 488950"/>
                    <a:gd name="connsiteY29" fmla="*/ 628650 h 1289050"/>
                    <a:gd name="connsiteX30" fmla="*/ 0 w 488950"/>
                    <a:gd name="connsiteY30" fmla="*/ 654050 h 1289050"/>
                    <a:gd name="connsiteX31" fmla="*/ 3175 w 488950"/>
                    <a:gd name="connsiteY31" fmla="*/ 736600 h 1289050"/>
                    <a:gd name="connsiteX32" fmla="*/ 6350 w 488950"/>
                    <a:gd name="connsiteY32" fmla="*/ 746125 h 1289050"/>
                    <a:gd name="connsiteX33" fmla="*/ 19050 w 488950"/>
                    <a:gd name="connsiteY33" fmla="*/ 755650 h 1289050"/>
                    <a:gd name="connsiteX34" fmla="*/ 34925 w 488950"/>
                    <a:gd name="connsiteY34" fmla="*/ 758825 h 1289050"/>
                    <a:gd name="connsiteX35" fmla="*/ 47625 w 488950"/>
                    <a:gd name="connsiteY35" fmla="*/ 762000 h 1289050"/>
                    <a:gd name="connsiteX36" fmla="*/ 104775 w 488950"/>
                    <a:gd name="connsiteY36" fmla="*/ 784225 h 1289050"/>
                    <a:gd name="connsiteX37" fmla="*/ 117475 w 488950"/>
                    <a:gd name="connsiteY37" fmla="*/ 793750 h 1289050"/>
                    <a:gd name="connsiteX38" fmla="*/ 136525 w 488950"/>
                    <a:gd name="connsiteY38" fmla="*/ 803275 h 1289050"/>
                    <a:gd name="connsiteX39" fmla="*/ 165100 w 488950"/>
                    <a:gd name="connsiteY39" fmla="*/ 838200 h 1289050"/>
                    <a:gd name="connsiteX40" fmla="*/ 174625 w 488950"/>
                    <a:gd name="connsiteY40" fmla="*/ 866775 h 1289050"/>
                    <a:gd name="connsiteX41" fmla="*/ 177800 w 488950"/>
                    <a:gd name="connsiteY41" fmla="*/ 879475 h 1289050"/>
                    <a:gd name="connsiteX42" fmla="*/ 190500 w 488950"/>
                    <a:gd name="connsiteY42" fmla="*/ 895350 h 1289050"/>
                    <a:gd name="connsiteX43" fmla="*/ 196850 w 488950"/>
                    <a:gd name="connsiteY43" fmla="*/ 911225 h 1289050"/>
                    <a:gd name="connsiteX44" fmla="*/ 212725 w 488950"/>
                    <a:gd name="connsiteY44" fmla="*/ 939800 h 1289050"/>
                    <a:gd name="connsiteX45" fmla="*/ 228600 w 488950"/>
                    <a:gd name="connsiteY45" fmla="*/ 971550 h 1289050"/>
                    <a:gd name="connsiteX46" fmla="*/ 231775 w 488950"/>
                    <a:gd name="connsiteY46" fmla="*/ 984250 h 1289050"/>
                    <a:gd name="connsiteX47" fmla="*/ 215900 w 488950"/>
                    <a:gd name="connsiteY47" fmla="*/ 1035050 h 1289050"/>
                    <a:gd name="connsiteX48" fmla="*/ 209550 w 488950"/>
                    <a:gd name="connsiteY48" fmla="*/ 1066800 h 1289050"/>
                    <a:gd name="connsiteX49" fmla="*/ 196850 w 488950"/>
                    <a:gd name="connsiteY49" fmla="*/ 1098550 h 1289050"/>
                    <a:gd name="connsiteX50" fmla="*/ 190500 w 488950"/>
                    <a:gd name="connsiteY50" fmla="*/ 1133475 h 1289050"/>
                    <a:gd name="connsiteX51" fmla="*/ 187325 w 488950"/>
                    <a:gd name="connsiteY51" fmla="*/ 1152525 h 1289050"/>
                    <a:gd name="connsiteX52" fmla="*/ 190500 w 488950"/>
                    <a:gd name="connsiteY52" fmla="*/ 1174750 h 1289050"/>
                    <a:gd name="connsiteX53" fmla="*/ 215900 w 488950"/>
                    <a:gd name="connsiteY53" fmla="*/ 1196975 h 1289050"/>
                    <a:gd name="connsiteX54" fmla="*/ 238125 w 488950"/>
                    <a:gd name="connsiteY54" fmla="*/ 1206500 h 1289050"/>
                    <a:gd name="connsiteX55" fmla="*/ 257175 w 488950"/>
                    <a:gd name="connsiteY55" fmla="*/ 1225550 h 1289050"/>
                    <a:gd name="connsiteX56" fmla="*/ 273050 w 488950"/>
                    <a:gd name="connsiteY56" fmla="*/ 1241425 h 1289050"/>
                    <a:gd name="connsiteX57" fmla="*/ 285750 w 488950"/>
                    <a:gd name="connsiteY57" fmla="*/ 1250950 h 1289050"/>
                    <a:gd name="connsiteX58" fmla="*/ 301625 w 488950"/>
                    <a:gd name="connsiteY58" fmla="*/ 1285875 h 1289050"/>
                    <a:gd name="connsiteX59" fmla="*/ 311150 w 488950"/>
                    <a:gd name="connsiteY59" fmla="*/ 1289050 h 1289050"/>
                    <a:gd name="connsiteX60" fmla="*/ 352425 w 488950"/>
                    <a:gd name="connsiteY60" fmla="*/ 1276350 h 1289050"/>
                    <a:gd name="connsiteX61" fmla="*/ 368300 w 488950"/>
                    <a:gd name="connsiteY61" fmla="*/ 1266825 h 1289050"/>
                    <a:gd name="connsiteX62" fmla="*/ 384175 w 488950"/>
                    <a:gd name="connsiteY62" fmla="*/ 1263650 h 1289050"/>
                    <a:gd name="connsiteX63" fmla="*/ 396875 w 488950"/>
                    <a:gd name="connsiteY63" fmla="*/ 1260475 h 1289050"/>
                    <a:gd name="connsiteX64" fmla="*/ 409575 w 488950"/>
                    <a:gd name="connsiteY64" fmla="*/ 1254125 h 1289050"/>
                    <a:gd name="connsiteX65" fmla="*/ 438150 w 488950"/>
                    <a:gd name="connsiteY65" fmla="*/ 1247775 h 1289050"/>
                    <a:gd name="connsiteX66" fmla="*/ 463550 w 488950"/>
                    <a:gd name="connsiteY66" fmla="*/ 1241425 h 1289050"/>
                    <a:gd name="connsiteX67" fmla="*/ 476250 w 488950"/>
                    <a:gd name="connsiteY67" fmla="*/ 1238250 h 1289050"/>
                    <a:gd name="connsiteX68" fmla="*/ 488950 w 488950"/>
                    <a:gd name="connsiteY68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222250 w 488950"/>
                    <a:gd name="connsiteY10" fmla="*/ 295275 h 1289050"/>
                    <a:gd name="connsiteX11" fmla="*/ 228600 w 488950"/>
                    <a:gd name="connsiteY11" fmla="*/ 317500 h 1289050"/>
                    <a:gd name="connsiteX12" fmla="*/ 225425 w 488950"/>
                    <a:gd name="connsiteY12" fmla="*/ 336550 h 1289050"/>
                    <a:gd name="connsiteX13" fmla="*/ 193675 w 488950"/>
                    <a:gd name="connsiteY13" fmla="*/ 377825 h 1289050"/>
                    <a:gd name="connsiteX14" fmla="*/ 184150 w 488950"/>
                    <a:gd name="connsiteY14" fmla="*/ 403225 h 1289050"/>
                    <a:gd name="connsiteX15" fmla="*/ 177800 w 488950"/>
                    <a:gd name="connsiteY15" fmla="*/ 415925 h 1289050"/>
                    <a:gd name="connsiteX16" fmla="*/ 174625 w 488950"/>
                    <a:gd name="connsiteY16" fmla="*/ 438150 h 1289050"/>
                    <a:gd name="connsiteX17" fmla="*/ 171450 w 488950"/>
                    <a:gd name="connsiteY17" fmla="*/ 463550 h 1289050"/>
                    <a:gd name="connsiteX18" fmla="*/ 161925 w 488950"/>
                    <a:gd name="connsiteY18" fmla="*/ 466725 h 1289050"/>
                    <a:gd name="connsiteX19" fmla="*/ 136525 w 488950"/>
                    <a:gd name="connsiteY19" fmla="*/ 479425 h 1289050"/>
                    <a:gd name="connsiteX20" fmla="*/ 123825 w 488950"/>
                    <a:gd name="connsiteY20" fmla="*/ 485775 h 1289050"/>
                    <a:gd name="connsiteX21" fmla="*/ 111125 w 488950"/>
                    <a:gd name="connsiteY21" fmla="*/ 492125 h 1289050"/>
                    <a:gd name="connsiteX22" fmla="*/ 98425 w 488950"/>
                    <a:gd name="connsiteY22" fmla="*/ 504825 h 1289050"/>
                    <a:gd name="connsiteX23" fmla="*/ 76200 w 488950"/>
                    <a:gd name="connsiteY23" fmla="*/ 514350 h 1289050"/>
                    <a:gd name="connsiteX24" fmla="*/ 41275 w 488950"/>
                    <a:gd name="connsiteY24" fmla="*/ 523875 h 1289050"/>
                    <a:gd name="connsiteX25" fmla="*/ 28575 w 488950"/>
                    <a:gd name="connsiteY25" fmla="*/ 533400 h 1289050"/>
                    <a:gd name="connsiteX26" fmla="*/ 19050 w 488950"/>
                    <a:gd name="connsiteY26" fmla="*/ 536575 h 1289050"/>
                    <a:gd name="connsiteX27" fmla="*/ 9525 w 488950"/>
                    <a:gd name="connsiteY27" fmla="*/ 542925 h 1289050"/>
                    <a:gd name="connsiteX28" fmla="*/ 3175 w 488950"/>
                    <a:gd name="connsiteY28" fmla="*/ 628650 h 1289050"/>
                    <a:gd name="connsiteX29" fmla="*/ 0 w 488950"/>
                    <a:gd name="connsiteY29" fmla="*/ 654050 h 1289050"/>
                    <a:gd name="connsiteX30" fmla="*/ 3175 w 488950"/>
                    <a:gd name="connsiteY30" fmla="*/ 736600 h 1289050"/>
                    <a:gd name="connsiteX31" fmla="*/ 6350 w 488950"/>
                    <a:gd name="connsiteY31" fmla="*/ 746125 h 1289050"/>
                    <a:gd name="connsiteX32" fmla="*/ 19050 w 488950"/>
                    <a:gd name="connsiteY32" fmla="*/ 755650 h 1289050"/>
                    <a:gd name="connsiteX33" fmla="*/ 34925 w 488950"/>
                    <a:gd name="connsiteY33" fmla="*/ 758825 h 1289050"/>
                    <a:gd name="connsiteX34" fmla="*/ 47625 w 488950"/>
                    <a:gd name="connsiteY34" fmla="*/ 762000 h 1289050"/>
                    <a:gd name="connsiteX35" fmla="*/ 104775 w 488950"/>
                    <a:gd name="connsiteY35" fmla="*/ 784225 h 1289050"/>
                    <a:gd name="connsiteX36" fmla="*/ 117475 w 488950"/>
                    <a:gd name="connsiteY36" fmla="*/ 793750 h 1289050"/>
                    <a:gd name="connsiteX37" fmla="*/ 136525 w 488950"/>
                    <a:gd name="connsiteY37" fmla="*/ 803275 h 1289050"/>
                    <a:gd name="connsiteX38" fmla="*/ 165100 w 488950"/>
                    <a:gd name="connsiteY38" fmla="*/ 838200 h 1289050"/>
                    <a:gd name="connsiteX39" fmla="*/ 174625 w 488950"/>
                    <a:gd name="connsiteY39" fmla="*/ 866775 h 1289050"/>
                    <a:gd name="connsiteX40" fmla="*/ 177800 w 488950"/>
                    <a:gd name="connsiteY40" fmla="*/ 879475 h 1289050"/>
                    <a:gd name="connsiteX41" fmla="*/ 190500 w 488950"/>
                    <a:gd name="connsiteY41" fmla="*/ 895350 h 1289050"/>
                    <a:gd name="connsiteX42" fmla="*/ 196850 w 488950"/>
                    <a:gd name="connsiteY42" fmla="*/ 911225 h 1289050"/>
                    <a:gd name="connsiteX43" fmla="*/ 212725 w 488950"/>
                    <a:gd name="connsiteY43" fmla="*/ 939800 h 1289050"/>
                    <a:gd name="connsiteX44" fmla="*/ 228600 w 488950"/>
                    <a:gd name="connsiteY44" fmla="*/ 971550 h 1289050"/>
                    <a:gd name="connsiteX45" fmla="*/ 231775 w 488950"/>
                    <a:gd name="connsiteY45" fmla="*/ 984250 h 1289050"/>
                    <a:gd name="connsiteX46" fmla="*/ 215900 w 488950"/>
                    <a:gd name="connsiteY46" fmla="*/ 1035050 h 1289050"/>
                    <a:gd name="connsiteX47" fmla="*/ 209550 w 488950"/>
                    <a:gd name="connsiteY47" fmla="*/ 1066800 h 1289050"/>
                    <a:gd name="connsiteX48" fmla="*/ 196850 w 488950"/>
                    <a:gd name="connsiteY48" fmla="*/ 1098550 h 1289050"/>
                    <a:gd name="connsiteX49" fmla="*/ 190500 w 488950"/>
                    <a:gd name="connsiteY49" fmla="*/ 1133475 h 1289050"/>
                    <a:gd name="connsiteX50" fmla="*/ 187325 w 488950"/>
                    <a:gd name="connsiteY50" fmla="*/ 1152525 h 1289050"/>
                    <a:gd name="connsiteX51" fmla="*/ 190500 w 488950"/>
                    <a:gd name="connsiteY51" fmla="*/ 1174750 h 1289050"/>
                    <a:gd name="connsiteX52" fmla="*/ 215900 w 488950"/>
                    <a:gd name="connsiteY52" fmla="*/ 1196975 h 1289050"/>
                    <a:gd name="connsiteX53" fmla="*/ 238125 w 488950"/>
                    <a:gd name="connsiteY53" fmla="*/ 1206500 h 1289050"/>
                    <a:gd name="connsiteX54" fmla="*/ 257175 w 488950"/>
                    <a:gd name="connsiteY54" fmla="*/ 1225550 h 1289050"/>
                    <a:gd name="connsiteX55" fmla="*/ 273050 w 488950"/>
                    <a:gd name="connsiteY55" fmla="*/ 1241425 h 1289050"/>
                    <a:gd name="connsiteX56" fmla="*/ 285750 w 488950"/>
                    <a:gd name="connsiteY56" fmla="*/ 1250950 h 1289050"/>
                    <a:gd name="connsiteX57" fmla="*/ 301625 w 488950"/>
                    <a:gd name="connsiteY57" fmla="*/ 1285875 h 1289050"/>
                    <a:gd name="connsiteX58" fmla="*/ 311150 w 488950"/>
                    <a:gd name="connsiteY58" fmla="*/ 1289050 h 1289050"/>
                    <a:gd name="connsiteX59" fmla="*/ 352425 w 488950"/>
                    <a:gd name="connsiteY59" fmla="*/ 1276350 h 1289050"/>
                    <a:gd name="connsiteX60" fmla="*/ 368300 w 488950"/>
                    <a:gd name="connsiteY60" fmla="*/ 1266825 h 1289050"/>
                    <a:gd name="connsiteX61" fmla="*/ 384175 w 488950"/>
                    <a:gd name="connsiteY61" fmla="*/ 1263650 h 1289050"/>
                    <a:gd name="connsiteX62" fmla="*/ 396875 w 488950"/>
                    <a:gd name="connsiteY62" fmla="*/ 1260475 h 1289050"/>
                    <a:gd name="connsiteX63" fmla="*/ 409575 w 488950"/>
                    <a:gd name="connsiteY63" fmla="*/ 1254125 h 1289050"/>
                    <a:gd name="connsiteX64" fmla="*/ 438150 w 488950"/>
                    <a:gd name="connsiteY64" fmla="*/ 1247775 h 1289050"/>
                    <a:gd name="connsiteX65" fmla="*/ 463550 w 488950"/>
                    <a:gd name="connsiteY65" fmla="*/ 1241425 h 1289050"/>
                    <a:gd name="connsiteX66" fmla="*/ 476250 w 488950"/>
                    <a:gd name="connsiteY66" fmla="*/ 1238250 h 1289050"/>
                    <a:gd name="connsiteX67" fmla="*/ 488950 w 488950"/>
                    <a:gd name="connsiteY67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222250 w 488950"/>
                    <a:gd name="connsiteY9" fmla="*/ 295275 h 1289050"/>
                    <a:gd name="connsiteX10" fmla="*/ 228600 w 488950"/>
                    <a:gd name="connsiteY10" fmla="*/ 317500 h 1289050"/>
                    <a:gd name="connsiteX11" fmla="*/ 225425 w 488950"/>
                    <a:gd name="connsiteY11" fmla="*/ 336550 h 1289050"/>
                    <a:gd name="connsiteX12" fmla="*/ 193675 w 488950"/>
                    <a:gd name="connsiteY12" fmla="*/ 377825 h 1289050"/>
                    <a:gd name="connsiteX13" fmla="*/ 184150 w 488950"/>
                    <a:gd name="connsiteY13" fmla="*/ 403225 h 1289050"/>
                    <a:gd name="connsiteX14" fmla="*/ 177800 w 488950"/>
                    <a:gd name="connsiteY14" fmla="*/ 415925 h 1289050"/>
                    <a:gd name="connsiteX15" fmla="*/ 174625 w 488950"/>
                    <a:gd name="connsiteY15" fmla="*/ 438150 h 1289050"/>
                    <a:gd name="connsiteX16" fmla="*/ 171450 w 488950"/>
                    <a:gd name="connsiteY16" fmla="*/ 463550 h 1289050"/>
                    <a:gd name="connsiteX17" fmla="*/ 161925 w 488950"/>
                    <a:gd name="connsiteY17" fmla="*/ 466725 h 1289050"/>
                    <a:gd name="connsiteX18" fmla="*/ 136525 w 488950"/>
                    <a:gd name="connsiteY18" fmla="*/ 479425 h 1289050"/>
                    <a:gd name="connsiteX19" fmla="*/ 123825 w 488950"/>
                    <a:gd name="connsiteY19" fmla="*/ 485775 h 1289050"/>
                    <a:gd name="connsiteX20" fmla="*/ 111125 w 488950"/>
                    <a:gd name="connsiteY20" fmla="*/ 492125 h 1289050"/>
                    <a:gd name="connsiteX21" fmla="*/ 98425 w 488950"/>
                    <a:gd name="connsiteY21" fmla="*/ 504825 h 1289050"/>
                    <a:gd name="connsiteX22" fmla="*/ 76200 w 488950"/>
                    <a:gd name="connsiteY22" fmla="*/ 514350 h 1289050"/>
                    <a:gd name="connsiteX23" fmla="*/ 41275 w 488950"/>
                    <a:gd name="connsiteY23" fmla="*/ 523875 h 1289050"/>
                    <a:gd name="connsiteX24" fmla="*/ 28575 w 488950"/>
                    <a:gd name="connsiteY24" fmla="*/ 533400 h 1289050"/>
                    <a:gd name="connsiteX25" fmla="*/ 19050 w 488950"/>
                    <a:gd name="connsiteY25" fmla="*/ 536575 h 1289050"/>
                    <a:gd name="connsiteX26" fmla="*/ 9525 w 488950"/>
                    <a:gd name="connsiteY26" fmla="*/ 542925 h 1289050"/>
                    <a:gd name="connsiteX27" fmla="*/ 3175 w 488950"/>
                    <a:gd name="connsiteY27" fmla="*/ 628650 h 1289050"/>
                    <a:gd name="connsiteX28" fmla="*/ 0 w 488950"/>
                    <a:gd name="connsiteY28" fmla="*/ 654050 h 1289050"/>
                    <a:gd name="connsiteX29" fmla="*/ 3175 w 488950"/>
                    <a:gd name="connsiteY29" fmla="*/ 736600 h 1289050"/>
                    <a:gd name="connsiteX30" fmla="*/ 6350 w 488950"/>
                    <a:gd name="connsiteY30" fmla="*/ 746125 h 1289050"/>
                    <a:gd name="connsiteX31" fmla="*/ 19050 w 488950"/>
                    <a:gd name="connsiteY31" fmla="*/ 755650 h 1289050"/>
                    <a:gd name="connsiteX32" fmla="*/ 34925 w 488950"/>
                    <a:gd name="connsiteY32" fmla="*/ 758825 h 1289050"/>
                    <a:gd name="connsiteX33" fmla="*/ 47625 w 488950"/>
                    <a:gd name="connsiteY33" fmla="*/ 762000 h 1289050"/>
                    <a:gd name="connsiteX34" fmla="*/ 104775 w 488950"/>
                    <a:gd name="connsiteY34" fmla="*/ 784225 h 1289050"/>
                    <a:gd name="connsiteX35" fmla="*/ 117475 w 488950"/>
                    <a:gd name="connsiteY35" fmla="*/ 793750 h 1289050"/>
                    <a:gd name="connsiteX36" fmla="*/ 136525 w 488950"/>
                    <a:gd name="connsiteY36" fmla="*/ 803275 h 1289050"/>
                    <a:gd name="connsiteX37" fmla="*/ 165100 w 488950"/>
                    <a:gd name="connsiteY37" fmla="*/ 838200 h 1289050"/>
                    <a:gd name="connsiteX38" fmla="*/ 174625 w 488950"/>
                    <a:gd name="connsiteY38" fmla="*/ 866775 h 1289050"/>
                    <a:gd name="connsiteX39" fmla="*/ 177800 w 488950"/>
                    <a:gd name="connsiteY39" fmla="*/ 879475 h 1289050"/>
                    <a:gd name="connsiteX40" fmla="*/ 190500 w 488950"/>
                    <a:gd name="connsiteY40" fmla="*/ 895350 h 1289050"/>
                    <a:gd name="connsiteX41" fmla="*/ 196850 w 488950"/>
                    <a:gd name="connsiteY41" fmla="*/ 911225 h 1289050"/>
                    <a:gd name="connsiteX42" fmla="*/ 212725 w 488950"/>
                    <a:gd name="connsiteY42" fmla="*/ 939800 h 1289050"/>
                    <a:gd name="connsiteX43" fmla="*/ 228600 w 488950"/>
                    <a:gd name="connsiteY43" fmla="*/ 971550 h 1289050"/>
                    <a:gd name="connsiteX44" fmla="*/ 231775 w 488950"/>
                    <a:gd name="connsiteY44" fmla="*/ 984250 h 1289050"/>
                    <a:gd name="connsiteX45" fmla="*/ 215900 w 488950"/>
                    <a:gd name="connsiteY45" fmla="*/ 1035050 h 1289050"/>
                    <a:gd name="connsiteX46" fmla="*/ 209550 w 488950"/>
                    <a:gd name="connsiteY46" fmla="*/ 1066800 h 1289050"/>
                    <a:gd name="connsiteX47" fmla="*/ 196850 w 488950"/>
                    <a:gd name="connsiteY47" fmla="*/ 1098550 h 1289050"/>
                    <a:gd name="connsiteX48" fmla="*/ 190500 w 488950"/>
                    <a:gd name="connsiteY48" fmla="*/ 1133475 h 1289050"/>
                    <a:gd name="connsiteX49" fmla="*/ 187325 w 488950"/>
                    <a:gd name="connsiteY49" fmla="*/ 1152525 h 1289050"/>
                    <a:gd name="connsiteX50" fmla="*/ 190500 w 488950"/>
                    <a:gd name="connsiteY50" fmla="*/ 1174750 h 1289050"/>
                    <a:gd name="connsiteX51" fmla="*/ 215900 w 488950"/>
                    <a:gd name="connsiteY51" fmla="*/ 1196975 h 1289050"/>
                    <a:gd name="connsiteX52" fmla="*/ 238125 w 488950"/>
                    <a:gd name="connsiteY52" fmla="*/ 1206500 h 1289050"/>
                    <a:gd name="connsiteX53" fmla="*/ 257175 w 488950"/>
                    <a:gd name="connsiteY53" fmla="*/ 1225550 h 1289050"/>
                    <a:gd name="connsiteX54" fmla="*/ 273050 w 488950"/>
                    <a:gd name="connsiteY54" fmla="*/ 1241425 h 1289050"/>
                    <a:gd name="connsiteX55" fmla="*/ 285750 w 488950"/>
                    <a:gd name="connsiteY55" fmla="*/ 1250950 h 1289050"/>
                    <a:gd name="connsiteX56" fmla="*/ 301625 w 488950"/>
                    <a:gd name="connsiteY56" fmla="*/ 1285875 h 1289050"/>
                    <a:gd name="connsiteX57" fmla="*/ 311150 w 488950"/>
                    <a:gd name="connsiteY57" fmla="*/ 1289050 h 1289050"/>
                    <a:gd name="connsiteX58" fmla="*/ 352425 w 488950"/>
                    <a:gd name="connsiteY58" fmla="*/ 1276350 h 1289050"/>
                    <a:gd name="connsiteX59" fmla="*/ 368300 w 488950"/>
                    <a:gd name="connsiteY59" fmla="*/ 1266825 h 1289050"/>
                    <a:gd name="connsiteX60" fmla="*/ 384175 w 488950"/>
                    <a:gd name="connsiteY60" fmla="*/ 1263650 h 1289050"/>
                    <a:gd name="connsiteX61" fmla="*/ 396875 w 488950"/>
                    <a:gd name="connsiteY61" fmla="*/ 1260475 h 1289050"/>
                    <a:gd name="connsiteX62" fmla="*/ 409575 w 488950"/>
                    <a:gd name="connsiteY62" fmla="*/ 1254125 h 1289050"/>
                    <a:gd name="connsiteX63" fmla="*/ 438150 w 488950"/>
                    <a:gd name="connsiteY63" fmla="*/ 1247775 h 1289050"/>
                    <a:gd name="connsiteX64" fmla="*/ 463550 w 488950"/>
                    <a:gd name="connsiteY64" fmla="*/ 1241425 h 1289050"/>
                    <a:gd name="connsiteX65" fmla="*/ 476250 w 488950"/>
                    <a:gd name="connsiteY65" fmla="*/ 1238250 h 1289050"/>
                    <a:gd name="connsiteX66" fmla="*/ 488950 w 488950"/>
                    <a:gd name="connsiteY66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222250 w 488950"/>
                    <a:gd name="connsiteY8" fmla="*/ 295275 h 1289050"/>
                    <a:gd name="connsiteX9" fmla="*/ 228600 w 488950"/>
                    <a:gd name="connsiteY9" fmla="*/ 317500 h 1289050"/>
                    <a:gd name="connsiteX10" fmla="*/ 225425 w 488950"/>
                    <a:gd name="connsiteY10" fmla="*/ 336550 h 1289050"/>
                    <a:gd name="connsiteX11" fmla="*/ 193675 w 488950"/>
                    <a:gd name="connsiteY11" fmla="*/ 377825 h 1289050"/>
                    <a:gd name="connsiteX12" fmla="*/ 184150 w 488950"/>
                    <a:gd name="connsiteY12" fmla="*/ 403225 h 1289050"/>
                    <a:gd name="connsiteX13" fmla="*/ 177800 w 488950"/>
                    <a:gd name="connsiteY13" fmla="*/ 415925 h 1289050"/>
                    <a:gd name="connsiteX14" fmla="*/ 174625 w 488950"/>
                    <a:gd name="connsiteY14" fmla="*/ 438150 h 1289050"/>
                    <a:gd name="connsiteX15" fmla="*/ 171450 w 488950"/>
                    <a:gd name="connsiteY15" fmla="*/ 463550 h 1289050"/>
                    <a:gd name="connsiteX16" fmla="*/ 161925 w 488950"/>
                    <a:gd name="connsiteY16" fmla="*/ 466725 h 1289050"/>
                    <a:gd name="connsiteX17" fmla="*/ 136525 w 488950"/>
                    <a:gd name="connsiteY17" fmla="*/ 479425 h 1289050"/>
                    <a:gd name="connsiteX18" fmla="*/ 123825 w 488950"/>
                    <a:gd name="connsiteY18" fmla="*/ 485775 h 1289050"/>
                    <a:gd name="connsiteX19" fmla="*/ 111125 w 488950"/>
                    <a:gd name="connsiteY19" fmla="*/ 492125 h 1289050"/>
                    <a:gd name="connsiteX20" fmla="*/ 98425 w 488950"/>
                    <a:gd name="connsiteY20" fmla="*/ 504825 h 1289050"/>
                    <a:gd name="connsiteX21" fmla="*/ 76200 w 488950"/>
                    <a:gd name="connsiteY21" fmla="*/ 514350 h 1289050"/>
                    <a:gd name="connsiteX22" fmla="*/ 41275 w 488950"/>
                    <a:gd name="connsiteY22" fmla="*/ 523875 h 1289050"/>
                    <a:gd name="connsiteX23" fmla="*/ 28575 w 488950"/>
                    <a:gd name="connsiteY23" fmla="*/ 533400 h 1289050"/>
                    <a:gd name="connsiteX24" fmla="*/ 19050 w 488950"/>
                    <a:gd name="connsiteY24" fmla="*/ 536575 h 1289050"/>
                    <a:gd name="connsiteX25" fmla="*/ 9525 w 488950"/>
                    <a:gd name="connsiteY25" fmla="*/ 542925 h 1289050"/>
                    <a:gd name="connsiteX26" fmla="*/ 3175 w 488950"/>
                    <a:gd name="connsiteY26" fmla="*/ 628650 h 1289050"/>
                    <a:gd name="connsiteX27" fmla="*/ 0 w 488950"/>
                    <a:gd name="connsiteY27" fmla="*/ 654050 h 1289050"/>
                    <a:gd name="connsiteX28" fmla="*/ 3175 w 488950"/>
                    <a:gd name="connsiteY28" fmla="*/ 736600 h 1289050"/>
                    <a:gd name="connsiteX29" fmla="*/ 6350 w 488950"/>
                    <a:gd name="connsiteY29" fmla="*/ 746125 h 1289050"/>
                    <a:gd name="connsiteX30" fmla="*/ 19050 w 488950"/>
                    <a:gd name="connsiteY30" fmla="*/ 755650 h 1289050"/>
                    <a:gd name="connsiteX31" fmla="*/ 34925 w 488950"/>
                    <a:gd name="connsiteY31" fmla="*/ 758825 h 1289050"/>
                    <a:gd name="connsiteX32" fmla="*/ 47625 w 488950"/>
                    <a:gd name="connsiteY32" fmla="*/ 762000 h 1289050"/>
                    <a:gd name="connsiteX33" fmla="*/ 104775 w 488950"/>
                    <a:gd name="connsiteY33" fmla="*/ 784225 h 1289050"/>
                    <a:gd name="connsiteX34" fmla="*/ 117475 w 488950"/>
                    <a:gd name="connsiteY34" fmla="*/ 793750 h 1289050"/>
                    <a:gd name="connsiteX35" fmla="*/ 136525 w 488950"/>
                    <a:gd name="connsiteY35" fmla="*/ 803275 h 1289050"/>
                    <a:gd name="connsiteX36" fmla="*/ 165100 w 488950"/>
                    <a:gd name="connsiteY36" fmla="*/ 838200 h 1289050"/>
                    <a:gd name="connsiteX37" fmla="*/ 174625 w 488950"/>
                    <a:gd name="connsiteY37" fmla="*/ 866775 h 1289050"/>
                    <a:gd name="connsiteX38" fmla="*/ 177800 w 488950"/>
                    <a:gd name="connsiteY38" fmla="*/ 879475 h 1289050"/>
                    <a:gd name="connsiteX39" fmla="*/ 190500 w 488950"/>
                    <a:gd name="connsiteY39" fmla="*/ 895350 h 1289050"/>
                    <a:gd name="connsiteX40" fmla="*/ 196850 w 488950"/>
                    <a:gd name="connsiteY40" fmla="*/ 911225 h 1289050"/>
                    <a:gd name="connsiteX41" fmla="*/ 212725 w 488950"/>
                    <a:gd name="connsiteY41" fmla="*/ 939800 h 1289050"/>
                    <a:gd name="connsiteX42" fmla="*/ 228600 w 488950"/>
                    <a:gd name="connsiteY42" fmla="*/ 971550 h 1289050"/>
                    <a:gd name="connsiteX43" fmla="*/ 231775 w 488950"/>
                    <a:gd name="connsiteY43" fmla="*/ 984250 h 1289050"/>
                    <a:gd name="connsiteX44" fmla="*/ 215900 w 488950"/>
                    <a:gd name="connsiteY44" fmla="*/ 1035050 h 1289050"/>
                    <a:gd name="connsiteX45" fmla="*/ 209550 w 488950"/>
                    <a:gd name="connsiteY45" fmla="*/ 1066800 h 1289050"/>
                    <a:gd name="connsiteX46" fmla="*/ 196850 w 488950"/>
                    <a:gd name="connsiteY46" fmla="*/ 1098550 h 1289050"/>
                    <a:gd name="connsiteX47" fmla="*/ 190500 w 488950"/>
                    <a:gd name="connsiteY47" fmla="*/ 1133475 h 1289050"/>
                    <a:gd name="connsiteX48" fmla="*/ 187325 w 488950"/>
                    <a:gd name="connsiteY48" fmla="*/ 1152525 h 1289050"/>
                    <a:gd name="connsiteX49" fmla="*/ 190500 w 488950"/>
                    <a:gd name="connsiteY49" fmla="*/ 1174750 h 1289050"/>
                    <a:gd name="connsiteX50" fmla="*/ 215900 w 488950"/>
                    <a:gd name="connsiteY50" fmla="*/ 1196975 h 1289050"/>
                    <a:gd name="connsiteX51" fmla="*/ 238125 w 488950"/>
                    <a:gd name="connsiteY51" fmla="*/ 1206500 h 1289050"/>
                    <a:gd name="connsiteX52" fmla="*/ 257175 w 488950"/>
                    <a:gd name="connsiteY52" fmla="*/ 1225550 h 1289050"/>
                    <a:gd name="connsiteX53" fmla="*/ 273050 w 488950"/>
                    <a:gd name="connsiteY53" fmla="*/ 1241425 h 1289050"/>
                    <a:gd name="connsiteX54" fmla="*/ 285750 w 488950"/>
                    <a:gd name="connsiteY54" fmla="*/ 1250950 h 1289050"/>
                    <a:gd name="connsiteX55" fmla="*/ 301625 w 488950"/>
                    <a:gd name="connsiteY55" fmla="*/ 1285875 h 1289050"/>
                    <a:gd name="connsiteX56" fmla="*/ 311150 w 488950"/>
                    <a:gd name="connsiteY56" fmla="*/ 1289050 h 1289050"/>
                    <a:gd name="connsiteX57" fmla="*/ 352425 w 488950"/>
                    <a:gd name="connsiteY57" fmla="*/ 1276350 h 1289050"/>
                    <a:gd name="connsiteX58" fmla="*/ 368300 w 488950"/>
                    <a:gd name="connsiteY58" fmla="*/ 1266825 h 1289050"/>
                    <a:gd name="connsiteX59" fmla="*/ 384175 w 488950"/>
                    <a:gd name="connsiteY59" fmla="*/ 1263650 h 1289050"/>
                    <a:gd name="connsiteX60" fmla="*/ 396875 w 488950"/>
                    <a:gd name="connsiteY60" fmla="*/ 1260475 h 1289050"/>
                    <a:gd name="connsiteX61" fmla="*/ 409575 w 488950"/>
                    <a:gd name="connsiteY61" fmla="*/ 1254125 h 1289050"/>
                    <a:gd name="connsiteX62" fmla="*/ 438150 w 488950"/>
                    <a:gd name="connsiteY62" fmla="*/ 1247775 h 1289050"/>
                    <a:gd name="connsiteX63" fmla="*/ 463550 w 488950"/>
                    <a:gd name="connsiteY63" fmla="*/ 1241425 h 1289050"/>
                    <a:gd name="connsiteX64" fmla="*/ 476250 w 488950"/>
                    <a:gd name="connsiteY64" fmla="*/ 1238250 h 1289050"/>
                    <a:gd name="connsiteX65" fmla="*/ 488950 w 488950"/>
                    <a:gd name="connsiteY65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74625 w 488950"/>
                    <a:gd name="connsiteY5" fmla="*/ 136525 h 1289050"/>
                    <a:gd name="connsiteX6" fmla="*/ 177800 w 488950"/>
                    <a:gd name="connsiteY6" fmla="*/ 168275 h 1289050"/>
                    <a:gd name="connsiteX7" fmla="*/ 222250 w 488950"/>
                    <a:gd name="connsiteY7" fmla="*/ 295275 h 1289050"/>
                    <a:gd name="connsiteX8" fmla="*/ 228600 w 488950"/>
                    <a:gd name="connsiteY8" fmla="*/ 317500 h 1289050"/>
                    <a:gd name="connsiteX9" fmla="*/ 225425 w 488950"/>
                    <a:gd name="connsiteY9" fmla="*/ 336550 h 1289050"/>
                    <a:gd name="connsiteX10" fmla="*/ 193675 w 488950"/>
                    <a:gd name="connsiteY10" fmla="*/ 377825 h 1289050"/>
                    <a:gd name="connsiteX11" fmla="*/ 184150 w 488950"/>
                    <a:gd name="connsiteY11" fmla="*/ 403225 h 1289050"/>
                    <a:gd name="connsiteX12" fmla="*/ 177800 w 488950"/>
                    <a:gd name="connsiteY12" fmla="*/ 415925 h 1289050"/>
                    <a:gd name="connsiteX13" fmla="*/ 174625 w 488950"/>
                    <a:gd name="connsiteY13" fmla="*/ 438150 h 1289050"/>
                    <a:gd name="connsiteX14" fmla="*/ 171450 w 488950"/>
                    <a:gd name="connsiteY14" fmla="*/ 463550 h 1289050"/>
                    <a:gd name="connsiteX15" fmla="*/ 161925 w 488950"/>
                    <a:gd name="connsiteY15" fmla="*/ 466725 h 1289050"/>
                    <a:gd name="connsiteX16" fmla="*/ 136525 w 488950"/>
                    <a:gd name="connsiteY16" fmla="*/ 479425 h 1289050"/>
                    <a:gd name="connsiteX17" fmla="*/ 123825 w 488950"/>
                    <a:gd name="connsiteY17" fmla="*/ 485775 h 1289050"/>
                    <a:gd name="connsiteX18" fmla="*/ 111125 w 488950"/>
                    <a:gd name="connsiteY18" fmla="*/ 492125 h 1289050"/>
                    <a:gd name="connsiteX19" fmla="*/ 98425 w 488950"/>
                    <a:gd name="connsiteY19" fmla="*/ 504825 h 1289050"/>
                    <a:gd name="connsiteX20" fmla="*/ 76200 w 488950"/>
                    <a:gd name="connsiteY20" fmla="*/ 514350 h 1289050"/>
                    <a:gd name="connsiteX21" fmla="*/ 41275 w 488950"/>
                    <a:gd name="connsiteY21" fmla="*/ 523875 h 1289050"/>
                    <a:gd name="connsiteX22" fmla="*/ 28575 w 488950"/>
                    <a:gd name="connsiteY22" fmla="*/ 533400 h 1289050"/>
                    <a:gd name="connsiteX23" fmla="*/ 19050 w 488950"/>
                    <a:gd name="connsiteY23" fmla="*/ 536575 h 1289050"/>
                    <a:gd name="connsiteX24" fmla="*/ 9525 w 488950"/>
                    <a:gd name="connsiteY24" fmla="*/ 542925 h 1289050"/>
                    <a:gd name="connsiteX25" fmla="*/ 3175 w 488950"/>
                    <a:gd name="connsiteY25" fmla="*/ 628650 h 1289050"/>
                    <a:gd name="connsiteX26" fmla="*/ 0 w 488950"/>
                    <a:gd name="connsiteY26" fmla="*/ 654050 h 1289050"/>
                    <a:gd name="connsiteX27" fmla="*/ 3175 w 488950"/>
                    <a:gd name="connsiteY27" fmla="*/ 736600 h 1289050"/>
                    <a:gd name="connsiteX28" fmla="*/ 6350 w 488950"/>
                    <a:gd name="connsiteY28" fmla="*/ 746125 h 1289050"/>
                    <a:gd name="connsiteX29" fmla="*/ 19050 w 488950"/>
                    <a:gd name="connsiteY29" fmla="*/ 755650 h 1289050"/>
                    <a:gd name="connsiteX30" fmla="*/ 34925 w 488950"/>
                    <a:gd name="connsiteY30" fmla="*/ 758825 h 1289050"/>
                    <a:gd name="connsiteX31" fmla="*/ 47625 w 488950"/>
                    <a:gd name="connsiteY31" fmla="*/ 762000 h 1289050"/>
                    <a:gd name="connsiteX32" fmla="*/ 104775 w 488950"/>
                    <a:gd name="connsiteY32" fmla="*/ 784225 h 1289050"/>
                    <a:gd name="connsiteX33" fmla="*/ 117475 w 488950"/>
                    <a:gd name="connsiteY33" fmla="*/ 793750 h 1289050"/>
                    <a:gd name="connsiteX34" fmla="*/ 136525 w 488950"/>
                    <a:gd name="connsiteY34" fmla="*/ 803275 h 1289050"/>
                    <a:gd name="connsiteX35" fmla="*/ 165100 w 488950"/>
                    <a:gd name="connsiteY35" fmla="*/ 838200 h 1289050"/>
                    <a:gd name="connsiteX36" fmla="*/ 174625 w 488950"/>
                    <a:gd name="connsiteY36" fmla="*/ 866775 h 1289050"/>
                    <a:gd name="connsiteX37" fmla="*/ 177800 w 488950"/>
                    <a:gd name="connsiteY37" fmla="*/ 879475 h 1289050"/>
                    <a:gd name="connsiteX38" fmla="*/ 190500 w 488950"/>
                    <a:gd name="connsiteY38" fmla="*/ 895350 h 1289050"/>
                    <a:gd name="connsiteX39" fmla="*/ 196850 w 488950"/>
                    <a:gd name="connsiteY39" fmla="*/ 911225 h 1289050"/>
                    <a:gd name="connsiteX40" fmla="*/ 212725 w 488950"/>
                    <a:gd name="connsiteY40" fmla="*/ 939800 h 1289050"/>
                    <a:gd name="connsiteX41" fmla="*/ 228600 w 488950"/>
                    <a:gd name="connsiteY41" fmla="*/ 971550 h 1289050"/>
                    <a:gd name="connsiteX42" fmla="*/ 231775 w 488950"/>
                    <a:gd name="connsiteY42" fmla="*/ 984250 h 1289050"/>
                    <a:gd name="connsiteX43" fmla="*/ 215900 w 488950"/>
                    <a:gd name="connsiteY43" fmla="*/ 1035050 h 1289050"/>
                    <a:gd name="connsiteX44" fmla="*/ 209550 w 488950"/>
                    <a:gd name="connsiteY44" fmla="*/ 1066800 h 1289050"/>
                    <a:gd name="connsiteX45" fmla="*/ 196850 w 488950"/>
                    <a:gd name="connsiteY45" fmla="*/ 1098550 h 1289050"/>
                    <a:gd name="connsiteX46" fmla="*/ 190500 w 488950"/>
                    <a:gd name="connsiteY46" fmla="*/ 1133475 h 1289050"/>
                    <a:gd name="connsiteX47" fmla="*/ 187325 w 488950"/>
                    <a:gd name="connsiteY47" fmla="*/ 1152525 h 1289050"/>
                    <a:gd name="connsiteX48" fmla="*/ 190500 w 488950"/>
                    <a:gd name="connsiteY48" fmla="*/ 1174750 h 1289050"/>
                    <a:gd name="connsiteX49" fmla="*/ 215900 w 488950"/>
                    <a:gd name="connsiteY49" fmla="*/ 1196975 h 1289050"/>
                    <a:gd name="connsiteX50" fmla="*/ 238125 w 488950"/>
                    <a:gd name="connsiteY50" fmla="*/ 1206500 h 1289050"/>
                    <a:gd name="connsiteX51" fmla="*/ 257175 w 488950"/>
                    <a:gd name="connsiteY51" fmla="*/ 1225550 h 1289050"/>
                    <a:gd name="connsiteX52" fmla="*/ 273050 w 488950"/>
                    <a:gd name="connsiteY52" fmla="*/ 1241425 h 1289050"/>
                    <a:gd name="connsiteX53" fmla="*/ 285750 w 488950"/>
                    <a:gd name="connsiteY53" fmla="*/ 1250950 h 1289050"/>
                    <a:gd name="connsiteX54" fmla="*/ 301625 w 488950"/>
                    <a:gd name="connsiteY54" fmla="*/ 1285875 h 1289050"/>
                    <a:gd name="connsiteX55" fmla="*/ 311150 w 488950"/>
                    <a:gd name="connsiteY55" fmla="*/ 1289050 h 1289050"/>
                    <a:gd name="connsiteX56" fmla="*/ 352425 w 488950"/>
                    <a:gd name="connsiteY56" fmla="*/ 1276350 h 1289050"/>
                    <a:gd name="connsiteX57" fmla="*/ 368300 w 488950"/>
                    <a:gd name="connsiteY57" fmla="*/ 1266825 h 1289050"/>
                    <a:gd name="connsiteX58" fmla="*/ 384175 w 488950"/>
                    <a:gd name="connsiteY58" fmla="*/ 1263650 h 1289050"/>
                    <a:gd name="connsiteX59" fmla="*/ 396875 w 488950"/>
                    <a:gd name="connsiteY59" fmla="*/ 1260475 h 1289050"/>
                    <a:gd name="connsiteX60" fmla="*/ 409575 w 488950"/>
                    <a:gd name="connsiteY60" fmla="*/ 1254125 h 1289050"/>
                    <a:gd name="connsiteX61" fmla="*/ 438150 w 488950"/>
                    <a:gd name="connsiteY61" fmla="*/ 1247775 h 1289050"/>
                    <a:gd name="connsiteX62" fmla="*/ 463550 w 488950"/>
                    <a:gd name="connsiteY62" fmla="*/ 1241425 h 1289050"/>
                    <a:gd name="connsiteX63" fmla="*/ 476250 w 488950"/>
                    <a:gd name="connsiteY63" fmla="*/ 1238250 h 1289050"/>
                    <a:gd name="connsiteX64" fmla="*/ 488950 w 488950"/>
                    <a:gd name="connsiteY64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174625 w 488950"/>
                    <a:gd name="connsiteY4" fmla="*/ 136525 h 1289050"/>
                    <a:gd name="connsiteX5" fmla="*/ 177800 w 488950"/>
                    <a:gd name="connsiteY5" fmla="*/ 168275 h 1289050"/>
                    <a:gd name="connsiteX6" fmla="*/ 222250 w 488950"/>
                    <a:gd name="connsiteY6" fmla="*/ 295275 h 1289050"/>
                    <a:gd name="connsiteX7" fmla="*/ 228600 w 488950"/>
                    <a:gd name="connsiteY7" fmla="*/ 317500 h 1289050"/>
                    <a:gd name="connsiteX8" fmla="*/ 225425 w 488950"/>
                    <a:gd name="connsiteY8" fmla="*/ 336550 h 1289050"/>
                    <a:gd name="connsiteX9" fmla="*/ 193675 w 488950"/>
                    <a:gd name="connsiteY9" fmla="*/ 377825 h 1289050"/>
                    <a:gd name="connsiteX10" fmla="*/ 184150 w 488950"/>
                    <a:gd name="connsiteY10" fmla="*/ 403225 h 1289050"/>
                    <a:gd name="connsiteX11" fmla="*/ 177800 w 488950"/>
                    <a:gd name="connsiteY11" fmla="*/ 415925 h 1289050"/>
                    <a:gd name="connsiteX12" fmla="*/ 174625 w 488950"/>
                    <a:gd name="connsiteY12" fmla="*/ 438150 h 1289050"/>
                    <a:gd name="connsiteX13" fmla="*/ 171450 w 488950"/>
                    <a:gd name="connsiteY13" fmla="*/ 463550 h 1289050"/>
                    <a:gd name="connsiteX14" fmla="*/ 161925 w 488950"/>
                    <a:gd name="connsiteY14" fmla="*/ 466725 h 1289050"/>
                    <a:gd name="connsiteX15" fmla="*/ 136525 w 488950"/>
                    <a:gd name="connsiteY15" fmla="*/ 479425 h 1289050"/>
                    <a:gd name="connsiteX16" fmla="*/ 123825 w 488950"/>
                    <a:gd name="connsiteY16" fmla="*/ 485775 h 1289050"/>
                    <a:gd name="connsiteX17" fmla="*/ 111125 w 488950"/>
                    <a:gd name="connsiteY17" fmla="*/ 492125 h 1289050"/>
                    <a:gd name="connsiteX18" fmla="*/ 98425 w 488950"/>
                    <a:gd name="connsiteY18" fmla="*/ 504825 h 1289050"/>
                    <a:gd name="connsiteX19" fmla="*/ 76200 w 488950"/>
                    <a:gd name="connsiteY19" fmla="*/ 514350 h 1289050"/>
                    <a:gd name="connsiteX20" fmla="*/ 41275 w 488950"/>
                    <a:gd name="connsiteY20" fmla="*/ 523875 h 1289050"/>
                    <a:gd name="connsiteX21" fmla="*/ 28575 w 488950"/>
                    <a:gd name="connsiteY21" fmla="*/ 533400 h 1289050"/>
                    <a:gd name="connsiteX22" fmla="*/ 19050 w 488950"/>
                    <a:gd name="connsiteY22" fmla="*/ 536575 h 1289050"/>
                    <a:gd name="connsiteX23" fmla="*/ 9525 w 488950"/>
                    <a:gd name="connsiteY23" fmla="*/ 542925 h 1289050"/>
                    <a:gd name="connsiteX24" fmla="*/ 3175 w 488950"/>
                    <a:gd name="connsiteY24" fmla="*/ 628650 h 1289050"/>
                    <a:gd name="connsiteX25" fmla="*/ 0 w 488950"/>
                    <a:gd name="connsiteY25" fmla="*/ 654050 h 1289050"/>
                    <a:gd name="connsiteX26" fmla="*/ 3175 w 488950"/>
                    <a:gd name="connsiteY26" fmla="*/ 736600 h 1289050"/>
                    <a:gd name="connsiteX27" fmla="*/ 6350 w 488950"/>
                    <a:gd name="connsiteY27" fmla="*/ 746125 h 1289050"/>
                    <a:gd name="connsiteX28" fmla="*/ 19050 w 488950"/>
                    <a:gd name="connsiteY28" fmla="*/ 755650 h 1289050"/>
                    <a:gd name="connsiteX29" fmla="*/ 34925 w 488950"/>
                    <a:gd name="connsiteY29" fmla="*/ 758825 h 1289050"/>
                    <a:gd name="connsiteX30" fmla="*/ 47625 w 488950"/>
                    <a:gd name="connsiteY30" fmla="*/ 762000 h 1289050"/>
                    <a:gd name="connsiteX31" fmla="*/ 104775 w 488950"/>
                    <a:gd name="connsiteY31" fmla="*/ 784225 h 1289050"/>
                    <a:gd name="connsiteX32" fmla="*/ 117475 w 488950"/>
                    <a:gd name="connsiteY32" fmla="*/ 793750 h 1289050"/>
                    <a:gd name="connsiteX33" fmla="*/ 136525 w 488950"/>
                    <a:gd name="connsiteY33" fmla="*/ 803275 h 1289050"/>
                    <a:gd name="connsiteX34" fmla="*/ 165100 w 488950"/>
                    <a:gd name="connsiteY34" fmla="*/ 838200 h 1289050"/>
                    <a:gd name="connsiteX35" fmla="*/ 174625 w 488950"/>
                    <a:gd name="connsiteY35" fmla="*/ 866775 h 1289050"/>
                    <a:gd name="connsiteX36" fmla="*/ 177800 w 488950"/>
                    <a:gd name="connsiteY36" fmla="*/ 879475 h 1289050"/>
                    <a:gd name="connsiteX37" fmla="*/ 190500 w 488950"/>
                    <a:gd name="connsiteY37" fmla="*/ 895350 h 1289050"/>
                    <a:gd name="connsiteX38" fmla="*/ 196850 w 488950"/>
                    <a:gd name="connsiteY38" fmla="*/ 911225 h 1289050"/>
                    <a:gd name="connsiteX39" fmla="*/ 212725 w 488950"/>
                    <a:gd name="connsiteY39" fmla="*/ 939800 h 1289050"/>
                    <a:gd name="connsiteX40" fmla="*/ 228600 w 488950"/>
                    <a:gd name="connsiteY40" fmla="*/ 971550 h 1289050"/>
                    <a:gd name="connsiteX41" fmla="*/ 231775 w 488950"/>
                    <a:gd name="connsiteY41" fmla="*/ 984250 h 1289050"/>
                    <a:gd name="connsiteX42" fmla="*/ 215900 w 488950"/>
                    <a:gd name="connsiteY42" fmla="*/ 1035050 h 1289050"/>
                    <a:gd name="connsiteX43" fmla="*/ 209550 w 488950"/>
                    <a:gd name="connsiteY43" fmla="*/ 1066800 h 1289050"/>
                    <a:gd name="connsiteX44" fmla="*/ 196850 w 488950"/>
                    <a:gd name="connsiteY44" fmla="*/ 1098550 h 1289050"/>
                    <a:gd name="connsiteX45" fmla="*/ 190500 w 488950"/>
                    <a:gd name="connsiteY45" fmla="*/ 1133475 h 1289050"/>
                    <a:gd name="connsiteX46" fmla="*/ 187325 w 488950"/>
                    <a:gd name="connsiteY46" fmla="*/ 1152525 h 1289050"/>
                    <a:gd name="connsiteX47" fmla="*/ 190500 w 488950"/>
                    <a:gd name="connsiteY47" fmla="*/ 1174750 h 1289050"/>
                    <a:gd name="connsiteX48" fmla="*/ 215900 w 488950"/>
                    <a:gd name="connsiteY48" fmla="*/ 1196975 h 1289050"/>
                    <a:gd name="connsiteX49" fmla="*/ 238125 w 488950"/>
                    <a:gd name="connsiteY49" fmla="*/ 1206500 h 1289050"/>
                    <a:gd name="connsiteX50" fmla="*/ 257175 w 488950"/>
                    <a:gd name="connsiteY50" fmla="*/ 1225550 h 1289050"/>
                    <a:gd name="connsiteX51" fmla="*/ 273050 w 488950"/>
                    <a:gd name="connsiteY51" fmla="*/ 1241425 h 1289050"/>
                    <a:gd name="connsiteX52" fmla="*/ 285750 w 488950"/>
                    <a:gd name="connsiteY52" fmla="*/ 1250950 h 1289050"/>
                    <a:gd name="connsiteX53" fmla="*/ 301625 w 488950"/>
                    <a:gd name="connsiteY53" fmla="*/ 1285875 h 1289050"/>
                    <a:gd name="connsiteX54" fmla="*/ 311150 w 488950"/>
                    <a:gd name="connsiteY54" fmla="*/ 1289050 h 1289050"/>
                    <a:gd name="connsiteX55" fmla="*/ 352425 w 488950"/>
                    <a:gd name="connsiteY55" fmla="*/ 1276350 h 1289050"/>
                    <a:gd name="connsiteX56" fmla="*/ 368300 w 488950"/>
                    <a:gd name="connsiteY56" fmla="*/ 1266825 h 1289050"/>
                    <a:gd name="connsiteX57" fmla="*/ 384175 w 488950"/>
                    <a:gd name="connsiteY57" fmla="*/ 1263650 h 1289050"/>
                    <a:gd name="connsiteX58" fmla="*/ 396875 w 488950"/>
                    <a:gd name="connsiteY58" fmla="*/ 1260475 h 1289050"/>
                    <a:gd name="connsiteX59" fmla="*/ 409575 w 488950"/>
                    <a:gd name="connsiteY59" fmla="*/ 1254125 h 1289050"/>
                    <a:gd name="connsiteX60" fmla="*/ 438150 w 488950"/>
                    <a:gd name="connsiteY60" fmla="*/ 1247775 h 1289050"/>
                    <a:gd name="connsiteX61" fmla="*/ 463550 w 488950"/>
                    <a:gd name="connsiteY61" fmla="*/ 1241425 h 1289050"/>
                    <a:gd name="connsiteX62" fmla="*/ 476250 w 488950"/>
                    <a:gd name="connsiteY62" fmla="*/ 1238250 h 1289050"/>
                    <a:gd name="connsiteX63" fmla="*/ 488950 w 488950"/>
                    <a:gd name="connsiteY63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174625 w 488950"/>
                    <a:gd name="connsiteY3" fmla="*/ 136525 h 1289050"/>
                    <a:gd name="connsiteX4" fmla="*/ 177800 w 488950"/>
                    <a:gd name="connsiteY4" fmla="*/ 168275 h 1289050"/>
                    <a:gd name="connsiteX5" fmla="*/ 222250 w 488950"/>
                    <a:gd name="connsiteY5" fmla="*/ 295275 h 1289050"/>
                    <a:gd name="connsiteX6" fmla="*/ 228600 w 488950"/>
                    <a:gd name="connsiteY6" fmla="*/ 317500 h 1289050"/>
                    <a:gd name="connsiteX7" fmla="*/ 225425 w 488950"/>
                    <a:gd name="connsiteY7" fmla="*/ 336550 h 1289050"/>
                    <a:gd name="connsiteX8" fmla="*/ 193675 w 488950"/>
                    <a:gd name="connsiteY8" fmla="*/ 377825 h 1289050"/>
                    <a:gd name="connsiteX9" fmla="*/ 184150 w 488950"/>
                    <a:gd name="connsiteY9" fmla="*/ 403225 h 1289050"/>
                    <a:gd name="connsiteX10" fmla="*/ 177800 w 488950"/>
                    <a:gd name="connsiteY10" fmla="*/ 415925 h 1289050"/>
                    <a:gd name="connsiteX11" fmla="*/ 174625 w 488950"/>
                    <a:gd name="connsiteY11" fmla="*/ 438150 h 1289050"/>
                    <a:gd name="connsiteX12" fmla="*/ 171450 w 488950"/>
                    <a:gd name="connsiteY12" fmla="*/ 463550 h 1289050"/>
                    <a:gd name="connsiteX13" fmla="*/ 161925 w 488950"/>
                    <a:gd name="connsiteY13" fmla="*/ 466725 h 1289050"/>
                    <a:gd name="connsiteX14" fmla="*/ 136525 w 488950"/>
                    <a:gd name="connsiteY14" fmla="*/ 479425 h 1289050"/>
                    <a:gd name="connsiteX15" fmla="*/ 123825 w 488950"/>
                    <a:gd name="connsiteY15" fmla="*/ 485775 h 1289050"/>
                    <a:gd name="connsiteX16" fmla="*/ 111125 w 488950"/>
                    <a:gd name="connsiteY16" fmla="*/ 492125 h 1289050"/>
                    <a:gd name="connsiteX17" fmla="*/ 98425 w 488950"/>
                    <a:gd name="connsiteY17" fmla="*/ 504825 h 1289050"/>
                    <a:gd name="connsiteX18" fmla="*/ 76200 w 488950"/>
                    <a:gd name="connsiteY18" fmla="*/ 514350 h 1289050"/>
                    <a:gd name="connsiteX19" fmla="*/ 41275 w 488950"/>
                    <a:gd name="connsiteY19" fmla="*/ 523875 h 1289050"/>
                    <a:gd name="connsiteX20" fmla="*/ 28575 w 488950"/>
                    <a:gd name="connsiteY20" fmla="*/ 533400 h 1289050"/>
                    <a:gd name="connsiteX21" fmla="*/ 19050 w 488950"/>
                    <a:gd name="connsiteY21" fmla="*/ 536575 h 1289050"/>
                    <a:gd name="connsiteX22" fmla="*/ 9525 w 488950"/>
                    <a:gd name="connsiteY22" fmla="*/ 542925 h 1289050"/>
                    <a:gd name="connsiteX23" fmla="*/ 3175 w 488950"/>
                    <a:gd name="connsiteY23" fmla="*/ 628650 h 1289050"/>
                    <a:gd name="connsiteX24" fmla="*/ 0 w 488950"/>
                    <a:gd name="connsiteY24" fmla="*/ 654050 h 1289050"/>
                    <a:gd name="connsiteX25" fmla="*/ 3175 w 488950"/>
                    <a:gd name="connsiteY25" fmla="*/ 736600 h 1289050"/>
                    <a:gd name="connsiteX26" fmla="*/ 6350 w 488950"/>
                    <a:gd name="connsiteY26" fmla="*/ 746125 h 1289050"/>
                    <a:gd name="connsiteX27" fmla="*/ 19050 w 488950"/>
                    <a:gd name="connsiteY27" fmla="*/ 755650 h 1289050"/>
                    <a:gd name="connsiteX28" fmla="*/ 34925 w 488950"/>
                    <a:gd name="connsiteY28" fmla="*/ 758825 h 1289050"/>
                    <a:gd name="connsiteX29" fmla="*/ 47625 w 488950"/>
                    <a:gd name="connsiteY29" fmla="*/ 762000 h 1289050"/>
                    <a:gd name="connsiteX30" fmla="*/ 104775 w 488950"/>
                    <a:gd name="connsiteY30" fmla="*/ 784225 h 1289050"/>
                    <a:gd name="connsiteX31" fmla="*/ 117475 w 488950"/>
                    <a:gd name="connsiteY31" fmla="*/ 793750 h 1289050"/>
                    <a:gd name="connsiteX32" fmla="*/ 136525 w 488950"/>
                    <a:gd name="connsiteY32" fmla="*/ 803275 h 1289050"/>
                    <a:gd name="connsiteX33" fmla="*/ 165100 w 488950"/>
                    <a:gd name="connsiteY33" fmla="*/ 838200 h 1289050"/>
                    <a:gd name="connsiteX34" fmla="*/ 174625 w 488950"/>
                    <a:gd name="connsiteY34" fmla="*/ 866775 h 1289050"/>
                    <a:gd name="connsiteX35" fmla="*/ 177800 w 488950"/>
                    <a:gd name="connsiteY35" fmla="*/ 879475 h 1289050"/>
                    <a:gd name="connsiteX36" fmla="*/ 190500 w 488950"/>
                    <a:gd name="connsiteY36" fmla="*/ 895350 h 1289050"/>
                    <a:gd name="connsiteX37" fmla="*/ 196850 w 488950"/>
                    <a:gd name="connsiteY37" fmla="*/ 911225 h 1289050"/>
                    <a:gd name="connsiteX38" fmla="*/ 212725 w 488950"/>
                    <a:gd name="connsiteY38" fmla="*/ 939800 h 1289050"/>
                    <a:gd name="connsiteX39" fmla="*/ 228600 w 488950"/>
                    <a:gd name="connsiteY39" fmla="*/ 971550 h 1289050"/>
                    <a:gd name="connsiteX40" fmla="*/ 231775 w 488950"/>
                    <a:gd name="connsiteY40" fmla="*/ 984250 h 1289050"/>
                    <a:gd name="connsiteX41" fmla="*/ 215900 w 488950"/>
                    <a:gd name="connsiteY41" fmla="*/ 1035050 h 1289050"/>
                    <a:gd name="connsiteX42" fmla="*/ 209550 w 488950"/>
                    <a:gd name="connsiteY42" fmla="*/ 1066800 h 1289050"/>
                    <a:gd name="connsiteX43" fmla="*/ 196850 w 488950"/>
                    <a:gd name="connsiteY43" fmla="*/ 1098550 h 1289050"/>
                    <a:gd name="connsiteX44" fmla="*/ 190500 w 488950"/>
                    <a:gd name="connsiteY44" fmla="*/ 1133475 h 1289050"/>
                    <a:gd name="connsiteX45" fmla="*/ 187325 w 488950"/>
                    <a:gd name="connsiteY45" fmla="*/ 1152525 h 1289050"/>
                    <a:gd name="connsiteX46" fmla="*/ 190500 w 488950"/>
                    <a:gd name="connsiteY46" fmla="*/ 1174750 h 1289050"/>
                    <a:gd name="connsiteX47" fmla="*/ 215900 w 488950"/>
                    <a:gd name="connsiteY47" fmla="*/ 1196975 h 1289050"/>
                    <a:gd name="connsiteX48" fmla="*/ 238125 w 488950"/>
                    <a:gd name="connsiteY48" fmla="*/ 1206500 h 1289050"/>
                    <a:gd name="connsiteX49" fmla="*/ 257175 w 488950"/>
                    <a:gd name="connsiteY49" fmla="*/ 1225550 h 1289050"/>
                    <a:gd name="connsiteX50" fmla="*/ 273050 w 488950"/>
                    <a:gd name="connsiteY50" fmla="*/ 1241425 h 1289050"/>
                    <a:gd name="connsiteX51" fmla="*/ 285750 w 488950"/>
                    <a:gd name="connsiteY51" fmla="*/ 1250950 h 1289050"/>
                    <a:gd name="connsiteX52" fmla="*/ 301625 w 488950"/>
                    <a:gd name="connsiteY52" fmla="*/ 1285875 h 1289050"/>
                    <a:gd name="connsiteX53" fmla="*/ 311150 w 488950"/>
                    <a:gd name="connsiteY53" fmla="*/ 1289050 h 1289050"/>
                    <a:gd name="connsiteX54" fmla="*/ 352425 w 488950"/>
                    <a:gd name="connsiteY54" fmla="*/ 1276350 h 1289050"/>
                    <a:gd name="connsiteX55" fmla="*/ 368300 w 488950"/>
                    <a:gd name="connsiteY55" fmla="*/ 1266825 h 1289050"/>
                    <a:gd name="connsiteX56" fmla="*/ 384175 w 488950"/>
                    <a:gd name="connsiteY56" fmla="*/ 1263650 h 1289050"/>
                    <a:gd name="connsiteX57" fmla="*/ 396875 w 488950"/>
                    <a:gd name="connsiteY57" fmla="*/ 1260475 h 1289050"/>
                    <a:gd name="connsiteX58" fmla="*/ 409575 w 488950"/>
                    <a:gd name="connsiteY58" fmla="*/ 1254125 h 1289050"/>
                    <a:gd name="connsiteX59" fmla="*/ 438150 w 488950"/>
                    <a:gd name="connsiteY59" fmla="*/ 1247775 h 1289050"/>
                    <a:gd name="connsiteX60" fmla="*/ 463550 w 488950"/>
                    <a:gd name="connsiteY60" fmla="*/ 1241425 h 1289050"/>
                    <a:gd name="connsiteX61" fmla="*/ 476250 w 488950"/>
                    <a:gd name="connsiteY61" fmla="*/ 1238250 h 1289050"/>
                    <a:gd name="connsiteX62" fmla="*/ 488950 w 488950"/>
                    <a:gd name="connsiteY62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174625 w 488950"/>
                    <a:gd name="connsiteY2" fmla="*/ 136525 h 1289050"/>
                    <a:gd name="connsiteX3" fmla="*/ 177800 w 488950"/>
                    <a:gd name="connsiteY3" fmla="*/ 168275 h 1289050"/>
                    <a:gd name="connsiteX4" fmla="*/ 222250 w 488950"/>
                    <a:gd name="connsiteY4" fmla="*/ 295275 h 1289050"/>
                    <a:gd name="connsiteX5" fmla="*/ 228600 w 488950"/>
                    <a:gd name="connsiteY5" fmla="*/ 317500 h 1289050"/>
                    <a:gd name="connsiteX6" fmla="*/ 225425 w 488950"/>
                    <a:gd name="connsiteY6" fmla="*/ 336550 h 1289050"/>
                    <a:gd name="connsiteX7" fmla="*/ 193675 w 488950"/>
                    <a:gd name="connsiteY7" fmla="*/ 377825 h 1289050"/>
                    <a:gd name="connsiteX8" fmla="*/ 184150 w 488950"/>
                    <a:gd name="connsiteY8" fmla="*/ 403225 h 1289050"/>
                    <a:gd name="connsiteX9" fmla="*/ 177800 w 488950"/>
                    <a:gd name="connsiteY9" fmla="*/ 415925 h 1289050"/>
                    <a:gd name="connsiteX10" fmla="*/ 174625 w 488950"/>
                    <a:gd name="connsiteY10" fmla="*/ 438150 h 1289050"/>
                    <a:gd name="connsiteX11" fmla="*/ 171450 w 488950"/>
                    <a:gd name="connsiteY11" fmla="*/ 463550 h 1289050"/>
                    <a:gd name="connsiteX12" fmla="*/ 161925 w 488950"/>
                    <a:gd name="connsiteY12" fmla="*/ 466725 h 1289050"/>
                    <a:gd name="connsiteX13" fmla="*/ 136525 w 488950"/>
                    <a:gd name="connsiteY13" fmla="*/ 479425 h 1289050"/>
                    <a:gd name="connsiteX14" fmla="*/ 123825 w 488950"/>
                    <a:gd name="connsiteY14" fmla="*/ 485775 h 1289050"/>
                    <a:gd name="connsiteX15" fmla="*/ 111125 w 488950"/>
                    <a:gd name="connsiteY15" fmla="*/ 492125 h 1289050"/>
                    <a:gd name="connsiteX16" fmla="*/ 98425 w 488950"/>
                    <a:gd name="connsiteY16" fmla="*/ 504825 h 1289050"/>
                    <a:gd name="connsiteX17" fmla="*/ 76200 w 488950"/>
                    <a:gd name="connsiteY17" fmla="*/ 514350 h 1289050"/>
                    <a:gd name="connsiteX18" fmla="*/ 41275 w 488950"/>
                    <a:gd name="connsiteY18" fmla="*/ 523875 h 1289050"/>
                    <a:gd name="connsiteX19" fmla="*/ 28575 w 488950"/>
                    <a:gd name="connsiteY19" fmla="*/ 533400 h 1289050"/>
                    <a:gd name="connsiteX20" fmla="*/ 19050 w 488950"/>
                    <a:gd name="connsiteY20" fmla="*/ 536575 h 1289050"/>
                    <a:gd name="connsiteX21" fmla="*/ 9525 w 488950"/>
                    <a:gd name="connsiteY21" fmla="*/ 542925 h 1289050"/>
                    <a:gd name="connsiteX22" fmla="*/ 3175 w 488950"/>
                    <a:gd name="connsiteY22" fmla="*/ 628650 h 1289050"/>
                    <a:gd name="connsiteX23" fmla="*/ 0 w 488950"/>
                    <a:gd name="connsiteY23" fmla="*/ 654050 h 1289050"/>
                    <a:gd name="connsiteX24" fmla="*/ 3175 w 488950"/>
                    <a:gd name="connsiteY24" fmla="*/ 736600 h 1289050"/>
                    <a:gd name="connsiteX25" fmla="*/ 6350 w 488950"/>
                    <a:gd name="connsiteY25" fmla="*/ 746125 h 1289050"/>
                    <a:gd name="connsiteX26" fmla="*/ 19050 w 488950"/>
                    <a:gd name="connsiteY26" fmla="*/ 755650 h 1289050"/>
                    <a:gd name="connsiteX27" fmla="*/ 34925 w 488950"/>
                    <a:gd name="connsiteY27" fmla="*/ 758825 h 1289050"/>
                    <a:gd name="connsiteX28" fmla="*/ 47625 w 488950"/>
                    <a:gd name="connsiteY28" fmla="*/ 762000 h 1289050"/>
                    <a:gd name="connsiteX29" fmla="*/ 104775 w 488950"/>
                    <a:gd name="connsiteY29" fmla="*/ 784225 h 1289050"/>
                    <a:gd name="connsiteX30" fmla="*/ 117475 w 488950"/>
                    <a:gd name="connsiteY30" fmla="*/ 793750 h 1289050"/>
                    <a:gd name="connsiteX31" fmla="*/ 136525 w 488950"/>
                    <a:gd name="connsiteY31" fmla="*/ 803275 h 1289050"/>
                    <a:gd name="connsiteX32" fmla="*/ 165100 w 488950"/>
                    <a:gd name="connsiteY32" fmla="*/ 838200 h 1289050"/>
                    <a:gd name="connsiteX33" fmla="*/ 174625 w 488950"/>
                    <a:gd name="connsiteY33" fmla="*/ 866775 h 1289050"/>
                    <a:gd name="connsiteX34" fmla="*/ 177800 w 488950"/>
                    <a:gd name="connsiteY34" fmla="*/ 879475 h 1289050"/>
                    <a:gd name="connsiteX35" fmla="*/ 190500 w 488950"/>
                    <a:gd name="connsiteY35" fmla="*/ 895350 h 1289050"/>
                    <a:gd name="connsiteX36" fmla="*/ 196850 w 488950"/>
                    <a:gd name="connsiteY36" fmla="*/ 911225 h 1289050"/>
                    <a:gd name="connsiteX37" fmla="*/ 212725 w 488950"/>
                    <a:gd name="connsiteY37" fmla="*/ 939800 h 1289050"/>
                    <a:gd name="connsiteX38" fmla="*/ 228600 w 488950"/>
                    <a:gd name="connsiteY38" fmla="*/ 971550 h 1289050"/>
                    <a:gd name="connsiteX39" fmla="*/ 231775 w 488950"/>
                    <a:gd name="connsiteY39" fmla="*/ 984250 h 1289050"/>
                    <a:gd name="connsiteX40" fmla="*/ 215900 w 488950"/>
                    <a:gd name="connsiteY40" fmla="*/ 1035050 h 1289050"/>
                    <a:gd name="connsiteX41" fmla="*/ 209550 w 488950"/>
                    <a:gd name="connsiteY41" fmla="*/ 1066800 h 1289050"/>
                    <a:gd name="connsiteX42" fmla="*/ 196850 w 488950"/>
                    <a:gd name="connsiteY42" fmla="*/ 1098550 h 1289050"/>
                    <a:gd name="connsiteX43" fmla="*/ 190500 w 488950"/>
                    <a:gd name="connsiteY43" fmla="*/ 1133475 h 1289050"/>
                    <a:gd name="connsiteX44" fmla="*/ 187325 w 488950"/>
                    <a:gd name="connsiteY44" fmla="*/ 1152525 h 1289050"/>
                    <a:gd name="connsiteX45" fmla="*/ 190500 w 488950"/>
                    <a:gd name="connsiteY45" fmla="*/ 1174750 h 1289050"/>
                    <a:gd name="connsiteX46" fmla="*/ 215900 w 488950"/>
                    <a:gd name="connsiteY46" fmla="*/ 1196975 h 1289050"/>
                    <a:gd name="connsiteX47" fmla="*/ 238125 w 488950"/>
                    <a:gd name="connsiteY47" fmla="*/ 1206500 h 1289050"/>
                    <a:gd name="connsiteX48" fmla="*/ 257175 w 488950"/>
                    <a:gd name="connsiteY48" fmla="*/ 1225550 h 1289050"/>
                    <a:gd name="connsiteX49" fmla="*/ 273050 w 488950"/>
                    <a:gd name="connsiteY49" fmla="*/ 1241425 h 1289050"/>
                    <a:gd name="connsiteX50" fmla="*/ 285750 w 488950"/>
                    <a:gd name="connsiteY50" fmla="*/ 1250950 h 1289050"/>
                    <a:gd name="connsiteX51" fmla="*/ 301625 w 488950"/>
                    <a:gd name="connsiteY51" fmla="*/ 1285875 h 1289050"/>
                    <a:gd name="connsiteX52" fmla="*/ 311150 w 488950"/>
                    <a:gd name="connsiteY52" fmla="*/ 1289050 h 1289050"/>
                    <a:gd name="connsiteX53" fmla="*/ 352425 w 488950"/>
                    <a:gd name="connsiteY53" fmla="*/ 1276350 h 1289050"/>
                    <a:gd name="connsiteX54" fmla="*/ 368300 w 488950"/>
                    <a:gd name="connsiteY54" fmla="*/ 1266825 h 1289050"/>
                    <a:gd name="connsiteX55" fmla="*/ 384175 w 488950"/>
                    <a:gd name="connsiteY55" fmla="*/ 1263650 h 1289050"/>
                    <a:gd name="connsiteX56" fmla="*/ 396875 w 488950"/>
                    <a:gd name="connsiteY56" fmla="*/ 1260475 h 1289050"/>
                    <a:gd name="connsiteX57" fmla="*/ 409575 w 488950"/>
                    <a:gd name="connsiteY57" fmla="*/ 1254125 h 1289050"/>
                    <a:gd name="connsiteX58" fmla="*/ 438150 w 488950"/>
                    <a:gd name="connsiteY58" fmla="*/ 1247775 h 1289050"/>
                    <a:gd name="connsiteX59" fmla="*/ 463550 w 488950"/>
                    <a:gd name="connsiteY59" fmla="*/ 1241425 h 1289050"/>
                    <a:gd name="connsiteX60" fmla="*/ 476250 w 488950"/>
                    <a:gd name="connsiteY60" fmla="*/ 1238250 h 1289050"/>
                    <a:gd name="connsiteX61" fmla="*/ 488950 w 488950"/>
                    <a:gd name="connsiteY61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177800 w 488950"/>
                    <a:gd name="connsiteY2" fmla="*/ 168275 h 1289050"/>
                    <a:gd name="connsiteX3" fmla="*/ 222250 w 488950"/>
                    <a:gd name="connsiteY3" fmla="*/ 295275 h 1289050"/>
                    <a:gd name="connsiteX4" fmla="*/ 228600 w 488950"/>
                    <a:gd name="connsiteY4" fmla="*/ 317500 h 1289050"/>
                    <a:gd name="connsiteX5" fmla="*/ 225425 w 488950"/>
                    <a:gd name="connsiteY5" fmla="*/ 336550 h 1289050"/>
                    <a:gd name="connsiteX6" fmla="*/ 193675 w 488950"/>
                    <a:gd name="connsiteY6" fmla="*/ 377825 h 1289050"/>
                    <a:gd name="connsiteX7" fmla="*/ 184150 w 488950"/>
                    <a:gd name="connsiteY7" fmla="*/ 403225 h 1289050"/>
                    <a:gd name="connsiteX8" fmla="*/ 177800 w 488950"/>
                    <a:gd name="connsiteY8" fmla="*/ 415925 h 1289050"/>
                    <a:gd name="connsiteX9" fmla="*/ 174625 w 488950"/>
                    <a:gd name="connsiteY9" fmla="*/ 438150 h 1289050"/>
                    <a:gd name="connsiteX10" fmla="*/ 171450 w 488950"/>
                    <a:gd name="connsiteY10" fmla="*/ 463550 h 1289050"/>
                    <a:gd name="connsiteX11" fmla="*/ 161925 w 488950"/>
                    <a:gd name="connsiteY11" fmla="*/ 466725 h 1289050"/>
                    <a:gd name="connsiteX12" fmla="*/ 136525 w 488950"/>
                    <a:gd name="connsiteY12" fmla="*/ 479425 h 1289050"/>
                    <a:gd name="connsiteX13" fmla="*/ 123825 w 488950"/>
                    <a:gd name="connsiteY13" fmla="*/ 485775 h 1289050"/>
                    <a:gd name="connsiteX14" fmla="*/ 111125 w 488950"/>
                    <a:gd name="connsiteY14" fmla="*/ 492125 h 1289050"/>
                    <a:gd name="connsiteX15" fmla="*/ 98425 w 488950"/>
                    <a:gd name="connsiteY15" fmla="*/ 504825 h 1289050"/>
                    <a:gd name="connsiteX16" fmla="*/ 76200 w 488950"/>
                    <a:gd name="connsiteY16" fmla="*/ 514350 h 1289050"/>
                    <a:gd name="connsiteX17" fmla="*/ 41275 w 488950"/>
                    <a:gd name="connsiteY17" fmla="*/ 523875 h 1289050"/>
                    <a:gd name="connsiteX18" fmla="*/ 28575 w 488950"/>
                    <a:gd name="connsiteY18" fmla="*/ 533400 h 1289050"/>
                    <a:gd name="connsiteX19" fmla="*/ 19050 w 488950"/>
                    <a:gd name="connsiteY19" fmla="*/ 536575 h 1289050"/>
                    <a:gd name="connsiteX20" fmla="*/ 9525 w 488950"/>
                    <a:gd name="connsiteY20" fmla="*/ 542925 h 1289050"/>
                    <a:gd name="connsiteX21" fmla="*/ 3175 w 488950"/>
                    <a:gd name="connsiteY21" fmla="*/ 628650 h 1289050"/>
                    <a:gd name="connsiteX22" fmla="*/ 0 w 488950"/>
                    <a:gd name="connsiteY22" fmla="*/ 654050 h 1289050"/>
                    <a:gd name="connsiteX23" fmla="*/ 3175 w 488950"/>
                    <a:gd name="connsiteY23" fmla="*/ 736600 h 1289050"/>
                    <a:gd name="connsiteX24" fmla="*/ 6350 w 488950"/>
                    <a:gd name="connsiteY24" fmla="*/ 746125 h 1289050"/>
                    <a:gd name="connsiteX25" fmla="*/ 19050 w 488950"/>
                    <a:gd name="connsiteY25" fmla="*/ 755650 h 1289050"/>
                    <a:gd name="connsiteX26" fmla="*/ 34925 w 488950"/>
                    <a:gd name="connsiteY26" fmla="*/ 758825 h 1289050"/>
                    <a:gd name="connsiteX27" fmla="*/ 47625 w 488950"/>
                    <a:gd name="connsiteY27" fmla="*/ 762000 h 1289050"/>
                    <a:gd name="connsiteX28" fmla="*/ 104775 w 488950"/>
                    <a:gd name="connsiteY28" fmla="*/ 784225 h 1289050"/>
                    <a:gd name="connsiteX29" fmla="*/ 117475 w 488950"/>
                    <a:gd name="connsiteY29" fmla="*/ 793750 h 1289050"/>
                    <a:gd name="connsiteX30" fmla="*/ 136525 w 488950"/>
                    <a:gd name="connsiteY30" fmla="*/ 803275 h 1289050"/>
                    <a:gd name="connsiteX31" fmla="*/ 165100 w 488950"/>
                    <a:gd name="connsiteY31" fmla="*/ 838200 h 1289050"/>
                    <a:gd name="connsiteX32" fmla="*/ 174625 w 488950"/>
                    <a:gd name="connsiteY32" fmla="*/ 866775 h 1289050"/>
                    <a:gd name="connsiteX33" fmla="*/ 177800 w 488950"/>
                    <a:gd name="connsiteY33" fmla="*/ 879475 h 1289050"/>
                    <a:gd name="connsiteX34" fmla="*/ 190500 w 488950"/>
                    <a:gd name="connsiteY34" fmla="*/ 895350 h 1289050"/>
                    <a:gd name="connsiteX35" fmla="*/ 196850 w 488950"/>
                    <a:gd name="connsiteY35" fmla="*/ 911225 h 1289050"/>
                    <a:gd name="connsiteX36" fmla="*/ 212725 w 488950"/>
                    <a:gd name="connsiteY36" fmla="*/ 939800 h 1289050"/>
                    <a:gd name="connsiteX37" fmla="*/ 228600 w 488950"/>
                    <a:gd name="connsiteY37" fmla="*/ 971550 h 1289050"/>
                    <a:gd name="connsiteX38" fmla="*/ 231775 w 488950"/>
                    <a:gd name="connsiteY38" fmla="*/ 984250 h 1289050"/>
                    <a:gd name="connsiteX39" fmla="*/ 215900 w 488950"/>
                    <a:gd name="connsiteY39" fmla="*/ 1035050 h 1289050"/>
                    <a:gd name="connsiteX40" fmla="*/ 209550 w 488950"/>
                    <a:gd name="connsiteY40" fmla="*/ 1066800 h 1289050"/>
                    <a:gd name="connsiteX41" fmla="*/ 196850 w 488950"/>
                    <a:gd name="connsiteY41" fmla="*/ 1098550 h 1289050"/>
                    <a:gd name="connsiteX42" fmla="*/ 190500 w 488950"/>
                    <a:gd name="connsiteY42" fmla="*/ 1133475 h 1289050"/>
                    <a:gd name="connsiteX43" fmla="*/ 187325 w 488950"/>
                    <a:gd name="connsiteY43" fmla="*/ 1152525 h 1289050"/>
                    <a:gd name="connsiteX44" fmla="*/ 190500 w 488950"/>
                    <a:gd name="connsiteY44" fmla="*/ 1174750 h 1289050"/>
                    <a:gd name="connsiteX45" fmla="*/ 215900 w 488950"/>
                    <a:gd name="connsiteY45" fmla="*/ 1196975 h 1289050"/>
                    <a:gd name="connsiteX46" fmla="*/ 238125 w 488950"/>
                    <a:gd name="connsiteY46" fmla="*/ 1206500 h 1289050"/>
                    <a:gd name="connsiteX47" fmla="*/ 257175 w 488950"/>
                    <a:gd name="connsiteY47" fmla="*/ 1225550 h 1289050"/>
                    <a:gd name="connsiteX48" fmla="*/ 273050 w 488950"/>
                    <a:gd name="connsiteY48" fmla="*/ 1241425 h 1289050"/>
                    <a:gd name="connsiteX49" fmla="*/ 285750 w 488950"/>
                    <a:gd name="connsiteY49" fmla="*/ 1250950 h 1289050"/>
                    <a:gd name="connsiteX50" fmla="*/ 301625 w 488950"/>
                    <a:gd name="connsiteY50" fmla="*/ 1285875 h 1289050"/>
                    <a:gd name="connsiteX51" fmla="*/ 311150 w 488950"/>
                    <a:gd name="connsiteY51" fmla="*/ 1289050 h 1289050"/>
                    <a:gd name="connsiteX52" fmla="*/ 352425 w 488950"/>
                    <a:gd name="connsiteY52" fmla="*/ 1276350 h 1289050"/>
                    <a:gd name="connsiteX53" fmla="*/ 368300 w 488950"/>
                    <a:gd name="connsiteY53" fmla="*/ 1266825 h 1289050"/>
                    <a:gd name="connsiteX54" fmla="*/ 384175 w 488950"/>
                    <a:gd name="connsiteY54" fmla="*/ 1263650 h 1289050"/>
                    <a:gd name="connsiteX55" fmla="*/ 396875 w 488950"/>
                    <a:gd name="connsiteY55" fmla="*/ 1260475 h 1289050"/>
                    <a:gd name="connsiteX56" fmla="*/ 409575 w 488950"/>
                    <a:gd name="connsiteY56" fmla="*/ 1254125 h 1289050"/>
                    <a:gd name="connsiteX57" fmla="*/ 438150 w 488950"/>
                    <a:gd name="connsiteY57" fmla="*/ 1247775 h 1289050"/>
                    <a:gd name="connsiteX58" fmla="*/ 463550 w 488950"/>
                    <a:gd name="connsiteY58" fmla="*/ 1241425 h 1289050"/>
                    <a:gd name="connsiteX59" fmla="*/ 476250 w 488950"/>
                    <a:gd name="connsiteY59" fmla="*/ 1238250 h 1289050"/>
                    <a:gd name="connsiteX60" fmla="*/ 488950 w 488950"/>
                    <a:gd name="connsiteY60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225425 w 488950"/>
                    <a:gd name="connsiteY4" fmla="*/ 336550 h 1289050"/>
                    <a:gd name="connsiteX5" fmla="*/ 193675 w 488950"/>
                    <a:gd name="connsiteY5" fmla="*/ 377825 h 1289050"/>
                    <a:gd name="connsiteX6" fmla="*/ 184150 w 488950"/>
                    <a:gd name="connsiteY6" fmla="*/ 403225 h 1289050"/>
                    <a:gd name="connsiteX7" fmla="*/ 177800 w 488950"/>
                    <a:gd name="connsiteY7" fmla="*/ 415925 h 1289050"/>
                    <a:gd name="connsiteX8" fmla="*/ 174625 w 488950"/>
                    <a:gd name="connsiteY8" fmla="*/ 438150 h 1289050"/>
                    <a:gd name="connsiteX9" fmla="*/ 171450 w 488950"/>
                    <a:gd name="connsiteY9" fmla="*/ 463550 h 1289050"/>
                    <a:gd name="connsiteX10" fmla="*/ 161925 w 488950"/>
                    <a:gd name="connsiteY10" fmla="*/ 466725 h 1289050"/>
                    <a:gd name="connsiteX11" fmla="*/ 136525 w 488950"/>
                    <a:gd name="connsiteY11" fmla="*/ 479425 h 1289050"/>
                    <a:gd name="connsiteX12" fmla="*/ 123825 w 488950"/>
                    <a:gd name="connsiteY12" fmla="*/ 485775 h 1289050"/>
                    <a:gd name="connsiteX13" fmla="*/ 111125 w 488950"/>
                    <a:gd name="connsiteY13" fmla="*/ 492125 h 1289050"/>
                    <a:gd name="connsiteX14" fmla="*/ 98425 w 488950"/>
                    <a:gd name="connsiteY14" fmla="*/ 504825 h 1289050"/>
                    <a:gd name="connsiteX15" fmla="*/ 76200 w 488950"/>
                    <a:gd name="connsiteY15" fmla="*/ 514350 h 1289050"/>
                    <a:gd name="connsiteX16" fmla="*/ 41275 w 488950"/>
                    <a:gd name="connsiteY16" fmla="*/ 523875 h 1289050"/>
                    <a:gd name="connsiteX17" fmla="*/ 28575 w 488950"/>
                    <a:gd name="connsiteY17" fmla="*/ 533400 h 1289050"/>
                    <a:gd name="connsiteX18" fmla="*/ 19050 w 488950"/>
                    <a:gd name="connsiteY18" fmla="*/ 536575 h 1289050"/>
                    <a:gd name="connsiteX19" fmla="*/ 9525 w 488950"/>
                    <a:gd name="connsiteY19" fmla="*/ 542925 h 1289050"/>
                    <a:gd name="connsiteX20" fmla="*/ 3175 w 488950"/>
                    <a:gd name="connsiteY20" fmla="*/ 628650 h 1289050"/>
                    <a:gd name="connsiteX21" fmla="*/ 0 w 488950"/>
                    <a:gd name="connsiteY21" fmla="*/ 654050 h 1289050"/>
                    <a:gd name="connsiteX22" fmla="*/ 3175 w 488950"/>
                    <a:gd name="connsiteY22" fmla="*/ 736600 h 1289050"/>
                    <a:gd name="connsiteX23" fmla="*/ 6350 w 488950"/>
                    <a:gd name="connsiteY23" fmla="*/ 746125 h 1289050"/>
                    <a:gd name="connsiteX24" fmla="*/ 19050 w 488950"/>
                    <a:gd name="connsiteY24" fmla="*/ 755650 h 1289050"/>
                    <a:gd name="connsiteX25" fmla="*/ 34925 w 488950"/>
                    <a:gd name="connsiteY25" fmla="*/ 758825 h 1289050"/>
                    <a:gd name="connsiteX26" fmla="*/ 47625 w 488950"/>
                    <a:gd name="connsiteY26" fmla="*/ 762000 h 1289050"/>
                    <a:gd name="connsiteX27" fmla="*/ 104775 w 488950"/>
                    <a:gd name="connsiteY27" fmla="*/ 784225 h 1289050"/>
                    <a:gd name="connsiteX28" fmla="*/ 117475 w 488950"/>
                    <a:gd name="connsiteY28" fmla="*/ 793750 h 1289050"/>
                    <a:gd name="connsiteX29" fmla="*/ 136525 w 488950"/>
                    <a:gd name="connsiteY29" fmla="*/ 803275 h 1289050"/>
                    <a:gd name="connsiteX30" fmla="*/ 165100 w 488950"/>
                    <a:gd name="connsiteY30" fmla="*/ 838200 h 1289050"/>
                    <a:gd name="connsiteX31" fmla="*/ 174625 w 488950"/>
                    <a:gd name="connsiteY31" fmla="*/ 866775 h 1289050"/>
                    <a:gd name="connsiteX32" fmla="*/ 177800 w 488950"/>
                    <a:gd name="connsiteY32" fmla="*/ 879475 h 1289050"/>
                    <a:gd name="connsiteX33" fmla="*/ 190500 w 488950"/>
                    <a:gd name="connsiteY33" fmla="*/ 895350 h 1289050"/>
                    <a:gd name="connsiteX34" fmla="*/ 196850 w 488950"/>
                    <a:gd name="connsiteY34" fmla="*/ 911225 h 1289050"/>
                    <a:gd name="connsiteX35" fmla="*/ 212725 w 488950"/>
                    <a:gd name="connsiteY35" fmla="*/ 939800 h 1289050"/>
                    <a:gd name="connsiteX36" fmla="*/ 228600 w 488950"/>
                    <a:gd name="connsiteY36" fmla="*/ 971550 h 1289050"/>
                    <a:gd name="connsiteX37" fmla="*/ 231775 w 488950"/>
                    <a:gd name="connsiteY37" fmla="*/ 984250 h 1289050"/>
                    <a:gd name="connsiteX38" fmla="*/ 215900 w 488950"/>
                    <a:gd name="connsiteY38" fmla="*/ 1035050 h 1289050"/>
                    <a:gd name="connsiteX39" fmla="*/ 209550 w 488950"/>
                    <a:gd name="connsiteY39" fmla="*/ 1066800 h 1289050"/>
                    <a:gd name="connsiteX40" fmla="*/ 196850 w 488950"/>
                    <a:gd name="connsiteY40" fmla="*/ 1098550 h 1289050"/>
                    <a:gd name="connsiteX41" fmla="*/ 190500 w 488950"/>
                    <a:gd name="connsiteY41" fmla="*/ 1133475 h 1289050"/>
                    <a:gd name="connsiteX42" fmla="*/ 187325 w 488950"/>
                    <a:gd name="connsiteY42" fmla="*/ 1152525 h 1289050"/>
                    <a:gd name="connsiteX43" fmla="*/ 190500 w 488950"/>
                    <a:gd name="connsiteY43" fmla="*/ 1174750 h 1289050"/>
                    <a:gd name="connsiteX44" fmla="*/ 215900 w 488950"/>
                    <a:gd name="connsiteY44" fmla="*/ 1196975 h 1289050"/>
                    <a:gd name="connsiteX45" fmla="*/ 238125 w 488950"/>
                    <a:gd name="connsiteY45" fmla="*/ 1206500 h 1289050"/>
                    <a:gd name="connsiteX46" fmla="*/ 257175 w 488950"/>
                    <a:gd name="connsiteY46" fmla="*/ 1225550 h 1289050"/>
                    <a:gd name="connsiteX47" fmla="*/ 273050 w 488950"/>
                    <a:gd name="connsiteY47" fmla="*/ 1241425 h 1289050"/>
                    <a:gd name="connsiteX48" fmla="*/ 285750 w 488950"/>
                    <a:gd name="connsiteY48" fmla="*/ 1250950 h 1289050"/>
                    <a:gd name="connsiteX49" fmla="*/ 301625 w 488950"/>
                    <a:gd name="connsiteY49" fmla="*/ 1285875 h 1289050"/>
                    <a:gd name="connsiteX50" fmla="*/ 311150 w 488950"/>
                    <a:gd name="connsiteY50" fmla="*/ 1289050 h 1289050"/>
                    <a:gd name="connsiteX51" fmla="*/ 352425 w 488950"/>
                    <a:gd name="connsiteY51" fmla="*/ 1276350 h 1289050"/>
                    <a:gd name="connsiteX52" fmla="*/ 368300 w 488950"/>
                    <a:gd name="connsiteY52" fmla="*/ 1266825 h 1289050"/>
                    <a:gd name="connsiteX53" fmla="*/ 384175 w 488950"/>
                    <a:gd name="connsiteY53" fmla="*/ 1263650 h 1289050"/>
                    <a:gd name="connsiteX54" fmla="*/ 396875 w 488950"/>
                    <a:gd name="connsiteY54" fmla="*/ 1260475 h 1289050"/>
                    <a:gd name="connsiteX55" fmla="*/ 409575 w 488950"/>
                    <a:gd name="connsiteY55" fmla="*/ 1254125 h 1289050"/>
                    <a:gd name="connsiteX56" fmla="*/ 438150 w 488950"/>
                    <a:gd name="connsiteY56" fmla="*/ 1247775 h 1289050"/>
                    <a:gd name="connsiteX57" fmla="*/ 463550 w 488950"/>
                    <a:gd name="connsiteY57" fmla="*/ 1241425 h 1289050"/>
                    <a:gd name="connsiteX58" fmla="*/ 476250 w 488950"/>
                    <a:gd name="connsiteY58" fmla="*/ 1238250 h 1289050"/>
                    <a:gd name="connsiteX59" fmla="*/ 488950 w 488950"/>
                    <a:gd name="connsiteY5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225425 w 488950"/>
                    <a:gd name="connsiteY4" fmla="*/ 336550 h 1289050"/>
                    <a:gd name="connsiteX5" fmla="*/ 193675 w 488950"/>
                    <a:gd name="connsiteY5" fmla="*/ 377825 h 1289050"/>
                    <a:gd name="connsiteX6" fmla="*/ 184150 w 488950"/>
                    <a:gd name="connsiteY6" fmla="*/ 403225 h 1289050"/>
                    <a:gd name="connsiteX7" fmla="*/ 177800 w 488950"/>
                    <a:gd name="connsiteY7" fmla="*/ 415925 h 1289050"/>
                    <a:gd name="connsiteX8" fmla="*/ 174625 w 488950"/>
                    <a:gd name="connsiteY8" fmla="*/ 438150 h 1289050"/>
                    <a:gd name="connsiteX9" fmla="*/ 171450 w 488950"/>
                    <a:gd name="connsiteY9" fmla="*/ 463550 h 1289050"/>
                    <a:gd name="connsiteX10" fmla="*/ 161925 w 488950"/>
                    <a:gd name="connsiteY10" fmla="*/ 466725 h 1289050"/>
                    <a:gd name="connsiteX11" fmla="*/ 136525 w 488950"/>
                    <a:gd name="connsiteY11" fmla="*/ 479425 h 1289050"/>
                    <a:gd name="connsiteX12" fmla="*/ 123825 w 488950"/>
                    <a:gd name="connsiteY12" fmla="*/ 485775 h 1289050"/>
                    <a:gd name="connsiteX13" fmla="*/ 111125 w 488950"/>
                    <a:gd name="connsiteY13" fmla="*/ 492125 h 1289050"/>
                    <a:gd name="connsiteX14" fmla="*/ 98425 w 488950"/>
                    <a:gd name="connsiteY14" fmla="*/ 504825 h 1289050"/>
                    <a:gd name="connsiteX15" fmla="*/ 76200 w 488950"/>
                    <a:gd name="connsiteY15" fmla="*/ 514350 h 1289050"/>
                    <a:gd name="connsiteX16" fmla="*/ 41275 w 488950"/>
                    <a:gd name="connsiteY16" fmla="*/ 523875 h 1289050"/>
                    <a:gd name="connsiteX17" fmla="*/ 28575 w 488950"/>
                    <a:gd name="connsiteY17" fmla="*/ 533400 h 1289050"/>
                    <a:gd name="connsiteX18" fmla="*/ 19050 w 488950"/>
                    <a:gd name="connsiteY18" fmla="*/ 536575 h 1289050"/>
                    <a:gd name="connsiteX19" fmla="*/ 9525 w 488950"/>
                    <a:gd name="connsiteY19" fmla="*/ 542925 h 1289050"/>
                    <a:gd name="connsiteX20" fmla="*/ 3175 w 488950"/>
                    <a:gd name="connsiteY20" fmla="*/ 628650 h 1289050"/>
                    <a:gd name="connsiteX21" fmla="*/ 0 w 488950"/>
                    <a:gd name="connsiteY21" fmla="*/ 654050 h 1289050"/>
                    <a:gd name="connsiteX22" fmla="*/ 3175 w 488950"/>
                    <a:gd name="connsiteY22" fmla="*/ 736600 h 1289050"/>
                    <a:gd name="connsiteX23" fmla="*/ 6350 w 488950"/>
                    <a:gd name="connsiteY23" fmla="*/ 746125 h 1289050"/>
                    <a:gd name="connsiteX24" fmla="*/ 19050 w 488950"/>
                    <a:gd name="connsiteY24" fmla="*/ 755650 h 1289050"/>
                    <a:gd name="connsiteX25" fmla="*/ 34925 w 488950"/>
                    <a:gd name="connsiteY25" fmla="*/ 758825 h 1289050"/>
                    <a:gd name="connsiteX26" fmla="*/ 47625 w 488950"/>
                    <a:gd name="connsiteY26" fmla="*/ 762000 h 1289050"/>
                    <a:gd name="connsiteX27" fmla="*/ 104775 w 488950"/>
                    <a:gd name="connsiteY27" fmla="*/ 784225 h 1289050"/>
                    <a:gd name="connsiteX28" fmla="*/ 117475 w 488950"/>
                    <a:gd name="connsiteY28" fmla="*/ 793750 h 1289050"/>
                    <a:gd name="connsiteX29" fmla="*/ 136525 w 488950"/>
                    <a:gd name="connsiteY29" fmla="*/ 803275 h 1289050"/>
                    <a:gd name="connsiteX30" fmla="*/ 165100 w 488950"/>
                    <a:gd name="connsiteY30" fmla="*/ 838200 h 1289050"/>
                    <a:gd name="connsiteX31" fmla="*/ 174625 w 488950"/>
                    <a:gd name="connsiteY31" fmla="*/ 866775 h 1289050"/>
                    <a:gd name="connsiteX32" fmla="*/ 177800 w 488950"/>
                    <a:gd name="connsiteY32" fmla="*/ 879475 h 1289050"/>
                    <a:gd name="connsiteX33" fmla="*/ 190500 w 488950"/>
                    <a:gd name="connsiteY33" fmla="*/ 895350 h 1289050"/>
                    <a:gd name="connsiteX34" fmla="*/ 196850 w 488950"/>
                    <a:gd name="connsiteY34" fmla="*/ 911225 h 1289050"/>
                    <a:gd name="connsiteX35" fmla="*/ 212725 w 488950"/>
                    <a:gd name="connsiteY35" fmla="*/ 939800 h 1289050"/>
                    <a:gd name="connsiteX36" fmla="*/ 228600 w 488950"/>
                    <a:gd name="connsiteY36" fmla="*/ 971550 h 1289050"/>
                    <a:gd name="connsiteX37" fmla="*/ 231775 w 488950"/>
                    <a:gd name="connsiteY37" fmla="*/ 984250 h 1289050"/>
                    <a:gd name="connsiteX38" fmla="*/ 215900 w 488950"/>
                    <a:gd name="connsiteY38" fmla="*/ 1035050 h 1289050"/>
                    <a:gd name="connsiteX39" fmla="*/ 209550 w 488950"/>
                    <a:gd name="connsiteY39" fmla="*/ 1066800 h 1289050"/>
                    <a:gd name="connsiteX40" fmla="*/ 196850 w 488950"/>
                    <a:gd name="connsiteY40" fmla="*/ 1098550 h 1289050"/>
                    <a:gd name="connsiteX41" fmla="*/ 190500 w 488950"/>
                    <a:gd name="connsiteY41" fmla="*/ 1133475 h 1289050"/>
                    <a:gd name="connsiteX42" fmla="*/ 187325 w 488950"/>
                    <a:gd name="connsiteY42" fmla="*/ 1152525 h 1289050"/>
                    <a:gd name="connsiteX43" fmla="*/ 190500 w 488950"/>
                    <a:gd name="connsiteY43" fmla="*/ 1174750 h 1289050"/>
                    <a:gd name="connsiteX44" fmla="*/ 215900 w 488950"/>
                    <a:gd name="connsiteY44" fmla="*/ 1196975 h 1289050"/>
                    <a:gd name="connsiteX45" fmla="*/ 238125 w 488950"/>
                    <a:gd name="connsiteY45" fmla="*/ 1206500 h 1289050"/>
                    <a:gd name="connsiteX46" fmla="*/ 257175 w 488950"/>
                    <a:gd name="connsiteY46" fmla="*/ 1225550 h 1289050"/>
                    <a:gd name="connsiteX47" fmla="*/ 273050 w 488950"/>
                    <a:gd name="connsiteY47" fmla="*/ 1241425 h 1289050"/>
                    <a:gd name="connsiteX48" fmla="*/ 285750 w 488950"/>
                    <a:gd name="connsiteY48" fmla="*/ 1250950 h 1289050"/>
                    <a:gd name="connsiteX49" fmla="*/ 301625 w 488950"/>
                    <a:gd name="connsiteY49" fmla="*/ 1285875 h 1289050"/>
                    <a:gd name="connsiteX50" fmla="*/ 311150 w 488950"/>
                    <a:gd name="connsiteY50" fmla="*/ 1289050 h 1289050"/>
                    <a:gd name="connsiteX51" fmla="*/ 352425 w 488950"/>
                    <a:gd name="connsiteY51" fmla="*/ 1276350 h 1289050"/>
                    <a:gd name="connsiteX52" fmla="*/ 368300 w 488950"/>
                    <a:gd name="connsiteY52" fmla="*/ 1266825 h 1289050"/>
                    <a:gd name="connsiteX53" fmla="*/ 384175 w 488950"/>
                    <a:gd name="connsiteY53" fmla="*/ 1263650 h 1289050"/>
                    <a:gd name="connsiteX54" fmla="*/ 396875 w 488950"/>
                    <a:gd name="connsiteY54" fmla="*/ 1260475 h 1289050"/>
                    <a:gd name="connsiteX55" fmla="*/ 409575 w 488950"/>
                    <a:gd name="connsiteY55" fmla="*/ 1254125 h 1289050"/>
                    <a:gd name="connsiteX56" fmla="*/ 438150 w 488950"/>
                    <a:gd name="connsiteY56" fmla="*/ 1247775 h 1289050"/>
                    <a:gd name="connsiteX57" fmla="*/ 463550 w 488950"/>
                    <a:gd name="connsiteY57" fmla="*/ 1241425 h 1289050"/>
                    <a:gd name="connsiteX58" fmla="*/ 476250 w 488950"/>
                    <a:gd name="connsiteY58" fmla="*/ 1238250 h 1289050"/>
                    <a:gd name="connsiteX59" fmla="*/ 488950 w 488950"/>
                    <a:gd name="connsiteY5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3675 w 488950"/>
                    <a:gd name="connsiteY4" fmla="*/ 377825 h 1289050"/>
                    <a:gd name="connsiteX5" fmla="*/ 184150 w 488950"/>
                    <a:gd name="connsiteY5" fmla="*/ 403225 h 1289050"/>
                    <a:gd name="connsiteX6" fmla="*/ 177800 w 488950"/>
                    <a:gd name="connsiteY6" fmla="*/ 415925 h 1289050"/>
                    <a:gd name="connsiteX7" fmla="*/ 174625 w 488950"/>
                    <a:gd name="connsiteY7" fmla="*/ 438150 h 1289050"/>
                    <a:gd name="connsiteX8" fmla="*/ 171450 w 488950"/>
                    <a:gd name="connsiteY8" fmla="*/ 463550 h 1289050"/>
                    <a:gd name="connsiteX9" fmla="*/ 161925 w 488950"/>
                    <a:gd name="connsiteY9" fmla="*/ 466725 h 1289050"/>
                    <a:gd name="connsiteX10" fmla="*/ 136525 w 488950"/>
                    <a:gd name="connsiteY10" fmla="*/ 479425 h 1289050"/>
                    <a:gd name="connsiteX11" fmla="*/ 123825 w 488950"/>
                    <a:gd name="connsiteY11" fmla="*/ 485775 h 1289050"/>
                    <a:gd name="connsiteX12" fmla="*/ 111125 w 488950"/>
                    <a:gd name="connsiteY12" fmla="*/ 492125 h 1289050"/>
                    <a:gd name="connsiteX13" fmla="*/ 98425 w 488950"/>
                    <a:gd name="connsiteY13" fmla="*/ 504825 h 1289050"/>
                    <a:gd name="connsiteX14" fmla="*/ 76200 w 488950"/>
                    <a:gd name="connsiteY14" fmla="*/ 514350 h 1289050"/>
                    <a:gd name="connsiteX15" fmla="*/ 41275 w 488950"/>
                    <a:gd name="connsiteY15" fmla="*/ 523875 h 1289050"/>
                    <a:gd name="connsiteX16" fmla="*/ 28575 w 488950"/>
                    <a:gd name="connsiteY16" fmla="*/ 533400 h 1289050"/>
                    <a:gd name="connsiteX17" fmla="*/ 19050 w 488950"/>
                    <a:gd name="connsiteY17" fmla="*/ 536575 h 1289050"/>
                    <a:gd name="connsiteX18" fmla="*/ 9525 w 488950"/>
                    <a:gd name="connsiteY18" fmla="*/ 542925 h 1289050"/>
                    <a:gd name="connsiteX19" fmla="*/ 3175 w 488950"/>
                    <a:gd name="connsiteY19" fmla="*/ 628650 h 1289050"/>
                    <a:gd name="connsiteX20" fmla="*/ 0 w 488950"/>
                    <a:gd name="connsiteY20" fmla="*/ 654050 h 1289050"/>
                    <a:gd name="connsiteX21" fmla="*/ 3175 w 488950"/>
                    <a:gd name="connsiteY21" fmla="*/ 736600 h 1289050"/>
                    <a:gd name="connsiteX22" fmla="*/ 6350 w 488950"/>
                    <a:gd name="connsiteY22" fmla="*/ 746125 h 1289050"/>
                    <a:gd name="connsiteX23" fmla="*/ 19050 w 488950"/>
                    <a:gd name="connsiteY23" fmla="*/ 755650 h 1289050"/>
                    <a:gd name="connsiteX24" fmla="*/ 34925 w 488950"/>
                    <a:gd name="connsiteY24" fmla="*/ 758825 h 1289050"/>
                    <a:gd name="connsiteX25" fmla="*/ 47625 w 488950"/>
                    <a:gd name="connsiteY25" fmla="*/ 762000 h 1289050"/>
                    <a:gd name="connsiteX26" fmla="*/ 104775 w 488950"/>
                    <a:gd name="connsiteY26" fmla="*/ 784225 h 1289050"/>
                    <a:gd name="connsiteX27" fmla="*/ 117475 w 488950"/>
                    <a:gd name="connsiteY27" fmla="*/ 793750 h 1289050"/>
                    <a:gd name="connsiteX28" fmla="*/ 136525 w 488950"/>
                    <a:gd name="connsiteY28" fmla="*/ 803275 h 1289050"/>
                    <a:gd name="connsiteX29" fmla="*/ 165100 w 488950"/>
                    <a:gd name="connsiteY29" fmla="*/ 838200 h 1289050"/>
                    <a:gd name="connsiteX30" fmla="*/ 174625 w 488950"/>
                    <a:gd name="connsiteY30" fmla="*/ 866775 h 1289050"/>
                    <a:gd name="connsiteX31" fmla="*/ 177800 w 488950"/>
                    <a:gd name="connsiteY31" fmla="*/ 879475 h 1289050"/>
                    <a:gd name="connsiteX32" fmla="*/ 190500 w 488950"/>
                    <a:gd name="connsiteY32" fmla="*/ 895350 h 1289050"/>
                    <a:gd name="connsiteX33" fmla="*/ 196850 w 488950"/>
                    <a:gd name="connsiteY33" fmla="*/ 911225 h 1289050"/>
                    <a:gd name="connsiteX34" fmla="*/ 212725 w 488950"/>
                    <a:gd name="connsiteY34" fmla="*/ 939800 h 1289050"/>
                    <a:gd name="connsiteX35" fmla="*/ 228600 w 488950"/>
                    <a:gd name="connsiteY35" fmla="*/ 971550 h 1289050"/>
                    <a:gd name="connsiteX36" fmla="*/ 231775 w 488950"/>
                    <a:gd name="connsiteY36" fmla="*/ 984250 h 1289050"/>
                    <a:gd name="connsiteX37" fmla="*/ 215900 w 488950"/>
                    <a:gd name="connsiteY37" fmla="*/ 1035050 h 1289050"/>
                    <a:gd name="connsiteX38" fmla="*/ 209550 w 488950"/>
                    <a:gd name="connsiteY38" fmla="*/ 1066800 h 1289050"/>
                    <a:gd name="connsiteX39" fmla="*/ 196850 w 488950"/>
                    <a:gd name="connsiteY39" fmla="*/ 1098550 h 1289050"/>
                    <a:gd name="connsiteX40" fmla="*/ 190500 w 488950"/>
                    <a:gd name="connsiteY40" fmla="*/ 1133475 h 1289050"/>
                    <a:gd name="connsiteX41" fmla="*/ 187325 w 488950"/>
                    <a:gd name="connsiteY41" fmla="*/ 1152525 h 1289050"/>
                    <a:gd name="connsiteX42" fmla="*/ 190500 w 488950"/>
                    <a:gd name="connsiteY42" fmla="*/ 1174750 h 1289050"/>
                    <a:gd name="connsiteX43" fmla="*/ 215900 w 488950"/>
                    <a:gd name="connsiteY43" fmla="*/ 1196975 h 1289050"/>
                    <a:gd name="connsiteX44" fmla="*/ 238125 w 488950"/>
                    <a:gd name="connsiteY44" fmla="*/ 1206500 h 1289050"/>
                    <a:gd name="connsiteX45" fmla="*/ 257175 w 488950"/>
                    <a:gd name="connsiteY45" fmla="*/ 1225550 h 1289050"/>
                    <a:gd name="connsiteX46" fmla="*/ 273050 w 488950"/>
                    <a:gd name="connsiteY46" fmla="*/ 1241425 h 1289050"/>
                    <a:gd name="connsiteX47" fmla="*/ 285750 w 488950"/>
                    <a:gd name="connsiteY47" fmla="*/ 1250950 h 1289050"/>
                    <a:gd name="connsiteX48" fmla="*/ 301625 w 488950"/>
                    <a:gd name="connsiteY48" fmla="*/ 1285875 h 1289050"/>
                    <a:gd name="connsiteX49" fmla="*/ 311150 w 488950"/>
                    <a:gd name="connsiteY49" fmla="*/ 1289050 h 1289050"/>
                    <a:gd name="connsiteX50" fmla="*/ 352425 w 488950"/>
                    <a:gd name="connsiteY50" fmla="*/ 1276350 h 1289050"/>
                    <a:gd name="connsiteX51" fmla="*/ 368300 w 488950"/>
                    <a:gd name="connsiteY51" fmla="*/ 1266825 h 1289050"/>
                    <a:gd name="connsiteX52" fmla="*/ 384175 w 488950"/>
                    <a:gd name="connsiteY52" fmla="*/ 1263650 h 1289050"/>
                    <a:gd name="connsiteX53" fmla="*/ 396875 w 488950"/>
                    <a:gd name="connsiteY53" fmla="*/ 1260475 h 1289050"/>
                    <a:gd name="connsiteX54" fmla="*/ 409575 w 488950"/>
                    <a:gd name="connsiteY54" fmla="*/ 1254125 h 1289050"/>
                    <a:gd name="connsiteX55" fmla="*/ 438150 w 488950"/>
                    <a:gd name="connsiteY55" fmla="*/ 1247775 h 1289050"/>
                    <a:gd name="connsiteX56" fmla="*/ 463550 w 488950"/>
                    <a:gd name="connsiteY56" fmla="*/ 1241425 h 1289050"/>
                    <a:gd name="connsiteX57" fmla="*/ 476250 w 488950"/>
                    <a:gd name="connsiteY57" fmla="*/ 1238250 h 1289050"/>
                    <a:gd name="connsiteX58" fmla="*/ 488950 w 488950"/>
                    <a:gd name="connsiteY58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7800 w 488950"/>
                    <a:gd name="connsiteY5" fmla="*/ 415925 h 1289050"/>
                    <a:gd name="connsiteX6" fmla="*/ 174625 w 488950"/>
                    <a:gd name="connsiteY6" fmla="*/ 438150 h 1289050"/>
                    <a:gd name="connsiteX7" fmla="*/ 171450 w 488950"/>
                    <a:gd name="connsiteY7" fmla="*/ 463550 h 1289050"/>
                    <a:gd name="connsiteX8" fmla="*/ 161925 w 488950"/>
                    <a:gd name="connsiteY8" fmla="*/ 466725 h 1289050"/>
                    <a:gd name="connsiteX9" fmla="*/ 136525 w 488950"/>
                    <a:gd name="connsiteY9" fmla="*/ 479425 h 1289050"/>
                    <a:gd name="connsiteX10" fmla="*/ 123825 w 488950"/>
                    <a:gd name="connsiteY10" fmla="*/ 485775 h 1289050"/>
                    <a:gd name="connsiteX11" fmla="*/ 111125 w 488950"/>
                    <a:gd name="connsiteY11" fmla="*/ 492125 h 1289050"/>
                    <a:gd name="connsiteX12" fmla="*/ 98425 w 488950"/>
                    <a:gd name="connsiteY12" fmla="*/ 504825 h 1289050"/>
                    <a:gd name="connsiteX13" fmla="*/ 76200 w 488950"/>
                    <a:gd name="connsiteY13" fmla="*/ 514350 h 1289050"/>
                    <a:gd name="connsiteX14" fmla="*/ 41275 w 488950"/>
                    <a:gd name="connsiteY14" fmla="*/ 523875 h 1289050"/>
                    <a:gd name="connsiteX15" fmla="*/ 28575 w 488950"/>
                    <a:gd name="connsiteY15" fmla="*/ 533400 h 1289050"/>
                    <a:gd name="connsiteX16" fmla="*/ 19050 w 488950"/>
                    <a:gd name="connsiteY16" fmla="*/ 536575 h 1289050"/>
                    <a:gd name="connsiteX17" fmla="*/ 9525 w 488950"/>
                    <a:gd name="connsiteY17" fmla="*/ 542925 h 1289050"/>
                    <a:gd name="connsiteX18" fmla="*/ 3175 w 488950"/>
                    <a:gd name="connsiteY18" fmla="*/ 628650 h 1289050"/>
                    <a:gd name="connsiteX19" fmla="*/ 0 w 488950"/>
                    <a:gd name="connsiteY19" fmla="*/ 654050 h 1289050"/>
                    <a:gd name="connsiteX20" fmla="*/ 3175 w 488950"/>
                    <a:gd name="connsiteY20" fmla="*/ 736600 h 1289050"/>
                    <a:gd name="connsiteX21" fmla="*/ 6350 w 488950"/>
                    <a:gd name="connsiteY21" fmla="*/ 746125 h 1289050"/>
                    <a:gd name="connsiteX22" fmla="*/ 19050 w 488950"/>
                    <a:gd name="connsiteY22" fmla="*/ 755650 h 1289050"/>
                    <a:gd name="connsiteX23" fmla="*/ 34925 w 488950"/>
                    <a:gd name="connsiteY23" fmla="*/ 758825 h 1289050"/>
                    <a:gd name="connsiteX24" fmla="*/ 47625 w 488950"/>
                    <a:gd name="connsiteY24" fmla="*/ 762000 h 1289050"/>
                    <a:gd name="connsiteX25" fmla="*/ 104775 w 488950"/>
                    <a:gd name="connsiteY25" fmla="*/ 784225 h 1289050"/>
                    <a:gd name="connsiteX26" fmla="*/ 117475 w 488950"/>
                    <a:gd name="connsiteY26" fmla="*/ 793750 h 1289050"/>
                    <a:gd name="connsiteX27" fmla="*/ 136525 w 488950"/>
                    <a:gd name="connsiteY27" fmla="*/ 803275 h 1289050"/>
                    <a:gd name="connsiteX28" fmla="*/ 165100 w 488950"/>
                    <a:gd name="connsiteY28" fmla="*/ 838200 h 1289050"/>
                    <a:gd name="connsiteX29" fmla="*/ 174625 w 488950"/>
                    <a:gd name="connsiteY29" fmla="*/ 866775 h 1289050"/>
                    <a:gd name="connsiteX30" fmla="*/ 177800 w 488950"/>
                    <a:gd name="connsiteY30" fmla="*/ 879475 h 1289050"/>
                    <a:gd name="connsiteX31" fmla="*/ 190500 w 488950"/>
                    <a:gd name="connsiteY31" fmla="*/ 895350 h 1289050"/>
                    <a:gd name="connsiteX32" fmla="*/ 196850 w 488950"/>
                    <a:gd name="connsiteY32" fmla="*/ 911225 h 1289050"/>
                    <a:gd name="connsiteX33" fmla="*/ 212725 w 488950"/>
                    <a:gd name="connsiteY33" fmla="*/ 939800 h 1289050"/>
                    <a:gd name="connsiteX34" fmla="*/ 228600 w 488950"/>
                    <a:gd name="connsiteY34" fmla="*/ 971550 h 1289050"/>
                    <a:gd name="connsiteX35" fmla="*/ 231775 w 488950"/>
                    <a:gd name="connsiteY35" fmla="*/ 984250 h 1289050"/>
                    <a:gd name="connsiteX36" fmla="*/ 215900 w 488950"/>
                    <a:gd name="connsiteY36" fmla="*/ 1035050 h 1289050"/>
                    <a:gd name="connsiteX37" fmla="*/ 209550 w 488950"/>
                    <a:gd name="connsiteY37" fmla="*/ 1066800 h 1289050"/>
                    <a:gd name="connsiteX38" fmla="*/ 196850 w 488950"/>
                    <a:gd name="connsiteY38" fmla="*/ 1098550 h 1289050"/>
                    <a:gd name="connsiteX39" fmla="*/ 190500 w 488950"/>
                    <a:gd name="connsiteY39" fmla="*/ 1133475 h 1289050"/>
                    <a:gd name="connsiteX40" fmla="*/ 187325 w 488950"/>
                    <a:gd name="connsiteY40" fmla="*/ 1152525 h 1289050"/>
                    <a:gd name="connsiteX41" fmla="*/ 190500 w 488950"/>
                    <a:gd name="connsiteY41" fmla="*/ 1174750 h 1289050"/>
                    <a:gd name="connsiteX42" fmla="*/ 215900 w 488950"/>
                    <a:gd name="connsiteY42" fmla="*/ 1196975 h 1289050"/>
                    <a:gd name="connsiteX43" fmla="*/ 238125 w 488950"/>
                    <a:gd name="connsiteY43" fmla="*/ 1206500 h 1289050"/>
                    <a:gd name="connsiteX44" fmla="*/ 257175 w 488950"/>
                    <a:gd name="connsiteY44" fmla="*/ 1225550 h 1289050"/>
                    <a:gd name="connsiteX45" fmla="*/ 273050 w 488950"/>
                    <a:gd name="connsiteY45" fmla="*/ 1241425 h 1289050"/>
                    <a:gd name="connsiteX46" fmla="*/ 285750 w 488950"/>
                    <a:gd name="connsiteY46" fmla="*/ 1250950 h 1289050"/>
                    <a:gd name="connsiteX47" fmla="*/ 301625 w 488950"/>
                    <a:gd name="connsiteY47" fmla="*/ 1285875 h 1289050"/>
                    <a:gd name="connsiteX48" fmla="*/ 311150 w 488950"/>
                    <a:gd name="connsiteY48" fmla="*/ 1289050 h 1289050"/>
                    <a:gd name="connsiteX49" fmla="*/ 352425 w 488950"/>
                    <a:gd name="connsiteY49" fmla="*/ 1276350 h 1289050"/>
                    <a:gd name="connsiteX50" fmla="*/ 368300 w 488950"/>
                    <a:gd name="connsiteY50" fmla="*/ 1266825 h 1289050"/>
                    <a:gd name="connsiteX51" fmla="*/ 384175 w 488950"/>
                    <a:gd name="connsiteY51" fmla="*/ 1263650 h 1289050"/>
                    <a:gd name="connsiteX52" fmla="*/ 396875 w 488950"/>
                    <a:gd name="connsiteY52" fmla="*/ 1260475 h 1289050"/>
                    <a:gd name="connsiteX53" fmla="*/ 409575 w 488950"/>
                    <a:gd name="connsiteY53" fmla="*/ 1254125 h 1289050"/>
                    <a:gd name="connsiteX54" fmla="*/ 438150 w 488950"/>
                    <a:gd name="connsiteY54" fmla="*/ 1247775 h 1289050"/>
                    <a:gd name="connsiteX55" fmla="*/ 463550 w 488950"/>
                    <a:gd name="connsiteY55" fmla="*/ 1241425 h 1289050"/>
                    <a:gd name="connsiteX56" fmla="*/ 476250 w 488950"/>
                    <a:gd name="connsiteY56" fmla="*/ 1238250 h 1289050"/>
                    <a:gd name="connsiteX57" fmla="*/ 488950 w 488950"/>
                    <a:gd name="connsiteY57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7800 w 488950"/>
                    <a:gd name="connsiteY5" fmla="*/ 415925 h 1289050"/>
                    <a:gd name="connsiteX6" fmla="*/ 171450 w 488950"/>
                    <a:gd name="connsiteY6" fmla="*/ 463550 h 1289050"/>
                    <a:gd name="connsiteX7" fmla="*/ 161925 w 488950"/>
                    <a:gd name="connsiteY7" fmla="*/ 466725 h 1289050"/>
                    <a:gd name="connsiteX8" fmla="*/ 136525 w 488950"/>
                    <a:gd name="connsiteY8" fmla="*/ 479425 h 1289050"/>
                    <a:gd name="connsiteX9" fmla="*/ 123825 w 488950"/>
                    <a:gd name="connsiteY9" fmla="*/ 485775 h 1289050"/>
                    <a:gd name="connsiteX10" fmla="*/ 111125 w 488950"/>
                    <a:gd name="connsiteY10" fmla="*/ 492125 h 1289050"/>
                    <a:gd name="connsiteX11" fmla="*/ 98425 w 488950"/>
                    <a:gd name="connsiteY11" fmla="*/ 504825 h 1289050"/>
                    <a:gd name="connsiteX12" fmla="*/ 76200 w 488950"/>
                    <a:gd name="connsiteY12" fmla="*/ 514350 h 1289050"/>
                    <a:gd name="connsiteX13" fmla="*/ 41275 w 488950"/>
                    <a:gd name="connsiteY13" fmla="*/ 523875 h 1289050"/>
                    <a:gd name="connsiteX14" fmla="*/ 28575 w 488950"/>
                    <a:gd name="connsiteY14" fmla="*/ 533400 h 1289050"/>
                    <a:gd name="connsiteX15" fmla="*/ 19050 w 488950"/>
                    <a:gd name="connsiteY15" fmla="*/ 536575 h 1289050"/>
                    <a:gd name="connsiteX16" fmla="*/ 9525 w 488950"/>
                    <a:gd name="connsiteY16" fmla="*/ 542925 h 1289050"/>
                    <a:gd name="connsiteX17" fmla="*/ 3175 w 488950"/>
                    <a:gd name="connsiteY17" fmla="*/ 628650 h 1289050"/>
                    <a:gd name="connsiteX18" fmla="*/ 0 w 488950"/>
                    <a:gd name="connsiteY18" fmla="*/ 654050 h 1289050"/>
                    <a:gd name="connsiteX19" fmla="*/ 3175 w 488950"/>
                    <a:gd name="connsiteY19" fmla="*/ 736600 h 1289050"/>
                    <a:gd name="connsiteX20" fmla="*/ 6350 w 488950"/>
                    <a:gd name="connsiteY20" fmla="*/ 746125 h 1289050"/>
                    <a:gd name="connsiteX21" fmla="*/ 19050 w 488950"/>
                    <a:gd name="connsiteY21" fmla="*/ 755650 h 1289050"/>
                    <a:gd name="connsiteX22" fmla="*/ 34925 w 488950"/>
                    <a:gd name="connsiteY22" fmla="*/ 758825 h 1289050"/>
                    <a:gd name="connsiteX23" fmla="*/ 47625 w 488950"/>
                    <a:gd name="connsiteY23" fmla="*/ 762000 h 1289050"/>
                    <a:gd name="connsiteX24" fmla="*/ 104775 w 488950"/>
                    <a:gd name="connsiteY24" fmla="*/ 784225 h 1289050"/>
                    <a:gd name="connsiteX25" fmla="*/ 117475 w 488950"/>
                    <a:gd name="connsiteY25" fmla="*/ 793750 h 1289050"/>
                    <a:gd name="connsiteX26" fmla="*/ 136525 w 488950"/>
                    <a:gd name="connsiteY26" fmla="*/ 803275 h 1289050"/>
                    <a:gd name="connsiteX27" fmla="*/ 165100 w 488950"/>
                    <a:gd name="connsiteY27" fmla="*/ 838200 h 1289050"/>
                    <a:gd name="connsiteX28" fmla="*/ 174625 w 488950"/>
                    <a:gd name="connsiteY28" fmla="*/ 866775 h 1289050"/>
                    <a:gd name="connsiteX29" fmla="*/ 177800 w 488950"/>
                    <a:gd name="connsiteY29" fmla="*/ 879475 h 1289050"/>
                    <a:gd name="connsiteX30" fmla="*/ 190500 w 488950"/>
                    <a:gd name="connsiteY30" fmla="*/ 895350 h 1289050"/>
                    <a:gd name="connsiteX31" fmla="*/ 196850 w 488950"/>
                    <a:gd name="connsiteY31" fmla="*/ 911225 h 1289050"/>
                    <a:gd name="connsiteX32" fmla="*/ 212725 w 488950"/>
                    <a:gd name="connsiteY32" fmla="*/ 939800 h 1289050"/>
                    <a:gd name="connsiteX33" fmla="*/ 228600 w 488950"/>
                    <a:gd name="connsiteY33" fmla="*/ 971550 h 1289050"/>
                    <a:gd name="connsiteX34" fmla="*/ 231775 w 488950"/>
                    <a:gd name="connsiteY34" fmla="*/ 984250 h 1289050"/>
                    <a:gd name="connsiteX35" fmla="*/ 215900 w 488950"/>
                    <a:gd name="connsiteY35" fmla="*/ 1035050 h 1289050"/>
                    <a:gd name="connsiteX36" fmla="*/ 209550 w 488950"/>
                    <a:gd name="connsiteY36" fmla="*/ 1066800 h 1289050"/>
                    <a:gd name="connsiteX37" fmla="*/ 196850 w 488950"/>
                    <a:gd name="connsiteY37" fmla="*/ 1098550 h 1289050"/>
                    <a:gd name="connsiteX38" fmla="*/ 190500 w 488950"/>
                    <a:gd name="connsiteY38" fmla="*/ 1133475 h 1289050"/>
                    <a:gd name="connsiteX39" fmla="*/ 187325 w 488950"/>
                    <a:gd name="connsiteY39" fmla="*/ 1152525 h 1289050"/>
                    <a:gd name="connsiteX40" fmla="*/ 190500 w 488950"/>
                    <a:gd name="connsiteY40" fmla="*/ 1174750 h 1289050"/>
                    <a:gd name="connsiteX41" fmla="*/ 215900 w 488950"/>
                    <a:gd name="connsiteY41" fmla="*/ 1196975 h 1289050"/>
                    <a:gd name="connsiteX42" fmla="*/ 238125 w 488950"/>
                    <a:gd name="connsiteY42" fmla="*/ 1206500 h 1289050"/>
                    <a:gd name="connsiteX43" fmla="*/ 257175 w 488950"/>
                    <a:gd name="connsiteY43" fmla="*/ 1225550 h 1289050"/>
                    <a:gd name="connsiteX44" fmla="*/ 273050 w 488950"/>
                    <a:gd name="connsiteY44" fmla="*/ 1241425 h 1289050"/>
                    <a:gd name="connsiteX45" fmla="*/ 285750 w 488950"/>
                    <a:gd name="connsiteY45" fmla="*/ 1250950 h 1289050"/>
                    <a:gd name="connsiteX46" fmla="*/ 301625 w 488950"/>
                    <a:gd name="connsiteY46" fmla="*/ 1285875 h 1289050"/>
                    <a:gd name="connsiteX47" fmla="*/ 311150 w 488950"/>
                    <a:gd name="connsiteY47" fmla="*/ 1289050 h 1289050"/>
                    <a:gd name="connsiteX48" fmla="*/ 352425 w 488950"/>
                    <a:gd name="connsiteY48" fmla="*/ 1276350 h 1289050"/>
                    <a:gd name="connsiteX49" fmla="*/ 368300 w 488950"/>
                    <a:gd name="connsiteY49" fmla="*/ 1266825 h 1289050"/>
                    <a:gd name="connsiteX50" fmla="*/ 384175 w 488950"/>
                    <a:gd name="connsiteY50" fmla="*/ 1263650 h 1289050"/>
                    <a:gd name="connsiteX51" fmla="*/ 396875 w 488950"/>
                    <a:gd name="connsiteY51" fmla="*/ 1260475 h 1289050"/>
                    <a:gd name="connsiteX52" fmla="*/ 409575 w 488950"/>
                    <a:gd name="connsiteY52" fmla="*/ 1254125 h 1289050"/>
                    <a:gd name="connsiteX53" fmla="*/ 438150 w 488950"/>
                    <a:gd name="connsiteY53" fmla="*/ 1247775 h 1289050"/>
                    <a:gd name="connsiteX54" fmla="*/ 463550 w 488950"/>
                    <a:gd name="connsiteY54" fmla="*/ 1241425 h 1289050"/>
                    <a:gd name="connsiteX55" fmla="*/ 476250 w 488950"/>
                    <a:gd name="connsiteY55" fmla="*/ 1238250 h 1289050"/>
                    <a:gd name="connsiteX56" fmla="*/ 488950 w 488950"/>
                    <a:gd name="connsiteY56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388937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76200 w 488950"/>
                    <a:gd name="connsiteY10" fmla="*/ 514350 h 1289050"/>
                    <a:gd name="connsiteX11" fmla="*/ 41275 w 488950"/>
                    <a:gd name="connsiteY11" fmla="*/ 523875 h 1289050"/>
                    <a:gd name="connsiteX12" fmla="*/ 28575 w 488950"/>
                    <a:gd name="connsiteY12" fmla="*/ 533400 h 1289050"/>
                    <a:gd name="connsiteX13" fmla="*/ 19050 w 488950"/>
                    <a:gd name="connsiteY13" fmla="*/ 536575 h 1289050"/>
                    <a:gd name="connsiteX14" fmla="*/ 9525 w 488950"/>
                    <a:gd name="connsiteY14" fmla="*/ 542925 h 1289050"/>
                    <a:gd name="connsiteX15" fmla="*/ 3175 w 488950"/>
                    <a:gd name="connsiteY15" fmla="*/ 628650 h 1289050"/>
                    <a:gd name="connsiteX16" fmla="*/ 0 w 488950"/>
                    <a:gd name="connsiteY16" fmla="*/ 654050 h 1289050"/>
                    <a:gd name="connsiteX17" fmla="*/ 3175 w 488950"/>
                    <a:gd name="connsiteY17" fmla="*/ 736600 h 1289050"/>
                    <a:gd name="connsiteX18" fmla="*/ 6350 w 488950"/>
                    <a:gd name="connsiteY18" fmla="*/ 746125 h 1289050"/>
                    <a:gd name="connsiteX19" fmla="*/ 19050 w 488950"/>
                    <a:gd name="connsiteY19" fmla="*/ 755650 h 1289050"/>
                    <a:gd name="connsiteX20" fmla="*/ 34925 w 488950"/>
                    <a:gd name="connsiteY20" fmla="*/ 758825 h 1289050"/>
                    <a:gd name="connsiteX21" fmla="*/ 47625 w 488950"/>
                    <a:gd name="connsiteY21" fmla="*/ 762000 h 1289050"/>
                    <a:gd name="connsiteX22" fmla="*/ 104775 w 488950"/>
                    <a:gd name="connsiteY22" fmla="*/ 784225 h 1289050"/>
                    <a:gd name="connsiteX23" fmla="*/ 117475 w 488950"/>
                    <a:gd name="connsiteY23" fmla="*/ 793750 h 1289050"/>
                    <a:gd name="connsiteX24" fmla="*/ 136525 w 488950"/>
                    <a:gd name="connsiteY24" fmla="*/ 803275 h 1289050"/>
                    <a:gd name="connsiteX25" fmla="*/ 165100 w 488950"/>
                    <a:gd name="connsiteY25" fmla="*/ 838200 h 1289050"/>
                    <a:gd name="connsiteX26" fmla="*/ 174625 w 488950"/>
                    <a:gd name="connsiteY26" fmla="*/ 866775 h 1289050"/>
                    <a:gd name="connsiteX27" fmla="*/ 177800 w 488950"/>
                    <a:gd name="connsiteY27" fmla="*/ 879475 h 1289050"/>
                    <a:gd name="connsiteX28" fmla="*/ 190500 w 488950"/>
                    <a:gd name="connsiteY28" fmla="*/ 895350 h 1289050"/>
                    <a:gd name="connsiteX29" fmla="*/ 196850 w 488950"/>
                    <a:gd name="connsiteY29" fmla="*/ 911225 h 1289050"/>
                    <a:gd name="connsiteX30" fmla="*/ 212725 w 488950"/>
                    <a:gd name="connsiteY30" fmla="*/ 939800 h 1289050"/>
                    <a:gd name="connsiteX31" fmla="*/ 228600 w 488950"/>
                    <a:gd name="connsiteY31" fmla="*/ 971550 h 1289050"/>
                    <a:gd name="connsiteX32" fmla="*/ 231775 w 488950"/>
                    <a:gd name="connsiteY32" fmla="*/ 984250 h 1289050"/>
                    <a:gd name="connsiteX33" fmla="*/ 215900 w 488950"/>
                    <a:gd name="connsiteY33" fmla="*/ 1035050 h 1289050"/>
                    <a:gd name="connsiteX34" fmla="*/ 209550 w 488950"/>
                    <a:gd name="connsiteY34" fmla="*/ 1066800 h 1289050"/>
                    <a:gd name="connsiteX35" fmla="*/ 196850 w 488950"/>
                    <a:gd name="connsiteY35" fmla="*/ 1098550 h 1289050"/>
                    <a:gd name="connsiteX36" fmla="*/ 190500 w 488950"/>
                    <a:gd name="connsiteY36" fmla="*/ 1133475 h 1289050"/>
                    <a:gd name="connsiteX37" fmla="*/ 187325 w 488950"/>
                    <a:gd name="connsiteY37" fmla="*/ 1152525 h 1289050"/>
                    <a:gd name="connsiteX38" fmla="*/ 190500 w 488950"/>
                    <a:gd name="connsiteY38" fmla="*/ 1174750 h 1289050"/>
                    <a:gd name="connsiteX39" fmla="*/ 215900 w 488950"/>
                    <a:gd name="connsiteY39" fmla="*/ 1196975 h 1289050"/>
                    <a:gd name="connsiteX40" fmla="*/ 238125 w 488950"/>
                    <a:gd name="connsiteY40" fmla="*/ 1206500 h 1289050"/>
                    <a:gd name="connsiteX41" fmla="*/ 257175 w 488950"/>
                    <a:gd name="connsiteY41" fmla="*/ 1225550 h 1289050"/>
                    <a:gd name="connsiteX42" fmla="*/ 273050 w 488950"/>
                    <a:gd name="connsiteY42" fmla="*/ 1241425 h 1289050"/>
                    <a:gd name="connsiteX43" fmla="*/ 285750 w 488950"/>
                    <a:gd name="connsiteY43" fmla="*/ 1250950 h 1289050"/>
                    <a:gd name="connsiteX44" fmla="*/ 301625 w 488950"/>
                    <a:gd name="connsiteY44" fmla="*/ 1285875 h 1289050"/>
                    <a:gd name="connsiteX45" fmla="*/ 311150 w 488950"/>
                    <a:gd name="connsiteY45" fmla="*/ 1289050 h 1289050"/>
                    <a:gd name="connsiteX46" fmla="*/ 352425 w 488950"/>
                    <a:gd name="connsiteY46" fmla="*/ 1276350 h 1289050"/>
                    <a:gd name="connsiteX47" fmla="*/ 368300 w 488950"/>
                    <a:gd name="connsiteY47" fmla="*/ 1266825 h 1289050"/>
                    <a:gd name="connsiteX48" fmla="*/ 384175 w 488950"/>
                    <a:gd name="connsiteY48" fmla="*/ 1263650 h 1289050"/>
                    <a:gd name="connsiteX49" fmla="*/ 396875 w 488950"/>
                    <a:gd name="connsiteY49" fmla="*/ 1260475 h 1289050"/>
                    <a:gd name="connsiteX50" fmla="*/ 409575 w 488950"/>
                    <a:gd name="connsiteY50" fmla="*/ 1254125 h 1289050"/>
                    <a:gd name="connsiteX51" fmla="*/ 438150 w 488950"/>
                    <a:gd name="connsiteY51" fmla="*/ 1247775 h 1289050"/>
                    <a:gd name="connsiteX52" fmla="*/ 463550 w 488950"/>
                    <a:gd name="connsiteY52" fmla="*/ 1241425 h 1289050"/>
                    <a:gd name="connsiteX53" fmla="*/ 476250 w 488950"/>
                    <a:gd name="connsiteY53" fmla="*/ 1238250 h 1289050"/>
                    <a:gd name="connsiteX54" fmla="*/ 488950 w 488950"/>
                    <a:gd name="connsiteY54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76200 w 488950"/>
                    <a:gd name="connsiteY9" fmla="*/ 514350 h 1289050"/>
                    <a:gd name="connsiteX10" fmla="*/ 41275 w 488950"/>
                    <a:gd name="connsiteY10" fmla="*/ 523875 h 1289050"/>
                    <a:gd name="connsiteX11" fmla="*/ 28575 w 488950"/>
                    <a:gd name="connsiteY11" fmla="*/ 533400 h 1289050"/>
                    <a:gd name="connsiteX12" fmla="*/ 19050 w 488950"/>
                    <a:gd name="connsiteY12" fmla="*/ 536575 h 1289050"/>
                    <a:gd name="connsiteX13" fmla="*/ 9525 w 488950"/>
                    <a:gd name="connsiteY13" fmla="*/ 542925 h 1289050"/>
                    <a:gd name="connsiteX14" fmla="*/ 3175 w 488950"/>
                    <a:gd name="connsiteY14" fmla="*/ 628650 h 1289050"/>
                    <a:gd name="connsiteX15" fmla="*/ 0 w 488950"/>
                    <a:gd name="connsiteY15" fmla="*/ 654050 h 1289050"/>
                    <a:gd name="connsiteX16" fmla="*/ 3175 w 488950"/>
                    <a:gd name="connsiteY16" fmla="*/ 736600 h 1289050"/>
                    <a:gd name="connsiteX17" fmla="*/ 6350 w 488950"/>
                    <a:gd name="connsiteY17" fmla="*/ 746125 h 1289050"/>
                    <a:gd name="connsiteX18" fmla="*/ 19050 w 488950"/>
                    <a:gd name="connsiteY18" fmla="*/ 755650 h 1289050"/>
                    <a:gd name="connsiteX19" fmla="*/ 34925 w 488950"/>
                    <a:gd name="connsiteY19" fmla="*/ 758825 h 1289050"/>
                    <a:gd name="connsiteX20" fmla="*/ 47625 w 488950"/>
                    <a:gd name="connsiteY20" fmla="*/ 762000 h 1289050"/>
                    <a:gd name="connsiteX21" fmla="*/ 104775 w 488950"/>
                    <a:gd name="connsiteY21" fmla="*/ 784225 h 1289050"/>
                    <a:gd name="connsiteX22" fmla="*/ 117475 w 488950"/>
                    <a:gd name="connsiteY22" fmla="*/ 793750 h 1289050"/>
                    <a:gd name="connsiteX23" fmla="*/ 136525 w 488950"/>
                    <a:gd name="connsiteY23" fmla="*/ 803275 h 1289050"/>
                    <a:gd name="connsiteX24" fmla="*/ 165100 w 488950"/>
                    <a:gd name="connsiteY24" fmla="*/ 838200 h 1289050"/>
                    <a:gd name="connsiteX25" fmla="*/ 174625 w 488950"/>
                    <a:gd name="connsiteY25" fmla="*/ 866775 h 1289050"/>
                    <a:gd name="connsiteX26" fmla="*/ 177800 w 488950"/>
                    <a:gd name="connsiteY26" fmla="*/ 879475 h 1289050"/>
                    <a:gd name="connsiteX27" fmla="*/ 190500 w 488950"/>
                    <a:gd name="connsiteY27" fmla="*/ 895350 h 1289050"/>
                    <a:gd name="connsiteX28" fmla="*/ 196850 w 488950"/>
                    <a:gd name="connsiteY28" fmla="*/ 911225 h 1289050"/>
                    <a:gd name="connsiteX29" fmla="*/ 212725 w 488950"/>
                    <a:gd name="connsiteY29" fmla="*/ 939800 h 1289050"/>
                    <a:gd name="connsiteX30" fmla="*/ 228600 w 488950"/>
                    <a:gd name="connsiteY30" fmla="*/ 971550 h 1289050"/>
                    <a:gd name="connsiteX31" fmla="*/ 231775 w 488950"/>
                    <a:gd name="connsiteY31" fmla="*/ 984250 h 1289050"/>
                    <a:gd name="connsiteX32" fmla="*/ 215900 w 488950"/>
                    <a:gd name="connsiteY32" fmla="*/ 1035050 h 1289050"/>
                    <a:gd name="connsiteX33" fmla="*/ 209550 w 488950"/>
                    <a:gd name="connsiteY33" fmla="*/ 1066800 h 1289050"/>
                    <a:gd name="connsiteX34" fmla="*/ 196850 w 488950"/>
                    <a:gd name="connsiteY34" fmla="*/ 1098550 h 1289050"/>
                    <a:gd name="connsiteX35" fmla="*/ 190500 w 488950"/>
                    <a:gd name="connsiteY35" fmla="*/ 1133475 h 1289050"/>
                    <a:gd name="connsiteX36" fmla="*/ 187325 w 488950"/>
                    <a:gd name="connsiteY36" fmla="*/ 1152525 h 1289050"/>
                    <a:gd name="connsiteX37" fmla="*/ 190500 w 488950"/>
                    <a:gd name="connsiteY37" fmla="*/ 1174750 h 1289050"/>
                    <a:gd name="connsiteX38" fmla="*/ 215900 w 488950"/>
                    <a:gd name="connsiteY38" fmla="*/ 1196975 h 1289050"/>
                    <a:gd name="connsiteX39" fmla="*/ 238125 w 488950"/>
                    <a:gd name="connsiteY39" fmla="*/ 1206500 h 1289050"/>
                    <a:gd name="connsiteX40" fmla="*/ 257175 w 488950"/>
                    <a:gd name="connsiteY40" fmla="*/ 1225550 h 1289050"/>
                    <a:gd name="connsiteX41" fmla="*/ 273050 w 488950"/>
                    <a:gd name="connsiteY41" fmla="*/ 1241425 h 1289050"/>
                    <a:gd name="connsiteX42" fmla="*/ 285750 w 488950"/>
                    <a:gd name="connsiteY42" fmla="*/ 1250950 h 1289050"/>
                    <a:gd name="connsiteX43" fmla="*/ 301625 w 488950"/>
                    <a:gd name="connsiteY43" fmla="*/ 1285875 h 1289050"/>
                    <a:gd name="connsiteX44" fmla="*/ 311150 w 488950"/>
                    <a:gd name="connsiteY44" fmla="*/ 1289050 h 1289050"/>
                    <a:gd name="connsiteX45" fmla="*/ 352425 w 488950"/>
                    <a:gd name="connsiteY45" fmla="*/ 1276350 h 1289050"/>
                    <a:gd name="connsiteX46" fmla="*/ 368300 w 488950"/>
                    <a:gd name="connsiteY46" fmla="*/ 1266825 h 1289050"/>
                    <a:gd name="connsiteX47" fmla="*/ 384175 w 488950"/>
                    <a:gd name="connsiteY47" fmla="*/ 1263650 h 1289050"/>
                    <a:gd name="connsiteX48" fmla="*/ 396875 w 488950"/>
                    <a:gd name="connsiteY48" fmla="*/ 1260475 h 1289050"/>
                    <a:gd name="connsiteX49" fmla="*/ 409575 w 488950"/>
                    <a:gd name="connsiteY49" fmla="*/ 1254125 h 1289050"/>
                    <a:gd name="connsiteX50" fmla="*/ 438150 w 488950"/>
                    <a:gd name="connsiteY50" fmla="*/ 1247775 h 1289050"/>
                    <a:gd name="connsiteX51" fmla="*/ 463550 w 488950"/>
                    <a:gd name="connsiteY51" fmla="*/ 1241425 h 1289050"/>
                    <a:gd name="connsiteX52" fmla="*/ 476250 w 488950"/>
                    <a:gd name="connsiteY52" fmla="*/ 1238250 h 1289050"/>
                    <a:gd name="connsiteX53" fmla="*/ 488950 w 488950"/>
                    <a:gd name="connsiteY53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41275 w 488950"/>
                    <a:gd name="connsiteY9" fmla="*/ 523875 h 1289050"/>
                    <a:gd name="connsiteX10" fmla="*/ 28575 w 488950"/>
                    <a:gd name="connsiteY10" fmla="*/ 533400 h 1289050"/>
                    <a:gd name="connsiteX11" fmla="*/ 19050 w 488950"/>
                    <a:gd name="connsiteY11" fmla="*/ 536575 h 1289050"/>
                    <a:gd name="connsiteX12" fmla="*/ 9525 w 488950"/>
                    <a:gd name="connsiteY12" fmla="*/ 542925 h 1289050"/>
                    <a:gd name="connsiteX13" fmla="*/ 3175 w 488950"/>
                    <a:gd name="connsiteY13" fmla="*/ 628650 h 1289050"/>
                    <a:gd name="connsiteX14" fmla="*/ 0 w 488950"/>
                    <a:gd name="connsiteY14" fmla="*/ 654050 h 1289050"/>
                    <a:gd name="connsiteX15" fmla="*/ 3175 w 488950"/>
                    <a:gd name="connsiteY15" fmla="*/ 736600 h 1289050"/>
                    <a:gd name="connsiteX16" fmla="*/ 6350 w 488950"/>
                    <a:gd name="connsiteY16" fmla="*/ 746125 h 1289050"/>
                    <a:gd name="connsiteX17" fmla="*/ 19050 w 488950"/>
                    <a:gd name="connsiteY17" fmla="*/ 755650 h 1289050"/>
                    <a:gd name="connsiteX18" fmla="*/ 34925 w 488950"/>
                    <a:gd name="connsiteY18" fmla="*/ 758825 h 1289050"/>
                    <a:gd name="connsiteX19" fmla="*/ 47625 w 488950"/>
                    <a:gd name="connsiteY19" fmla="*/ 762000 h 1289050"/>
                    <a:gd name="connsiteX20" fmla="*/ 104775 w 488950"/>
                    <a:gd name="connsiteY20" fmla="*/ 784225 h 1289050"/>
                    <a:gd name="connsiteX21" fmla="*/ 117475 w 488950"/>
                    <a:gd name="connsiteY21" fmla="*/ 793750 h 1289050"/>
                    <a:gd name="connsiteX22" fmla="*/ 136525 w 488950"/>
                    <a:gd name="connsiteY22" fmla="*/ 803275 h 1289050"/>
                    <a:gd name="connsiteX23" fmla="*/ 165100 w 488950"/>
                    <a:gd name="connsiteY23" fmla="*/ 838200 h 1289050"/>
                    <a:gd name="connsiteX24" fmla="*/ 174625 w 488950"/>
                    <a:gd name="connsiteY24" fmla="*/ 866775 h 1289050"/>
                    <a:gd name="connsiteX25" fmla="*/ 177800 w 488950"/>
                    <a:gd name="connsiteY25" fmla="*/ 879475 h 1289050"/>
                    <a:gd name="connsiteX26" fmla="*/ 190500 w 488950"/>
                    <a:gd name="connsiteY26" fmla="*/ 895350 h 1289050"/>
                    <a:gd name="connsiteX27" fmla="*/ 196850 w 488950"/>
                    <a:gd name="connsiteY27" fmla="*/ 911225 h 1289050"/>
                    <a:gd name="connsiteX28" fmla="*/ 212725 w 488950"/>
                    <a:gd name="connsiteY28" fmla="*/ 939800 h 1289050"/>
                    <a:gd name="connsiteX29" fmla="*/ 228600 w 488950"/>
                    <a:gd name="connsiteY29" fmla="*/ 971550 h 1289050"/>
                    <a:gd name="connsiteX30" fmla="*/ 231775 w 488950"/>
                    <a:gd name="connsiteY30" fmla="*/ 984250 h 1289050"/>
                    <a:gd name="connsiteX31" fmla="*/ 215900 w 488950"/>
                    <a:gd name="connsiteY31" fmla="*/ 1035050 h 1289050"/>
                    <a:gd name="connsiteX32" fmla="*/ 209550 w 488950"/>
                    <a:gd name="connsiteY32" fmla="*/ 1066800 h 1289050"/>
                    <a:gd name="connsiteX33" fmla="*/ 196850 w 488950"/>
                    <a:gd name="connsiteY33" fmla="*/ 1098550 h 1289050"/>
                    <a:gd name="connsiteX34" fmla="*/ 190500 w 488950"/>
                    <a:gd name="connsiteY34" fmla="*/ 1133475 h 1289050"/>
                    <a:gd name="connsiteX35" fmla="*/ 187325 w 488950"/>
                    <a:gd name="connsiteY35" fmla="*/ 1152525 h 1289050"/>
                    <a:gd name="connsiteX36" fmla="*/ 190500 w 488950"/>
                    <a:gd name="connsiteY36" fmla="*/ 1174750 h 1289050"/>
                    <a:gd name="connsiteX37" fmla="*/ 215900 w 488950"/>
                    <a:gd name="connsiteY37" fmla="*/ 1196975 h 1289050"/>
                    <a:gd name="connsiteX38" fmla="*/ 238125 w 488950"/>
                    <a:gd name="connsiteY38" fmla="*/ 1206500 h 1289050"/>
                    <a:gd name="connsiteX39" fmla="*/ 257175 w 488950"/>
                    <a:gd name="connsiteY39" fmla="*/ 1225550 h 1289050"/>
                    <a:gd name="connsiteX40" fmla="*/ 273050 w 488950"/>
                    <a:gd name="connsiteY40" fmla="*/ 1241425 h 1289050"/>
                    <a:gd name="connsiteX41" fmla="*/ 285750 w 488950"/>
                    <a:gd name="connsiteY41" fmla="*/ 1250950 h 1289050"/>
                    <a:gd name="connsiteX42" fmla="*/ 301625 w 488950"/>
                    <a:gd name="connsiteY42" fmla="*/ 1285875 h 1289050"/>
                    <a:gd name="connsiteX43" fmla="*/ 311150 w 488950"/>
                    <a:gd name="connsiteY43" fmla="*/ 1289050 h 1289050"/>
                    <a:gd name="connsiteX44" fmla="*/ 352425 w 488950"/>
                    <a:gd name="connsiteY44" fmla="*/ 1276350 h 1289050"/>
                    <a:gd name="connsiteX45" fmla="*/ 368300 w 488950"/>
                    <a:gd name="connsiteY45" fmla="*/ 1266825 h 1289050"/>
                    <a:gd name="connsiteX46" fmla="*/ 384175 w 488950"/>
                    <a:gd name="connsiteY46" fmla="*/ 1263650 h 1289050"/>
                    <a:gd name="connsiteX47" fmla="*/ 396875 w 488950"/>
                    <a:gd name="connsiteY47" fmla="*/ 1260475 h 1289050"/>
                    <a:gd name="connsiteX48" fmla="*/ 409575 w 488950"/>
                    <a:gd name="connsiteY48" fmla="*/ 1254125 h 1289050"/>
                    <a:gd name="connsiteX49" fmla="*/ 438150 w 488950"/>
                    <a:gd name="connsiteY49" fmla="*/ 1247775 h 1289050"/>
                    <a:gd name="connsiteX50" fmla="*/ 463550 w 488950"/>
                    <a:gd name="connsiteY50" fmla="*/ 1241425 h 1289050"/>
                    <a:gd name="connsiteX51" fmla="*/ 476250 w 488950"/>
                    <a:gd name="connsiteY51" fmla="*/ 1238250 h 1289050"/>
                    <a:gd name="connsiteX52" fmla="*/ 488950 w 488950"/>
                    <a:gd name="connsiteY52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41275 w 488950"/>
                    <a:gd name="connsiteY8" fmla="*/ 523875 h 1289050"/>
                    <a:gd name="connsiteX9" fmla="*/ 28575 w 488950"/>
                    <a:gd name="connsiteY9" fmla="*/ 533400 h 1289050"/>
                    <a:gd name="connsiteX10" fmla="*/ 19050 w 488950"/>
                    <a:gd name="connsiteY10" fmla="*/ 536575 h 1289050"/>
                    <a:gd name="connsiteX11" fmla="*/ 9525 w 488950"/>
                    <a:gd name="connsiteY11" fmla="*/ 542925 h 1289050"/>
                    <a:gd name="connsiteX12" fmla="*/ 3175 w 488950"/>
                    <a:gd name="connsiteY12" fmla="*/ 628650 h 1289050"/>
                    <a:gd name="connsiteX13" fmla="*/ 0 w 488950"/>
                    <a:gd name="connsiteY13" fmla="*/ 654050 h 1289050"/>
                    <a:gd name="connsiteX14" fmla="*/ 3175 w 488950"/>
                    <a:gd name="connsiteY14" fmla="*/ 736600 h 1289050"/>
                    <a:gd name="connsiteX15" fmla="*/ 6350 w 488950"/>
                    <a:gd name="connsiteY15" fmla="*/ 746125 h 1289050"/>
                    <a:gd name="connsiteX16" fmla="*/ 19050 w 488950"/>
                    <a:gd name="connsiteY16" fmla="*/ 755650 h 1289050"/>
                    <a:gd name="connsiteX17" fmla="*/ 34925 w 488950"/>
                    <a:gd name="connsiteY17" fmla="*/ 758825 h 1289050"/>
                    <a:gd name="connsiteX18" fmla="*/ 47625 w 488950"/>
                    <a:gd name="connsiteY18" fmla="*/ 762000 h 1289050"/>
                    <a:gd name="connsiteX19" fmla="*/ 104775 w 488950"/>
                    <a:gd name="connsiteY19" fmla="*/ 784225 h 1289050"/>
                    <a:gd name="connsiteX20" fmla="*/ 117475 w 488950"/>
                    <a:gd name="connsiteY20" fmla="*/ 793750 h 1289050"/>
                    <a:gd name="connsiteX21" fmla="*/ 136525 w 488950"/>
                    <a:gd name="connsiteY21" fmla="*/ 803275 h 1289050"/>
                    <a:gd name="connsiteX22" fmla="*/ 165100 w 488950"/>
                    <a:gd name="connsiteY22" fmla="*/ 838200 h 1289050"/>
                    <a:gd name="connsiteX23" fmla="*/ 174625 w 488950"/>
                    <a:gd name="connsiteY23" fmla="*/ 866775 h 1289050"/>
                    <a:gd name="connsiteX24" fmla="*/ 177800 w 488950"/>
                    <a:gd name="connsiteY24" fmla="*/ 879475 h 1289050"/>
                    <a:gd name="connsiteX25" fmla="*/ 190500 w 488950"/>
                    <a:gd name="connsiteY25" fmla="*/ 895350 h 1289050"/>
                    <a:gd name="connsiteX26" fmla="*/ 196850 w 488950"/>
                    <a:gd name="connsiteY26" fmla="*/ 911225 h 1289050"/>
                    <a:gd name="connsiteX27" fmla="*/ 212725 w 488950"/>
                    <a:gd name="connsiteY27" fmla="*/ 939800 h 1289050"/>
                    <a:gd name="connsiteX28" fmla="*/ 228600 w 488950"/>
                    <a:gd name="connsiteY28" fmla="*/ 971550 h 1289050"/>
                    <a:gd name="connsiteX29" fmla="*/ 231775 w 488950"/>
                    <a:gd name="connsiteY29" fmla="*/ 984250 h 1289050"/>
                    <a:gd name="connsiteX30" fmla="*/ 215900 w 488950"/>
                    <a:gd name="connsiteY30" fmla="*/ 1035050 h 1289050"/>
                    <a:gd name="connsiteX31" fmla="*/ 209550 w 488950"/>
                    <a:gd name="connsiteY31" fmla="*/ 1066800 h 1289050"/>
                    <a:gd name="connsiteX32" fmla="*/ 196850 w 488950"/>
                    <a:gd name="connsiteY32" fmla="*/ 1098550 h 1289050"/>
                    <a:gd name="connsiteX33" fmla="*/ 190500 w 488950"/>
                    <a:gd name="connsiteY33" fmla="*/ 1133475 h 1289050"/>
                    <a:gd name="connsiteX34" fmla="*/ 187325 w 488950"/>
                    <a:gd name="connsiteY34" fmla="*/ 1152525 h 1289050"/>
                    <a:gd name="connsiteX35" fmla="*/ 190500 w 488950"/>
                    <a:gd name="connsiteY35" fmla="*/ 1174750 h 1289050"/>
                    <a:gd name="connsiteX36" fmla="*/ 215900 w 488950"/>
                    <a:gd name="connsiteY36" fmla="*/ 1196975 h 1289050"/>
                    <a:gd name="connsiteX37" fmla="*/ 238125 w 488950"/>
                    <a:gd name="connsiteY37" fmla="*/ 1206500 h 1289050"/>
                    <a:gd name="connsiteX38" fmla="*/ 257175 w 488950"/>
                    <a:gd name="connsiteY38" fmla="*/ 1225550 h 1289050"/>
                    <a:gd name="connsiteX39" fmla="*/ 273050 w 488950"/>
                    <a:gd name="connsiteY39" fmla="*/ 1241425 h 1289050"/>
                    <a:gd name="connsiteX40" fmla="*/ 285750 w 488950"/>
                    <a:gd name="connsiteY40" fmla="*/ 1250950 h 1289050"/>
                    <a:gd name="connsiteX41" fmla="*/ 301625 w 488950"/>
                    <a:gd name="connsiteY41" fmla="*/ 1285875 h 1289050"/>
                    <a:gd name="connsiteX42" fmla="*/ 311150 w 488950"/>
                    <a:gd name="connsiteY42" fmla="*/ 1289050 h 1289050"/>
                    <a:gd name="connsiteX43" fmla="*/ 352425 w 488950"/>
                    <a:gd name="connsiteY43" fmla="*/ 1276350 h 1289050"/>
                    <a:gd name="connsiteX44" fmla="*/ 368300 w 488950"/>
                    <a:gd name="connsiteY44" fmla="*/ 1266825 h 1289050"/>
                    <a:gd name="connsiteX45" fmla="*/ 384175 w 488950"/>
                    <a:gd name="connsiteY45" fmla="*/ 1263650 h 1289050"/>
                    <a:gd name="connsiteX46" fmla="*/ 396875 w 488950"/>
                    <a:gd name="connsiteY46" fmla="*/ 1260475 h 1289050"/>
                    <a:gd name="connsiteX47" fmla="*/ 409575 w 488950"/>
                    <a:gd name="connsiteY47" fmla="*/ 1254125 h 1289050"/>
                    <a:gd name="connsiteX48" fmla="*/ 438150 w 488950"/>
                    <a:gd name="connsiteY48" fmla="*/ 1247775 h 1289050"/>
                    <a:gd name="connsiteX49" fmla="*/ 463550 w 488950"/>
                    <a:gd name="connsiteY49" fmla="*/ 1241425 h 1289050"/>
                    <a:gd name="connsiteX50" fmla="*/ 476250 w 488950"/>
                    <a:gd name="connsiteY50" fmla="*/ 1238250 h 1289050"/>
                    <a:gd name="connsiteX51" fmla="*/ 488950 w 488950"/>
                    <a:gd name="connsiteY51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41275 w 488950"/>
                    <a:gd name="connsiteY8" fmla="*/ 523875 h 1289050"/>
                    <a:gd name="connsiteX9" fmla="*/ 28575 w 488950"/>
                    <a:gd name="connsiteY9" fmla="*/ 533400 h 1289050"/>
                    <a:gd name="connsiteX10" fmla="*/ 9525 w 488950"/>
                    <a:gd name="connsiteY10" fmla="*/ 542925 h 1289050"/>
                    <a:gd name="connsiteX11" fmla="*/ 3175 w 488950"/>
                    <a:gd name="connsiteY11" fmla="*/ 628650 h 1289050"/>
                    <a:gd name="connsiteX12" fmla="*/ 0 w 488950"/>
                    <a:gd name="connsiteY12" fmla="*/ 654050 h 1289050"/>
                    <a:gd name="connsiteX13" fmla="*/ 3175 w 488950"/>
                    <a:gd name="connsiteY13" fmla="*/ 736600 h 1289050"/>
                    <a:gd name="connsiteX14" fmla="*/ 6350 w 488950"/>
                    <a:gd name="connsiteY14" fmla="*/ 746125 h 1289050"/>
                    <a:gd name="connsiteX15" fmla="*/ 19050 w 488950"/>
                    <a:gd name="connsiteY15" fmla="*/ 755650 h 1289050"/>
                    <a:gd name="connsiteX16" fmla="*/ 34925 w 488950"/>
                    <a:gd name="connsiteY16" fmla="*/ 758825 h 1289050"/>
                    <a:gd name="connsiteX17" fmla="*/ 47625 w 488950"/>
                    <a:gd name="connsiteY17" fmla="*/ 762000 h 1289050"/>
                    <a:gd name="connsiteX18" fmla="*/ 104775 w 488950"/>
                    <a:gd name="connsiteY18" fmla="*/ 784225 h 1289050"/>
                    <a:gd name="connsiteX19" fmla="*/ 117475 w 488950"/>
                    <a:gd name="connsiteY19" fmla="*/ 793750 h 1289050"/>
                    <a:gd name="connsiteX20" fmla="*/ 136525 w 488950"/>
                    <a:gd name="connsiteY20" fmla="*/ 803275 h 1289050"/>
                    <a:gd name="connsiteX21" fmla="*/ 165100 w 488950"/>
                    <a:gd name="connsiteY21" fmla="*/ 838200 h 1289050"/>
                    <a:gd name="connsiteX22" fmla="*/ 174625 w 488950"/>
                    <a:gd name="connsiteY22" fmla="*/ 866775 h 1289050"/>
                    <a:gd name="connsiteX23" fmla="*/ 177800 w 488950"/>
                    <a:gd name="connsiteY23" fmla="*/ 879475 h 1289050"/>
                    <a:gd name="connsiteX24" fmla="*/ 190500 w 488950"/>
                    <a:gd name="connsiteY24" fmla="*/ 895350 h 1289050"/>
                    <a:gd name="connsiteX25" fmla="*/ 196850 w 488950"/>
                    <a:gd name="connsiteY25" fmla="*/ 911225 h 1289050"/>
                    <a:gd name="connsiteX26" fmla="*/ 212725 w 488950"/>
                    <a:gd name="connsiteY26" fmla="*/ 939800 h 1289050"/>
                    <a:gd name="connsiteX27" fmla="*/ 228600 w 488950"/>
                    <a:gd name="connsiteY27" fmla="*/ 971550 h 1289050"/>
                    <a:gd name="connsiteX28" fmla="*/ 231775 w 488950"/>
                    <a:gd name="connsiteY28" fmla="*/ 984250 h 1289050"/>
                    <a:gd name="connsiteX29" fmla="*/ 215900 w 488950"/>
                    <a:gd name="connsiteY29" fmla="*/ 1035050 h 1289050"/>
                    <a:gd name="connsiteX30" fmla="*/ 209550 w 488950"/>
                    <a:gd name="connsiteY30" fmla="*/ 1066800 h 1289050"/>
                    <a:gd name="connsiteX31" fmla="*/ 196850 w 488950"/>
                    <a:gd name="connsiteY31" fmla="*/ 1098550 h 1289050"/>
                    <a:gd name="connsiteX32" fmla="*/ 190500 w 488950"/>
                    <a:gd name="connsiteY32" fmla="*/ 1133475 h 1289050"/>
                    <a:gd name="connsiteX33" fmla="*/ 187325 w 488950"/>
                    <a:gd name="connsiteY33" fmla="*/ 1152525 h 1289050"/>
                    <a:gd name="connsiteX34" fmla="*/ 190500 w 488950"/>
                    <a:gd name="connsiteY34" fmla="*/ 1174750 h 1289050"/>
                    <a:gd name="connsiteX35" fmla="*/ 215900 w 488950"/>
                    <a:gd name="connsiteY35" fmla="*/ 1196975 h 1289050"/>
                    <a:gd name="connsiteX36" fmla="*/ 238125 w 488950"/>
                    <a:gd name="connsiteY36" fmla="*/ 1206500 h 1289050"/>
                    <a:gd name="connsiteX37" fmla="*/ 257175 w 488950"/>
                    <a:gd name="connsiteY37" fmla="*/ 1225550 h 1289050"/>
                    <a:gd name="connsiteX38" fmla="*/ 273050 w 488950"/>
                    <a:gd name="connsiteY38" fmla="*/ 1241425 h 1289050"/>
                    <a:gd name="connsiteX39" fmla="*/ 285750 w 488950"/>
                    <a:gd name="connsiteY39" fmla="*/ 1250950 h 1289050"/>
                    <a:gd name="connsiteX40" fmla="*/ 301625 w 488950"/>
                    <a:gd name="connsiteY40" fmla="*/ 1285875 h 1289050"/>
                    <a:gd name="connsiteX41" fmla="*/ 311150 w 488950"/>
                    <a:gd name="connsiteY41" fmla="*/ 1289050 h 1289050"/>
                    <a:gd name="connsiteX42" fmla="*/ 352425 w 488950"/>
                    <a:gd name="connsiteY42" fmla="*/ 1276350 h 1289050"/>
                    <a:gd name="connsiteX43" fmla="*/ 368300 w 488950"/>
                    <a:gd name="connsiteY43" fmla="*/ 1266825 h 1289050"/>
                    <a:gd name="connsiteX44" fmla="*/ 384175 w 488950"/>
                    <a:gd name="connsiteY44" fmla="*/ 1263650 h 1289050"/>
                    <a:gd name="connsiteX45" fmla="*/ 396875 w 488950"/>
                    <a:gd name="connsiteY45" fmla="*/ 1260475 h 1289050"/>
                    <a:gd name="connsiteX46" fmla="*/ 409575 w 488950"/>
                    <a:gd name="connsiteY46" fmla="*/ 1254125 h 1289050"/>
                    <a:gd name="connsiteX47" fmla="*/ 438150 w 488950"/>
                    <a:gd name="connsiteY47" fmla="*/ 1247775 h 1289050"/>
                    <a:gd name="connsiteX48" fmla="*/ 463550 w 488950"/>
                    <a:gd name="connsiteY48" fmla="*/ 1241425 h 1289050"/>
                    <a:gd name="connsiteX49" fmla="*/ 476250 w 488950"/>
                    <a:gd name="connsiteY49" fmla="*/ 1238250 h 1289050"/>
                    <a:gd name="connsiteX50" fmla="*/ 488950 w 488950"/>
                    <a:gd name="connsiteY50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28575 w 488950"/>
                    <a:gd name="connsiteY8" fmla="*/ 533400 h 1289050"/>
                    <a:gd name="connsiteX9" fmla="*/ 9525 w 488950"/>
                    <a:gd name="connsiteY9" fmla="*/ 542925 h 1289050"/>
                    <a:gd name="connsiteX10" fmla="*/ 3175 w 488950"/>
                    <a:gd name="connsiteY10" fmla="*/ 628650 h 1289050"/>
                    <a:gd name="connsiteX11" fmla="*/ 0 w 488950"/>
                    <a:gd name="connsiteY11" fmla="*/ 654050 h 1289050"/>
                    <a:gd name="connsiteX12" fmla="*/ 3175 w 488950"/>
                    <a:gd name="connsiteY12" fmla="*/ 736600 h 1289050"/>
                    <a:gd name="connsiteX13" fmla="*/ 6350 w 488950"/>
                    <a:gd name="connsiteY13" fmla="*/ 746125 h 1289050"/>
                    <a:gd name="connsiteX14" fmla="*/ 19050 w 488950"/>
                    <a:gd name="connsiteY14" fmla="*/ 755650 h 1289050"/>
                    <a:gd name="connsiteX15" fmla="*/ 34925 w 488950"/>
                    <a:gd name="connsiteY15" fmla="*/ 758825 h 1289050"/>
                    <a:gd name="connsiteX16" fmla="*/ 47625 w 488950"/>
                    <a:gd name="connsiteY16" fmla="*/ 762000 h 1289050"/>
                    <a:gd name="connsiteX17" fmla="*/ 104775 w 488950"/>
                    <a:gd name="connsiteY17" fmla="*/ 784225 h 1289050"/>
                    <a:gd name="connsiteX18" fmla="*/ 117475 w 488950"/>
                    <a:gd name="connsiteY18" fmla="*/ 793750 h 1289050"/>
                    <a:gd name="connsiteX19" fmla="*/ 136525 w 488950"/>
                    <a:gd name="connsiteY19" fmla="*/ 803275 h 1289050"/>
                    <a:gd name="connsiteX20" fmla="*/ 165100 w 488950"/>
                    <a:gd name="connsiteY20" fmla="*/ 838200 h 1289050"/>
                    <a:gd name="connsiteX21" fmla="*/ 174625 w 488950"/>
                    <a:gd name="connsiteY21" fmla="*/ 866775 h 1289050"/>
                    <a:gd name="connsiteX22" fmla="*/ 177800 w 488950"/>
                    <a:gd name="connsiteY22" fmla="*/ 879475 h 1289050"/>
                    <a:gd name="connsiteX23" fmla="*/ 190500 w 488950"/>
                    <a:gd name="connsiteY23" fmla="*/ 895350 h 1289050"/>
                    <a:gd name="connsiteX24" fmla="*/ 196850 w 488950"/>
                    <a:gd name="connsiteY24" fmla="*/ 911225 h 1289050"/>
                    <a:gd name="connsiteX25" fmla="*/ 212725 w 488950"/>
                    <a:gd name="connsiteY25" fmla="*/ 939800 h 1289050"/>
                    <a:gd name="connsiteX26" fmla="*/ 228600 w 488950"/>
                    <a:gd name="connsiteY26" fmla="*/ 971550 h 1289050"/>
                    <a:gd name="connsiteX27" fmla="*/ 231775 w 488950"/>
                    <a:gd name="connsiteY27" fmla="*/ 984250 h 1289050"/>
                    <a:gd name="connsiteX28" fmla="*/ 215900 w 488950"/>
                    <a:gd name="connsiteY28" fmla="*/ 1035050 h 1289050"/>
                    <a:gd name="connsiteX29" fmla="*/ 209550 w 488950"/>
                    <a:gd name="connsiteY29" fmla="*/ 1066800 h 1289050"/>
                    <a:gd name="connsiteX30" fmla="*/ 196850 w 488950"/>
                    <a:gd name="connsiteY30" fmla="*/ 1098550 h 1289050"/>
                    <a:gd name="connsiteX31" fmla="*/ 190500 w 488950"/>
                    <a:gd name="connsiteY31" fmla="*/ 1133475 h 1289050"/>
                    <a:gd name="connsiteX32" fmla="*/ 187325 w 488950"/>
                    <a:gd name="connsiteY32" fmla="*/ 1152525 h 1289050"/>
                    <a:gd name="connsiteX33" fmla="*/ 190500 w 488950"/>
                    <a:gd name="connsiteY33" fmla="*/ 1174750 h 1289050"/>
                    <a:gd name="connsiteX34" fmla="*/ 215900 w 488950"/>
                    <a:gd name="connsiteY34" fmla="*/ 1196975 h 1289050"/>
                    <a:gd name="connsiteX35" fmla="*/ 238125 w 488950"/>
                    <a:gd name="connsiteY35" fmla="*/ 1206500 h 1289050"/>
                    <a:gd name="connsiteX36" fmla="*/ 257175 w 488950"/>
                    <a:gd name="connsiteY36" fmla="*/ 1225550 h 1289050"/>
                    <a:gd name="connsiteX37" fmla="*/ 273050 w 488950"/>
                    <a:gd name="connsiteY37" fmla="*/ 1241425 h 1289050"/>
                    <a:gd name="connsiteX38" fmla="*/ 285750 w 488950"/>
                    <a:gd name="connsiteY38" fmla="*/ 1250950 h 1289050"/>
                    <a:gd name="connsiteX39" fmla="*/ 301625 w 488950"/>
                    <a:gd name="connsiteY39" fmla="*/ 1285875 h 1289050"/>
                    <a:gd name="connsiteX40" fmla="*/ 311150 w 488950"/>
                    <a:gd name="connsiteY40" fmla="*/ 1289050 h 1289050"/>
                    <a:gd name="connsiteX41" fmla="*/ 352425 w 488950"/>
                    <a:gd name="connsiteY41" fmla="*/ 1276350 h 1289050"/>
                    <a:gd name="connsiteX42" fmla="*/ 368300 w 488950"/>
                    <a:gd name="connsiteY42" fmla="*/ 1266825 h 1289050"/>
                    <a:gd name="connsiteX43" fmla="*/ 384175 w 488950"/>
                    <a:gd name="connsiteY43" fmla="*/ 1263650 h 1289050"/>
                    <a:gd name="connsiteX44" fmla="*/ 396875 w 488950"/>
                    <a:gd name="connsiteY44" fmla="*/ 1260475 h 1289050"/>
                    <a:gd name="connsiteX45" fmla="*/ 409575 w 488950"/>
                    <a:gd name="connsiteY45" fmla="*/ 1254125 h 1289050"/>
                    <a:gd name="connsiteX46" fmla="*/ 438150 w 488950"/>
                    <a:gd name="connsiteY46" fmla="*/ 1247775 h 1289050"/>
                    <a:gd name="connsiteX47" fmla="*/ 463550 w 488950"/>
                    <a:gd name="connsiteY47" fmla="*/ 1241425 h 1289050"/>
                    <a:gd name="connsiteX48" fmla="*/ 476250 w 488950"/>
                    <a:gd name="connsiteY48" fmla="*/ 1238250 h 1289050"/>
                    <a:gd name="connsiteX49" fmla="*/ 488950 w 488950"/>
                    <a:gd name="connsiteY4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9525 w 488950"/>
                    <a:gd name="connsiteY8" fmla="*/ 542925 h 1289050"/>
                    <a:gd name="connsiteX9" fmla="*/ 3175 w 488950"/>
                    <a:gd name="connsiteY9" fmla="*/ 628650 h 1289050"/>
                    <a:gd name="connsiteX10" fmla="*/ 0 w 488950"/>
                    <a:gd name="connsiteY10" fmla="*/ 654050 h 1289050"/>
                    <a:gd name="connsiteX11" fmla="*/ 3175 w 488950"/>
                    <a:gd name="connsiteY11" fmla="*/ 736600 h 1289050"/>
                    <a:gd name="connsiteX12" fmla="*/ 6350 w 488950"/>
                    <a:gd name="connsiteY12" fmla="*/ 746125 h 1289050"/>
                    <a:gd name="connsiteX13" fmla="*/ 19050 w 488950"/>
                    <a:gd name="connsiteY13" fmla="*/ 755650 h 1289050"/>
                    <a:gd name="connsiteX14" fmla="*/ 34925 w 488950"/>
                    <a:gd name="connsiteY14" fmla="*/ 758825 h 1289050"/>
                    <a:gd name="connsiteX15" fmla="*/ 47625 w 488950"/>
                    <a:gd name="connsiteY15" fmla="*/ 762000 h 1289050"/>
                    <a:gd name="connsiteX16" fmla="*/ 104775 w 488950"/>
                    <a:gd name="connsiteY16" fmla="*/ 784225 h 1289050"/>
                    <a:gd name="connsiteX17" fmla="*/ 117475 w 488950"/>
                    <a:gd name="connsiteY17" fmla="*/ 793750 h 1289050"/>
                    <a:gd name="connsiteX18" fmla="*/ 136525 w 488950"/>
                    <a:gd name="connsiteY18" fmla="*/ 803275 h 1289050"/>
                    <a:gd name="connsiteX19" fmla="*/ 165100 w 488950"/>
                    <a:gd name="connsiteY19" fmla="*/ 838200 h 1289050"/>
                    <a:gd name="connsiteX20" fmla="*/ 174625 w 488950"/>
                    <a:gd name="connsiteY20" fmla="*/ 866775 h 1289050"/>
                    <a:gd name="connsiteX21" fmla="*/ 177800 w 488950"/>
                    <a:gd name="connsiteY21" fmla="*/ 879475 h 1289050"/>
                    <a:gd name="connsiteX22" fmla="*/ 190500 w 488950"/>
                    <a:gd name="connsiteY22" fmla="*/ 895350 h 1289050"/>
                    <a:gd name="connsiteX23" fmla="*/ 196850 w 488950"/>
                    <a:gd name="connsiteY23" fmla="*/ 911225 h 1289050"/>
                    <a:gd name="connsiteX24" fmla="*/ 212725 w 488950"/>
                    <a:gd name="connsiteY24" fmla="*/ 939800 h 1289050"/>
                    <a:gd name="connsiteX25" fmla="*/ 228600 w 488950"/>
                    <a:gd name="connsiteY25" fmla="*/ 971550 h 1289050"/>
                    <a:gd name="connsiteX26" fmla="*/ 231775 w 488950"/>
                    <a:gd name="connsiteY26" fmla="*/ 984250 h 1289050"/>
                    <a:gd name="connsiteX27" fmla="*/ 215900 w 488950"/>
                    <a:gd name="connsiteY27" fmla="*/ 1035050 h 1289050"/>
                    <a:gd name="connsiteX28" fmla="*/ 209550 w 488950"/>
                    <a:gd name="connsiteY28" fmla="*/ 1066800 h 1289050"/>
                    <a:gd name="connsiteX29" fmla="*/ 196850 w 488950"/>
                    <a:gd name="connsiteY29" fmla="*/ 1098550 h 1289050"/>
                    <a:gd name="connsiteX30" fmla="*/ 190500 w 488950"/>
                    <a:gd name="connsiteY30" fmla="*/ 1133475 h 1289050"/>
                    <a:gd name="connsiteX31" fmla="*/ 187325 w 488950"/>
                    <a:gd name="connsiteY31" fmla="*/ 1152525 h 1289050"/>
                    <a:gd name="connsiteX32" fmla="*/ 190500 w 488950"/>
                    <a:gd name="connsiteY32" fmla="*/ 1174750 h 1289050"/>
                    <a:gd name="connsiteX33" fmla="*/ 215900 w 488950"/>
                    <a:gd name="connsiteY33" fmla="*/ 1196975 h 1289050"/>
                    <a:gd name="connsiteX34" fmla="*/ 238125 w 488950"/>
                    <a:gd name="connsiteY34" fmla="*/ 1206500 h 1289050"/>
                    <a:gd name="connsiteX35" fmla="*/ 257175 w 488950"/>
                    <a:gd name="connsiteY35" fmla="*/ 1225550 h 1289050"/>
                    <a:gd name="connsiteX36" fmla="*/ 273050 w 488950"/>
                    <a:gd name="connsiteY36" fmla="*/ 1241425 h 1289050"/>
                    <a:gd name="connsiteX37" fmla="*/ 285750 w 488950"/>
                    <a:gd name="connsiteY37" fmla="*/ 1250950 h 1289050"/>
                    <a:gd name="connsiteX38" fmla="*/ 301625 w 488950"/>
                    <a:gd name="connsiteY38" fmla="*/ 1285875 h 1289050"/>
                    <a:gd name="connsiteX39" fmla="*/ 311150 w 488950"/>
                    <a:gd name="connsiteY39" fmla="*/ 1289050 h 1289050"/>
                    <a:gd name="connsiteX40" fmla="*/ 352425 w 488950"/>
                    <a:gd name="connsiteY40" fmla="*/ 1276350 h 1289050"/>
                    <a:gd name="connsiteX41" fmla="*/ 368300 w 488950"/>
                    <a:gd name="connsiteY41" fmla="*/ 1266825 h 1289050"/>
                    <a:gd name="connsiteX42" fmla="*/ 384175 w 488950"/>
                    <a:gd name="connsiteY42" fmla="*/ 1263650 h 1289050"/>
                    <a:gd name="connsiteX43" fmla="*/ 396875 w 488950"/>
                    <a:gd name="connsiteY43" fmla="*/ 1260475 h 1289050"/>
                    <a:gd name="connsiteX44" fmla="*/ 409575 w 488950"/>
                    <a:gd name="connsiteY44" fmla="*/ 1254125 h 1289050"/>
                    <a:gd name="connsiteX45" fmla="*/ 438150 w 488950"/>
                    <a:gd name="connsiteY45" fmla="*/ 1247775 h 1289050"/>
                    <a:gd name="connsiteX46" fmla="*/ 463550 w 488950"/>
                    <a:gd name="connsiteY46" fmla="*/ 1241425 h 1289050"/>
                    <a:gd name="connsiteX47" fmla="*/ 476250 w 488950"/>
                    <a:gd name="connsiteY47" fmla="*/ 1238250 h 1289050"/>
                    <a:gd name="connsiteX48" fmla="*/ 488950 w 488950"/>
                    <a:gd name="connsiteY48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32361 w 486386"/>
                    <a:gd name="connsiteY13" fmla="*/ 758825 h 1289050"/>
                    <a:gd name="connsiteX14" fmla="*/ 45061 w 486386"/>
                    <a:gd name="connsiteY14" fmla="*/ 762000 h 1289050"/>
                    <a:gd name="connsiteX15" fmla="*/ 102211 w 486386"/>
                    <a:gd name="connsiteY15" fmla="*/ 784225 h 1289050"/>
                    <a:gd name="connsiteX16" fmla="*/ 114911 w 486386"/>
                    <a:gd name="connsiteY16" fmla="*/ 793750 h 1289050"/>
                    <a:gd name="connsiteX17" fmla="*/ 133961 w 486386"/>
                    <a:gd name="connsiteY17" fmla="*/ 803275 h 1289050"/>
                    <a:gd name="connsiteX18" fmla="*/ 162536 w 486386"/>
                    <a:gd name="connsiteY18" fmla="*/ 838200 h 1289050"/>
                    <a:gd name="connsiteX19" fmla="*/ 172061 w 486386"/>
                    <a:gd name="connsiteY19" fmla="*/ 866775 h 1289050"/>
                    <a:gd name="connsiteX20" fmla="*/ 175236 w 486386"/>
                    <a:gd name="connsiteY20" fmla="*/ 879475 h 1289050"/>
                    <a:gd name="connsiteX21" fmla="*/ 187936 w 486386"/>
                    <a:gd name="connsiteY21" fmla="*/ 895350 h 1289050"/>
                    <a:gd name="connsiteX22" fmla="*/ 194286 w 486386"/>
                    <a:gd name="connsiteY22" fmla="*/ 911225 h 1289050"/>
                    <a:gd name="connsiteX23" fmla="*/ 210161 w 486386"/>
                    <a:gd name="connsiteY23" fmla="*/ 939800 h 1289050"/>
                    <a:gd name="connsiteX24" fmla="*/ 226036 w 486386"/>
                    <a:gd name="connsiteY24" fmla="*/ 971550 h 1289050"/>
                    <a:gd name="connsiteX25" fmla="*/ 229211 w 486386"/>
                    <a:gd name="connsiteY25" fmla="*/ 984250 h 1289050"/>
                    <a:gd name="connsiteX26" fmla="*/ 213336 w 486386"/>
                    <a:gd name="connsiteY26" fmla="*/ 1035050 h 1289050"/>
                    <a:gd name="connsiteX27" fmla="*/ 206986 w 486386"/>
                    <a:gd name="connsiteY27" fmla="*/ 1066800 h 1289050"/>
                    <a:gd name="connsiteX28" fmla="*/ 194286 w 486386"/>
                    <a:gd name="connsiteY28" fmla="*/ 1098550 h 1289050"/>
                    <a:gd name="connsiteX29" fmla="*/ 187936 w 486386"/>
                    <a:gd name="connsiteY29" fmla="*/ 1133475 h 1289050"/>
                    <a:gd name="connsiteX30" fmla="*/ 184761 w 486386"/>
                    <a:gd name="connsiteY30" fmla="*/ 1152525 h 1289050"/>
                    <a:gd name="connsiteX31" fmla="*/ 187936 w 486386"/>
                    <a:gd name="connsiteY31" fmla="*/ 1174750 h 1289050"/>
                    <a:gd name="connsiteX32" fmla="*/ 213336 w 486386"/>
                    <a:gd name="connsiteY32" fmla="*/ 1196975 h 1289050"/>
                    <a:gd name="connsiteX33" fmla="*/ 235561 w 486386"/>
                    <a:gd name="connsiteY33" fmla="*/ 1206500 h 1289050"/>
                    <a:gd name="connsiteX34" fmla="*/ 254611 w 486386"/>
                    <a:gd name="connsiteY34" fmla="*/ 1225550 h 1289050"/>
                    <a:gd name="connsiteX35" fmla="*/ 270486 w 486386"/>
                    <a:gd name="connsiteY35" fmla="*/ 1241425 h 1289050"/>
                    <a:gd name="connsiteX36" fmla="*/ 283186 w 486386"/>
                    <a:gd name="connsiteY36" fmla="*/ 1250950 h 1289050"/>
                    <a:gd name="connsiteX37" fmla="*/ 299061 w 486386"/>
                    <a:gd name="connsiteY37" fmla="*/ 1285875 h 1289050"/>
                    <a:gd name="connsiteX38" fmla="*/ 308586 w 486386"/>
                    <a:gd name="connsiteY38" fmla="*/ 1289050 h 1289050"/>
                    <a:gd name="connsiteX39" fmla="*/ 349861 w 486386"/>
                    <a:gd name="connsiteY39" fmla="*/ 1276350 h 1289050"/>
                    <a:gd name="connsiteX40" fmla="*/ 365736 w 486386"/>
                    <a:gd name="connsiteY40" fmla="*/ 1266825 h 1289050"/>
                    <a:gd name="connsiteX41" fmla="*/ 381611 w 486386"/>
                    <a:gd name="connsiteY41" fmla="*/ 1263650 h 1289050"/>
                    <a:gd name="connsiteX42" fmla="*/ 394311 w 486386"/>
                    <a:gd name="connsiteY42" fmla="*/ 1260475 h 1289050"/>
                    <a:gd name="connsiteX43" fmla="*/ 407011 w 486386"/>
                    <a:gd name="connsiteY43" fmla="*/ 1254125 h 1289050"/>
                    <a:gd name="connsiteX44" fmla="*/ 435586 w 486386"/>
                    <a:gd name="connsiteY44" fmla="*/ 1247775 h 1289050"/>
                    <a:gd name="connsiteX45" fmla="*/ 460986 w 486386"/>
                    <a:gd name="connsiteY45" fmla="*/ 1241425 h 1289050"/>
                    <a:gd name="connsiteX46" fmla="*/ 473686 w 486386"/>
                    <a:gd name="connsiteY46" fmla="*/ 1238250 h 1289050"/>
                    <a:gd name="connsiteX47" fmla="*/ 486386 w 486386"/>
                    <a:gd name="connsiteY47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32361 w 486386"/>
                    <a:gd name="connsiteY13" fmla="*/ 758825 h 1289050"/>
                    <a:gd name="connsiteX14" fmla="*/ 102211 w 486386"/>
                    <a:gd name="connsiteY14" fmla="*/ 784225 h 1289050"/>
                    <a:gd name="connsiteX15" fmla="*/ 114911 w 486386"/>
                    <a:gd name="connsiteY15" fmla="*/ 793750 h 1289050"/>
                    <a:gd name="connsiteX16" fmla="*/ 133961 w 486386"/>
                    <a:gd name="connsiteY16" fmla="*/ 803275 h 1289050"/>
                    <a:gd name="connsiteX17" fmla="*/ 162536 w 486386"/>
                    <a:gd name="connsiteY17" fmla="*/ 838200 h 1289050"/>
                    <a:gd name="connsiteX18" fmla="*/ 172061 w 486386"/>
                    <a:gd name="connsiteY18" fmla="*/ 866775 h 1289050"/>
                    <a:gd name="connsiteX19" fmla="*/ 175236 w 486386"/>
                    <a:gd name="connsiteY19" fmla="*/ 879475 h 1289050"/>
                    <a:gd name="connsiteX20" fmla="*/ 187936 w 486386"/>
                    <a:gd name="connsiteY20" fmla="*/ 895350 h 1289050"/>
                    <a:gd name="connsiteX21" fmla="*/ 194286 w 486386"/>
                    <a:gd name="connsiteY21" fmla="*/ 911225 h 1289050"/>
                    <a:gd name="connsiteX22" fmla="*/ 210161 w 486386"/>
                    <a:gd name="connsiteY22" fmla="*/ 939800 h 1289050"/>
                    <a:gd name="connsiteX23" fmla="*/ 226036 w 486386"/>
                    <a:gd name="connsiteY23" fmla="*/ 971550 h 1289050"/>
                    <a:gd name="connsiteX24" fmla="*/ 229211 w 486386"/>
                    <a:gd name="connsiteY24" fmla="*/ 984250 h 1289050"/>
                    <a:gd name="connsiteX25" fmla="*/ 213336 w 486386"/>
                    <a:gd name="connsiteY25" fmla="*/ 1035050 h 1289050"/>
                    <a:gd name="connsiteX26" fmla="*/ 206986 w 486386"/>
                    <a:gd name="connsiteY26" fmla="*/ 1066800 h 1289050"/>
                    <a:gd name="connsiteX27" fmla="*/ 194286 w 486386"/>
                    <a:gd name="connsiteY27" fmla="*/ 1098550 h 1289050"/>
                    <a:gd name="connsiteX28" fmla="*/ 187936 w 486386"/>
                    <a:gd name="connsiteY28" fmla="*/ 1133475 h 1289050"/>
                    <a:gd name="connsiteX29" fmla="*/ 184761 w 486386"/>
                    <a:gd name="connsiteY29" fmla="*/ 1152525 h 1289050"/>
                    <a:gd name="connsiteX30" fmla="*/ 187936 w 486386"/>
                    <a:gd name="connsiteY30" fmla="*/ 1174750 h 1289050"/>
                    <a:gd name="connsiteX31" fmla="*/ 213336 w 486386"/>
                    <a:gd name="connsiteY31" fmla="*/ 1196975 h 1289050"/>
                    <a:gd name="connsiteX32" fmla="*/ 235561 w 486386"/>
                    <a:gd name="connsiteY32" fmla="*/ 1206500 h 1289050"/>
                    <a:gd name="connsiteX33" fmla="*/ 254611 w 486386"/>
                    <a:gd name="connsiteY33" fmla="*/ 1225550 h 1289050"/>
                    <a:gd name="connsiteX34" fmla="*/ 270486 w 486386"/>
                    <a:gd name="connsiteY34" fmla="*/ 1241425 h 1289050"/>
                    <a:gd name="connsiteX35" fmla="*/ 283186 w 486386"/>
                    <a:gd name="connsiteY35" fmla="*/ 1250950 h 1289050"/>
                    <a:gd name="connsiteX36" fmla="*/ 299061 w 486386"/>
                    <a:gd name="connsiteY36" fmla="*/ 1285875 h 1289050"/>
                    <a:gd name="connsiteX37" fmla="*/ 308586 w 486386"/>
                    <a:gd name="connsiteY37" fmla="*/ 1289050 h 1289050"/>
                    <a:gd name="connsiteX38" fmla="*/ 349861 w 486386"/>
                    <a:gd name="connsiteY38" fmla="*/ 1276350 h 1289050"/>
                    <a:gd name="connsiteX39" fmla="*/ 365736 w 486386"/>
                    <a:gd name="connsiteY39" fmla="*/ 1266825 h 1289050"/>
                    <a:gd name="connsiteX40" fmla="*/ 381611 w 486386"/>
                    <a:gd name="connsiteY40" fmla="*/ 1263650 h 1289050"/>
                    <a:gd name="connsiteX41" fmla="*/ 394311 w 486386"/>
                    <a:gd name="connsiteY41" fmla="*/ 1260475 h 1289050"/>
                    <a:gd name="connsiteX42" fmla="*/ 407011 w 486386"/>
                    <a:gd name="connsiteY42" fmla="*/ 1254125 h 1289050"/>
                    <a:gd name="connsiteX43" fmla="*/ 435586 w 486386"/>
                    <a:gd name="connsiteY43" fmla="*/ 1247775 h 1289050"/>
                    <a:gd name="connsiteX44" fmla="*/ 460986 w 486386"/>
                    <a:gd name="connsiteY44" fmla="*/ 1241425 h 1289050"/>
                    <a:gd name="connsiteX45" fmla="*/ 473686 w 486386"/>
                    <a:gd name="connsiteY45" fmla="*/ 1238250 h 1289050"/>
                    <a:gd name="connsiteX46" fmla="*/ 486386 w 486386"/>
                    <a:gd name="connsiteY46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02211 w 486386"/>
                    <a:gd name="connsiteY13" fmla="*/ 784225 h 1289050"/>
                    <a:gd name="connsiteX14" fmla="*/ 114911 w 486386"/>
                    <a:gd name="connsiteY14" fmla="*/ 793750 h 1289050"/>
                    <a:gd name="connsiteX15" fmla="*/ 133961 w 486386"/>
                    <a:gd name="connsiteY15" fmla="*/ 803275 h 1289050"/>
                    <a:gd name="connsiteX16" fmla="*/ 162536 w 486386"/>
                    <a:gd name="connsiteY16" fmla="*/ 838200 h 1289050"/>
                    <a:gd name="connsiteX17" fmla="*/ 172061 w 486386"/>
                    <a:gd name="connsiteY17" fmla="*/ 866775 h 1289050"/>
                    <a:gd name="connsiteX18" fmla="*/ 175236 w 486386"/>
                    <a:gd name="connsiteY18" fmla="*/ 879475 h 1289050"/>
                    <a:gd name="connsiteX19" fmla="*/ 187936 w 486386"/>
                    <a:gd name="connsiteY19" fmla="*/ 895350 h 1289050"/>
                    <a:gd name="connsiteX20" fmla="*/ 194286 w 486386"/>
                    <a:gd name="connsiteY20" fmla="*/ 911225 h 1289050"/>
                    <a:gd name="connsiteX21" fmla="*/ 210161 w 486386"/>
                    <a:gd name="connsiteY21" fmla="*/ 939800 h 1289050"/>
                    <a:gd name="connsiteX22" fmla="*/ 226036 w 486386"/>
                    <a:gd name="connsiteY22" fmla="*/ 971550 h 1289050"/>
                    <a:gd name="connsiteX23" fmla="*/ 229211 w 486386"/>
                    <a:gd name="connsiteY23" fmla="*/ 984250 h 1289050"/>
                    <a:gd name="connsiteX24" fmla="*/ 213336 w 486386"/>
                    <a:gd name="connsiteY24" fmla="*/ 1035050 h 1289050"/>
                    <a:gd name="connsiteX25" fmla="*/ 206986 w 486386"/>
                    <a:gd name="connsiteY25" fmla="*/ 1066800 h 1289050"/>
                    <a:gd name="connsiteX26" fmla="*/ 194286 w 486386"/>
                    <a:gd name="connsiteY26" fmla="*/ 1098550 h 1289050"/>
                    <a:gd name="connsiteX27" fmla="*/ 187936 w 486386"/>
                    <a:gd name="connsiteY27" fmla="*/ 1133475 h 1289050"/>
                    <a:gd name="connsiteX28" fmla="*/ 184761 w 486386"/>
                    <a:gd name="connsiteY28" fmla="*/ 1152525 h 1289050"/>
                    <a:gd name="connsiteX29" fmla="*/ 187936 w 486386"/>
                    <a:gd name="connsiteY29" fmla="*/ 1174750 h 1289050"/>
                    <a:gd name="connsiteX30" fmla="*/ 213336 w 486386"/>
                    <a:gd name="connsiteY30" fmla="*/ 1196975 h 1289050"/>
                    <a:gd name="connsiteX31" fmla="*/ 235561 w 486386"/>
                    <a:gd name="connsiteY31" fmla="*/ 1206500 h 1289050"/>
                    <a:gd name="connsiteX32" fmla="*/ 254611 w 486386"/>
                    <a:gd name="connsiteY32" fmla="*/ 1225550 h 1289050"/>
                    <a:gd name="connsiteX33" fmla="*/ 270486 w 486386"/>
                    <a:gd name="connsiteY33" fmla="*/ 1241425 h 1289050"/>
                    <a:gd name="connsiteX34" fmla="*/ 283186 w 486386"/>
                    <a:gd name="connsiteY34" fmla="*/ 1250950 h 1289050"/>
                    <a:gd name="connsiteX35" fmla="*/ 299061 w 486386"/>
                    <a:gd name="connsiteY35" fmla="*/ 1285875 h 1289050"/>
                    <a:gd name="connsiteX36" fmla="*/ 308586 w 486386"/>
                    <a:gd name="connsiteY36" fmla="*/ 1289050 h 1289050"/>
                    <a:gd name="connsiteX37" fmla="*/ 349861 w 486386"/>
                    <a:gd name="connsiteY37" fmla="*/ 1276350 h 1289050"/>
                    <a:gd name="connsiteX38" fmla="*/ 365736 w 486386"/>
                    <a:gd name="connsiteY38" fmla="*/ 1266825 h 1289050"/>
                    <a:gd name="connsiteX39" fmla="*/ 381611 w 486386"/>
                    <a:gd name="connsiteY39" fmla="*/ 1263650 h 1289050"/>
                    <a:gd name="connsiteX40" fmla="*/ 394311 w 486386"/>
                    <a:gd name="connsiteY40" fmla="*/ 1260475 h 1289050"/>
                    <a:gd name="connsiteX41" fmla="*/ 407011 w 486386"/>
                    <a:gd name="connsiteY41" fmla="*/ 1254125 h 1289050"/>
                    <a:gd name="connsiteX42" fmla="*/ 435586 w 486386"/>
                    <a:gd name="connsiteY42" fmla="*/ 1247775 h 1289050"/>
                    <a:gd name="connsiteX43" fmla="*/ 460986 w 486386"/>
                    <a:gd name="connsiteY43" fmla="*/ 1241425 h 1289050"/>
                    <a:gd name="connsiteX44" fmla="*/ 473686 w 486386"/>
                    <a:gd name="connsiteY44" fmla="*/ 1238250 h 1289050"/>
                    <a:gd name="connsiteX45" fmla="*/ 486386 w 486386"/>
                    <a:gd name="connsiteY45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14911 w 486386"/>
                    <a:gd name="connsiteY13" fmla="*/ 793750 h 1289050"/>
                    <a:gd name="connsiteX14" fmla="*/ 133961 w 486386"/>
                    <a:gd name="connsiteY14" fmla="*/ 803275 h 1289050"/>
                    <a:gd name="connsiteX15" fmla="*/ 162536 w 486386"/>
                    <a:gd name="connsiteY15" fmla="*/ 838200 h 1289050"/>
                    <a:gd name="connsiteX16" fmla="*/ 172061 w 486386"/>
                    <a:gd name="connsiteY16" fmla="*/ 866775 h 1289050"/>
                    <a:gd name="connsiteX17" fmla="*/ 175236 w 486386"/>
                    <a:gd name="connsiteY17" fmla="*/ 879475 h 1289050"/>
                    <a:gd name="connsiteX18" fmla="*/ 187936 w 486386"/>
                    <a:gd name="connsiteY18" fmla="*/ 895350 h 1289050"/>
                    <a:gd name="connsiteX19" fmla="*/ 194286 w 486386"/>
                    <a:gd name="connsiteY19" fmla="*/ 911225 h 1289050"/>
                    <a:gd name="connsiteX20" fmla="*/ 210161 w 486386"/>
                    <a:gd name="connsiteY20" fmla="*/ 939800 h 1289050"/>
                    <a:gd name="connsiteX21" fmla="*/ 226036 w 486386"/>
                    <a:gd name="connsiteY21" fmla="*/ 971550 h 1289050"/>
                    <a:gd name="connsiteX22" fmla="*/ 229211 w 486386"/>
                    <a:gd name="connsiteY22" fmla="*/ 984250 h 1289050"/>
                    <a:gd name="connsiteX23" fmla="*/ 213336 w 486386"/>
                    <a:gd name="connsiteY23" fmla="*/ 1035050 h 1289050"/>
                    <a:gd name="connsiteX24" fmla="*/ 206986 w 486386"/>
                    <a:gd name="connsiteY24" fmla="*/ 1066800 h 1289050"/>
                    <a:gd name="connsiteX25" fmla="*/ 194286 w 486386"/>
                    <a:gd name="connsiteY25" fmla="*/ 1098550 h 1289050"/>
                    <a:gd name="connsiteX26" fmla="*/ 187936 w 486386"/>
                    <a:gd name="connsiteY26" fmla="*/ 1133475 h 1289050"/>
                    <a:gd name="connsiteX27" fmla="*/ 184761 w 486386"/>
                    <a:gd name="connsiteY27" fmla="*/ 1152525 h 1289050"/>
                    <a:gd name="connsiteX28" fmla="*/ 187936 w 486386"/>
                    <a:gd name="connsiteY28" fmla="*/ 1174750 h 1289050"/>
                    <a:gd name="connsiteX29" fmla="*/ 213336 w 486386"/>
                    <a:gd name="connsiteY29" fmla="*/ 1196975 h 1289050"/>
                    <a:gd name="connsiteX30" fmla="*/ 235561 w 486386"/>
                    <a:gd name="connsiteY30" fmla="*/ 1206500 h 1289050"/>
                    <a:gd name="connsiteX31" fmla="*/ 254611 w 486386"/>
                    <a:gd name="connsiteY31" fmla="*/ 1225550 h 1289050"/>
                    <a:gd name="connsiteX32" fmla="*/ 270486 w 486386"/>
                    <a:gd name="connsiteY32" fmla="*/ 1241425 h 1289050"/>
                    <a:gd name="connsiteX33" fmla="*/ 283186 w 486386"/>
                    <a:gd name="connsiteY33" fmla="*/ 1250950 h 1289050"/>
                    <a:gd name="connsiteX34" fmla="*/ 299061 w 486386"/>
                    <a:gd name="connsiteY34" fmla="*/ 1285875 h 1289050"/>
                    <a:gd name="connsiteX35" fmla="*/ 308586 w 486386"/>
                    <a:gd name="connsiteY35" fmla="*/ 1289050 h 1289050"/>
                    <a:gd name="connsiteX36" fmla="*/ 349861 w 486386"/>
                    <a:gd name="connsiteY36" fmla="*/ 1276350 h 1289050"/>
                    <a:gd name="connsiteX37" fmla="*/ 365736 w 486386"/>
                    <a:gd name="connsiteY37" fmla="*/ 1266825 h 1289050"/>
                    <a:gd name="connsiteX38" fmla="*/ 381611 w 486386"/>
                    <a:gd name="connsiteY38" fmla="*/ 1263650 h 1289050"/>
                    <a:gd name="connsiteX39" fmla="*/ 394311 w 486386"/>
                    <a:gd name="connsiteY39" fmla="*/ 1260475 h 1289050"/>
                    <a:gd name="connsiteX40" fmla="*/ 407011 w 486386"/>
                    <a:gd name="connsiteY40" fmla="*/ 1254125 h 1289050"/>
                    <a:gd name="connsiteX41" fmla="*/ 435586 w 486386"/>
                    <a:gd name="connsiteY41" fmla="*/ 1247775 h 1289050"/>
                    <a:gd name="connsiteX42" fmla="*/ 460986 w 486386"/>
                    <a:gd name="connsiteY42" fmla="*/ 1241425 h 1289050"/>
                    <a:gd name="connsiteX43" fmla="*/ 473686 w 486386"/>
                    <a:gd name="connsiteY43" fmla="*/ 1238250 h 1289050"/>
                    <a:gd name="connsiteX44" fmla="*/ 486386 w 486386"/>
                    <a:gd name="connsiteY44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75236 w 486386"/>
                    <a:gd name="connsiteY16" fmla="*/ 879475 h 1289050"/>
                    <a:gd name="connsiteX17" fmla="*/ 187936 w 486386"/>
                    <a:gd name="connsiteY17" fmla="*/ 895350 h 1289050"/>
                    <a:gd name="connsiteX18" fmla="*/ 194286 w 486386"/>
                    <a:gd name="connsiteY18" fmla="*/ 911225 h 1289050"/>
                    <a:gd name="connsiteX19" fmla="*/ 210161 w 486386"/>
                    <a:gd name="connsiteY19" fmla="*/ 939800 h 1289050"/>
                    <a:gd name="connsiteX20" fmla="*/ 226036 w 486386"/>
                    <a:gd name="connsiteY20" fmla="*/ 971550 h 1289050"/>
                    <a:gd name="connsiteX21" fmla="*/ 229211 w 486386"/>
                    <a:gd name="connsiteY21" fmla="*/ 984250 h 1289050"/>
                    <a:gd name="connsiteX22" fmla="*/ 213336 w 486386"/>
                    <a:gd name="connsiteY22" fmla="*/ 1035050 h 1289050"/>
                    <a:gd name="connsiteX23" fmla="*/ 206986 w 486386"/>
                    <a:gd name="connsiteY23" fmla="*/ 1066800 h 1289050"/>
                    <a:gd name="connsiteX24" fmla="*/ 194286 w 486386"/>
                    <a:gd name="connsiteY24" fmla="*/ 1098550 h 1289050"/>
                    <a:gd name="connsiteX25" fmla="*/ 187936 w 486386"/>
                    <a:gd name="connsiteY25" fmla="*/ 1133475 h 1289050"/>
                    <a:gd name="connsiteX26" fmla="*/ 184761 w 486386"/>
                    <a:gd name="connsiteY26" fmla="*/ 1152525 h 1289050"/>
                    <a:gd name="connsiteX27" fmla="*/ 187936 w 486386"/>
                    <a:gd name="connsiteY27" fmla="*/ 1174750 h 1289050"/>
                    <a:gd name="connsiteX28" fmla="*/ 213336 w 486386"/>
                    <a:gd name="connsiteY28" fmla="*/ 1196975 h 1289050"/>
                    <a:gd name="connsiteX29" fmla="*/ 235561 w 486386"/>
                    <a:gd name="connsiteY29" fmla="*/ 1206500 h 1289050"/>
                    <a:gd name="connsiteX30" fmla="*/ 254611 w 486386"/>
                    <a:gd name="connsiteY30" fmla="*/ 1225550 h 1289050"/>
                    <a:gd name="connsiteX31" fmla="*/ 270486 w 486386"/>
                    <a:gd name="connsiteY31" fmla="*/ 1241425 h 1289050"/>
                    <a:gd name="connsiteX32" fmla="*/ 283186 w 486386"/>
                    <a:gd name="connsiteY32" fmla="*/ 1250950 h 1289050"/>
                    <a:gd name="connsiteX33" fmla="*/ 299061 w 486386"/>
                    <a:gd name="connsiteY33" fmla="*/ 1285875 h 1289050"/>
                    <a:gd name="connsiteX34" fmla="*/ 308586 w 486386"/>
                    <a:gd name="connsiteY34" fmla="*/ 1289050 h 1289050"/>
                    <a:gd name="connsiteX35" fmla="*/ 349861 w 486386"/>
                    <a:gd name="connsiteY35" fmla="*/ 1276350 h 1289050"/>
                    <a:gd name="connsiteX36" fmla="*/ 365736 w 486386"/>
                    <a:gd name="connsiteY36" fmla="*/ 1266825 h 1289050"/>
                    <a:gd name="connsiteX37" fmla="*/ 381611 w 486386"/>
                    <a:gd name="connsiteY37" fmla="*/ 1263650 h 1289050"/>
                    <a:gd name="connsiteX38" fmla="*/ 394311 w 486386"/>
                    <a:gd name="connsiteY38" fmla="*/ 1260475 h 1289050"/>
                    <a:gd name="connsiteX39" fmla="*/ 407011 w 486386"/>
                    <a:gd name="connsiteY39" fmla="*/ 1254125 h 1289050"/>
                    <a:gd name="connsiteX40" fmla="*/ 435586 w 486386"/>
                    <a:gd name="connsiteY40" fmla="*/ 1247775 h 1289050"/>
                    <a:gd name="connsiteX41" fmla="*/ 460986 w 486386"/>
                    <a:gd name="connsiteY41" fmla="*/ 1241425 h 1289050"/>
                    <a:gd name="connsiteX42" fmla="*/ 473686 w 486386"/>
                    <a:gd name="connsiteY42" fmla="*/ 1238250 h 1289050"/>
                    <a:gd name="connsiteX43" fmla="*/ 486386 w 486386"/>
                    <a:gd name="connsiteY43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87936 w 486386"/>
                    <a:gd name="connsiteY16" fmla="*/ 895350 h 1289050"/>
                    <a:gd name="connsiteX17" fmla="*/ 194286 w 486386"/>
                    <a:gd name="connsiteY17" fmla="*/ 911225 h 1289050"/>
                    <a:gd name="connsiteX18" fmla="*/ 210161 w 486386"/>
                    <a:gd name="connsiteY18" fmla="*/ 939800 h 1289050"/>
                    <a:gd name="connsiteX19" fmla="*/ 226036 w 486386"/>
                    <a:gd name="connsiteY19" fmla="*/ 971550 h 1289050"/>
                    <a:gd name="connsiteX20" fmla="*/ 229211 w 486386"/>
                    <a:gd name="connsiteY20" fmla="*/ 984250 h 1289050"/>
                    <a:gd name="connsiteX21" fmla="*/ 213336 w 486386"/>
                    <a:gd name="connsiteY21" fmla="*/ 1035050 h 1289050"/>
                    <a:gd name="connsiteX22" fmla="*/ 206986 w 486386"/>
                    <a:gd name="connsiteY22" fmla="*/ 1066800 h 1289050"/>
                    <a:gd name="connsiteX23" fmla="*/ 194286 w 486386"/>
                    <a:gd name="connsiteY23" fmla="*/ 1098550 h 1289050"/>
                    <a:gd name="connsiteX24" fmla="*/ 187936 w 486386"/>
                    <a:gd name="connsiteY24" fmla="*/ 1133475 h 1289050"/>
                    <a:gd name="connsiteX25" fmla="*/ 184761 w 486386"/>
                    <a:gd name="connsiteY25" fmla="*/ 1152525 h 1289050"/>
                    <a:gd name="connsiteX26" fmla="*/ 187936 w 486386"/>
                    <a:gd name="connsiteY26" fmla="*/ 1174750 h 1289050"/>
                    <a:gd name="connsiteX27" fmla="*/ 213336 w 486386"/>
                    <a:gd name="connsiteY27" fmla="*/ 1196975 h 1289050"/>
                    <a:gd name="connsiteX28" fmla="*/ 235561 w 486386"/>
                    <a:gd name="connsiteY28" fmla="*/ 1206500 h 1289050"/>
                    <a:gd name="connsiteX29" fmla="*/ 254611 w 486386"/>
                    <a:gd name="connsiteY29" fmla="*/ 1225550 h 1289050"/>
                    <a:gd name="connsiteX30" fmla="*/ 270486 w 486386"/>
                    <a:gd name="connsiteY30" fmla="*/ 1241425 h 1289050"/>
                    <a:gd name="connsiteX31" fmla="*/ 283186 w 486386"/>
                    <a:gd name="connsiteY31" fmla="*/ 1250950 h 1289050"/>
                    <a:gd name="connsiteX32" fmla="*/ 299061 w 486386"/>
                    <a:gd name="connsiteY32" fmla="*/ 1285875 h 1289050"/>
                    <a:gd name="connsiteX33" fmla="*/ 308586 w 486386"/>
                    <a:gd name="connsiteY33" fmla="*/ 1289050 h 1289050"/>
                    <a:gd name="connsiteX34" fmla="*/ 349861 w 486386"/>
                    <a:gd name="connsiteY34" fmla="*/ 1276350 h 1289050"/>
                    <a:gd name="connsiteX35" fmla="*/ 365736 w 486386"/>
                    <a:gd name="connsiteY35" fmla="*/ 1266825 h 1289050"/>
                    <a:gd name="connsiteX36" fmla="*/ 381611 w 486386"/>
                    <a:gd name="connsiteY36" fmla="*/ 1263650 h 1289050"/>
                    <a:gd name="connsiteX37" fmla="*/ 394311 w 486386"/>
                    <a:gd name="connsiteY37" fmla="*/ 1260475 h 1289050"/>
                    <a:gd name="connsiteX38" fmla="*/ 407011 w 486386"/>
                    <a:gd name="connsiteY38" fmla="*/ 1254125 h 1289050"/>
                    <a:gd name="connsiteX39" fmla="*/ 435586 w 486386"/>
                    <a:gd name="connsiteY39" fmla="*/ 1247775 h 1289050"/>
                    <a:gd name="connsiteX40" fmla="*/ 460986 w 486386"/>
                    <a:gd name="connsiteY40" fmla="*/ 1241425 h 1289050"/>
                    <a:gd name="connsiteX41" fmla="*/ 473686 w 486386"/>
                    <a:gd name="connsiteY41" fmla="*/ 1238250 h 1289050"/>
                    <a:gd name="connsiteX42" fmla="*/ 486386 w 486386"/>
                    <a:gd name="connsiteY42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87936 w 486386"/>
                    <a:gd name="connsiteY16" fmla="*/ 895350 h 1289050"/>
                    <a:gd name="connsiteX17" fmla="*/ 210161 w 486386"/>
                    <a:gd name="connsiteY17" fmla="*/ 939800 h 1289050"/>
                    <a:gd name="connsiteX18" fmla="*/ 226036 w 486386"/>
                    <a:gd name="connsiteY18" fmla="*/ 971550 h 1289050"/>
                    <a:gd name="connsiteX19" fmla="*/ 229211 w 486386"/>
                    <a:gd name="connsiteY19" fmla="*/ 984250 h 1289050"/>
                    <a:gd name="connsiteX20" fmla="*/ 213336 w 486386"/>
                    <a:gd name="connsiteY20" fmla="*/ 1035050 h 1289050"/>
                    <a:gd name="connsiteX21" fmla="*/ 206986 w 486386"/>
                    <a:gd name="connsiteY21" fmla="*/ 1066800 h 1289050"/>
                    <a:gd name="connsiteX22" fmla="*/ 194286 w 486386"/>
                    <a:gd name="connsiteY22" fmla="*/ 1098550 h 1289050"/>
                    <a:gd name="connsiteX23" fmla="*/ 187936 w 486386"/>
                    <a:gd name="connsiteY23" fmla="*/ 1133475 h 1289050"/>
                    <a:gd name="connsiteX24" fmla="*/ 184761 w 486386"/>
                    <a:gd name="connsiteY24" fmla="*/ 1152525 h 1289050"/>
                    <a:gd name="connsiteX25" fmla="*/ 187936 w 486386"/>
                    <a:gd name="connsiteY25" fmla="*/ 1174750 h 1289050"/>
                    <a:gd name="connsiteX26" fmla="*/ 213336 w 486386"/>
                    <a:gd name="connsiteY26" fmla="*/ 1196975 h 1289050"/>
                    <a:gd name="connsiteX27" fmla="*/ 235561 w 486386"/>
                    <a:gd name="connsiteY27" fmla="*/ 1206500 h 1289050"/>
                    <a:gd name="connsiteX28" fmla="*/ 254611 w 486386"/>
                    <a:gd name="connsiteY28" fmla="*/ 1225550 h 1289050"/>
                    <a:gd name="connsiteX29" fmla="*/ 270486 w 486386"/>
                    <a:gd name="connsiteY29" fmla="*/ 1241425 h 1289050"/>
                    <a:gd name="connsiteX30" fmla="*/ 283186 w 486386"/>
                    <a:gd name="connsiteY30" fmla="*/ 1250950 h 1289050"/>
                    <a:gd name="connsiteX31" fmla="*/ 299061 w 486386"/>
                    <a:gd name="connsiteY31" fmla="*/ 1285875 h 1289050"/>
                    <a:gd name="connsiteX32" fmla="*/ 308586 w 486386"/>
                    <a:gd name="connsiteY32" fmla="*/ 1289050 h 1289050"/>
                    <a:gd name="connsiteX33" fmla="*/ 349861 w 486386"/>
                    <a:gd name="connsiteY33" fmla="*/ 1276350 h 1289050"/>
                    <a:gd name="connsiteX34" fmla="*/ 365736 w 486386"/>
                    <a:gd name="connsiteY34" fmla="*/ 1266825 h 1289050"/>
                    <a:gd name="connsiteX35" fmla="*/ 381611 w 486386"/>
                    <a:gd name="connsiteY35" fmla="*/ 1263650 h 1289050"/>
                    <a:gd name="connsiteX36" fmla="*/ 394311 w 486386"/>
                    <a:gd name="connsiteY36" fmla="*/ 1260475 h 1289050"/>
                    <a:gd name="connsiteX37" fmla="*/ 407011 w 486386"/>
                    <a:gd name="connsiteY37" fmla="*/ 1254125 h 1289050"/>
                    <a:gd name="connsiteX38" fmla="*/ 435586 w 486386"/>
                    <a:gd name="connsiteY38" fmla="*/ 1247775 h 1289050"/>
                    <a:gd name="connsiteX39" fmla="*/ 460986 w 486386"/>
                    <a:gd name="connsiteY39" fmla="*/ 1241425 h 1289050"/>
                    <a:gd name="connsiteX40" fmla="*/ 473686 w 486386"/>
                    <a:gd name="connsiteY40" fmla="*/ 1238250 h 1289050"/>
                    <a:gd name="connsiteX41" fmla="*/ 486386 w 486386"/>
                    <a:gd name="connsiteY41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210161 w 486386"/>
                    <a:gd name="connsiteY16" fmla="*/ 939800 h 1289050"/>
                    <a:gd name="connsiteX17" fmla="*/ 226036 w 486386"/>
                    <a:gd name="connsiteY17" fmla="*/ 971550 h 1289050"/>
                    <a:gd name="connsiteX18" fmla="*/ 229211 w 486386"/>
                    <a:gd name="connsiteY18" fmla="*/ 984250 h 1289050"/>
                    <a:gd name="connsiteX19" fmla="*/ 213336 w 486386"/>
                    <a:gd name="connsiteY19" fmla="*/ 1035050 h 1289050"/>
                    <a:gd name="connsiteX20" fmla="*/ 206986 w 486386"/>
                    <a:gd name="connsiteY20" fmla="*/ 1066800 h 1289050"/>
                    <a:gd name="connsiteX21" fmla="*/ 194286 w 486386"/>
                    <a:gd name="connsiteY21" fmla="*/ 1098550 h 1289050"/>
                    <a:gd name="connsiteX22" fmla="*/ 187936 w 486386"/>
                    <a:gd name="connsiteY22" fmla="*/ 1133475 h 1289050"/>
                    <a:gd name="connsiteX23" fmla="*/ 184761 w 486386"/>
                    <a:gd name="connsiteY23" fmla="*/ 1152525 h 1289050"/>
                    <a:gd name="connsiteX24" fmla="*/ 187936 w 486386"/>
                    <a:gd name="connsiteY24" fmla="*/ 1174750 h 1289050"/>
                    <a:gd name="connsiteX25" fmla="*/ 213336 w 486386"/>
                    <a:gd name="connsiteY25" fmla="*/ 1196975 h 1289050"/>
                    <a:gd name="connsiteX26" fmla="*/ 235561 w 486386"/>
                    <a:gd name="connsiteY26" fmla="*/ 1206500 h 1289050"/>
                    <a:gd name="connsiteX27" fmla="*/ 254611 w 486386"/>
                    <a:gd name="connsiteY27" fmla="*/ 1225550 h 1289050"/>
                    <a:gd name="connsiteX28" fmla="*/ 270486 w 486386"/>
                    <a:gd name="connsiteY28" fmla="*/ 1241425 h 1289050"/>
                    <a:gd name="connsiteX29" fmla="*/ 283186 w 486386"/>
                    <a:gd name="connsiteY29" fmla="*/ 1250950 h 1289050"/>
                    <a:gd name="connsiteX30" fmla="*/ 299061 w 486386"/>
                    <a:gd name="connsiteY30" fmla="*/ 1285875 h 1289050"/>
                    <a:gd name="connsiteX31" fmla="*/ 308586 w 486386"/>
                    <a:gd name="connsiteY31" fmla="*/ 1289050 h 1289050"/>
                    <a:gd name="connsiteX32" fmla="*/ 349861 w 486386"/>
                    <a:gd name="connsiteY32" fmla="*/ 1276350 h 1289050"/>
                    <a:gd name="connsiteX33" fmla="*/ 365736 w 486386"/>
                    <a:gd name="connsiteY33" fmla="*/ 1266825 h 1289050"/>
                    <a:gd name="connsiteX34" fmla="*/ 381611 w 486386"/>
                    <a:gd name="connsiteY34" fmla="*/ 1263650 h 1289050"/>
                    <a:gd name="connsiteX35" fmla="*/ 394311 w 486386"/>
                    <a:gd name="connsiteY35" fmla="*/ 1260475 h 1289050"/>
                    <a:gd name="connsiteX36" fmla="*/ 407011 w 486386"/>
                    <a:gd name="connsiteY36" fmla="*/ 1254125 h 1289050"/>
                    <a:gd name="connsiteX37" fmla="*/ 435586 w 486386"/>
                    <a:gd name="connsiteY37" fmla="*/ 1247775 h 1289050"/>
                    <a:gd name="connsiteX38" fmla="*/ 460986 w 486386"/>
                    <a:gd name="connsiteY38" fmla="*/ 1241425 h 1289050"/>
                    <a:gd name="connsiteX39" fmla="*/ 473686 w 486386"/>
                    <a:gd name="connsiteY39" fmla="*/ 1238250 h 1289050"/>
                    <a:gd name="connsiteX40" fmla="*/ 486386 w 486386"/>
                    <a:gd name="connsiteY40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10161 w 486386"/>
                    <a:gd name="connsiteY15" fmla="*/ 939800 h 1289050"/>
                    <a:gd name="connsiteX16" fmla="*/ 226036 w 486386"/>
                    <a:gd name="connsiteY16" fmla="*/ 971550 h 1289050"/>
                    <a:gd name="connsiteX17" fmla="*/ 229211 w 486386"/>
                    <a:gd name="connsiteY17" fmla="*/ 984250 h 1289050"/>
                    <a:gd name="connsiteX18" fmla="*/ 213336 w 486386"/>
                    <a:gd name="connsiteY18" fmla="*/ 1035050 h 1289050"/>
                    <a:gd name="connsiteX19" fmla="*/ 206986 w 486386"/>
                    <a:gd name="connsiteY19" fmla="*/ 1066800 h 1289050"/>
                    <a:gd name="connsiteX20" fmla="*/ 194286 w 486386"/>
                    <a:gd name="connsiteY20" fmla="*/ 1098550 h 1289050"/>
                    <a:gd name="connsiteX21" fmla="*/ 187936 w 486386"/>
                    <a:gd name="connsiteY21" fmla="*/ 1133475 h 1289050"/>
                    <a:gd name="connsiteX22" fmla="*/ 184761 w 486386"/>
                    <a:gd name="connsiteY22" fmla="*/ 1152525 h 1289050"/>
                    <a:gd name="connsiteX23" fmla="*/ 187936 w 486386"/>
                    <a:gd name="connsiteY23" fmla="*/ 1174750 h 1289050"/>
                    <a:gd name="connsiteX24" fmla="*/ 213336 w 486386"/>
                    <a:gd name="connsiteY24" fmla="*/ 1196975 h 1289050"/>
                    <a:gd name="connsiteX25" fmla="*/ 235561 w 486386"/>
                    <a:gd name="connsiteY25" fmla="*/ 1206500 h 1289050"/>
                    <a:gd name="connsiteX26" fmla="*/ 254611 w 486386"/>
                    <a:gd name="connsiteY26" fmla="*/ 1225550 h 1289050"/>
                    <a:gd name="connsiteX27" fmla="*/ 270486 w 486386"/>
                    <a:gd name="connsiteY27" fmla="*/ 1241425 h 1289050"/>
                    <a:gd name="connsiteX28" fmla="*/ 283186 w 486386"/>
                    <a:gd name="connsiteY28" fmla="*/ 1250950 h 1289050"/>
                    <a:gd name="connsiteX29" fmla="*/ 299061 w 486386"/>
                    <a:gd name="connsiteY29" fmla="*/ 1285875 h 1289050"/>
                    <a:gd name="connsiteX30" fmla="*/ 308586 w 486386"/>
                    <a:gd name="connsiteY30" fmla="*/ 1289050 h 1289050"/>
                    <a:gd name="connsiteX31" fmla="*/ 349861 w 486386"/>
                    <a:gd name="connsiteY31" fmla="*/ 1276350 h 1289050"/>
                    <a:gd name="connsiteX32" fmla="*/ 365736 w 486386"/>
                    <a:gd name="connsiteY32" fmla="*/ 1266825 h 1289050"/>
                    <a:gd name="connsiteX33" fmla="*/ 381611 w 486386"/>
                    <a:gd name="connsiteY33" fmla="*/ 1263650 h 1289050"/>
                    <a:gd name="connsiteX34" fmla="*/ 394311 w 486386"/>
                    <a:gd name="connsiteY34" fmla="*/ 1260475 h 1289050"/>
                    <a:gd name="connsiteX35" fmla="*/ 407011 w 486386"/>
                    <a:gd name="connsiteY35" fmla="*/ 1254125 h 1289050"/>
                    <a:gd name="connsiteX36" fmla="*/ 435586 w 486386"/>
                    <a:gd name="connsiteY36" fmla="*/ 1247775 h 1289050"/>
                    <a:gd name="connsiteX37" fmla="*/ 460986 w 486386"/>
                    <a:gd name="connsiteY37" fmla="*/ 1241425 h 1289050"/>
                    <a:gd name="connsiteX38" fmla="*/ 473686 w 486386"/>
                    <a:gd name="connsiteY38" fmla="*/ 1238250 h 1289050"/>
                    <a:gd name="connsiteX39" fmla="*/ 486386 w 486386"/>
                    <a:gd name="connsiteY39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10161 w 486386"/>
                    <a:gd name="connsiteY15" fmla="*/ 939800 h 1289050"/>
                    <a:gd name="connsiteX16" fmla="*/ 229211 w 486386"/>
                    <a:gd name="connsiteY16" fmla="*/ 984250 h 1289050"/>
                    <a:gd name="connsiteX17" fmla="*/ 213336 w 486386"/>
                    <a:gd name="connsiteY17" fmla="*/ 1035050 h 1289050"/>
                    <a:gd name="connsiteX18" fmla="*/ 206986 w 486386"/>
                    <a:gd name="connsiteY18" fmla="*/ 1066800 h 1289050"/>
                    <a:gd name="connsiteX19" fmla="*/ 194286 w 486386"/>
                    <a:gd name="connsiteY19" fmla="*/ 1098550 h 1289050"/>
                    <a:gd name="connsiteX20" fmla="*/ 187936 w 486386"/>
                    <a:gd name="connsiteY20" fmla="*/ 1133475 h 1289050"/>
                    <a:gd name="connsiteX21" fmla="*/ 184761 w 486386"/>
                    <a:gd name="connsiteY21" fmla="*/ 1152525 h 1289050"/>
                    <a:gd name="connsiteX22" fmla="*/ 187936 w 486386"/>
                    <a:gd name="connsiteY22" fmla="*/ 1174750 h 1289050"/>
                    <a:gd name="connsiteX23" fmla="*/ 213336 w 486386"/>
                    <a:gd name="connsiteY23" fmla="*/ 1196975 h 1289050"/>
                    <a:gd name="connsiteX24" fmla="*/ 235561 w 486386"/>
                    <a:gd name="connsiteY24" fmla="*/ 1206500 h 1289050"/>
                    <a:gd name="connsiteX25" fmla="*/ 254611 w 486386"/>
                    <a:gd name="connsiteY25" fmla="*/ 1225550 h 1289050"/>
                    <a:gd name="connsiteX26" fmla="*/ 270486 w 486386"/>
                    <a:gd name="connsiteY26" fmla="*/ 1241425 h 1289050"/>
                    <a:gd name="connsiteX27" fmla="*/ 283186 w 486386"/>
                    <a:gd name="connsiteY27" fmla="*/ 1250950 h 1289050"/>
                    <a:gd name="connsiteX28" fmla="*/ 299061 w 486386"/>
                    <a:gd name="connsiteY28" fmla="*/ 1285875 h 1289050"/>
                    <a:gd name="connsiteX29" fmla="*/ 308586 w 486386"/>
                    <a:gd name="connsiteY29" fmla="*/ 1289050 h 1289050"/>
                    <a:gd name="connsiteX30" fmla="*/ 349861 w 486386"/>
                    <a:gd name="connsiteY30" fmla="*/ 1276350 h 1289050"/>
                    <a:gd name="connsiteX31" fmla="*/ 365736 w 486386"/>
                    <a:gd name="connsiteY31" fmla="*/ 1266825 h 1289050"/>
                    <a:gd name="connsiteX32" fmla="*/ 381611 w 486386"/>
                    <a:gd name="connsiteY32" fmla="*/ 1263650 h 1289050"/>
                    <a:gd name="connsiteX33" fmla="*/ 394311 w 486386"/>
                    <a:gd name="connsiteY33" fmla="*/ 1260475 h 1289050"/>
                    <a:gd name="connsiteX34" fmla="*/ 407011 w 486386"/>
                    <a:gd name="connsiteY34" fmla="*/ 1254125 h 1289050"/>
                    <a:gd name="connsiteX35" fmla="*/ 435586 w 486386"/>
                    <a:gd name="connsiteY35" fmla="*/ 1247775 h 1289050"/>
                    <a:gd name="connsiteX36" fmla="*/ 460986 w 486386"/>
                    <a:gd name="connsiteY36" fmla="*/ 1241425 h 1289050"/>
                    <a:gd name="connsiteX37" fmla="*/ 473686 w 486386"/>
                    <a:gd name="connsiteY37" fmla="*/ 1238250 h 1289050"/>
                    <a:gd name="connsiteX38" fmla="*/ 486386 w 486386"/>
                    <a:gd name="connsiteY38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206986 w 486386"/>
                    <a:gd name="connsiteY17" fmla="*/ 1066800 h 1289050"/>
                    <a:gd name="connsiteX18" fmla="*/ 194286 w 486386"/>
                    <a:gd name="connsiteY18" fmla="*/ 1098550 h 1289050"/>
                    <a:gd name="connsiteX19" fmla="*/ 187936 w 486386"/>
                    <a:gd name="connsiteY19" fmla="*/ 1133475 h 1289050"/>
                    <a:gd name="connsiteX20" fmla="*/ 184761 w 486386"/>
                    <a:gd name="connsiteY20" fmla="*/ 1152525 h 1289050"/>
                    <a:gd name="connsiteX21" fmla="*/ 187936 w 486386"/>
                    <a:gd name="connsiteY21" fmla="*/ 1174750 h 1289050"/>
                    <a:gd name="connsiteX22" fmla="*/ 213336 w 486386"/>
                    <a:gd name="connsiteY22" fmla="*/ 1196975 h 1289050"/>
                    <a:gd name="connsiteX23" fmla="*/ 235561 w 486386"/>
                    <a:gd name="connsiteY23" fmla="*/ 1206500 h 1289050"/>
                    <a:gd name="connsiteX24" fmla="*/ 254611 w 486386"/>
                    <a:gd name="connsiteY24" fmla="*/ 1225550 h 1289050"/>
                    <a:gd name="connsiteX25" fmla="*/ 270486 w 486386"/>
                    <a:gd name="connsiteY25" fmla="*/ 1241425 h 1289050"/>
                    <a:gd name="connsiteX26" fmla="*/ 283186 w 486386"/>
                    <a:gd name="connsiteY26" fmla="*/ 1250950 h 1289050"/>
                    <a:gd name="connsiteX27" fmla="*/ 299061 w 486386"/>
                    <a:gd name="connsiteY27" fmla="*/ 1285875 h 1289050"/>
                    <a:gd name="connsiteX28" fmla="*/ 308586 w 486386"/>
                    <a:gd name="connsiteY28" fmla="*/ 1289050 h 1289050"/>
                    <a:gd name="connsiteX29" fmla="*/ 349861 w 486386"/>
                    <a:gd name="connsiteY29" fmla="*/ 1276350 h 1289050"/>
                    <a:gd name="connsiteX30" fmla="*/ 365736 w 486386"/>
                    <a:gd name="connsiteY30" fmla="*/ 1266825 h 1289050"/>
                    <a:gd name="connsiteX31" fmla="*/ 381611 w 486386"/>
                    <a:gd name="connsiteY31" fmla="*/ 1263650 h 1289050"/>
                    <a:gd name="connsiteX32" fmla="*/ 394311 w 486386"/>
                    <a:gd name="connsiteY32" fmla="*/ 1260475 h 1289050"/>
                    <a:gd name="connsiteX33" fmla="*/ 407011 w 486386"/>
                    <a:gd name="connsiteY33" fmla="*/ 1254125 h 1289050"/>
                    <a:gd name="connsiteX34" fmla="*/ 435586 w 486386"/>
                    <a:gd name="connsiteY34" fmla="*/ 1247775 h 1289050"/>
                    <a:gd name="connsiteX35" fmla="*/ 460986 w 486386"/>
                    <a:gd name="connsiteY35" fmla="*/ 1241425 h 1289050"/>
                    <a:gd name="connsiteX36" fmla="*/ 473686 w 486386"/>
                    <a:gd name="connsiteY36" fmla="*/ 1238250 h 1289050"/>
                    <a:gd name="connsiteX37" fmla="*/ 486386 w 486386"/>
                    <a:gd name="connsiteY37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94286 w 486386"/>
                    <a:gd name="connsiteY17" fmla="*/ 1098550 h 1289050"/>
                    <a:gd name="connsiteX18" fmla="*/ 187936 w 486386"/>
                    <a:gd name="connsiteY18" fmla="*/ 1133475 h 1289050"/>
                    <a:gd name="connsiteX19" fmla="*/ 184761 w 486386"/>
                    <a:gd name="connsiteY19" fmla="*/ 1152525 h 1289050"/>
                    <a:gd name="connsiteX20" fmla="*/ 187936 w 486386"/>
                    <a:gd name="connsiteY20" fmla="*/ 1174750 h 1289050"/>
                    <a:gd name="connsiteX21" fmla="*/ 213336 w 486386"/>
                    <a:gd name="connsiteY21" fmla="*/ 1196975 h 1289050"/>
                    <a:gd name="connsiteX22" fmla="*/ 235561 w 486386"/>
                    <a:gd name="connsiteY22" fmla="*/ 1206500 h 1289050"/>
                    <a:gd name="connsiteX23" fmla="*/ 254611 w 486386"/>
                    <a:gd name="connsiteY23" fmla="*/ 1225550 h 1289050"/>
                    <a:gd name="connsiteX24" fmla="*/ 270486 w 486386"/>
                    <a:gd name="connsiteY24" fmla="*/ 1241425 h 1289050"/>
                    <a:gd name="connsiteX25" fmla="*/ 283186 w 486386"/>
                    <a:gd name="connsiteY25" fmla="*/ 1250950 h 1289050"/>
                    <a:gd name="connsiteX26" fmla="*/ 299061 w 486386"/>
                    <a:gd name="connsiteY26" fmla="*/ 1285875 h 1289050"/>
                    <a:gd name="connsiteX27" fmla="*/ 308586 w 486386"/>
                    <a:gd name="connsiteY27" fmla="*/ 1289050 h 1289050"/>
                    <a:gd name="connsiteX28" fmla="*/ 349861 w 486386"/>
                    <a:gd name="connsiteY28" fmla="*/ 1276350 h 1289050"/>
                    <a:gd name="connsiteX29" fmla="*/ 365736 w 486386"/>
                    <a:gd name="connsiteY29" fmla="*/ 1266825 h 1289050"/>
                    <a:gd name="connsiteX30" fmla="*/ 381611 w 486386"/>
                    <a:gd name="connsiteY30" fmla="*/ 1263650 h 1289050"/>
                    <a:gd name="connsiteX31" fmla="*/ 394311 w 486386"/>
                    <a:gd name="connsiteY31" fmla="*/ 1260475 h 1289050"/>
                    <a:gd name="connsiteX32" fmla="*/ 407011 w 486386"/>
                    <a:gd name="connsiteY32" fmla="*/ 1254125 h 1289050"/>
                    <a:gd name="connsiteX33" fmla="*/ 435586 w 486386"/>
                    <a:gd name="connsiteY33" fmla="*/ 1247775 h 1289050"/>
                    <a:gd name="connsiteX34" fmla="*/ 460986 w 486386"/>
                    <a:gd name="connsiteY34" fmla="*/ 1241425 h 1289050"/>
                    <a:gd name="connsiteX35" fmla="*/ 473686 w 486386"/>
                    <a:gd name="connsiteY35" fmla="*/ 1238250 h 1289050"/>
                    <a:gd name="connsiteX36" fmla="*/ 486386 w 486386"/>
                    <a:gd name="connsiteY36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13336 w 486386"/>
                    <a:gd name="connsiteY20" fmla="*/ 1196975 h 1289050"/>
                    <a:gd name="connsiteX21" fmla="*/ 235561 w 486386"/>
                    <a:gd name="connsiteY21" fmla="*/ 1206500 h 1289050"/>
                    <a:gd name="connsiteX22" fmla="*/ 254611 w 486386"/>
                    <a:gd name="connsiteY22" fmla="*/ 1225550 h 1289050"/>
                    <a:gd name="connsiteX23" fmla="*/ 270486 w 486386"/>
                    <a:gd name="connsiteY23" fmla="*/ 1241425 h 1289050"/>
                    <a:gd name="connsiteX24" fmla="*/ 283186 w 486386"/>
                    <a:gd name="connsiteY24" fmla="*/ 1250950 h 1289050"/>
                    <a:gd name="connsiteX25" fmla="*/ 299061 w 486386"/>
                    <a:gd name="connsiteY25" fmla="*/ 1285875 h 1289050"/>
                    <a:gd name="connsiteX26" fmla="*/ 308586 w 486386"/>
                    <a:gd name="connsiteY26" fmla="*/ 1289050 h 1289050"/>
                    <a:gd name="connsiteX27" fmla="*/ 349861 w 486386"/>
                    <a:gd name="connsiteY27" fmla="*/ 1276350 h 1289050"/>
                    <a:gd name="connsiteX28" fmla="*/ 365736 w 486386"/>
                    <a:gd name="connsiteY28" fmla="*/ 1266825 h 1289050"/>
                    <a:gd name="connsiteX29" fmla="*/ 381611 w 486386"/>
                    <a:gd name="connsiteY29" fmla="*/ 1263650 h 1289050"/>
                    <a:gd name="connsiteX30" fmla="*/ 394311 w 486386"/>
                    <a:gd name="connsiteY30" fmla="*/ 1260475 h 1289050"/>
                    <a:gd name="connsiteX31" fmla="*/ 407011 w 486386"/>
                    <a:gd name="connsiteY31" fmla="*/ 1254125 h 1289050"/>
                    <a:gd name="connsiteX32" fmla="*/ 435586 w 486386"/>
                    <a:gd name="connsiteY32" fmla="*/ 1247775 h 1289050"/>
                    <a:gd name="connsiteX33" fmla="*/ 460986 w 486386"/>
                    <a:gd name="connsiteY33" fmla="*/ 1241425 h 1289050"/>
                    <a:gd name="connsiteX34" fmla="*/ 473686 w 486386"/>
                    <a:gd name="connsiteY34" fmla="*/ 1238250 h 1289050"/>
                    <a:gd name="connsiteX35" fmla="*/ 486386 w 486386"/>
                    <a:gd name="connsiteY35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13336 w 486386"/>
                    <a:gd name="connsiteY20" fmla="*/ 1196975 h 1289050"/>
                    <a:gd name="connsiteX21" fmla="*/ 254611 w 486386"/>
                    <a:gd name="connsiteY21" fmla="*/ 1225550 h 1289050"/>
                    <a:gd name="connsiteX22" fmla="*/ 270486 w 486386"/>
                    <a:gd name="connsiteY22" fmla="*/ 1241425 h 1289050"/>
                    <a:gd name="connsiteX23" fmla="*/ 283186 w 486386"/>
                    <a:gd name="connsiteY23" fmla="*/ 1250950 h 1289050"/>
                    <a:gd name="connsiteX24" fmla="*/ 299061 w 486386"/>
                    <a:gd name="connsiteY24" fmla="*/ 1285875 h 1289050"/>
                    <a:gd name="connsiteX25" fmla="*/ 308586 w 486386"/>
                    <a:gd name="connsiteY25" fmla="*/ 1289050 h 1289050"/>
                    <a:gd name="connsiteX26" fmla="*/ 349861 w 486386"/>
                    <a:gd name="connsiteY26" fmla="*/ 1276350 h 1289050"/>
                    <a:gd name="connsiteX27" fmla="*/ 365736 w 486386"/>
                    <a:gd name="connsiteY27" fmla="*/ 1266825 h 1289050"/>
                    <a:gd name="connsiteX28" fmla="*/ 381611 w 486386"/>
                    <a:gd name="connsiteY28" fmla="*/ 1263650 h 1289050"/>
                    <a:gd name="connsiteX29" fmla="*/ 394311 w 486386"/>
                    <a:gd name="connsiteY29" fmla="*/ 1260475 h 1289050"/>
                    <a:gd name="connsiteX30" fmla="*/ 407011 w 486386"/>
                    <a:gd name="connsiteY30" fmla="*/ 1254125 h 1289050"/>
                    <a:gd name="connsiteX31" fmla="*/ 435586 w 486386"/>
                    <a:gd name="connsiteY31" fmla="*/ 1247775 h 1289050"/>
                    <a:gd name="connsiteX32" fmla="*/ 460986 w 486386"/>
                    <a:gd name="connsiteY32" fmla="*/ 1241425 h 1289050"/>
                    <a:gd name="connsiteX33" fmla="*/ 473686 w 486386"/>
                    <a:gd name="connsiteY33" fmla="*/ 1238250 h 1289050"/>
                    <a:gd name="connsiteX34" fmla="*/ 486386 w 486386"/>
                    <a:gd name="connsiteY34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54611 w 486386"/>
                    <a:gd name="connsiteY20" fmla="*/ 1225550 h 1289050"/>
                    <a:gd name="connsiteX21" fmla="*/ 270486 w 486386"/>
                    <a:gd name="connsiteY21" fmla="*/ 1241425 h 1289050"/>
                    <a:gd name="connsiteX22" fmla="*/ 283186 w 486386"/>
                    <a:gd name="connsiteY22" fmla="*/ 1250950 h 1289050"/>
                    <a:gd name="connsiteX23" fmla="*/ 299061 w 486386"/>
                    <a:gd name="connsiteY23" fmla="*/ 1285875 h 1289050"/>
                    <a:gd name="connsiteX24" fmla="*/ 308586 w 486386"/>
                    <a:gd name="connsiteY24" fmla="*/ 1289050 h 1289050"/>
                    <a:gd name="connsiteX25" fmla="*/ 349861 w 486386"/>
                    <a:gd name="connsiteY25" fmla="*/ 1276350 h 1289050"/>
                    <a:gd name="connsiteX26" fmla="*/ 365736 w 486386"/>
                    <a:gd name="connsiteY26" fmla="*/ 1266825 h 1289050"/>
                    <a:gd name="connsiteX27" fmla="*/ 381611 w 486386"/>
                    <a:gd name="connsiteY27" fmla="*/ 1263650 h 1289050"/>
                    <a:gd name="connsiteX28" fmla="*/ 394311 w 486386"/>
                    <a:gd name="connsiteY28" fmla="*/ 1260475 h 1289050"/>
                    <a:gd name="connsiteX29" fmla="*/ 407011 w 486386"/>
                    <a:gd name="connsiteY29" fmla="*/ 1254125 h 1289050"/>
                    <a:gd name="connsiteX30" fmla="*/ 435586 w 486386"/>
                    <a:gd name="connsiteY30" fmla="*/ 1247775 h 1289050"/>
                    <a:gd name="connsiteX31" fmla="*/ 460986 w 486386"/>
                    <a:gd name="connsiteY31" fmla="*/ 1241425 h 1289050"/>
                    <a:gd name="connsiteX32" fmla="*/ 473686 w 486386"/>
                    <a:gd name="connsiteY32" fmla="*/ 1238250 h 1289050"/>
                    <a:gd name="connsiteX33" fmla="*/ 486386 w 486386"/>
                    <a:gd name="connsiteY33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54611 w 486386"/>
                    <a:gd name="connsiteY20" fmla="*/ 1225550 h 1289050"/>
                    <a:gd name="connsiteX21" fmla="*/ 283186 w 486386"/>
                    <a:gd name="connsiteY21" fmla="*/ 1250950 h 1289050"/>
                    <a:gd name="connsiteX22" fmla="*/ 299061 w 486386"/>
                    <a:gd name="connsiteY22" fmla="*/ 1285875 h 1289050"/>
                    <a:gd name="connsiteX23" fmla="*/ 308586 w 486386"/>
                    <a:gd name="connsiteY23" fmla="*/ 1289050 h 1289050"/>
                    <a:gd name="connsiteX24" fmla="*/ 349861 w 486386"/>
                    <a:gd name="connsiteY24" fmla="*/ 1276350 h 1289050"/>
                    <a:gd name="connsiteX25" fmla="*/ 365736 w 486386"/>
                    <a:gd name="connsiteY25" fmla="*/ 1266825 h 1289050"/>
                    <a:gd name="connsiteX26" fmla="*/ 381611 w 486386"/>
                    <a:gd name="connsiteY26" fmla="*/ 1263650 h 1289050"/>
                    <a:gd name="connsiteX27" fmla="*/ 394311 w 486386"/>
                    <a:gd name="connsiteY27" fmla="*/ 1260475 h 1289050"/>
                    <a:gd name="connsiteX28" fmla="*/ 407011 w 486386"/>
                    <a:gd name="connsiteY28" fmla="*/ 1254125 h 1289050"/>
                    <a:gd name="connsiteX29" fmla="*/ 435586 w 486386"/>
                    <a:gd name="connsiteY29" fmla="*/ 1247775 h 1289050"/>
                    <a:gd name="connsiteX30" fmla="*/ 460986 w 486386"/>
                    <a:gd name="connsiteY30" fmla="*/ 1241425 h 1289050"/>
                    <a:gd name="connsiteX31" fmla="*/ 473686 w 486386"/>
                    <a:gd name="connsiteY31" fmla="*/ 1238250 h 1289050"/>
                    <a:gd name="connsiteX32" fmla="*/ 486386 w 486386"/>
                    <a:gd name="connsiteY32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83186 w 486386"/>
                    <a:gd name="connsiteY20" fmla="*/ 1250950 h 1289050"/>
                    <a:gd name="connsiteX21" fmla="*/ 299061 w 486386"/>
                    <a:gd name="connsiteY21" fmla="*/ 1285875 h 1289050"/>
                    <a:gd name="connsiteX22" fmla="*/ 308586 w 486386"/>
                    <a:gd name="connsiteY22" fmla="*/ 1289050 h 1289050"/>
                    <a:gd name="connsiteX23" fmla="*/ 349861 w 486386"/>
                    <a:gd name="connsiteY23" fmla="*/ 1276350 h 1289050"/>
                    <a:gd name="connsiteX24" fmla="*/ 365736 w 486386"/>
                    <a:gd name="connsiteY24" fmla="*/ 1266825 h 1289050"/>
                    <a:gd name="connsiteX25" fmla="*/ 381611 w 486386"/>
                    <a:gd name="connsiteY25" fmla="*/ 1263650 h 1289050"/>
                    <a:gd name="connsiteX26" fmla="*/ 394311 w 486386"/>
                    <a:gd name="connsiteY26" fmla="*/ 1260475 h 1289050"/>
                    <a:gd name="connsiteX27" fmla="*/ 407011 w 486386"/>
                    <a:gd name="connsiteY27" fmla="*/ 1254125 h 1289050"/>
                    <a:gd name="connsiteX28" fmla="*/ 435586 w 486386"/>
                    <a:gd name="connsiteY28" fmla="*/ 1247775 h 1289050"/>
                    <a:gd name="connsiteX29" fmla="*/ 460986 w 486386"/>
                    <a:gd name="connsiteY29" fmla="*/ 1241425 h 1289050"/>
                    <a:gd name="connsiteX30" fmla="*/ 473686 w 486386"/>
                    <a:gd name="connsiteY30" fmla="*/ 1238250 h 1289050"/>
                    <a:gd name="connsiteX31" fmla="*/ 486386 w 486386"/>
                    <a:gd name="connsiteY31" fmla="*/ 1235075 h 1289050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381611 w 486386"/>
                    <a:gd name="connsiteY24" fmla="*/ 1263650 h 1294977"/>
                    <a:gd name="connsiteX25" fmla="*/ 394311 w 486386"/>
                    <a:gd name="connsiteY25" fmla="*/ 1260475 h 1294977"/>
                    <a:gd name="connsiteX26" fmla="*/ 407011 w 486386"/>
                    <a:gd name="connsiteY26" fmla="*/ 1254125 h 1294977"/>
                    <a:gd name="connsiteX27" fmla="*/ 435586 w 486386"/>
                    <a:gd name="connsiteY27" fmla="*/ 1247775 h 1294977"/>
                    <a:gd name="connsiteX28" fmla="*/ 460986 w 486386"/>
                    <a:gd name="connsiteY28" fmla="*/ 1241425 h 1294977"/>
                    <a:gd name="connsiteX29" fmla="*/ 473686 w 486386"/>
                    <a:gd name="connsiteY29" fmla="*/ 1238250 h 1294977"/>
                    <a:gd name="connsiteX30" fmla="*/ 486386 w 486386"/>
                    <a:gd name="connsiteY30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394311 w 486386"/>
                    <a:gd name="connsiteY24" fmla="*/ 1260475 h 1294977"/>
                    <a:gd name="connsiteX25" fmla="*/ 407011 w 486386"/>
                    <a:gd name="connsiteY25" fmla="*/ 1254125 h 1294977"/>
                    <a:gd name="connsiteX26" fmla="*/ 435586 w 486386"/>
                    <a:gd name="connsiteY26" fmla="*/ 1247775 h 1294977"/>
                    <a:gd name="connsiteX27" fmla="*/ 460986 w 486386"/>
                    <a:gd name="connsiteY27" fmla="*/ 1241425 h 1294977"/>
                    <a:gd name="connsiteX28" fmla="*/ 473686 w 486386"/>
                    <a:gd name="connsiteY28" fmla="*/ 1238250 h 1294977"/>
                    <a:gd name="connsiteX29" fmla="*/ 486386 w 486386"/>
                    <a:gd name="connsiteY29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407011 w 486386"/>
                    <a:gd name="connsiteY24" fmla="*/ 1254125 h 1294977"/>
                    <a:gd name="connsiteX25" fmla="*/ 435586 w 486386"/>
                    <a:gd name="connsiteY25" fmla="*/ 1247775 h 1294977"/>
                    <a:gd name="connsiteX26" fmla="*/ 460986 w 486386"/>
                    <a:gd name="connsiteY26" fmla="*/ 1241425 h 1294977"/>
                    <a:gd name="connsiteX27" fmla="*/ 473686 w 486386"/>
                    <a:gd name="connsiteY27" fmla="*/ 1238250 h 1294977"/>
                    <a:gd name="connsiteX28" fmla="*/ 486386 w 486386"/>
                    <a:gd name="connsiteY28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07011 w 486386"/>
                    <a:gd name="connsiteY23" fmla="*/ 1254125 h 1294977"/>
                    <a:gd name="connsiteX24" fmla="*/ 435586 w 486386"/>
                    <a:gd name="connsiteY24" fmla="*/ 1247775 h 1294977"/>
                    <a:gd name="connsiteX25" fmla="*/ 460986 w 486386"/>
                    <a:gd name="connsiteY25" fmla="*/ 1241425 h 1294977"/>
                    <a:gd name="connsiteX26" fmla="*/ 473686 w 486386"/>
                    <a:gd name="connsiteY26" fmla="*/ 1238250 h 1294977"/>
                    <a:gd name="connsiteX27" fmla="*/ 486386 w 486386"/>
                    <a:gd name="connsiteY27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35586 w 486386"/>
                    <a:gd name="connsiteY23" fmla="*/ 1247775 h 1294977"/>
                    <a:gd name="connsiteX24" fmla="*/ 460986 w 486386"/>
                    <a:gd name="connsiteY24" fmla="*/ 1241425 h 1294977"/>
                    <a:gd name="connsiteX25" fmla="*/ 473686 w 486386"/>
                    <a:gd name="connsiteY25" fmla="*/ 1238250 h 1294977"/>
                    <a:gd name="connsiteX26" fmla="*/ 486386 w 486386"/>
                    <a:gd name="connsiteY26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60986 w 486386"/>
                    <a:gd name="connsiteY23" fmla="*/ 1241425 h 1294977"/>
                    <a:gd name="connsiteX24" fmla="*/ 473686 w 486386"/>
                    <a:gd name="connsiteY24" fmla="*/ 1238250 h 1294977"/>
                    <a:gd name="connsiteX25" fmla="*/ 486386 w 486386"/>
                    <a:gd name="connsiteY25" fmla="*/ 1235075 h 1294977"/>
                    <a:gd name="connsiteX0" fmla="*/ 302236 w 486386"/>
                    <a:gd name="connsiteY0" fmla="*/ 0 h 1292689"/>
                    <a:gd name="connsiteX1" fmla="*/ 172061 w 486386"/>
                    <a:gd name="connsiteY1" fmla="*/ 136525 h 1292689"/>
                    <a:gd name="connsiteX2" fmla="*/ 219686 w 486386"/>
                    <a:gd name="connsiteY2" fmla="*/ 295275 h 1292689"/>
                    <a:gd name="connsiteX3" fmla="*/ 226036 w 486386"/>
                    <a:gd name="connsiteY3" fmla="*/ 317500 h 1292689"/>
                    <a:gd name="connsiteX4" fmla="*/ 188730 w 486386"/>
                    <a:gd name="connsiteY4" fmla="*/ 386556 h 1292689"/>
                    <a:gd name="connsiteX5" fmla="*/ 168886 w 486386"/>
                    <a:gd name="connsiteY5" fmla="*/ 463550 h 1292689"/>
                    <a:gd name="connsiteX6" fmla="*/ 159361 w 486386"/>
                    <a:gd name="connsiteY6" fmla="*/ 466725 h 1292689"/>
                    <a:gd name="connsiteX7" fmla="*/ 133961 w 486386"/>
                    <a:gd name="connsiteY7" fmla="*/ 479425 h 1292689"/>
                    <a:gd name="connsiteX8" fmla="*/ 6961 w 486386"/>
                    <a:gd name="connsiteY8" fmla="*/ 542925 h 1292689"/>
                    <a:gd name="connsiteX9" fmla="*/ 611 w 486386"/>
                    <a:gd name="connsiteY9" fmla="*/ 628650 h 1292689"/>
                    <a:gd name="connsiteX10" fmla="*/ 611 w 486386"/>
                    <a:gd name="connsiteY10" fmla="*/ 736600 h 1292689"/>
                    <a:gd name="connsiteX11" fmla="*/ 3786 w 486386"/>
                    <a:gd name="connsiteY11" fmla="*/ 746125 h 1292689"/>
                    <a:gd name="connsiteX12" fmla="*/ 16486 w 486386"/>
                    <a:gd name="connsiteY12" fmla="*/ 755650 h 1292689"/>
                    <a:gd name="connsiteX13" fmla="*/ 133961 w 486386"/>
                    <a:gd name="connsiteY13" fmla="*/ 803275 h 1292689"/>
                    <a:gd name="connsiteX14" fmla="*/ 162536 w 486386"/>
                    <a:gd name="connsiteY14" fmla="*/ 838200 h 1292689"/>
                    <a:gd name="connsiteX15" fmla="*/ 229211 w 486386"/>
                    <a:gd name="connsiteY15" fmla="*/ 984250 h 1292689"/>
                    <a:gd name="connsiteX16" fmla="*/ 213336 w 486386"/>
                    <a:gd name="connsiteY16" fmla="*/ 1035050 h 1292689"/>
                    <a:gd name="connsiteX17" fmla="*/ 187936 w 486386"/>
                    <a:gd name="connsiteY17" fmla="*/ 1133475 h 1292689"/>
                    <a:gd name="connsiteX18" fmla="*/ 184761 w 486386"/>
                    <a:gd name="connsiteY18" fmla="*/ 1152525 h 1292689"/>
                    <a:gd name="connsiteX19" fmla="*/ 187936 w 486386"/>
                    <a:gd name="connsiteY19" fmla="*/ 1174750 h 1292689"/>
                    <a:gd name="connsiteX20" fmla="*/ 299061 w 486386"/>
                    <a:gd name="connsiteY20" fmla="*/ 1285875 h 1292689"/>
                    <a:gd name="connsiteX21" fmla="*/ 349861 w 486386"/>
                    <a:gd name="connsiteY21" fmla="*/ 1276350 h 1292689"/>
                    <a:gd name="connsiteX22" fmla="*/ 460986 w 486386"/>
                    <a:gd name="connsiteY22" fmla="*/ 1241425 h 1292689"/>
                    <a:gd name="connsiteX23" fmla="*/ 473686 w 486386"/>
                    <a:gd name="connsiteY23" fmla="*/ 1238250 h 1292689"/>
                    <a:gd name="connsiteX24" fmla="*/ 486386 w 486386"/>
                    <a:gd name="connsiteY24" fmla="*/ 1235075 h 1292689"/>
                    <a:gd name="connsiteX0" fmla="*/ 302236 w 473686"/>
                    <a:gd name="connsiteY0" fmla="*/ 0 h 1292689"/>
                    <a:gd name="connsiteX1" fmla="*/ 172061 w 473686"/>
                    <a:gd name="connsiteY1" fmla="*/ 136525 h 1292689"/>
                    <a:gd name="connsiteX2" fmla="*/ 219686 w 473686"/>
                    <a:gd name="connsiteY2" fmla="*/ 295275 h 1292689"/>
                    <a:gd name="connsiteX3" fmla="*/ 226036 w 473686"/>
                    <a:gd name="connsiteY3" fmla="*/ 317500 h 1292689"/>
                    <a:gd name="connsiteX4" fmla="*/ 188730 w 473686"/>
                    <a:gd name="connsiteY4" fmla="*/ 386556 h 1292689"/>
                    <a:gd name="connsiteX5" fmla="*/ 168886 w 473686"/>
                    <a:gd name="connsiteY5" fmla="*/ 463550 h 1292689"/>
                    <a:gd name="connsiteX6" fmla="*/ 159361 w 473686"/>
                    <a:gd name="connsiteY6" fmla="*/ 466725 h 1292689"/>
                    <a:gd name="connsiteX7" fmla="*/ 133961 w 473686"/>
                    <a:gd name="connsiteY7" fmla="*/ 479425 h 1292689"/>
                    <a:gd name="connsiteX8" fmla="*/ 6961 w 473686"/>
                    <a:gd name="connsiteY8" fmla="*/ 542925 h 1292689"/>
                    <a:gd name="connsiteX9" fmla="*/ 611 w 473686"/>
                    <a:gd name="connsiteY9" fmla="*/ 628650 h 1292689"/>
                    <a:gd name="connsiteX10" fmla="*/ 611 w 473686"/>
                    <a:gd name="connsiteY10" fmla="*/ 736600 h 1292689"/>
                    <a:gd name="connsiteX11" fmla="*/ 3786 w 473686"/>
                    <a:gd name="connsiteY11" fmla="*/ 746125 h 1292689"/>
                    <a:gd name="connsiteX12" fmla="*/ 16486 w 473686"/>
                    <a:gd name="connsiteY12" fmla="*/ 755650 h 1292689"/>
                    <a:gd name="connsiteX13" fmla="*/ 133961 w 473686"/>
                    <a:gd name="connsiteY13" fmla="*/ 803275 h 1292689"/>
                    <a:gd name="connsiteX14" fmla="*/ 162536 w 473686"/>
                    <a:gd name="connsiteY14" fmla="*/ 838200 h 1292689"/>
                    <a:gd name="connsiteX15" fmla="*/ 229211 w 473686"/>
                    <a:gd name="connsiteY15" fmla="*/ 984250 h 1292689"/>
                    <a:gd name="connsiteX16" fmla="*/ 213336 w 473686"/>
                    <a:gd name="connsiteY16" fmla="*/ 1035050 h 1292689"/>
                    <a:gd name="connsiteX17" fmla="*/ 187936 w 473686"/>
                    <a:gd name="connsiteY17" fmla="*/ 1133475 h 1292689"/>
                    <a:gd name="connsiteX18" fmla="*/ 184761 w 473686"/>
                    <a:gd name="connsiteY18" fmla="*/ 1152525 h 1292689"/>
                    <a:gd name="connsiteX19" fmla="*/ 187936 w 473686"/>
                    <a:gd name="connsiteY19" fmla="*/ 1174750 h 1292689"/>
                    <a:gd name="connsiteX20" fmla="*/ 299061 w 473686"/>
                    <a:gd name="connsiteY20" fmla="*/ 1285875 h 1292689"/>
                    <a:gd name="connsiteX21" fmla="*/ 349861 w 473686"/>
                    <a:gd name="connsiteY21" fmla="*/ 1276350 h 1292689"/>
                    <a:gd name="connsiteX22" fmla="*/ 460986 w 473686"/>
                    <a:gd name="connsiteY22" fmla="*/ 1241425 h 1292689"/>
                    <a:gd name="connsiteX23" fmla="*/ 473686 w 473686"/>
                    <a:gd name="connsiteY23" fmla="*/ 1238250 h 1292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73686" h="1292689">
                      <a:moveTo>
                        <a:pt x="302236" y="0"/>
                      </a:moveTo>
                      <a:lnTo>
                        <a:pt x="172061" y="136525"/>
                      </a:lnTo>
                      <a:cubicBezTo>
                        <a:pt x="179734" y="188118"/>
                        <a:pt x="210690" y="265113"/>
                        <a:pt x="219686" y="295275"/>
                      </a:cubicBezTo>
                      <a:cubicBezTo>
                        <a:pt x="228682" y="325438"/>
                        <a:pt x="225019" y="313431"/>
                        <a:pt x="226036" y="317500"/>
                      </a:cubicBezTo>
                      <a:cubicBezTo>
                        <a:pt x="219686" y="335492"/>
                        <a:pt x="205399" y="359833"/>
                        <a:pt x="188730" y="386556"/>
                      </a:cubicBezTo>
                      <a:cubicBezTo>
                        <a:pt x="174896" y="408734"/>
                        <a:pt x="173781" y="450189"/>
                        <a:pt x="168886" y="463550"/>
                      </a:cubicBezTo>
                      <a:cubicBezTo>
                        <a:pt x="163991" y="476911"/>
                        <a:pt x="162408" y="465340"/>
                        <a:pt x="159361" y="466725"/>
                      </a:cubicBezTo>
                      <a:cubicBezTo>
                        <a:pt x="150743" y="470642"/>
                        <a:pt x="142428" y="475192"/>
                        <a:pt x="133961" y="479425"/>
                      </a:cubicBezTo>
                      <a:lnTo>
                        <a:pt x="6961" y="542925"/>
                      </a:lnTo>
                      <a:cubicBezTo>
                        <a:pt x="-1339" y="584426"/>
                        <a:pt x="1669" y="596371"/>
                        <a:pt x="611" y="628650"/>
                      </a:cubicBezTo>
                      <a:cubicBezTo>
                        <a:pt x="-447" y="660929"/>
                        <a:pt x="82" y="717021"/>
                        <a:pt x="611" y="736600"/>
                      </a:cubicBezTo>
                      <a:cubicBezTo>
                        <a:pt x="841" y="739939"/>
                        <a:pt x="1643" y="743554"/>
                        <a:pt x="3786" y="746125"/>
                      </a:cubicBezTo>
                      <a:cubicBezTo>
                        <a:pt x="7174" y="750190"/>
                        <a:pt x="-5210" y="746125"/>
                        <a:pt x="16486" y="755650"/>
                      </a:cubicBezTo>
                      <a:cubicBezTo>
                        <a:pt x="38182" y="765175"/>
                        <a:pt x="109619" y="789517"/>
                        <a:pt x="133961" y="803275"/>
                      </a:cubicBezTo>
                      <a:cubicBezTo>
                        <a:pt x="158303" y="817033"/>
                        <a:pt x="153667" y="820461"/>
                        <a:pt x="162536" y="838200"/>
                      </a:cubicBezTo>
                      <a:cubicBezTo>
                        <a:pt x="178411" y="868362"/>
                        <a:pt x="220744" y="951442"/>
                        <a:pt x="229211" y="984250"/>
                      </a:cubicBezTo>
                      <a:cubicBezTo>
                        <a:pt x="237678" y="1017058"/>
                        <a:pt x="223868" y="1013986"/>
                        <a:pt x="213336" y="1035050"/>
                      </a:cubicBezTo>
                      <a:cubicBezTo>
                        <a:pt x="206457" y="1059921"/>
                        <a:pt x="192698" y="1113896"/>
                        <a:pt x="187936" y="1133475"/>
                      </a:cubicBezTo>
                      <a:cubicBezTo>
                        <a:pt x="183174" y="1153054"/>
                        <a:pt x="185819" y="1146175"/>
                        <a:pt x="184761" y="1152525"/>
                      </a:cubicBezTo>
                      <a:cubicBezTo>
                        <a:pt x="185819" y="1159933"/>
                        <a:pt x="168886" y="1152525"/>
                        <a:pt x="187936" y="1174750"/>
                      </a:cubicBezTo>
                      <a:cubicBezTo>
                        <a:pt x="206986" y="1196975"/>
                        <a:pt x="272074" y="1268942"/>
                        <a:pt x="299061" y="1285875"/>
                      </a:cubicBezTo>
                      <a:cubicBezTo>
                        <a:pt x="326049" y="1302808"/>
                        <a:pt x="322874" y="1283758"/>
                        <a:pt x="349861" y="1276350"/>
                      </a:cubicBezTo>
                      <a:cubicBezTo>
                        <a:pt x="376848" y="1268942"/>
                        <a:pt x="423944" y="1253067"/>
                        <a:pt x="460986" y="1241425"/>
                      </a:cubicBezTo>
                      <a:cubicBezTo>
                        <a:pt x="465219" y="1240367"/>
                        <a:pt x="469546" y="1239630"/>
                        <a:pt x="473686" y="123825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F8709EC1-EEB6-1B9C-DD26-7021203EA03D}"/>
                    </a:ext>
                  </a:extLst>
                </p:cNvPr>
                <p:cNvSpPr/>
                <p:nvPr/>
              </p:nvSpPr>
              <p:spPr>
                <a:xfrm>
                  <a:off x="3420196" y="4832279"/>
                  <a:ext cx="579079" cy="582453"/>
                </a:xfrm>
                <a:custGeom>
                  <a:avLst/>
                  <a:gdLst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41656 w 573161"/>
                    <a:gd name="connsiteY6" fmla="*/ 25716 h 580547"/>
                    <a:gd name="connsiteX7" fmla="*/ 448800 w 573161"/>
                    <a:gd name="connsiteY7" fmla="*/ 28097 h 580547"/>
                    <a:gd name="connsiteX8" fmla="*/ 460706 w 573161"/>
                    <a:gd name="connsiteY8" fmla="*/ 35241 h 580547"/>
                    <a:gd name="connsiteX9" fmla="*/ 472613 w 573161"/>
                    <a:gd name="connsiteY9" fmla="*/ 51910 h 580547"/>
                    <a:gd name="connsiteX10" fmla="*/ 479756 w 573161"/>
                    <a:gd name="connsiteY10" fmla="*/ 61435 h 580547"/>
                    <a:gd name="connsiteX11" fmla="*/ 484519 w 573161"/>
                    <a:gd name="connsiteY11" fmla="*/ 68578 h 580547"/>
                    <a:gd name="connsiteX12" fmla="*/ 491663 w 573161"/>
                    <a:gd name="connsiteY12" fmla="*/ 73341 h 580547"/>
                    <a:gd name="connsiteX13" fmla="*/ 498806 w 573161"/>
                    <a:gd name="connsiteY13" fmla="*/ 82866 h 580547"/>
                    <a:gd name="connsiteX14" fmla="*/ 508331 w 573161"/>
                    <a:gd name="connsiteY14" fmla="*/ 97153 h 580547"/>
                    <a:gd name="connsiteX15" fmla="*/ 517856 w 573161"/>
                    <a:gd name="connsiteY15" fmla="*/ 106678 h 580547"/>
                    <a:gd name="connsiteX16" fmla="*/ 529763 w 573161"/>
                    <a:gd name="connsiteY16" fmla="*/ 125728 h 580547"/>
                    <a:gd name="connsiteX17" fmla="*/ 534525 w 573161"/>
                    <a:gd name="connsiteY17" fmla="*/ 135253 h 580547"/>
                    <a:gd name="connsiteX18" fmla="*/ 546431 w 573161"/>
                    <a:gd name="connsiteY18" fmla="*/ 142397 h 580547"/>
                    <a:gd name="connsiteX19" fmla="*/ 555956 w 573161"/>
                    <a:gd name="connsiteY19" fmla="*/ 168591 h 580547"/>
                    <a:gd name="connsiteX20" fmla="*/ 560719 w 573161"/>
                    <a:gd name="connsiteY20" fmla="*/ 185260 h 580547"/>
                    <a:gd name="connsiteX21" fmla="*/ 567863 w 573161"/>
                    <a:gd name="connsiteY21" fmla="*/ 220978 h 580547"/>
                    <a:gd name="connsiteX22" fmla="*/ 572625 w 573161"/>
                    <a:gd name="connsiteY22" fmla="*/ 349566 h 580547"/>
                    <a:gd name="connsiteX23" fmla="*/ 565481 w 573161"/>
                    <a:gd name="connsiteY23" fmla="*/ 411478 h 580547"/>
                    <a:gd name="connsiteX24" fmla="*/ 560719 w 573161"/>
                    <a:gd name="connsiteY24" fmla="*/ 428147 h 580547"/>
                    <a:gd name="connsiteX25" fmla="*/ 532144 w 573161"/>
                    <a:gd name="connsiteY25" fmla="*/ 451960 h 580547"/>
                    <a:gd name="connsiteX26" fmla="*/ 515475 w 573161"/>
                    <a:gd name="connsiteY26" fmla="*/ 475772 h 580547"/>
                    <a:gd name="connsiteX27" fmla="*/ 508331 w 573161"/>
                    <a:gd name="connsiteY27" fmla="*/ 482916 h 580547"/>
                    <a:gd name="connsiteX28" fmla="*/ 501188 w 573161"/>
                    <a:gd name="connsiteY28" fmla="*/ 492441 h 580547"/>
                    <a:gd name="connsiteX29" fmla="*/ 494044 w 573161"/>
                    <a:gd name="connsiteY29" fmla="*/ 499585 h 580547"/>
                    <a:gd name="connsiteX30" fmla="*/ 467850 w 573161"/>
                    <a:gd name="connsiteY30" fmla="*/ 528160 h 580547"/>
                    <a:gd name="connsiteX31" fmla="*/ 451181 w 573161"/>
                    <a:gd name="connsiteY31" fmla="*/ 537685 h 580547"/>
                    <a:gd name="connsiteX32" fmla="*/ 439275 w 573161"/>
                    <a:gd name="connsiteY32" fmla="*/ 542447 h 580547"/>
                    <a:gd name="connsiteX33" fmla="*/ 424988 w 573161"/>
                    <a:gd name="connsiteY33" fmla="*/ 544828 h 580547"/>
                    <a:gd name="connsiteX34" fmla="*/ 382125 w 573161"/>
                    <a:gd name="connsiteY34" fmla="*/ 549591 h 580547"/>
                    <a:gd name="connsiteX35" fmla="*/ 365456 w 573161"/>
                    <a:gd name="connsiteY35" fmla="*/ 554353 h 580547"/>
                    <a:gd name="connsiteX36" fmla="*/ 344025 w 573161"/>
                    <a:gd name="connsiteY36" fmla="*/ 559116 h 580547"/>
                    <a:gd name="connsiteX37" fmla="*/ 329738 w 573161"/>
                    <a:gd name="connsiteY37" fmla="*/ 563878 h 580547"/>
                    <a:gd name="connsiteX38" fmla="*/ 310688 w 573161"/>
                    <a:gd name="connsiteY38" fmla="*/ 575785 h 580547"/>
                    <a:gd name="connsiteX39" fmla="*/ 303544 w 573161"/>
                    <a:gd name="connsiteY39" fmla="*/ 578166 h 580547"/>
                    <a:gd name="connsiteX40" fmla="*/ 282113 w 573161"/>
                    <a:gd name="connsiteY40" fmla="*/ 580547 h 580547"/>
                    <a:gd name="connsiteX41" fmla="*/ 232106 w 573161"/>
                    <a:gd name="connsiteY41" fmla="*/ 578166 h 580547"/>
                    <a:gd name="connsiteX42" fmla="*/ 215438 w 573161"/>
                    <a:gd name="connsiteY42" fmla="*/ 571022 h 580547"/>
                    <a:gd name="connsiteX43" fmla="*/ 205913 w 573161"/>
                    <a:gd name="connsiteY43" fmla="*/ 568641 h 580547"/>
                    <a:gd name="connsiteX44" fmla="*/ 189244 w 573161"/>
                    <a:gd name="connsiteY44" fmla="*/ 563878 h 580547"/>
                    <a:gd name="connsiteX45" fmla="*/ 182100 w 573161"/>
                    <a:gd name="connsiteY45" fmla="*/ 559116 h 580547"/>
                    <a:gd name="connsiteX46" fmla="*/ 167813 w 573161"/>
                    <a:gd name="connsiteY46" fmla="*/ 554353 h 580547"/>
                    <a:gd name="connsiteX47" fmla="*/ 155906 w 573161"/>
                    <a:gd name="connsiteY47" fmla="*/ 544828 h 580547"/>
                    <a:gd name="connsiteX48" fmla="*/ 127331 w 573161"/>
                    <a:gd name="connsiteY48" fmla="*/ 525778 h 580547"/>
                    <a:gd name="connsiteX49" fmla="*/ 96375 w 573161"/>
                    <a:gd name="connsiteY49" fmla="*/ 504347 h 580547"/>
                    <a:gd name="connsiteX50" fmla="*/ 79706 w 573161"/>
                    <a:gd name="connsiteY50" fmla="*/ 485297 h 580547"/>
                    <a:gd name="connsiteX51" fmla="*/ 58275 w 573161"/>
                    <a:gd name="connsiteY51" fmla="*/ 461485 h 580547"/>
                    <a:gd name="connsiteX52" fmla="*/ 48750 w 573161"/>
                    <a:gd name="connsiteY52" fmla="*/ 444816 h 580547"/>
                    <a:gd name="connsiteX53" fmla="*/ 43988 w 573161"/>
                    <a:gd name="connsiteY53" fmla="*/ 432910 h 580547"/>
                    <a:gd name="connsiteX54" fmla="*/ 36844 w 573161"/>
                    <a:gd name="connsiteY54" fmla="*/ 425766 h 580547"/>
                    <a:gd name="connsiteX55" fmla="*/ 32081 w 573161"/>
                    <a:gd name="connsiteY55" fmla="*/ 416241 h 580547"/>
                    <a:gd name="connsiteX56" fmla="*/ 10650 w 573161"/>
                    <a:gd name="connsiteY56" fmla="*/ 378141 h 580547"/>
                    <a:gd name="connsiteX57" fmla="*/ 3506 w 573161"/>
                    <a:gd name="connsiteY57" fmla="*/ 354328 h 580547"/>
                    <a:gd name="connsiteX58" fmla="*/ 3506 w 573161"/>
                    <a:gd name="connsiteY58" fmla="*/ 220978 h 580547"/>
                    <a:gd name="connsiteX59" fmla="*/ 13031 w 573161"/>
                    <a:gd name="connsiteY59" fmla="*/ 197166 h 580547"/>
                    <a:gd name="connsiteX60" fmla="*/ 20175 w 573161"/>
                    <a:gd name="connsiteY60" fmla="*/ 178116 h 580547"/>
                    <a:gd name="connsiteX61" fmla="*/ 27319 w 573161"/>
                    <a:gd name="connsiteY61" fmla="*/ 159066 h 580547"/>
                    <a:gd name="connsiteX62" fmla="*/ 34463 w 573161"/>
                    <a:gd name="connsiteY62" fmla="*/ 144778 h 580547"/>
                    <a:gd name="connsiteX63" fmla="*/ 43988 w 573161"/>
                    <a:gd name="connsiteY63" fmla="*/ 118585 h 580547"/>
                    <a:gd name="connsiteX64" fmla="*/ 67800 w 573161"/>
                    <a:gd name="connsiteY64" fmla="*/ 92391 h 580547"/>
                    <a:gd name="connsiteX65" fmla="*/ 74944 w 573161"/>
                    <a:gd name="connsiteY65" fmla="*/ 82866 h 580547"/>
                    <a:gd name="connsiteX66" fmla="*/ 101138 w 573161"/>
                    <a:gd name="connsiteY66" fmla="*/ 63816 h 580547"/>
                    <a:gd name="connsiteX67" fmla="*/ 115425 w 573161"/>
                    <a:gd name="connsiteY67" fmla="*/ 54291 h 580547"/>
                    <a:gd name="connsiteX68" fmla="*/ 124950 w 573161"/>
                    <a:gd name="connsiteY68" fmla="*/ 47147 h 580547"/>
                    <a:gd name="connsiteX69" fmla="*/ 141619 w 573161"/>
                    <a:gd name="connsiteY69" fmla="*/ 40003 h 580547"/>
                    <a:gd name="connsiteX70" fmla="*/ 153525 w 573161"/>
                    <a:gd name="connsiteY70" fmla="*/ 37622 h 580547"/>
                    <a:gd name="connsiteX71" fmla="*/ 179719 w 573161"/>
                    <a:gd name="connsiteY71" fmla="*/ 28097 h 580547"/>
                    <a:gd name="connsiteX72" fmla="*/ 198769 w 573161"/>
                    <a:gd name="connsiteY72" fmla="*/ 23335 h 580547"/>
                    <a:gd name="connsiteX73" fmla="*/ 208294 w 573161"/>
                    <a:gd name="connsiteY73" fmla="*/ 20953 h 580547"/>
                    <a:gd name="connsiteX74" fmla="*/ 217819 w 573161"/>
                    <a:gd name="connsiteY74" fmla="*/ 18572 h 580547"/>
                    <a:gd name="connsiteX75" fmla="*/ 239250 w 573161"/>
                    <a:gd name="connsiteY75" fmla="*/ 11428 h 580547"/>
                    <a:gd name="connsiteX76" fmla="*/ 263063 w 573161"/>
                    <a:gd name="connsiteY76" fmla="*/ 4285 h 580547"/>
                    <a:gd name="connsiteX77" fmla="*/ 274969 w 573161"/>
                    <a:gd name="connsiteY7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41656 w 573161"/>
                    <a:gd name="connsiteY6" fmla="*/ 25716 h 580547"/>
                    <a:gd name="connsiteX7" fmla="*/ 460706 w 573161"/>
                    <a:gd name="connsiteY7" fmla="*/ 35241 h 580547"/>
                    <a:gd name="connsiteX8" fmla="*/ 472613 w 573161"/>
                    <a:gd name="connsiteY8" fmla="*/ 51910 h 580547"/>
                    <a:gd name="connsiteX9" fmla="*/ 479756 w 573161"/>
                    <a:gd name="connsiteY9" fmla="*/ 61435 h 580547"/>
                    <a:gd name="connsiteX10" fmla="*/ 484519 w 573161"/>
                    <a:gd name="connsiteY10" fmla="*/ 68578 h 580547"/>
                    <a:gd name="connsiteX11" fmla="*/ 491663 w 573161"/>
                    <a:gd name="connsiteY11" fmla="*/ 73341 h 580547"/>
                    <a:gd name="connsiteX12" fmla="*/ 498806 w 573161"/>
                    <a:gd name="connsiteY12" fmla="*/ 82866 h 580547"/>
                    <a:gd name="connsiteX13" fmla="*/ 508331 w 573161"/>
                    <a:gd name="connsiteY13" fmla="*/ 97153 h 580547"/>
                    <a:gd name="connsiteX14" fmla="*/ 517856 w 573161"/>
                    <a:gd name="connsiteY14" fmla="*/ 106678 h 580547"/>
                    <a:gd name="connsiteX15" fmla="*/ 529763 w 573161"/>
                    <a:gd name="connsiteY15" fmla="*/ 125728 h 580547"/>
                    <a:gd name="connsiteX16" fmla="*/ 534525 w 573161"/>
                    <a:gd name="connsiteY16" fmla="*/ 135253 h 580547"/>
                    <a:gd name="connsiteX17" fmla="*/ 546431 w 573161"/>
                    <a:gd name="connsiteY17" fmla="*/ 142397 h 580547"/>
                    <a:gd name="connsiteX18" fmla="*/ 555956 w 573161"/>
                    <a:gd name="connsiteY18" fmla="*/ 168591 h 580547"/>
                    <a:gd name="connsiteX19" fmla="*/ 560719 w 573161"/>
                    <a:gd name="connsiteY19" fmla="*/ 185260 h 580547"/>
                    <a:gd name="connsiteX20" fmla="*/ 567863 w 573161"/>
                    <a:gd name="connsiteY20" fmla="*/ 220978 h 580547"/>
                    <a:gd name="connsiteX21" fmla="*/ 572625 w 573161"/>
                    <a:gd name="connsiteY21" fmla="*/ 349566 h 580547"/>
                    <a:gd name="connsiteX22" fmla="*/ 565481 w 573161"/>
                    <a:gd name="connsiteY22" fmla="*/ 411478 h 580547"/>
                    <a:gd name="connsiteX23" fmla="*/ 560719 w 573161"/>
                    <a:gd name="connsiteY23" fmla="*/ 428147 h 580547"/>
                    <a:gd name="connsiteX24" fmla="*/ 532144 w 573161"/>
                    <a:gd name="connsiteY24" fmla="*/ 451960 h 580547"/>
                    <a:gd name="connsiteX25" fmla="*/ 515475 w 573161"/>
                    <a:gd name="connsiteY25" fmla="*/ 475772 h 580547"/>
                    <a:gd name="connsiteX26" fmla="*/ 508331 w 573161"/>
                    <a:gd name="connsiteY26" fmla="*/ 482916 h 580547"/>
                    <a:gd name="connsiteX27" fmla="*/ 501188 w 573161"/>
                    <a:gd name="connsiteY27" fmla="*/ 492441 h 580547"/>
                    <a:gd name="connsiteX28" fmla="*/ 494044 w 573161"/>
                    <a:gd name="connsiteY28" fmla="*/ 499585 h 580547"/>
                    <a:gd name="connsiteX29" fmla="*/ 467850 w 573161"/>
                    <a:gd name="connsiteY29" fmla="*/ 528160 h 580547"/>
                    <a:gd name="connsiteX30" fmla="*/ 451181 w 573161"/>
                    <a:gd name="connsiteY30" fmla="*/ 537685 h 580547"/>
                    <a:gd name="connsiteX31" fmla="*/ 439275 w 573161"/>
                    <a:gd name="connsiteY31" fmla="*/ 542447 h 580547"/>
                    <a:gd name="connsiteX32" fmla="*/ 424988 w 573161"/>
                    <a:gd name="connsiteY32" fmla="*/ 544828 h 580547"/>
                    <a:gd name="connsiteX33" fmla="*/ 382125 w 573161"/>
                    <a:gd name="connsiteY33" fmla="*/ 549591 h 580547"/>
                    <a:gd name="connsiteX34" fmla="*/ 365456 w 573161"/>
                    <a:gd name="connsiteY34" fmla="*/ 554353 h 580547"/>
                    <a:gd name="connsiteX35" fmla="*/ 344025 w 573161"/>
                    <a:gd name="connsiteY35" fmla="*/ 559116 h 580547"/>
                    <a:gd name="connsiteX36" fmla="*/ 329738 w 573161"/>
                    <a:gd name="connsiteY36" fmla="*/ 563878 h 580547"/>
                    <a:gd name="connsiteX37" fmla="*/ 310688 w 573161"/>
                    <a:gd name="connsiteY37" fmla="*/ 575785 h 580547"/>
                    <a:gd name="connsiteX38" fmla="*/ 303544 w 573161"/>
                    <a:gd name="connsiteY38" fmla="*/ 578166 h 580547"/>
                    <a:gd name="connsiteX39" fmla="*/ 282113 w 573161"/>
                    <a:gd name="connsiteY39" fmla="*/ 580547 h 580547"/>
                    <a:gd name="connsiteX40" fmla="*/ 232106 w 573161"/>
                    <a:gd name="connsiteY40" fmla="*/ 578166 h 580547"/>
                    <a:gd name="connsiteX41" fmla="*/ 215438 w 573161"/>
                    <a:gd name="connsiteY41" fmla="*/ 571022 h 580547"/>
                    <a:gd name="connsiteX42" fmla="*/ 205913 w 573161"/>
                    <a:gd name="connsiteY42" fmla="*/ 568641 h 580547"/>
                    <a:gd name="connsiteX43" fmla="*/ 189244 w 573161"/>
                    <a:gd name="connsiteY43" fmla="*/ 563878 h 580547"/>
                    <a:gd name="connsiteX44" fmla="*/ 182100 w 573161"/>
                    <a:gd name="connsiteY44" fmla="*/ 559116 h 580547"/>
                    <a:gd name="connsiteX45" fmla="*/ 167813 w 573161"/>
                    <a:gd name="connsiteY45" fmla="*/ 554353 h 580547"/>
                    <a:gd name="connsiteX46" fmla="*/ 155906 w 573161"/>
                    <a:gd name="connsiteY46" fmla="*/ 544828 h 580547"/>
                    <a:gd name="connsiteX47" fmla="*/ 127331 w 573161"/>
                    <a:gd name="connsiteY47" fmla="*/ 525778 h 580547"/>
                    <a:gd name="connsiteX48" fmla="*/ 96375 w 573161"/>
                    <a:gd name="connsiteY48" fmla="*/ 504347 h 580547"/>
                    <a:gd name="connsiteX49" fmla="*/ 79706 w 573161"/>
                    <a:gd name="connsiteY49" fmla="*/ 485297 h 580547"/>
                    <a:gd name="connsiteX50" fmla="*/ 58275 w 573161"/>
                    <a:gd name="connsiteY50" fmla="*/ 461485 h 580547"/>
                    <a:gd name="connsiteX51" fmla="*/ 48750 w 573161"/>
                    <a:gd name="connsiteY51" fmla="*/ 444816 h 580547"/>
                    <a:gd name="connsiteX52" fmla="*/ 43988 w 573161"/>
                    <a:gd name="connsiteY52" fmla="*/ 432910 h 580547"/>
                    <a:gd name="connsiteX53" fmla="*/ 36844 w 573161"/>
                    <a:gd name="connsiteY53" fmla="*/ 425766 h 580547"/>
                    <a:gd name="connsiteX54" fmla="*/ 32081 w 573161"/>
                    <a:gd name="connsiteY54" fmla="*/ 416241 h 580547"/>
                    <a:gd name="connsiteX55" fmla="*/ 10650 w 573161"/>
                    <a:gd name="connsiteY55" fmla="*/ 378141 h 580547"/>
                    <a:gd name="connsiteX56" fmla="*/ 3506 w 573161"/>
                    <a:gd name="connsiteY56" fmla="*/ 354328 h 580547"/>
                    <a:gd name="connsiteX57" fmla="*/ 3506 w 573161"/>
                    <a:gd name="connsiteY57" fmla="*/ 220978 h 580547"/>
                    <a:gd name="connsiteX58" fmla="*/ 13031 w 573161"/>
                    <a:gd name="connsiteY58" fmla="*/ 197166 h 580547"/>
                    <a:gd name="connsiteX59" fmla="*/ 20175 w 573161"/>
                    <a:gd name="connsiteY59" fmla="*/ 178116 h 580547"/>
                    <a:gd name="connsiteX60" fmla="*/ 27319 w 573161"/>
                    <a:gd name="connsiteY60" fmla="*/ 159066 h 580547"/>
                    <a:gd name="connsiteX61" fmla="*/ 34463 w 573161"/>
                    <a:gd name="connsiteY61" fmla="*/ 144778 h 580547"/>
                    <a:gd name="connsiteX62" fmla="*/ 43988 w 573161"/>
                    <a:gd name="connsiteY62" fmla="*/ 118585 h 580547"/>
                    <a:gd name="connsiteX63" fmla="*/ 67800 w 573161"/>
                    <a:gd name="connsiteY63" fmla="*/ 92391 h 580547"/>
                    <a:gd name="connsiteX64" fmla="*/ 74944 w 573161"/>
                    <a:gd name="connsiteY64" fmla="*/ 82866 h 580547"/>
                    <a:gd name="connsiteX65" fmla="*/ 101138 w 573161"/>
                    <a:gd name="connsiteY65" fmla="*/ 63816 h 580547"/>
                    <a:gd name="connsiteX66" fmla="*/ 115425 w 573161"/>
                    <a:gd name="connsiteY66" fmla="*/ 54291 h 580547"/>
                    <a:gd name="connsiteX67" fmla="*/ 124950 w 573161"/>
                    <a:gd name="connsiteY67" fmla="*/ 47147 h 580547"/>
                    <a:gd name="connsiteX68" fmla="*/ 141619 w 573161"/>
                    <a:gd name="connsiteY68" fmla="*/ 40003 h 580547"/>
                    <a:gd name="connsiteX69" fmla="*/ 153525 w 573161"/>
                    <a:gd name="connsiteY69" fmla="*/ 37622 h 580547"/>
                    <a:gd name="connsiteX70" fmla="*/ 179719 w 573161"/>
                    <a:gd name="connsiteY70" fmla="*/ 28097 h 580547"/>
                    <a:gd name="connsiteX71" fmla="*/ 198769 w 573161"/>
                    <a:gd name="connsiteY71" fmla="*/ 23335 h 580547"/>
                    <a:gd name="connsiteX72" fmla="*/ 208294 w 573161"/>
                    <a:gd name="connsiteY72" fmla="*/ 20953 h 580547"/>
                    <a:gd name="connsiteX73" fmla="*/ 217819 w 573161"/>
                    <a:gd name="connsiteY73" fmla="*/ 18572 h 580547"/>
                    <a:gd name="connsiteX74" fmla="*/ 239250 w 573161"/>
                    <a:gd name="connsiteY74" fmla="*/ 11428 h 580547"/>
                    <a:gd name="connsiteX75" fmla="*/ 263063 w 573161"/>
                    <a:gd name="connsiteY75" fmla="*/ 4285 h 580547"/>
                    <a:gd name="connsiteX76" fmla="*/ 274969 w 573161"/>
                    <a:gd name="connsiteY7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60706 w 573161"/>
                    <a:gd name="connsiteY6" fmla="*/ 35241 h 580547"/>
                    <a:gd name="connsiteX7" fmla="*/ 472613 w 573161"/>
                    <a:gd name="connsiteY7" fmla="*/ 51910 h 580547"/>
                    <a:gd name="connsiteX8" fmla="*/ 479756 w 573161"/>
                    <a:gd name="connsiteY8" fmla="*/ 61435 h 580547"/>
                    <a:gd name="connsiteX9" fmla="*/ 484519 w 573161"/>
                    <a:gd name="connsiteY9" fmla="*/ 68578 h 580547"/>
                    <a:gd name="connsiteX10" fmla="*/ 491663 w 573161"/>
                    <a:gd name="connsiteY10" fmla="*/ 73341 h 580547"/>
                    <a:gd name="connsiteX11" fmla="*/ 498806 w 573161"/>
                    <a:gd name="connsiteY11" fmla="*/ 82866 h 580547"/>
                    <a:gd name="connsiteX12" fmla="*/ 508331 w 573161"/>
                    <a:gd name="connsiteY12" fmla="*/ 97153 h 580547"/>
                    <a:gd name="connsiteX13" fmla="*/ 517856 w 573161"/>
                    <a:gd name="connsiteY13" fmla="*/ 106678 h 580547"/>
                    <a:gd name="connsiteX14" fmla="*/ 529763 w 573161"/>
                    <a:gd name="connsiteY14" fmla="*/ 125728 h 580547"/>
                    <a:gd name="connsiteX15" fmla="*/ 534525 w 573161"/>
                    <a:gd name="connsiteY15" fmla="*/ 135253 h 580547"/>
                    <a:gd name="connsiteX16" fmla="*/ 546431 w 573161"/>
                    <a:gd name="connsiteY16" fmla="*/ 142397 h 580547"/>
                    <a:gd name="connsiteX17" fmla="*/ 555956 w 573161"/>
                    <a:gd name="connsiteY17" fmla="*/ 168591 h 580547"/>
                    <a:gd name="connsiteX18" fmla="*/ 560719 w 573161"/>
                    <a:gd name="connsiteY18" fmla="*/ 185260 h 580547"/>
                    <a:gd name="connsiteX19" fmla="*/ 567863 w 573161"/>
                    <a:gd name="connsiteY19" fmla="*/ 220978 h 580547"/>
                    <a:gd name="connsiteX20" fmla="*/ 572625 w 573161"/>
                    <a:gd name="connsiteY20" fmla="*/ 349566 h 580547"/>
                    <a:gd name="connsiteX21" fmla="*/ 565481 w 573161"/>
                    <a:gd name="connsiteY21" fmla="*/ 411478 h 580547"/>
                    <a:gd name="connsiteX22" fmla="*/ 560719 w 573161"/>
                    <a:gd name="connsiteY22" fmla="*/ 428147 h 580547"/>
                    <a:gd name="connsiteX23" fmla="*/ 532144 w 573161"/>
                    <a:gd name="connsiteY23" fmla="*/ 451960 h 580547"/>
                    <a:gd name="connsiteX24" fmla="*/ 515475 w 573161"/>
                    <a:gd name="connsiteY24" fmla="*/ 475772 h 580547"/>
                    <a:gd name="connsiteX25" fmla="*/ 508331 w 573161"/>
                    <a:gd name="connsiteY25" fmla="*/ 482916 h 580547"/>
                    <a:gd name="connsiteX26" fmla="*/ 501188 w 573161"/>
                    <a:gd name="connsiteY26" fmla="*/ 492441 h 580547"/>
                    <a:gd name="connsiteX27" fmla="*/ 494044 w 573161"/>
                    <a:gd name="connsiteY27" fmla="*/ 499585 h 580547"/>
                    <a:gd name="connsiteX28" fmla="*/ 467850 w 573161"/>
                    <a:gd name="connsiteY28" fmla="*/ 528160 h 580547"/>
                    <a:gd name="connsiteX29" fmla="*/ 451181 w 573161"/>
                    <a:gd name="connsiteY29" fmla="*/ 537685 h 580547"/>
                    <a:gd name="connsiteX30" fmla="*/ 439275 w 573161"/>
                    <a:gd name="connsiteY30" fmla="*/ 542447 h 580547"/>
                    <a:gd name="connsiteX31" fmla="*/ 424988 w 573161"/>
                    <a:gd name="connsiteY31" fmla="*/ 544828 h 580547"/>
                    <a:gd name="connsiteX32" fmla="*/ 382125 w 573161"/>
                    <a:gd name="connsiteY32" fmla="*/ 549591 h 580547"/>
                    <a:gd name="connsiteX33" fmla="*/ 365456 w 573161"/>
                    <a:gd name="connsiteY33" fmla="*/ 554353 h 580547"/>
                    <a:gd name="connsiteX34" fmla="*/ 344025 w 573161"/>
                    <a:gd name="connsiteY34" fmla="*/ 559116 h 580547"/>
                    <a:gd name="connsiteX35" fmla="*/ 329738 w 573161"/>
                    <a:gd name="connsiteY35" fmla="*/ 563878 h 580547"/>
                    <a:gd name="connsiteX36" fmla="*/ 310688 w 573161"/>
                    <a:gd name="connsiteY36" fmla="*/ 575785 h 580547"/>
                    <a:gd name="connsiteX37" fmla="*/ 303544 w 573161"/>
                    <a:gd name="connsiteY37" fmla="*/ 578166 h 580547"/>
                    <a:gd name="connsiteX38" fmla="*/ 282113 w 573161"/>
                    <a:gd name="connsiteY38" fmla="*/ 580547 h 580547"/>
                    <a:gd name="connsiteX39" fmla="*/ 232106 w 573161"/>
                    <a:gd name="connsiteY39" fmla="*/ 578166 h 580547"/>
                    <a:gd name="connsiteX40" fmla="*/ 215438 w 573161"/>
                    <a:gd name="connsiteY40" fmla="*/ 571022 h 580547"/>
                    <a:gd name="connsiteX41" fmla="*/ 205913 w 573161"/>
                    <a:gd name="connsiteY41" fmla="*/ 568641 h 580547"/>
                    <a:gd name="connsiteX42" fmla="*/ 189244 w 573161"/>
                    <a:gd name="connsiteY42" fmla="*/ 563878 h 580547"/>
                    <a:gd name="connsiteX43" fmla="*/ 182100 w 573161"/>
                    <a:gd name="connsiteY43" fmla="*/ 559116 h 580547"/>
                    <a:gd name="connsiteX44" fmla="*/ 167813 w 573161"/>
                    <a:gd name="connsiteY44" fmla="*/ 554353 h 580547"/>
                    <a:gd name="connsiteX45" fmla="*/ 155906 w 573161"/>
                    <a:gd name="connsiteY45" fmla="*/ 544828 h 580547"/>
                    <a:gd name="connsiteX46" fmla="*/ 127331 w 573161"/>
                    <a:gd name="connsiteY46" fmla="*/ 525778 h 580547"/>
                    <a:gd name="connsiteX47" fmla="*/ 96375 w 573161"/>
                    <a:gd name="connsiteY47" fmla="*/ 504347 h 580547"/>
                    <a:gd name="connsiteX48" fmla="*/ 79706 w 573161"/>
                    <a:gd name="connsiteY48" fmla="*/ 485297 h 580547"/>
                    <a:gd name="connsiteX49" fmla="*/ 58275 w 573161"/>
                    <a:gd name="connsiteY49" fmla="*/ 461485 h 580547"/>
                    <a:gd name="connsiteX50" fmla="*/ 48750 w 573161"/>
                    <a:gd name="connsiteY50" fmla="*/ 444816 h 580547"/>
                    <a:gd name="connsiteX51" fmla="*/ 43988 w 573161"/>
                    <a:gd name="connsiteY51" fmla="*/ 432910 h 580547"/>
                    <a:gd name="connsiteX52" fmla="*/ 36844 w 573161"/>
                    <a:gd name="connsiteY52" fmla="*/ 425766 h 580547"/>
                    <a:gd name="connsiteX53" fmla="*/ 32081 w 573161"/>
                    <a:gd name="connsiteY53" fmla="*/ 416241 h 580547"/>
                    <a:gd name="connsiteX54" fmla="*/ 10650 w 573161"/>
                    <a:gd name="connsiteY54" fmla="*/ 378141 h 580547"/>
                    <a:gd name="connsiteX55" fmla="*/ 3506 w 573161"/>
                    <a:gd name="connsiteY55" fmla="*/ 354328 h 580547"/>
                    <a:gd name="connsiteX56" fmla="*/ 3506 w 573161"/>
                    <a:gd name="connsiteY56" fmla="*/ 220978 h 580547"/>
                    <a:gd name="connsiteX57" fmla="*/ 13031 w 573161"/>
                    <a:gd name="connsiteY57" fmla="*/ 197166 h 580547"/>
                    <a:gd name="connsiteX58" fmla="*/ 20175 w 573161"/>
                    <a:gd name="connsiteY58" fmla="*/ 178116 h 580547"/>
                    <a:gd name="connsiteX59" fmla="*/ 27319 w 573161"/>
                    <a:gd name="connsiteY59" fmla="*/ 159066 h 580547"/>
                    <a:gd name="connsiteX60" fmla="*/ 34463 w 573161"/>
                    <a:gd name="connsiteY60" fmla="*/ 144778 h 580547"/>
                    <a:gd name="connsiteX61" fmla="*/ 43988 w 573161"/>
                    <a:gd name="connsiteY61" fmla="*/ 118585 h 580547"/>
                    <a:gd name="connsiteX62" fmla="*/ 67800 w 573161"/>
                    <a:gd name="connsiteY62" fmla="*/ 92391 h 580547"/>
                    <a:gd name="connsiteX63" fmla="*/ 74944 w 573161"/>
                    <a:gd name="connsiteY63" fmla="*/ 82866 h 580547"/>
                    <a:gd name="connsiteX64" fmla="*/ 101138 w 573161"/>
                    <a:gd name="connsiteY64" fmla="*/ 63816 h 580547"/>
                    <a:gd name="connsiteX65" fmla="*/ 115425 w 573161"/>
                    <a:gd name="connsiteY65" fmla="*/ 54291 h 580547"/>
                    <a:gd name="connsiteX66" fmla="*/ 124950 w 573161"/>
                    <a:gd name="connsiteY66" fmla="*/ 47147 h 580547"/>
                    <a:gd name="connsiteX67" fmla="*/ 141619 w 573161"/>
                    <a:gd name="connsiteY67" fmla="*/ 40003 h 580547"/>
                    <a:gd name="connsiteX68" fmla="*/ 153525 w 573161"/>
                    <a:gd name="connsiteY68" fmla="*/ 37622 h 580547"/>
                    <a:gd name="connsiteX69" fmla="*/ 179719 w 573161"/>
                    <a:gd name="connsiteY69" fmla="*/ 28097 h 580547"/>
                    <a:gd name="connsiteX70" fmla="*/ 198769 w 573161"/>
                    <a:gd name="connsiteY70" fmla="*/ 23335 h 580547"/>
                    <a:gd name="connsiteX71" fmla="*/ 208294 w 573161"/>
                    <a:gd name="connsiteY71" fmla="*/ 20953 h 580547"/>
                    <a:gd name="connsiteX72" fmla="*/ 217819 w 573161"/>
                    <a:gd name="connsiteY72" fmla="*/ 18572 h 580547"/>
                    <a:gd name="connsiteX73" fmla="*/ 239250 w 573161"/>
                    <a:gd name="connsiteY73" fmla="*/ 11428 h 580547"/>
                    <a:gd name="connsiteX74" fmla="*/ 263063 w 573161"/>
                    <a:gd name="connsiteY74" fmla="*/ 4285 h 580547"/>
                    <a:gd name="connsiteX75" fmla="*/ 274969 w 573161"/>
                    <a:gd name="connsiteY7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60706 w 573161"/>
                    <a:gd name="connsiteY5" fmla="*/ 35241 h 580547"/>
                    <a:gd name="connsiteX6" fmla="*/ 472613 w 573161"/>
                    <a:gd name="connsiteY6" fmla="*/ 51910 h 580547"/>
                    <a:gd name="connsiteX7" fmla="*/ 479756 w 573161"/>
                    <a:gd name="connsiteY7" fmla="*/ 61435 h 580547"/>
                    <a:gd name="connsiteX8" fmla="*/ 484519 w 573161"/>
                    <a:gd name="connsiteY8" fmla="*/ 68578 h 580547"/>
                    <a:gd name="connsiteX9" fmla="*/ 491663 w 573161"/>
                    <a:gd name="connsiteY9" fmla="*/ 73341 h 580547"/>
                    <a:gd name="connsiteX10" fmla="*/ 498806 w 573161"/>
                    <a:gd name="connsiteY10" fmla="*/ 82866 h 580547"/>
                    <a:gd name="connsiteX11" fmla="*/ 508331 w 573161"/>
                    <a:gd name="connsiteY11" fmla="*/ 97153 h 580547"/>
                    <a:gd name="connsiteX12" fmla="*/ 517856 w 573161"/>
                    <a:gd name="connsiteY12" fmla="*/ 106678 h 580547"/>
                    <a:gd name="connsiteX13" fmla="*/ 529763 w 573161"/>
                    <a:gd name="connsiteY13" fmla="*/ 125728 h 580547"/>
                    <a:gd name="connsiteX14" fmla="*/ 534525 w 573161"/>
                    <a:gd name="connsiteY14" fmla="*/ 135253 h 580547"/>
                    <a:gd name="connsiteX15" fmla="*/ 546431 w 573161"/>
                    <a:gd name="connsiteY15" fmla="*/ 142397 h 580547"/>
                    <a:gd name="connsiteX16" fmla="*/ 555956 w 573161"/>
                    <a:gd name="connsiteY16" fmla="*/ 168591 h 580547"/>
                    <a:gd name="connsiteX17" fmla="*/ 560719 w 573161"/>
                    <a:gd name="connsiteY17" fmla="*/ 185260 h 580547"/>
                    <a:gd name="connsiteX18" fmla="*/ 567863 w 573161"/>
                    <a:gd name="connsiteY18" fmla="*/ 220978 h 580547"/>
                    <a:gd name="connsiteX19" fmla="*/ 572625 w 573161"/>
                    <a:gd name="connsiteY19" fmla="*/ 349566 h 580547"/>
                    <a:gd name="connsiteX20" fmla="*/ 565481 w 573161"/>
                    <a:gd name="connsiteY20" fmla="*/ 411478 h 580547"/>
                    <a:gd name="connsiteX21" fmla="*/ 560719 w 573161"/>
                    <a:gd name="connsiteY21" fmla="*/ 428147 h 580547"/>
                    <a:gd name="connsiteX22" fmla="*/ 532144 w 573161"/>
                    <a:gd name="connsiteY22" fmla="*/ 451960 h 580547"/>
                    <a:gd name="connsiteX23" fmla="*/ 515475 w 573161"/>
                    <a:gd name="connsiteY23" fmla="*/ 475772 h 580547"/>
                    <a:gd name="connsiteX24" fmla="*/ 508331 w 573161"/>
                    <a:gd name="connsiteY24" fmla="*/ 482916 h 580547"/>
                    <a:gd name="connsiteX25" fmla="*/ 501188 w 573161"/>
                    <a:gd name="connsiteY25" fmla="*/ 492441 h 580547"/>
                    <a:gd name="connsiteX26" fmla="*/ 494044 w 573161"/>
                    <a:gd name="connsiteY26" fmla="*/ 499585 h 580547"/>
                    <a:gd name="connsiteX27" fmla="*/ 467850 w 573161"/>
                    <a:gd name="connsiteY27" fmla="*/ 528160 h 580547"/>
                    <a:gd name="connsiteX28" fmla="*/ 451181 w 573161"/>
                    <a:gd name="connsiteY28" fmla="*/ 537685 h 580547"/>
                    <a:gd name="connsiteX29" fmla="*/ 439275 w 573161"/>
                    <a:gd name="connsiteY29" fmla="*/ 542447 h 580547"/>
                    <a:gd name="connsiteX30" fmla="*/ 424988 w 573161"/>
                    <a:gd name="connsiteY30" fmla="*/ 544828 h 580547"/>
                    <a:gd name="connsiteX31" fmla="*/ 382125 w 573161"/>
                    <a:gd name="connsiteY31" fmla="*/ 549591 h 580547"/>
                    <a:gd name="connsiteX32" fmla="*/ 365456 w 573161"/>
                    <a:gd name="connsiteY32" fmla="*/ 554353 h 580547"/>
                    <a:gd name="connsiteX33" fmla="*/ 344025 w 573161"/>
                    <a:gd name="connsiteY33" fmla="*/ 559116 h 580547"/>
                    <a:gd name="connsiteX34" fmla="*/ 329738 w 573161"/>
                    <a:gd name="connsiteY34" fmla="*/ 563878 h 580547"/>
                    <a:gd name="connsiteX35" fmla="*/ 310688 w 573161"/>
                    <a:gd name="connsiteY35" fmla="*/ 575785 h 580547"/>
                    <a:gd name="connsiteX36" fmla="*/ 303544 w 573161"/>
                    <a:gd name="connsiteY36" fmla="*/ 578166 h 580547"/>
                    <a:gd name="connsiteX37" fmla="*/ 282113 w 573161"/>
                    <a:gd name="connsiteY37" fmla="*/ 580547 h 580547"/>
                    <a:gd name="connsiteX38" fmla="*/ 232106 w 573161"/>
                    <a:gd name="connsiteY38" fmla="*/ 578166 h 580547"/>
                    <a:gd name="connsiteX39" fmla="*/ 215438 w 573161"/>
                    <a:gd name="connsiteY39" fmla="*/ 571022 h 580547"/>
                    <a:gd name="connsiteX40" fmla="*/ 205913 w 573161"/>
                    <a:gd name="connsiteY40" fmla="*/ 568641 h 580547"/>
                    <a:gd name="connsiteX41" fmla="*/ 189244 w 573161"/>
                    <a:gd name="connsiteY41" fmla="*/ 563878 h 580547"/>
                    <a:gd name="connsiteX42" fmla="*/ 182100 w 573161"/>
                    <a:gd name="connsiteY42" fmla="*/ 559116 h 580547"/>
                    <a:gd name="connsiteX43" fmla="*/ 167813 w 573161"/>
                    <a:gd name="connsiteY43" fmla="*/ 554353 h 580547"/>
                    <a:gd name="connsiteX44" fmla="*/ 155906 w 573161"/>
                    <a:gd name="connsiteY44" fmla="*/ 544828 h 580547"/>
                    <a:gd name="connsiteX45" fmla="*/ 127331 w 573161"/>
                    <a:gd name="connsiteY45" fmla="*/ 525778 h 580547"/>
                    <a:gd name="connsiteX46" fmla="*/ 96375 w 573161"/>
                    <a:gd name="connsiteY46" fmla="*/ 504347 h 580547"/>
                    <a:gd name="connsiteX47" fmla="*/ 79706 w 573161"/>
                    <a:gd name="connsiteY47" fmla="*/ 485297 h 580547"/>
                    <a:gd name="connsiteX48" fmla="*/ 58275 w 573161"/>
                    <a:gd name="connsiteY48" fmla="*/ 461485 h 580547"/>
                    <a:gd name="connsiteX49" fmla="*/ 48750 w 573161"/>
                    <a:gd name="connsiteY49" fmla="*/ 444816 h 580547"/>
                    <a:gd name="connsiteX50" fmla="*/ 43988 w 573161"/>
                    <a:gd name="connsiteY50" fmla="*/ 432910 h 580547"/>
                    <a:gd name="connsiteX51" fmla="*/ 36844 w 573161"/>
                    <a:gd name="connsiteY51" fmla="*/ 425766 h 580547"/>
                    <a:gd name="connsiteX52" fmla="*/ 32081 w 573161"/>
                    <a:gd name="connsiteY52" fmla="*/ 416241 h 580547"/>
                    <a:gd name="connsiteX53" fmla="*/ 10650 w 573161"/>
                    <a:gd name="connsiteY53" fmla="*/ 378141 h 580547"/>
                    <a:gd name="connsiteX54" fmla="*/ 3506 w 573161"/>
                    <a:gd name="connsiteY54" fmla="*/ 354328 h 580547"/>
                    <a:gd name="connsiteX55" fmla="*/ 3506 w 573161"/>
                    <a:gd name="connsiteY55" fmla="*/ 220978 h 580547"/>
                    <a:gd name="connsiteX56" fmla="*/ 13031 w 573161"/>
                    <a:gd name="connsiteY56" fmla="*/ 197166 h 580547"/>
                    <a:gd name="connsiteX57" fmla="*/ 20175 w 573161"/>
                    <a:gd name="connsiteY57" fmla="*/ 178116 h 580547"/>
                    <a:gd name="connsiteX58" fmla="*/ 27319 w 573161"/>
                    <a:gd name="connsiteY58" fmla="*/ 159066 h 580547"/>
                    <a:gd name="connsiteX59" fmla="*/ 34463 w 573161"/>
                    <a:gd name="connsiteY59" fmla="*/ 144778 h 580547"/>
                    <a:gd name="connsiteX60" fmla="*/ 43988 w 573161"/>
                    <a:gd name="connsiteY60" fmla="*/ 118585 h 580547"/>
                    <a:gd name="connsiteX61" fmla="*/ 67800 w 573161"/>
                    <a:gd name="connsiteY61" fmla="*/ 92391 h 580547"/>
                    <a:gd name="connsiteX62" fmla="*/ 74944 w 573161"/>
                    <a:gd name="connsiteY62" fmla="*/ 82866 h 580547"/>
                    <a:gd name="connsiteX63" fmla="*/ 101138 w 573161"/>
                    <a:gd name="connsiteY63" fmla="*/ 63816 h 580547"/>
                    <a:gd name="connsiteX64" fmla="*/ 115425 w 573161"/>
                    <a:gd name="connsiteY64" fmla="*/ 54291 h 580547"/>
                    <a:gd name="connsiteX65" fmla="*/ 124950 w 573161"/>
                    <a:gd name="connsiteY65" fmla="*/ 47147 h 580547"/>
                    <a:gd name="connsiteX66" fmla="*/ 141619 w 573161"/>
                    <a:gd name="connsiteY66" fmla="*/ 40003 h 580547"/>
                    <a:gd name="connsiteX67" fmla="*/ 153525 w 573161"/>
                    <a:gd name="connsiteY67" fmla="*/ 37622 h 580547"/>
                    <a:gd name="connsiteX68" fmla="*/ 179719 w 573161"/>
                    <a:gd name="connsiteY68" fmla="*/ 28097 h 580547"/>
                    <a:gd name="connsiteX69" fmla="*/ 198769 w 573161"/>
                    <a:gd name="connsiteY69" fmla="*/ 23335 h 580547"/>
                    <a:gd name="connsiteX70" fmla="*/ 208294 w 573161"/>
                    <a:gd name="connsiteY70" fmla="*/ 20953 h 580547"/>
                    <a:gd name="connsiteX71" fmla="*/ 217819 w 573161"/>
                    <a:gd name="connsiteY71" fmla="*/ 18572 h 580547"/>
                    <a:gd name="connsiteX72" fmla="*/ 239250 w 573161"/>
                    <a:gd name="connsiteY72" fmla="*/ 11428 h 580547"/>
                    <a:gd name="connsiteX73" fmla="*/ 263063 w 573161"/>
                    <a:gd name="connsiteY73" fmla="*/ 4285 h 580547"/>
                    <a:gd name="connsiteX74" fmla="*/ 274969 w 573161"/>
                    <a:gd name="connsiteY7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08294 w 573161"/>
                    <a:gd name="connsiteY69" fmla="*/ 20953 h 580547"/>
                    <a:gd name="connsiteX70" fmla="*/ 217819 w 573161"/>
                    <a:gd name="connsiteY70" fmla="*/ 18572 h 580547"/>
                    <a:gd name="connsiteX71" fmla="*/ 239250 w 573161"/>
                    <a:gd name="connsiteY71" fmla="*/ 11428 h 580547"/>
                    <a:gd name="connsiteX72" fmla="*/ 263063 w 573161"/>
                    <a:gd name="connsiteY72" fmla="*/ 4285 h 580547"/>
                    <a:gd name="connsiteX73" fmla="*/ 274969 w 573161"/>
                    <a:gd name="connsiteY7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08294 w 573161"/>
                    <a:gd name="connsiteY69" fmla="*/ 20953 h 580547"/>
                    <a:gd name="connsiteX70" fmla="*/ 239250 w 573161"/>
                    <a:gd name="connsiteY70" fmla="*/ 11428 h 580547"/>
                    <a:gd name="connsiteX71" fmla="*/ 263063 w 573161"/>
                    <a:gd name="connsiteY71" fmla="*/ 4285 h 580547"/>
                    <a:gd name="connsiteX72" fmla="*/ 274969 w 573161"/>
                    <a:gd name="connsiteY7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39250 w 573161"/>
                    <a:gd name="connsiteY69" fmla="*/ 11428 h 580547"/>
                    <a:gd name="connsiteX70" fmla="*/ 263063 w 573161"/>
                    <a:gd name="connsiteY70" fmla="*/ 4285 h 580547"/>
                    <a:gd name="connsiteX71" fmla="*/ 274969 w 573161"/>
                    <a:gd name="connsiteY7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239250 w 573161"/>
                    <a:gd name="connsiteY68" fmla="*/ 11428 h 580547"/>
                    <a:gd name="connsiteX69" fmla="*/ 263063 w 573161"/>
                    <a:gd name="connsiteY69" fmla="*/ 4285 h 580547"/>
                    <a:gd name="connsiteX70" fmla="*/ 274969 w 573161"/>
                    <a:gd name="connsiteY7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41619 w 573161"/>
                    <a:gd name="connsiteY64" fmla="*/ 40003 h 580547"/>
                    <a:gd name="connsiteX65" fmla="*/ 153525 w 573161"/>
                    <a:gd name="connsiteY65" fmla="*/ 37622 h 580547"/>
                    <a:gd name="connsiteX66" fmla="*/ 179719 w 573161"/>
                    <a:gd name="connsiteY66" fmla="*/ 28097 h 580547"/>
                    <a:gd name="connsiteX67" fmla="*/ 239250 w 573161"/>
                    <a:gd name="connsiteY67" fmla="*/ 11428 h 580547"/>
                    <a:gd name="connsiteX68" fmla="*/ 263063 w 573161"/>
                    <a:gd name="connsiteY68" fmla="*/ 4285 h 580547"/>
                    <a:gd name="connsiteX69" fmla="*/ 274969 w 573161"/>
                    <a:gd name="connsiteY6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153525 w 573161"/>
                    <a:gd name="connsiteY64" fmla="*/ 37622 h 580547"/>
                    <a:gd name="connsiteX65" fmla="*/ 179719 w 573161"/>
                    <a:gd name="connsiteY65" fmla="*/ 28097 h 580547"/>
                    <a:gd name="connsiteX66" fmla="*/ 239250 w 573161"/>
                    <a:gd name="connsiteY66" fmla="*/ 11428 h 580547"/>
                    <a:gd name="connsiteX67" fmla="*/ 263063 w 573161"/>
                    <a:gd name="connsiteY67" fmla="*/ 4285 h 580547"/>
                    <a:gd name="connsiteX68" fmla="*/ 274969 w 573161"/>
                    <a:gd name="connsiteY6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179719 w 573161"/>
                    <a:gd name="connsiteY64" fmla="*/ 28097 h 580547"/>
                    <a:gd name="connsiteX65" fmla="*/ 239250 w 573161"/>
                    <a:gd name="connsiteY65" fmla="*/ 11428 h 580547"/>
                    <a:gd name="connsiteX66" fmla="*/ 263063 w 573161"/>
                    <a:gd name="connsiteY66" fmla="*/ 4285 h 580547"/>
                    <a:gd name="connsiteX67" fmla="*/ 274969 w 573161"/>
                    <a:gd name="connsiteY6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239250 w 573161"/>
                    <a:gd name="connsiteY64" fmla="*/ 11428 h 580547"/>
                    <a:gd name="connsiteX65" fmla="*/ 263063 w 573161"/>
                    <a:gd name="connsiteY65" fmla="*/ 4285 h 580547"/>
                    <a:gd name="connsiteX66" fmla="*/ 274969 w 573161"/>
                    <a:gd name="connsiteY6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263063 w 573161"/>
                    <a:gd name="connsiteY64" fmla="*/ 4285 h 580547"/>
                    <a:gd name="connsiteX65" fmla="*/ 274969 w 573161"/>
                    <a:gd name="connsiteY6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20175 w 573161"/>
                    <a:gd name="connsiteY55" fmla="*/ 178116 h 580547"/>
                    <a:gd name="connsiteX56" fmla="*/ 27319 w 573161"/>
                    <a:gd name="connsiteY56" fmla="*/ 159066 h 580547"/>
                    <a:gd name="connsiteX57" fmla="*/ 34463 w 573161"/>
                    <a:gd name="connsiteY57" fmla="*/ 144778 h 580547"/>
                    <a:gd name="connsiteX58" fmla="*/ 43988 w 573161"/>
                    <a:gd name="connsiteY58" fmla="*/ 118585 h 580547"/>
                    <a:gd name="connsiteX59" fmla="*/ 67800 w 573161"/>
                    <a:gd name="connsiteY59" fmla="*/ 92391 h 580547"/>
                    <a:gd name="connsiteX60" fmla="*/ 74944 w 573161"/>
                    <a:gd name="connsiteY60" fmla="*/ 82866 h 580547"/>
                    <a:gd name="connsiteX61" fmla="*/ 101138 w 573161"/>
                    <a:gd name="connsiteY61" fmla="*/ 63816 h 580547"/>
                    <a:gd name="connsiteX62" fmla="*/ 141619 w 573161"/>
                    <a:gd name="connsiteY62" fmla="*/ 40003 h 580547"/>
                    <a:gd name="connsiteX63" fmla="*/ 263063 w 573161"/>
                    <a:gd name="connsiteY63" fmla="*/ 4285 h 580547"/>
                    <a:gd name="connsiteX64" fmla="*/ 274969 w 573161"/>
                    <a:gd name="connsiteY6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84519 w 573161"/>
                    <a:gd name="connsiteY6" fmla="*/ 68578 h 580547"/>
                    <a:gd name="connsiteX7" fmla="*/ 491663 w 573161"/>
                    <a:gd name="connsiteY7" fmla="*/ 73341 h 580547"/>
                    <a:gd name="connsiteX8" fmla="*/ 498806 w 573161"/>
                    <a:gd name="connsiteY8" fmla="*/ 82866 h 580547"/>
                    <a:gd name="connsiteX9" fmla="*/ 508331 w 573161"/>
                    <a:gd name="connsiteY9" fmla="*/ 97153 h 580547"/>
                    <a:gd name="connsiteX10" fmla="*/ 517856 w 573161"/>
                    <a:gd name="connsiteY10" fmla="*/ 106678 h 580547"/>
                    <a:gd name="connsiteX11" fmla="*/ 529763 w 573161"/>
                    <a:gd name="connsiteY11" fmla="*/ 125728 h 580547"/>
                    <a:gd name="connsiteX12" fmla="*/ 534525 w 573161"/>
                    <a:gd name="connsiteY12" fmla="*/ 135253 h 580547"/>
                    <a:gd name="connsiteX13" fmla="*/ 546431 w 573161"/>
                    <a:gd name="connsiteY13" fmla="*/ 142397 h 580547"/>
                    <a:gd name="connsiteX14" fmla="*/ 555956 w 573161"/>
                    <a:gd name="connsiteY14" fmla="*/ 168591 h 580547"/>
                    <a:gd name="connsiteX15" fmla="*/ 560719 w 573161"/>
                    <a:gd name="connsiteY15" fmla="*/ 185260 h 580547"/>
                    <a:gd name="connsiteX16" fmla="*/ 567863 w 573161"/>
                    <a:gd name="connsiteY16" fmla="*/ 220978 h 580547"/>
                    <a:gd name="connsiteX17" fmla="*/ 572625 w 573161"/>
                    <a:gd name="connsiteY17" fmla="*/ 349566 h 580547"/>
                    <a:gd name="connsiteX18" fmla="*/ 565481 w 573161"/>
                    <a:gd name="connsiteY18" fmla="*/ 411478 h 580547"/>
                    <a:gd name="connsiteX19" fmla="*/ 560719 w 573161"/>
                    <a:gd name="connsiteY19" fmla="*/ 428147 h 580547"/>
                    <a:gd name="connsiteX20" fmla="*/ 532144 w 573161"/>
                    <a:gd name="connsiteY20" fmla="*/ 451960 h 580547"/>
                    <a:gd name="connsiteX21" fmla="*/ 515475 w 573161"/>
                    <a:gd name="connsiteY21" fmla="*/ 475772 h 580547"/>
                    <a:gd name="connsiteX22" fmla="*/ 508331 w 573161"/>
                    <a:gd name="connsiteY22" fmla="*/ 482916 h 580547"/>
                    <a:gd name="connsiteX23" fmla="*/ 501188 w 573161"/>
                    <a:gd name="connsiteY23" fmla="*/ 492441 h 580547"/>
                    <a:gd name="connsiteX24" fmla="*/ 494044 w 573161"/>
                    <a:gd name="connsiteY24" fmla="*/ 499585 h 580547"/>
                    <a:gd name="connsiteX25" fmla="*/ 467850 w 573161"/>
                    <a:gd name="connsiteY25" fmla="*/ 528160 h 580547"/>
                    <a:gd name="connsiteX26" fmla="*/ 451181 w 573161"/>
                    <a:gd name="connsiteY26" fmla="*/ 537685 h 580547"/>
                    <a:gd name="connsiteX27" fmla="*/ 439275 w 573161"/>
                    <a:gd name="connsiteY27" fmla="*/ 542447 h 580547"/>
                    <a:gd name="connsiteX28" fmla="*/ 424988 w 573161"/>
                    <a:gd name="connsiteY28" fmla="*/ 544828 h 580547"/>
                    <a:gd name="connsiteX29" fmla="*/ 382125 w 573161"/>
                    <a:gd name="connsiteY29" fmla="*/ 549591 h 580547"/>
                    <a:gd name="connsiteX30" fmla="*/ 365456 w 573161"/>
                    <a:gd name="connsiteY30" fmla="*/ 554353 h 580547"/>
                    <a:gd name="connsiteX31" fmla="*/ 344025 w 573161"/>
                    <a:gd name="connsiteY31" fmla="*/ 559116 h 580547"/>
                    <a:gd name="connsiteX32" fmla="*/ 329738 w 573161"/>
                    <a:gd name="connsiteY32" fmla="*/ 563878 h 580547"/>
                    <a:gd name="connsiteX33" fmla="*/ 310688 w 573161"/>
                    <a:gd name="connsiteY33" fmla="*/ 575785 h 580547"/>
                    <a:gd name="connsiteX34" fmla="*/ 303544 w 573161"/>
                    <a:gd name="connsiteY34" fmla="*/ 578166 h 580547"/>
                    <a:gd name="connsiteX35" fmla="*/ 282113 w 573161"/>
                    <a:gd name="connsiteY35" fmla="*/ 580547 h 580547"/>
                    <a:gd name="connsiteX36" fmla="*/ 232106 w 573161"/>
                    <a:gd name="connsiteY36" fmla="*/ 578166 h 580547"/>
                    <a:gd name="connsiteX37" fmla="*/ 215438 w 573161"/>
                    <a:gd name="connsiteY37" fmla="*/ 571022 h 580547"/>
                    <a:gd name="connsiteX38" fmla="*/ 205913 w 573161"/>
                    <a:gd name="connsiteY38" fmla="*/ 568641 h 580547"/>
                    <a:gd name="connsiteX39" fmla="*/ 189244 w 573161"/>
                    <a:gd name="connsiteY39" fmla="*/ 563878 h 580547"/>
                    <a:gd name="connsiteX40" fmla="*/ 182100 w 573161"/>
                    <a:gd name="connsiteY40" fmla="*/ 559116 h 580547"/>
                    <a:gd name="connsiteX41" fmla="*/ 167813 w 573161"/>
                    <a:gd name="connsiteY41" fmla="*/ 554353 h 580547"/>
                    <a:gd name="connsiteX42" fmla="*/ 155906 w 573161"/>
                    <a:gd name="connsiteY42" fmla="*/ 544828 h 580547"/>
                    <a:gd name="connsiteX43" fmla="*/ 127331 w 573161"/>
                    <a:gd name="connsiteY43" fmla="*/ 525778 h 580547"/>
                    <a:gd name="connsiteX44" fmla="*/ 96375 w 573161"/>
                    <a:gd name="connsiteY44" fmla="*/ 504347 h 580547"/>
                    <a:gd name="connsiteX45" fmla="*/ 79706 w 573161"/>
                    <a:gd name="connsiteY45" fmla="*/ 485297 h 580547"/>
                    <a:gd name="connsiteX46" fmla="*/ 58275 w 573161"/>
                    <a:gd name="connsiteY46" fmla="*/ 461485 h 580547"/>
                    <a:gd name="connsiteX47" fmla="*/ 48750 w 573161"/>
                    <a:gd name="connsiteY47" fmla="*/ 444816 h 580547"/>
                    <a:gd name="connsiteX48" fmla="*/ 43988 w 573161"/>
                    <a:gd name="connsiteY48" fmla="*/ 432910 h 580547"/>
                    <a:gd name="connsiteX49" fmla="*/ 36844 w 573161"/>
                    <a:gd name="connsiteY49" fmla="*/ 425766 h 580547"/>
                    <a:gd name="connsiteX50" fmla="*/ 32081 w 573161"/>
                    <a:gd name="connsiteY50" fmla="*/ 416241 h 580547"/>
                    <a:gd name="connsiteX51" fmla="*/ 10650 w 573161"/>
                    <a:gd name="connsiteY51" fmla="*/ 378141 h 580547"/>
                    <a:gd name="connsiteX52" fmla="*/ 3506 w 573161"/>
                    <a:gd name="connsiteY52" fmla="*/ 354328 h 580547"/>
                    <a:gd name="connsiteX53" fmla="*/ 3506 w 573161"/>
                    <a:gd name="connsiteY53" fmla="*/ 220978 h 580547"/>
                    <a:gd name="connsiteX54" fmla="*/ 20175 w 573161"/>
                    <a:gd name="connsiteY54" fmla="*/ 178116 h 580547"/>
                    <a:gd name="connsiteX55" fmla="*/ 27319 w 573161"/>
                    <a:gd name="connsiteY55" fmla="*/ 159066 h 580547"/>
                    <a:gd name="connsiteX56" fmla="*/ 34463 w 573161"/>
                    <a:gd name="connsiteY56" fmla="*/ 144778 h 580547"/>
                    <a:gd name="connsiteX57" fmla="*/ 43988 w 573161"/>
                    <a:gd name="connsiteY57" fmla="*/ 118585 h 580547"/>
                    <a:gd name="connsiteX58" fmla="*/ 67800 w 573161"/>
                    <a:gd name="connsiteY58" fmla="*/ 92391 h 580547"/>
                    <a:gd name="connsiteX59" fmla="*/ 74944 w 573161"/>
                    <a:gd name="connsiteY59" fmla="*/ 82866 h 580547"/>
                    <a:gd name="connsiteX60" fmla="*/ 101138 w 573161"/>
                    <a:gd name="connsiteY60" fmla="*/ 63816 h 580547"/>
                    <a:gd name="connsiteX61" fmla="*/ 141619 w 573161"/>
                    <a:gd name="connsiteY61" fmla="*/ 40003 h 580547"/>
                    <a:gd name="connsiteX62" fmla="*/ 263063 w 573161"/>
                    <a:gd name="connsiteY62" fmla="*/ 4285 h 580547"/>
                    <a:gd name="connsiteX63" fmla="*/ 274969 w 573161"/>
                    <a:gd name="connsiteY6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84519 w 573161"/>
                    <a:gd name="connsiteY6" fmla="*/ 68578 h 580547"/>
                    <a:gd name="connsiteX7" fmla="*/ 498806 w 573161"/>
                    <a:gd name="connsiteY7" fmla="*/ 82866 h 580547"/>
                    <a:gd name="connsiteX8" fmla="*/ 508331 w 573161"/>
                    <a:gd name="connsiteY8" fmla="*/ 97153 h 580547"/>
                    <a:gd name="connsiteX9" fmla="*/ 517856 w 573161"/>
                    <a:gd name="connsiteY9" fmla="*/ 106678 h 580547"/>
                    <a:gd name="connsiteX10" fmla="*/ 529763 w 573161"/>
                    <a:gd name="connsiteY10" fmla="*/ 125728 h 580547"/>
                    <a:gd name="connsiteX11" fmla="*/ 534525 w 573161"/>
                    <a:gd name="connsiteY11" fmla="*/ 135253 h 580547"/>
                    <a:gd name="connsiteX12" fmla="*/ 546431 w 573161"/>
                    <a:gd name="connsiteY12" fmla="*/ 142397 h 580547"/>
                    <a:gd name="connsiteX13" fmla="*/ 555956 w 573161"/>
                    <a:gd name="connsiteY13" fmla="*/ 168591 h 580547"/>
                    <a:gd name="connsiteX14" fmla="*/ 560719 w 573161"/>
                    <a:gd name="connsiteY14" fmla="*/ 185260 h 580547"/>
                    <a:gd name="connsiteX15" fmla="*/ 567863 w 573161"/>
                    <a:gd name="connsiteY15" fmla="*/ 220978 h 580547"/>
                    <a:gd name="connsiteX16" fmla="*/ 572625 w 573161"/>
                    <a:gd name="connsiteY16" fmla="*/ 349566 h 580547"/>
                    <a:gd name="connsiteX17" fmla="*/ 565481 w 573161"/>
                    <a:gd name="connsiteY17" fmla="*/ 411478 h 580547"/>
                    <a:gd name="connsiteX18" fmla="*/ 560719 w 573161"/>
                    <a:gd name="connsiteY18" fmla="*/ 428147 h 580547"/>
                    <a:gd name="connsiteX19" fmla="*/ 532144 w 573161"/>
                    <a:gd name="connsiteY19" fmla="*/ 451960 h 580547"/>
                    <a:gd name="connsiteX20" fmla="*/ 515475 w 573161"/>
                    <a:gd name="connsiteY20" fmla="*/ 475772 h 580547"/>
                    <a:gd name="connsiteX21" fmla="*/ 508331 w 573161"/>
                    <a:gd name="connsiteY21" fmla="*/ 482916 h 580547"/>
                    <a:gd name="connsiteX22" fmla="*/ 501188 w 573161"/>
                    <a:gd name="connsiteY22" fmla="*/ 492441 h 580547"/>
                    <a:gd name="connsiteX23" fmla="*/ 494044 w 573161"/>
                    <a:gd name="connsiteY23" fmla="*/ 499585 h 580547"/>
                    <a:gd name="connsiteX24" fmla="*/ 467850 w 573161"/>
                    <a:gd name="connsiteY24" fmla="*/ 528160 h 580547"/>
                    <a:gd name="connsiteX25" fmla="*/ 451181 w 573161"/>
                    <a:gd name="connsiteY25" fmla="*/ 537685 h 580547"/>
                    <a:gd name="connsiteX26" fmla="*/ 439275 w 573161"/>
                    <a:gd name="connsiteY26" fmla="*/ 542447 h 580547"/>
                    <a:gd name="connsiteX27" fmla="*/ 424988 w 573161"/>
                    <a:gd name="connsiteY27" fmla="*/ 544828 h 580547"/>
                    <a:gd name="connsiteX28" fmla="*/ 382125 w 573161"/>
                    <a:gd name="connsiteY28" fmla="*/ 549591 h 580547"/>
                    <a:gd name="connsiteX29" fmla="*/ 365456 w 573161"/>
                    <a:gd name="connsiteY29" fmla="*/ 554353 h 580547"/>
                    <a:gd name="connsiteX30" fmla="*/ 344025 w 573161"/>
                    <a:gd name="connsiteY30" fmla="*/ 559116 h 580547"/>
                    <a:gd name="connsiteX31" fmla="*/ 329738 w 573161"/>
                    <a:gd name="connsiteY31" fmla="*/ 563878 h 580547"/>
                    <a:gd name="connsiteX32" fmla="*/ 310688 w 573161"/>
                    <a:gd name="connsiteY32" fmla="*/ 575785 h 580547"/>
                    <a:gd name="connsiteX33" fmla="*/ 303544 w 573161"/>
                    <a:gd name="connsiteY33" fmla="*/ 578166 h 580547"/>
                    <a:gd name="connsiteX34" fmla="*/ 282113 w 573161"/>
                    <a:gd name="connsiteY34" fmla="*/ 580547 h 580547"/>
                    <a:gd name="connsiteX35" fmla="*/ 232106 w 573161"/>
                    <a:gd name="connsiteY35" fmla="*/ 578166 h 580547"/>
                    <a:gd name="connsiteX36" fmla="*/ 215438 w 573161"/>
                    <a:gd name="connsiteY36" fmla="*/ 571022 h 580547"/>
                    <a:gd name="connsiteX37" fmla="*/ 205913 w 573161"/>
                    <a:gd name="connsiteY37" fmla="*/ 568641 h 580547"/>
                    <a:gd name="connsiteX38" fmla="*/ 189244 w 573161"/>
                    <a:gd name="connsiteY38" fmla="*/ 563878 h 580547"/>
                    <a:gd name="connsiteX39" fmla="*/ 182100 w 573161"/>
                    <a:gd name="connsiteY39" fmla="*/ 559116 h 580547"/>
                    <a:gd name="connsiteX40" fmla="*/ 167813 w 573161"/>
                    <a:gd name="connsiteY40" fmla="*/ 554353 h 580547"/>
                    <a:gd name="connsiteX41" fmla="*/ 155906 w 573161"/>
                    <a:gd name="connsiteY41" fmla="*/ 544828 h 580547"/>
                    <a:gd name="connsiteX42" fmla="*/ 127331 w 573161"/>
                    <a:gd name="connsiteY42" fmla="*/ 525778 h 580547"/>
                    <a:gd name="connsiteX43" fmla="*/ 96375 w 573161"/>
                    <a:gd name="connsiteY43" fmla="*/ 504347 h 580547"/>
                    <a:gd name="connsiteX44" fmla="*/ 79706 w 573161"/>
                    <a:gd name="connsiteY44" fmla="*/ 485297 h 580547"/>
                    <a:gd name="connsiteX45" fmla="*/ 58275 w 573161"/>
                    <a:gd name="connsiteY45" fmla="*/ 461485 h 580547"/>
                    <a:gd name="connsiteX46" fmla="*/ 48750 w 573161"/>
                    <a:gd name="connsiteY46" fmla="*/ 444816 h 580547"/>
                    <a:gd name="connsiteX47" fmla="*/ 43988 w 573161"/>
                    <a:gd name="connsiteY47" fmla="*/ 432910 h 580547"/>
                    <a:gd name="connsiteX48" fmla="*/ 36844 w 573161"/>
                    <a:gd name="connsiteY48" fmla="*/ 425766 h 580547"/>
                    <a:gd name="connsiteX49" fmla="*/ 32081 w 573161"/>
                    <a:gd name="connsiteY49" fmla="*/ 416241 h 580547"/>
                    <a:gd name="connsiteX50" fmla="*/ 10650 w 573161"/>
                    <a:gd name="connsiteY50" fmla="*/ 378141 h 580547"/>
                    <a:gd name="connsiteX51" fmla="*/ 3506 w 573161"/>
                    <a:gd name="connsiteY51" fmla="*/ 354328 h 580547"/>
                    <a:gd name="connsiteX52" fmla="*/ 3506 w 573161"/>
                    <a:gd name="connsiteY52" fmla="*/ 220978 h 580547"/>
                    <a:gd name="connsiteX53" fmla="*/ 20175 w 573161"/>
                    <a:gd name="connsiteY53" fmla="*/ 178116 h 580547"/>
                    <a:gd name="connsiteX54" fmla="*/ 27319 w 573161"/>
                    <a:gd name="connsiteY54" fmla="*/ 159066 h 580547"/>
                    <a:gd name="connsiteX55" fmla="*/ 34463 w 573161"/>
                    <a:gd name="connsiteY55" fmla="*/ 144778 h 580547"/>
                    <a:gd name="connsiteX56" fmla="*/ 43988 w 573161"/>
                    <a:gd name="connsiteY56" fmla="*/ 118585 h 580547"/>
                    <a:gd name="connsiteX57" fmla="*/ 67800 w 573161"/>
                    <a:gd name="connsiteY57" fmla="*/ 92391 h 580547"/>
                    <a:gd name="connsiteX58" fmla="*/ 74944 w 573161"/>
                    <a:gd name="connsiteY58" fmla="*/ 82866 h 580547"/>
                    <a:gd name="connsiteX59" fmla="*/ 101138 w 573161"/>
                    <a:gd name="connsiteY59" fmla="*/ 63816 h 580547"/>
                    <a:gd name="connsiteX60" fmla="*/ 141619 w 573161"/>
                    <a:gd name="connsiteY60" fmla="*/ 40003 h 580547"/>
                    <a:gd name="connsiteX61" fmla="*/ 263063 w 573161"/>
                    <a:gd name="connsiteY61" fmla="*/ 4285 h 580547"/>
                    <a:gd name="connsiteX62" fmla="*/ 274969 w 573161"/>
                    <a:gd name="connsiteY6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08331 w 573161"/>
                    <a:gd name="connsiteY7" fmla="*/ 97153 h 580547"/>
                    <a:gd name="connsiteX8" fmla="*/ 517856 w 573161"/>
                    <a:gd name="connsiteY8" fmla="*/ 106678 h 580547"/>
                    <a:gd name="connsiteX9" fmla="*/ 529763 w 573161"/>
                    <a:gd name="connsiteY9" fmla="*/ 125728 h 580547"/>
                    <a:gd name="connsiteX10" fmla="*/ 534525 w 573161"/>
                    <a:gd name="connsiteY10" fmla="*/ 135253 h 580547"/>
                    <a:gd name="connsiteX11" fmla="*/ 546431 w 573161"/>
                    <a:gd name="connsiteY11" fmla="*/ 142397 h 580547"/>
                    <a:gd name="connsiteX12" fmla="*/ 555956 w 573161"/>
                    <a:gd name="connsiteY12" fmla="*/ 168591 h 580547"/>
                    <a:gd name="connsiteX13" fmla="*/ 560719 w 573161"/>
                    <a:gd name="connsiteY13" fmla="*/ 185260 h 580547"/>
                    <a:gd name="connsiteX14" fmla="*/ 567863 w 573161"/>
                    <a:gd name="connsiteY14" fmla="*/ 220978 h 580547"/>
                    <a:gd name="connsiteX15" fmla="*/ 572625 w 573161"/>
                    <a:gd name="connsiteY15" fmla="*/ 349566 h 580547"/>
                    <a:gd name="connsiteX16" fmla="*/ 565481 w 573161"/>
                    <a:gd name="connsiteY16" fmla="*/ 411478 h 580547"/>
                    <a:gd name="connsiteX17" fmla="*/ 560719 w 573161"/>
                    <a:gd name="connsiteY17" fmla="*/ 428147 h 580547"/>
                    <a:gd name="connsiteX18" fmla="*/ 532144 w 573161"/>
                    <a:gd name="connsiteY18" fmla="*/ 451960 h 580547"/>
                    <a:gd name="connsiteX19" fmla="*/ 515475 w 573161"/>
                    <a:gd name="connsiteY19" fmla="*/ 475772 h 580547"/>
                    <a:gd name="connsiteX20" fmla="*/ 508331 w 573161"/>
                    <a:gd name="connsiteY20" fmla="*/ 482916 h 580547"/>
                    <a:gd name="connsiteX21" fmla="*/ 501188 w 573161"/>
                    <a:gd name="connsiteY21" fmla="*/ 492441 h 580547"/>
                    <a:gd name="connsiteX22" fmla="*/ 494044 w 573161"/>
                    <a:gd name="connsiteY22" fmla="*/ 499585 h 580547"/>
                    <a:gd name="connsiteX23" fmla="*/ 467850 w 573161"/>
                    <a:gd name="connsiteY23" fmla="*/ 528160 h 580547"/>
                    <a:gd name="connsiteX24" fmla="*/ 451181 w 573161"/>
                    <a:gd name="connsiteY24" fmla="*/ 537685 h 580547"/>
                    <a:gd name="connsiteX25" fmla="*/ 439275 w 573161"/>
                    <a:gd name="connsiteY25" fmla="*/ 542447 h 580547"/>
                    <a:gd name="connsiteX26" fmla="*/ 424988 w 573161"/>
                    <a:gd name="connsiteY26" fmla="*/ 544828 h 580547"/>
                    <a:gd name="connsiteX27" fmla="*/ 382125 w 573161"/>
                    <a:gd name="connsiteY27" fmla="*/ 549591 h 580547"/>
                    <a:gd name="connsiteX28" fmla="*/ 365456 w 573161"/>
                    <a:gd name="connsiteY28" fmla="*/ 554353 h 580547"/>
                    <a:gd name="connsiteX29" fmla="*/ 344025 w 573161"/>
                    <a:gd name="connsiteY29" fmla="*/ 559116 h 580547"/>
                    <a:gd name="connsiteX30" fmla="*/ 329738 w 573161"/>
                    <a:gd name="connsiteY30" fmla="*/ 563878 h 580547"/>
                    <a:gd name="connsiteX31" fmla="*/ 310688 w 573161"/>
                    <a:gd name="connsiteY31" fmla="*/ 575785 h 580547"/>
                    <a:gd name="connsiteX32" fmla="*/ 303544 w 573161"/>
                    <a:gd name="connsiteY32" fmla="*/ 578166 h 580547"/>
                    <a:gd name="connsiteX33" fmla="*/ 282113 w 573161"/>
                    <a:gd name="connsiteY33" fmla="*/ 580547 h 580547"/>
                    <a:gd name="connsiteX34" fmla="*/ 232106 w 573161"/>
                    <a:gd name="connsiteY34" fmla="*/ 578166 h 580547"/>
                    <a:gd name="connsiteX35" fmla="*/ 215438 w 573161"/>
                    <a:gd name="connsiteY35" fmla="*/ 571022 h 580547"/>
                    <a:gd name="connsiteX36" fmla="*/ 205913 w 573161"/>
                    <a:gd name="connsiteY36" fmla="*/ 568641 h 580547"/>
                    <a:gd name="connsiteX37" fmla="*/ 189244 w 573161"/>
                    <a:gd name="connsiteY37" fmla="*/ 563878 h 580547"/>
                    <a:gd name="connsiteX38" fmla="*/ 182100 w 573161"/>
                    <a:gd name="connsiteY38" fmla="*/ 559116 h 580547"/>
                    <a:gd name="connsiteX39" fmla="*/ 167813 w 573161"/>
                    <a:gd name="connsiteY39" fmla="*/ 554353 h 580547"/>
                    <a:gd name="connsiteX40" fmla="*/ 155906 w 573161"/>
                    <a:gd name="connsiteY40" fmla="*/ 544828 h 580547"/>
                    <a:gd name="connsiteX41" fmla="*/ 127331 w 573161"/>
                    <a:gd name="connsiteY41" fmla="*/ 525778 h 580547"/>
                    <a:gd name="connsiteX42" fmla="*/ 96375 w 573161"/>
                    <a:gd name="connsiteY42" fmla="*/ 504347 h 580547"/>
                    <a:gd name="connsiteX43" fmla="*/ 79706 w 573161"/>
                    <a:gd name="connsiteY43" fmla="*/ 485297 h 580547"/>
                    <a:gd name="connsiteX44" fmla="*/ 58275 w 573161"/>
                    <a:gd name="connsiteY44" fmla="*/ 461485 h 580547"/>
                    <a:gd name="connsiteX45" fmla="*/ 48750 w 573161"/>
                    <a:gd name="connsiteY45" fmla="*/ 444816 h 580547"/>
                    <a:gd name="connsiteX46" fmla="*/ 43988 w 573161"/>
                    <a:gd name="connsiteY46" fmla="*/ 432910 h 580547"/>
                    <a:gd name="connsiteX47" fmla="*/ 36844 w 573161"/>
                    <a:gd name="connsiteY47" fmla="*/ 425766 h 580547"/>
                    <a:gd name="connsiteX48" fmla="*/ 32081 w 573161"/>
                    <a:gd name="connsiteY48" fmla="*/ 416241 h 580547"/>
                    <a:gd name="connsiteX49" fmla="*/ 10650 w 573161"/>
                    <a:gd name="connsiteY49" fmla="*/ 378141 h 580547"/>
                    <a:gd name="connsiteX50" fmla="*/ 3506 w 573161"/>
                    <a:gd name="connsiteY50" fmla="*/ 354328 h 580547"/>
                    <a:gd name="connsiteX51" fmla="*/ 3506 w 573161"/>
                    <a:gd name="connsiteY51" fmla="*/ 220978 h 580547"/>
                    <a:gd name="connsiteX52" fmla="*/ 20175 w 573161"/>
                    <a:gd name="connsiteY52" fmla="*/ 178116 h 580547"/>
                    <a:gd name="connsiteX53" fmla="*/ 27319 w 573161"/>
                    <a:gd name="connsiteY53" fmla="*/ 159066 h 580547"/>
                    <a:gd name="connsiteX54" fmla="*/ 34463 w 573161"/>
                    <a:gd name="connsiteY54" fmla="*/ 144778 h 580547"/>
                    <a:gd name="connsiteX55" fmla="*/ 43988 w 573161"/>
                    <a:gd name="connsiteY55" fmla="*/ 118585 h 580547"/>
                    <a:gd name="connsiteX56" fmla="*/ 67800 w 573161"/>
                    <a:gd name="connsiteY56" fmla="*/ 92391 h 580547"/>
                    <a:gd name="connsiteX57" fmla="*/ 74944 w 573161"/>
                    <a:gd name="connsiteY57" fmla="*/ 82866 h 580547"/>
                    <a:gd name="connsiteX58" fmla="*/ 101138 w 573161"/>
                    <a:gd name="connsiteY58" fmla="*/ 63816 h 580547"/>
                    <a:gd name="connsiteX59" fmla="*/ 141619 w 573161"/>
                    <a:gd name="connsiteY59" fmla="*/ 40003 h 580547"/>
                    <a:gd name="connsiteX60" fmla="*/ 263063 w 573161"/>
                    <a:gd name="connsiteY60" fmla="*/ 4285 h 580547"/>
                    <a:gd name="connsiteX61" fmla="*/ 274969 w 573161"/>
                    <a:gd name="connsiteY6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08331 w 573161"/>
                    <a:gd name="connsiteY7" fmla="*/ 97153 h 580547"/>
                    <a:gd name="connsiteX8" fmla="*/ 529763 w 573161"/>
                    <a:gd name="connsiteY8" fmla="*/ 125728 h 580547"/>
                    <a:gd name="connsiteX9" fmla="*/ 534525 w 573161"/>
                    <a:gd name="connsiteY9" fmla="*/ 135253 h 580547"/>
                    <a:gd name="connsiteX10" fmla="*/ 546431 w 573161"/>
                    <a:gd name="connsiteY10" fmla="*/ 142397 h 580547"/>
                    <a:gd name="connsiteX11" fmla="*/ 555956 w 573161"/>
                    <a:gd name="connsiteY11" fmla="*/ 168591 h 580547"/>
                    <a:gd name="connsiteX12" fmla="*/ 560719 w 573161"/>
                    <a:gd name="connsiteY12" fmla="*/ 185260 h 580547"/>
                    <a:gd name="connsiteX13" fmla="*/ 567863 w 573161"/>
                    <a:gd name="connsiteY13" fmla="*/ 220978 h 580547"/>
                    <a:gd name="connsiteX14" fmla="*/ 572625 w 573161"/>
                    <a:gd name="connsiteY14" fmla="*/ 349566 h 580547"/>
                    <a:gd name="connsiteX15" fmla="*/ 565481 w 573161"/>
                    <a:gd name="connsiteY15" fmla="*/ 411478 h 580547"/>
                    <a:gd name="connsiteX16" fmla="*/ 560719 w 573161"/>
                    <a:gd name="connsiteY16" fmla="*/ 428147 h 580547"/>
                    <a:gd name="connsiteX17" fmla="*/ 532144 w 573161"/>
                    <a:gd name="connsiteY17" fmla="*/ 451960 h 580547"/>
                    <a:gd name="connsiteX18" fmla="*/ 515475 w 573161"/>
                    <a:gd name="connsiteY18" fmla="*/ 475772 h 580547"/>
                    <a:gd name="connsiteX19" fmla="*/ 508331 w 573161"/>
                    <a:gd name="connsiteY19" fmla="*/ 482916 h 580547"/>
                    <a:gd name="connsiteX20" fmla="*/ 501188 w 573161"/>
                    <a:gd name="connsiteY20" fmla="*/ 492441 h 580547"/>
                    <a:gd name="connsiteX21" fmla="*/ 494044 w 573161"/>
                    <a:gd name="connsiteY21" fmla="*/ 499585 h 580547"/>
                    <a:gd name="connsiteX22" fmla="*/ 467850 w 573161"/>
                    <a:gd name="connsiteY22" fmla="*/ 528160 h 580547"/>
                    <a:gd name="connsiteX23" fmla="*/ 451181 w 573161"/>
                    <a:gd name="connsiteY23" fmla="*/ 537685 h 580547"/>
                    <a:gd name="connsiteX24" fmla="*/ 439275 w 573161"/>
                    <a:gd name="connsiteY24" fmla="*/ 542447 h 580547"/>
                    <a:gd name="connsiteX25" fmla="*/ 424988 w 573161"/>
                    <a:gd name="connsiteY25" fmla="*/ 544828 h 580547"/>
                    <a:gd name="connsiteX26" fmla="*/ 382125 w 573161"/>
                    <a:gd name="connsiteY26" fmla="*/ 549591 h 580547"/>
                    <a:gd name="connsiteX27" fmla="*/ 365456 w 573161"/>
                    <a:gd name="connsiteY27" fmla="*/ 554353 h 580547"/>
                    <a:gd name="connsiteX28" fmla="*/ 344025 w 573161"/>
                    <a:gd name="connsiteY28" fmla="*/ 559116 h 580547"/>
                    <a:gd name="connsiteX29" fmla="*/ 329738 w 573161"/>
                    <a:gd name="connsiteY29" fmla="*/ 563878 h 580547"/>
                    <a:gd name="connsiteX30" fmla="*/ 310688 w 573161"/>
                    <a:gd name="connsiteY30" fmla="*/ 575785 h 580547"/>
                    <a:gd name="connsiteX31" fmla="*/ 303544 w 573161"/>
                    <a:gd name="connsiteY31" fmla="*/ 578166 h 580547"/>
                    <a:gd name="connsiteX32" fmla="*/ 282113 w 573161"/>
                    <a:gd name="connsiteY32" fmla="*/ 580547 h 580547"/>
                    <a:gd name="connsiteX33" fmla="*/ 232106 w 573161"/>
                    <a:gd name="connsiteY33" fmla="*/ 578166 h 580547"/>
                    <a:gd name="connsiteX34" fmla="*/ 215438 w 573161"/>
                    <a:gd name="connsiteY34" fmla="*/ 571022 h 580547"/>
                    <a:gd name="connsiteX35" fmla="*/ 205913 w 573161"/>
                    <a:gd name="connsiteY35" fmla="*/ 568641 h 580547"/>
                    <a:gd name="connsiteX36" fmla="*/ 189244 w 573161"/>
                    <a:gd name="connsiteY36" fmla="*/ 563878 h 580547"/>
                    <a:gd name="connsiteX37" fmla="*/ 182100 w 573161"/>
                    <a:gd name="connsiteY37" fmla="*/ 559116 h 580547"/>
                    <a:gd name="connsiteX38" fmla="*/ 167813 w 573161"/>
                    <a:gd name="connsiteY38" fmla="*/ 554353 h 580547"/>
                    <a:gd name="connsiteX39" fmla="*/ 155906 w 573161"/>
                    <a:gd name="connsiteY39" fmla="*/ 544828 h 580547"/>
                    <a:gd name="connsiteX40" fmla="*/ 127331 w 573161"/>
                    <a:gd name="connsiteY40" fmla="*/ 525778 h 580547"/>
                    <a:gd name="connsiteX41" fmla="*/ 96375 w 573161"/>
                    <a:gd name="connsiteY41" fmla="*/ 504347 h 580547"/>
                    <a:gd name="connsiteX42" fmla="*/ 79706 w 573161"/>
                    <a:gd name="connsiteY42" fmla="*/ 485297 h 580547"/>
                    <a:gd name="connsiteX43" fmla="*/ 58275 w 573161"/>
                    <a:gd name="connsiteY43" fmla="*/ 461485 h 580547"/>
                    <a:gd name="connsiteX44" fmla="*/ 48750 w 573161"/>
                    <a:gd name="connsiteY44" fmla="*/ 444816 h 580547"/>
                    <a:gd name="connsiteX45" fmla="*/ 43988 w 573161"/>
                    <a:gd name="connsiteY45" fmla="*/ 432910 h 580547"/>
                    <a:gd name="connsiteX46" fmla="*/ 36844 w 573161"/>
                    <a:gd name="connsiteY46" fmla="*/ 425766 h 580547"/>
                    <a:gd name="connsiteX47" fmla="*/ 32081 w 573161"/>
                    <a:gd name="connsiteY47" fmla="*/ 416241 h 580547"/>
                    <a:gd name="connsiteX48" fmla="*/ 10650 w 573161"/>
                    <a:gd name="connsiteY48" fmla="*/ 378141 h 580547"/>
                    <a:gd name="connsiteX49" fmla="*/ 3506 w 573161"/>
                    <a:gd name="connsiteY49" fmla="*/ 354328 h 580547"/>
                    <a:gd name="connsiteX50" fmla="*/ 3506 w 573161"/>
                    <a:gd name="connsiteY50" fmla="*/ 220978 h 580547"/>
                    <a:gd name="connsiteX51" fmla="*/ 20175 w 573161"/>
                    <a:gd name="connsiteY51" fmla="*/ 178116 h 580547"/>
                    <a:gd name="connsiteX52" fmla="*/ 27319 w 573161"/>
                    <a:gd name="connsiteY52" fmla="*/ 159066 h 580547"/>
                    <a:gd name="connsiteX53" fmla="*/ 34463 w 573161"/>
                    <a:gd name="connsiteY53" fmla="*/ 144778 h 580547"/>
                    <a:gd name="connsiteX54" fmla="*/ 43988 w 573161"/>
                    <a:gd name="connsiteY54" fmla="*/ 118585 h 580547"/>
                    <a:gd name="connsiteX55" fmla="*/ 67800 w 573161"/>
                    <a:gd name="connsiteY55" fmla="*/ 92391 h 580547"/>
                    <a:gd name="connsiteX56" fmla="*/ 74944 w 573161"/>
                    <a:gd name="connsiteY56" fmla="*/ 82866 h 580547"/>
                    <a:gd name="connsiteX57" fmla="*/ 101138 w 573161"/>
                    <a:gd name="connsiteY57" fmla="*/ 63816 h 580547"/>
                    <a:gd name="connsiteX58" fmla="*/ 141619 w 573161"/>
                    <a:gd name="connsiteY58" fmla="*/ 40003 h 580547"/>
                    <a:gd name="connsiteX59" fmla="*/ 263063 w 573161"/>
                    <a:gd name="connsiteY59" fmla="*/ 4285 h 580547"/>
                    <a:gd name="connsiteX60" fmla="*/ 274969 w 573161"/>
                    <a:gd name="connsiteY6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46431 w 573161"/>
                    <a:gd name="connsiteY9" fmla="*/ 142397 h 580547"/>
                    <a:gd name="connsiteX10" fmla="*/ 555956 w 573161"/>
                    <a:gd name="connsiteY10" fmla="*/ 168591 h 580547"/>
                    <a:gd name="connsiteX11" fmla="*/ 560719 w 573161"/>
                    <a:gd name="connsiteY11" fmla="*/ 185260 h 580547"/>
                    <a:gd name="connsiteX12" fmla="*/ 567863 w 573161"/>
                    <a:gd name="connsiteY12" fmla="*/ 220978 h 580547"/>
                    <a:gd name="connsiteX13" fmla="*/ 572625 w 573161"/>
                    <a:gd name="connsiteY13" fmla="*/ 349566 h 580547"/>
                    <a:gd name="connsiteX14" fmla="*/ 565481 w 573161"/>
                    <a:gd name="connsiteY14" fmla="*/ 411478 h 580547"/>
                    <a:gd name="connsiteX15" fmla="*/ 560719 w 573161"/>
                    <a:gd name="connsiteY15" fmla="*/ 428147 h 580547"/>
                    <a:gd name="connsiteX16" fmla="*/ 532144 w 573161"/>
                    <a:gd name="connsiteY16" fmla="*/ 451960 h 580547"/>
                    <a:gd name="connsiteX17" fmla="*/ 515475 w 573161"/>
                    <a:gd name="connsiteY17" fmla="*/ 475772 h 580547"/>
                    <a:gd name="connsiteX18" fmla="*/ 508331 w 573161"/>
                    <a:gd name="connsiteY18" fmla="*/ 482916 h 580547"/>
                    <a:gd name="connsiteX19" fmla="*/ 501188 w 573161"/>
                    <a:gd name="connsiteY19" fmla="*/ 492441 h 580547"/>
                    <a:gd name="connsiteX20" fmla="*/ 494044 w 573161"/>
                    <a:gd name="connsiteY20" fmla="*/ 499585 h 580547"/>
                    <a:gd name="connsiteX21" fmla="*/ 467850 w 573161"/>
                    <a:gd name="connsiteY21" fmla="*/ 528160 h 580547"/>
                    <a:gd name="connsiteX22" fmla="*/ 451181 w 573161"/>
                    <a:gd name="connsiteY22" fmla="*/ 537685 h 580547"/>
                    <a:gd name="connsiteX23" fmla="*/ 439275 w 573161"/>
                    <a:gd name="connsiteY23" fmla="*/ 542447 h 580547"/>
                    <a:gd name="connsiteX24" fmla="*/ 424988 w 573161"/>
                    <a:gd name="connsiteY24" fmla="*/ 544828 h 580547"/>
                    <a:gd name="connsiteX25" fmla="*/ 382125 w 573161"/>
                    <a:gd name="connsiteY25" fmla="*/ 549591 h 580547"/>
                    <a:gd name="connsiteX26" fmla="*/ 365456 w 573161"/>
                    <a:gd name="connsiteY26" fmla="*/ 554353 h 580547"/>
                    <a:gd name="connsiteX27" fmla="*/ 344025 w 573161"/>
                    <a:gd name="connsiteY27" fmla="*/ 559116 h 580547"/>
                    <a:gd name="connsiteX28" fmla="*/ 329738 w 573161"/>
                    <a:gd name="connsiteY28" fmla="*/ 563878 h 580547"/>
                    <a:gd name="connsiteX29" fmla="*/ 310688 w 573161"/>
                    <a:gd name="connsiteY29" fmla="*/ 575785 h 580547"/>
                    <a:gd name="connsiteX30" fmla="*/ 303544 w 573161"/>
                    <a:gd name="connsiteY30" fmla="*/ 578166 h 580547"/>
                    <a:gd name="connsiteX31" fmla="*/ 282113 w 573161"/>
                    <a:gd name="connsiteY31" fmla="*/ 580547 h 580547"/>
                    <a:gd name="connsiteX32" fmla="*/ 232106 w 573161"/>
                    <a:gd name="connsiteY32" fmla="*/ 578166 h 580547"/>
                    <a:gd name="connsiteX33" fmla="*/ 215438 w 573161"/>
                    <a:gd name="connsiteY33" fmla="*/ 571022 h 580547"/>
                    <a:gd name="connsiteX34" fmla="*/ 205913 w 573161"/>
                    <a:gd name="connsiteY34" fmla="*/ 568641 h 580547"/>
                    <a:gd name="connsiteX35" fmla="*/ 189244 w 573161"/>
                    <a:gd name="connsiteY35" fmla="*/ 563878 h 580547"/>
                    <a:gd name="connsiteX36" fmla="*/ 182100 w 573161"/>
                    <a:gd name="connsiteY36" fmla="*/ 559116 h 580547"/>
                    <a:gd name="connsiteX37" fmla="*/ 167813 w 573161"/>
                    <a:gd name="connsiteY37" fmla="*/ 554353 h 580547"/>
                    <a:gd name="connsiteX38" fmla="*/ 155906 w 573161"/>
                    <a:gd name="connsiteY38" fmla="*/ 544828 h 580547"/>
                    <a:gd name="connsiteX39" fmla="*/ 127331 w 573161"/>
                    <a:gd name="connsiteY39" fmla="*/ 525778 h 580547"/>
                    <a:gd name="connsiteX40" fmla="*/ 96375 w 573161"/>
                    <a:gd name="connsiteY40" fmla="*/ 504347 h 580547"/>
                    <a:gd name="connsiteX41" fmla="*/ 79706 w 573161"/>
                    <a:gd name="connsiteY41" fmla="*/ 485297 h 580547"/>
                    <a:gd name="connsiteX42" fmla="*/ 58275 w 573161"/>
                    <a:gd name="connsiteY42" fmla="*/ 461485 h 580547"/>
                    <a:gd name="connsiteX43" fmla="*/ 48750 w 573161"/>
                    <a:gd name="connsiteY43" fmla="*/ 444816 h 580547"/>
                    <a:gd name="connsiteX44" fmla="*/ 43988 w 573161"/>
                    <a:gd name="connsiteY44" fmla="*/ 432910 h 580547"/>
                    <a:gd name="connsiteX45" fmla="*/ 36844 w 573161"/>
                    <a:gd name="connsiteY45" fmla="*/ 425766 h 580547"/>
                    <a:gd name="connsiteX46" fmla="*/ 32081 w 573161"/>
                    <a:gd name="connsiteY46" fmla="*/ 416241 h 580547"/>
                    <a:gd name="connsiteX47" fmla="*/ 10650 w 573161"/>
                    <a:gd name="connsiteY47" fmla="*/ 378141 h 580547"/>
                    <a:gd name="connsiteX48" fmla="*/ 3506 w 573161"/>
                    <a:gd name="connsiteY48" fmla="*/ 354328 h 580547"/>
                    <a:gd name="connsiteX49" fmla="*/ 3506 w 573161"/>
                    <a:gd name="connsiteY49" fmla="*/ 220978 h 580547"/>
                    <a:gd name="connsiteX50" fmla="*/ 20175 w 573161"/>
                    <a:gd name="connsiteY50" fmla="*/ 178116 h 580547"/>
                    <a:gd name="connsiteX51" fmla="*/ 27319 w 573161"/>
                    <a:gd name="connsiteY51" fmla="*/ 159066 h 580547"/>
                    <a:gd name="connsiteX52" fmla="*/ 34463 w 573161"/>
                    <a:gd name="connsiteY52" fmla="*/ 144778 h 580547"/>
                    <a:gd name="connsiteX53" fmla="*/ 43988 w 573161"/>
                    <a:gd name="connsiteY53" fmla="*/ 118585 h 580547"/>
                    <a:gd name="connsiteX54" fmla="*/ 67800 w 573161"/>
                    <a:gd name="connsiteY54" fmla="*/ 92391 h 580547"/>
                    <a:gd name="connsiteX55" fmla="*/ 74944 w 573161"/>
                    <a:gd name="connsiteY55" fmla="*/ 82866 h 580547"/>
                    <a:gd name="connsiteX56" fmla="*/ 101138 w 573161"/>
                    <a:gd name="connsiteY56" fmla="*/ 63816 h 580547"/>
                    <a:gd name="connsiteX57" fmla="*/ 141619 w 573161"/>
                    <a:gd name="connsiteY57" fmla="*/ 40003 h 580547"/>
                    <a:gd name="connsiteX58" fmla="*/ 263063 w 573161"/>
                    <a:gd name="connsiteY58" fmla="*/ 4285 h 580547"/>
                    <a:gd name="connsiteX59" fmla="*/ 274969 w 573161"/>
                    <a:gd name="connsiteY5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55956 w 573161"/>
                    <a:gd name="connsiteY9" fmla="*/ 168591 h 580547"/>
                    <a:gd name="connsiteX10" fmla="*/ 560719 w 573161"/>
                    <a:gd name="connsiteY10" fmla="*/ 185260 h 580547"/>
                    <a:gd name="connsiteX11" fmla="*/ 567863 w 573161"/>
                    <a:gd name="connsiteY11" fmla="*/ 220978 h 580547"/>
                    <a:gd name="connsiteX12" fmla="*/ 572625 w 573161"/>
                    <a:gd name="connsiteY12" fmla="*/ 349566 h 580547"/>
                    <a:gd name="connsiteX13" fmla="*/ 565481 w 573161"/>
                    <a:gd name="connsiteY13" fmla="*/ 411478 h 580547"/>
                    <a:gd name="connsiteX14" fmla="*/ 560719 w 573161"/>
                    <a:gd name="connsiteY14" fmla="*/ 428147 h 580547"/>
                    <a:gd name="connsiteX15" fmla="*/ 532144 w 573161"/>
                    <a:gd name="connsiteY15" fmla="*/ 451960 h 580547"/>
                    <a:gd name="connsiteX16" fmla="*/ 515475 w 573161"/>
                    <a:gd name="connsiteY16" fmla="*/ 475772 h 580547"/>
                    <a:gd name="connsiteX17" fmla="*/ 508331 w 573161"/>
                    <a:gd name="connsiteY17" fmla="*/ 482916 h 580547"/>
                    <a:gd name="connsiteX18" fmla="*/ 501188 w 573161"/>
                    <a:gd name="connsiteY18" fmla="*/ 492441 h 580547"/>
                    <a:gd name="connsiteX19" fmla="*/ 494044 w 573161"/>
                    <a:gd name="connsiteY19" fmla="*/ 499585 h 580547"/>
                    <a:gd name="connsiteX20" fmla="*/ 467850 w 573161"/>
                    <a:gd name="connsiteY20" fmla="*/ 528160 h 580547"/>
                    <a:gd name="connsiteX21" fmla="*/ 451181 w 573161"/>
                    <a:gd name="connsiteY21" fmla="*/ 537685 h 580547"/>
                    <a:gd name="connsiteX22" fmla="*/ 439275 w 573161"/>
                    <a:gd name="connsiteY22" fmla="*/ 542447 h 580547"/>
                    <a:gd name="connsiteX23" fmla="*/ 424988 w 573161"/>
                    <a:gd name="connsiteY23" fmla="*/ 544828 h 580547"/>
                    <a:gd name="connsiteX24" fmla="*/ 382125 w 573161"/>
                    <a:gd name="connsiteY24" fmla="*/ 549591 h 580547"/>
                    <a:gd name="connsiteX25" fmla="*/ 365456 w 573161"/>
                    <a:gd name="connsiteY25" fmla="*/ 554353 h 580547"/>
                    <a:gd name="connsiteX26" fmla="*/ 344025 w 573161"/>
                    <a:gd name="connsiteY26" fmla="*/ 559116 h 580547"/>
                    <a:gd name="connsiteX27" fmla="*/ 329738 w 573161"/>
                    <a:gd name="connsiteY27" fmla="*/ 563878 h 580547"/>
                    <a:gd name="connsiteX28" fmla="*/ 310688 w 573161"/>
                    <a:gd name="connsiteY28" fmla="*/ 575785 h 580547"/>
                    <a:gd name="connsiteX29" fmla="*/ 303544 w 573161"/>
                    <a:gd name="connsiteY29" fmla="*/ 578166 h 580547"/>
                    <a:gd name="connsiteX30" fmla="*/ 282113 w 573161"/>
                    <a:gd name="connsiteY30" fmla="*/ 580547 h 580547"/>
                    <a:gd name="connsiteX31" fmla="*/ 232106 w 573161"/>
                    <a:gd name="connsiteY31" fmla="*/ 578166 h 580547"/>
                    <a:gd name="connsiteX32" fmla="*/ 215438 w 573161"/>
                    <a:gd name="connsiteY32" fmla="*/ 571022 h 580547"/>
                    <a:gd name="connsiteX33" fmla="*/ 205913 w 573161"/>
                    <a:gd name="connsiteY33" fmla="*/ 568641 h 580547"/>
                    <a:gd name="connsiteX34" fmla="*/ 189244 w 573161"/>
                    <a:gd name="connsiteY34" fmla="*/ 563878 h 580547"/>
                    <a:gd name="connsiteX35" fmla="*/ 182100 w 573161"/>
                    <a:gd name="connsiteY35" fmla="*/ 559116 h 580547"/>
                    <a:gd name="connsiteX36" fmla="*/ 167813 w 573161"/>
                    <a:gd name="connsiteY36" fmla="*/ 554353 h 580547"/>
                    <a:gd name="connsiteX37" fmla="*/ 155906 w 573161"/>
                    <a:gd name="connsiteY37" fmla="*/ 544828 h 580547"/>
                    <a:gd name="connsiteX38" fmla="*/ 127331 w 573161"/>
                    <a:gd name="connsiteY38" fmla="*/ 525778 h 580547"/>
                    <a:gd name="connsiteX39" fmla="*/ 96375 w 573161"/>
                    <a:gd name="connsiteY39" fmla="*/ 504347 h 580547"/>
                    <a:gd name="connsiteX40" fmla="*/ 79706 w 573161"/>
                    <a:gd name="connsiteY40" fmla="*/ 485297 h 580547"/>
                    <a:gd name="connsiteX41" fmla="*/ 58275 w 573161"/>
                    <a:gd name="connsiteY41" fmla="*/ 461485 h 580547"/>
                    <a:gd name="connsiteX42" fmla="*/ 48750 w 573161"/>
                    <a:gd name="connsiteY42" fmla="*/ 444816 h 580547"/>
                    <a:gd name="connsiteX43" fmla="*/ 43988 w 573161"/>
                    <a:gd name="connsiteY43" fmla="*/ 432910 h 580547"/>
                    <a:gd name="connsiteX44" fmla="*/ 36844 w 573161"/>
                    <a:gd name="connsiteY44" fmla="*/ 425766 h 580547"/>
                    <a:gd name="connsiteX45" fmla="*/ 32081 w 573161"/>
                    <a:gd name="connsiteY45" fmla="*/ 416241 h 580547"/>
                    <a:gd name="connsiteX46" fmla="*/ 10650 w 573161"/>
                    <a:gd name="connsiteY46" fmla="*/ 378141 h 580547"/>
                    <a:gd name="connsiteX47" fmla="*/ 3506 w 573161"/>
                    <a:gd name="connsiteY47" fmla="*/ 354328 h 580547"/>
                    <a:gd name="connsiteX48" fmla="*/ 3506 w 573161"/>
                    <a:gd name="connsiteY48" fmla="*/ 220978 h 580547"/>
                    <a:gd name="connsiteX49" fmla="*/ 20175 w 573161"/>
                    <a:gd name="connsiteY49" fmla="*/ 178116 h 580547"/>
                    <a:gd name="connsiteX50" fmla="*/ 27319 w 573161"/>
                    <a:gd name="connsiteY50" fmla="*/ 159066 h 580547"/>
                    <a:gd name="connsiteX51" fmla="*/ 34463 w 573161"/>
                    <a:gd name="connsiteY51" fmla="*/ 144778 h 580547"/>
                    <a:gd name="connsiteX52" fmla="*/ 43988 w 573161"/>
                    <a:gd name="connsiteY52" fmla="*/ 118585 h 580547"/>
                    <a:gd name="connsiteX53" fmla="*/ 67800 w 573161"/>
                    <a:gd name="connsiteY53" fmla="*/ 92391 h 580547"/>
                    <a:gd name="connsiteX54" fmla="*/ 74944 w 573161"/>
                    <a:gd name="connsiteY54" fmla="*/ 82866 h 580547"/>
                    <a:gd name="connsiteX55" fmla="*/ 101138 w 573161"/>
                    <a:gd name="connsiteY55" fmla="*/ 63816 h 580547"/>
                    <a:gd name="connsiteX56" fmla="*/ 141619 w 573161"/>
                    <a:gd name="connsiteY56" fmla="*/ 40003 h 580547"/>
                    <a:gd name="connsiteX57" fmla="*/ 263063 w 573161"/>
                    <a:gd name="connsiteY57" fmla="*/ 4285 h 580547"/>
                    <a:gd name="connsiteX58" fmla="*/ 274969 w 573161"/>
                    <a:gd name="connsiteY5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55956 w 573161"/>
                    <a:gd name="connsiteY9" fmla="*/ 168591 h 580547"/>
                    <a:gd name="connsiteX10" fmla="*/ 567863 w 573161"/>
                    <a:gd name="connsiteY10" fmla="*/ 220978 h 580547"/>
                    <a:gd name="connsiteX11" fmla="*/ 572625 w 573161"/>
                    <a:gd name="connsiteY11" fmla="*/ 349566 h 580547"/>
                    <a:gd name="connsiteX12" fmla="*/ 565481 w 573161"/>
                    <a:gd name="connsiteY12" fmla="*/ 411478 h 580547"/>
                    <a:gd name="connsiteX13" fmla="*/ 560719 w 573161"/>
                    <a:gd name="connsiteY13" fmla="*/ 428147 h 580547"/>
                    <a:gd name="connsiteX14" fmla="*/ 532144 w 573161"/>
                    <a:gd name="connsiteY14" fmla="*/ 451960 h 580547"/>
                    <a:gd name="connsiteX15" fmla="*/ 515475 w 573161"/>
                    <a:gd name="connsiteY15" fmla="*/ 475772 h 580547"/>
                    <a:gd name="connsiteX16" fmla="*/ 508331 w 573161"/>
                    <a:gd name="connsiteY16" fmla="*/ 482916 h 580547"/>
                    <a:gd name="connsiteX17" fmla="*/ 501188 w 573161"/>
                    <a:gd name="connsiteY17" fmla="*/ 492441 h 580547"/>
                    <a:gd name="connsiteX18" fmla="*/ 494044 w 573161"/>
                    <a:gd name="connsiteY18" fmla="*/ 499585 h 580547"/>
                    <a:gd name="connsiteX19" fmla="*/ 467850 w 573161"/>
                    <a:gd name="connsiteY19" fmla="*/ 528160 h 580547"/>
                    <a:gd name="connsiteX20" fmla="*/ 451181 w 573161"/>
                    <a:gd name="connsiteY20" fmla="*/ 537685 h 580547"/>
                    <a:gd name="connsiteX21" fmla="*/ 439275 w 573161"/>
                    <a:gd name="connsiteY21" fmla="*/ 542447 h 580547"/>
                    <a:gd name="connsiteX22" fmla="*/ 424988 w 573161"/>
                    <a:gd name="connsiteY22" fmla="*/ 544828 h 580547"/>
                    <a:gd name="connsiteX23" fmla="*/ 382125 w 573161"/>
                    <a:gd name="connsiteY23" fmla="*/ 549591 h 580547"/>
                    <a:gd name="connsiteX24" fmla="*/ 365456 w 573161"/>
                    <a:gd name="connsiteY24" fmla="*/ 554353 h 580547"/>
                    <a:gd name="connsiteX25" fmla="*/ 344025 w 573161"/>
                    <a:gd name="connsiteY25" fmla="*/ 559116 h 580547"/>
                    <a:gd name="connsiteX26" fmla="*/ 329738 w 573161"/>
                    <a:gd name="connsiteY26" fmla="*/ 563878 h 580547"/>
                    <a:gd name="connsiteX27" fmla="*/ 310688 w 573161"/>
                    <a:gd name="connsiteY27" fmla="*/ 575785 h 580547"/>
                    <a:gd name="connsiteX28" fmla="*/ 303544 w 573161"/>
                    <a:gd name="connsiteY28" fmla="*/ 578166 h 580547"/>
                    <a:gd name="connsiteX29" fmla="*/ 282113 w 573161"/>
                    <a:gd name="connsiteY29" fmla="*/ 580547 h 580547"/>
                    <a:gd name="connsiteX30" fmla="*/ 232106 w 573161"/>
                    <a:gd name="connsiteY30" fmla="*/ 578166 h 580547"/>
                    <a:gd name="connsiteX31" fmla="*/ 215438 w 573161"/>
                    <a:gd name="connsiteY31" fmla="*/ 571022 h 580547"/>
                    <a:gd name="connsiteX32" fmla="*/ 205913 w 573161"/>
                    <a:gd name="connsiteY32" fmla="*/ 568641 h 580547"/>
                    <a:gd name="connsiteX33" fmla="*/ 189244 w 573161"/>
                    <a:gd name="connsiteY33" fmla="*/ 563878 h 580547"/>
                    <a:gd name="connsiteX34" fmla="*/ 182100 w 573161"/>
                    <a:gd name="connsiteY34" fmla="*/ 559116 h 580547"/>
                    <a:gd name="connsiteX35" fmla="*/ 167813 w 573161"/>
                    <a:gd name="connsiteY35" fmla="*/ 554353 h 580547"/>
                    <a:gd name="connsiteX36" fmla="*/ 155906 w 573161"/>
                    <a:gd name="connsiteY36" fmla="*/ 544828 h 580547"/>
                    <a:gd name="connsiteX37" fmla="*/ 127331 w 573161"/>
                    <a:gd name="connsiteY37" fmla="*/ 525778 h 580547"/>
                    <a:gd name="connsiteX38" fmla="*/ 96375 w 573161"/>
                    <a:gd name="connsiteY38" fmla="*/ 504347 h 580547"/>
                    <a:gd name="connsiteX39" fmla="*/ 79706 w 573161"/>
                    <a:gd name="connsiteY39" fmla="*/ 485297 h 580547"/>
                    <a:gd name="connsiteX40" fmla="*/ 58275 w 573161"/>
                    <a:gd name="connsiteY40" fmla="*/ 461485 h 580547"/>
                    <a:gd name="connsiteX41" fmla="*/ 48750 w 573161"/>
                    <a:gd name="connsiteY41" fmla="*/ 444816 h 580547"/>
                    <a:gd name="connsiteX42" fmla="*/ 43988 w 573161"/>
                    <a:gd name="connsiteY42" fmla="*/ 432910 h 580547"/>
                    <a:gd name="connsiteX43" fmla="*/ 36844 w 573161"/>
                    <a:gd name="connsiteY43" fmla="*/ 425766 h 580547"/>
                    <a:gd name="connsiteX44" fmla="*/ 32081 w 573161"/>
                    <a:gd name="connsiteY44" fmla="*/ 416241 h 580547"/>
                    <a:gd name="connsiteX45" fmla="*/ 10650 w 573161"/>
                    <a:gd name="connsiteY45" fmla="*/ 378141 h 580547"/>
                    <a:gd name="connsiteX46" fmla="*/ 3506 w 573161"/>
                    <a:gd name="connsiteY46" fmla="*/ 354328 h 580547"/>
                    <a:gd name="connsiteX47" fmla="*/ 3506 w 573161"/>
                    <a:gd name="connsiteY47" fmla="*/ 220978 h 580547"/>
                    <a:gd name="connsiteX48" fmla="*/ 20175 w 573161"/>
                    <a:gd name="connsiteY48" fmla="*/ 178116 h 580547"/>
                    <a:gd name="connsiteX49" fmla="*/ 27319 w 573161"/>
                    <a:gd name="connsiteY49" fmla="*/ 159066 h 580547"/>
                    <a:gd name="connsiteX50" fmla="*/ 34463 w 573161"/>
                    <a:gd name="connsiteY50" fmla="*/ 144778 h 580547"/>
                    <a:gd name="connsiteX51" fmla="*/ 43988 w 573161"/>
                    <a:gd name="connsiteY51" fmla="*/ 118585 h 580547"/>
                    <a:gd name="connsiteX52" fmla="*/ 67800 w 573161"/>
                    <a:gd name="connsiteY52" fmla="*/ 92391 h 580547"/>
                    <a:gd name="connsiteX53" fmla="*/ 74944 w 573161"/>
                    <a:gd name="connsiteY53" fmla="*/ 82866 h 580547"/>
                    <a:gd name="connsiteX54" fmla="*/ 101138 w 573161"/>
                    <a:gd name="connsiteY54" fmla="*/ 63816 h 580547"/>
                    <a:gd name="connsiteX55" fmla="*/ 141619 w 573161"/>
                    <a:gd name="connsiteY55" fmla="*/ 40003 h 580547"/>
                    <a:gd name="connsiteX56" fmla="*/ 263063 w 573161"/>
                    <a:gd name="connsiteY56" fmla="*/ 4285 h 580547"/>
                    <a:gd name="connsiteX57" fmla="*/ 274969 w 573161"/>
                    <a:gd name="connsiteY5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34463 w 573161"/>
                    <a:gd name="connsiteY49" fmla="*/ 144778 h 580547"/>
                    <a:gd name="connsiteX50" fmla="*/ 43988 w 573161"/>
                    <a:gd name="connsiteY50" fmla="*/ 118585 h 580547"/>
                    <a:gd name="connsiteX51" fmla="*/ 67800 w 573161"/>
                    <a:gd name="connsiteY51" fmla="*/ 92391 h 580547"/>
                    <a:gd name="connsiteX52" fmla="*/ 74944 w 573161"/>
                    <a:gd name="connsiteY52" fmla="*/ 82866 h 580547"/>
                    <a:gd name="connsiteX53" fmla="*/ 101138 w 573161"/>
                    <a:gd name="connsiteY53" fmla="*/ 63816 h 580547"/>
                    <a:gd name="connsiteX54" fmla="*/ 141619 w 573161"/>
                    <a:gd name="connsiteY54" fmla="*/ 40003 h 580547"/>
                    <a:gd name="connsiteX55" fmla="*/ 263063 w 573161"/>
                    <a:gd name="connsiteY55" fmla="*/ 4285 h 580547"/>
                    <a:gd name="connsiteX56" fmla="*/ 274969 w 573161"/>
                    <a:gd name="connsiteY5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34463 w 573161"/>
                    <a:gd name="connsiteY49" fmla="*/ 144778 h 580547"/>
                    <a:gd name="connsiteX50" fmla="*/ 43988 w 573161"/>
                    <a:gd name="connsiteY50" fmla="*/ 118585 h 580547"/>
                    <a:gd name="connsiteX51" fmla="*/ 67800 w 573161"/>
                    <a:gd name="connsiteY51" fmla="*/ 92391 h 580547"/>
                    <a:gd name="connsiteX52" fmla="*/ 101138 w 573161"/>
                    <a:gd name="connsiteY52" fmla="*/ 63816 h 580547"/>
                    <a:gd name="connsiteX53" fmla="*/ 141619 w 573161"/>
                    <a:gd name="connsiteY53" fmla="*/ 40003 h 580547"/>
                    <a:gd name="connsiteX54" fmla="*/ 263063 w 573161"/>
                    <a:gd name="connsiteY54" fmla="*/ 4285 h 580547"/>
                    <a:gd name="connsiteX55" fmla="*/ 274969 w 573161"/>
                    <a:gd name="connsiteY5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43988 w 573161"/>
                    <a:gd name="connsiteY49" fmla="*/ 118585 h 580547"/>
                    <a:gd name="connsiteX50" fmla="*/ 67800 w 573161"/>
                    <a:gd name="connsiteY50" fmla="*/ 92391 h 580547"/>
                    <a:gd name="connsiteX51" fmla="*/ 101138 w 573161"/>
                    <a:gd name="connsiteY51" fmla="*/ 63816 h 580547"/>
                    <a:gd name="connsiteX52" fmla="*/ 141619 w 573161"/>
                    <a:gd name="connsiteY52" fmla="*/ 40003 h 580547"/>
                    <a:gd name="connsiteX53" fmla="*/ 263063 w 573161"/>
                    <a:gd name="connsiteY53" fmla="*/ 4285 h 580547"/>
                    <a:gd name="connsiteX54" fmla="*/ 274969 w 573161"/>
                    <a:gd name="connsiteY5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43988 w 573161"/>
                    <a:gd name="connsiteY48" fmla="*/ 118585 h 580547"/>
                    <a:gd name="connsiteX49" fmla="*/ 67800 w 573161"/>
                    <a:gd name="connsiteY49" fmla="*/ 92391 h 580547"/>
                    <a:gd name="connsiteX50" fmla="*/ 101138 w 573161"/>
                    <a:gd name="connsiteY50" fmla="*/ 63816 h 580547"/>
                    <a:gd name="connsiteX51" fmla="*/ 141619 w 573161"/>
                    <a:gd name="connsiteY51" fmla="*/ 40003 h 580547"/>
                    <a:gd name="connsiteX52" fmla="*/ 263063 w 573161"/>
                    <a:gd name="connsiteY52" fmla="*/ 4285 h 580547"/>
                    <a:gd name="connsiteX53" fmla="*/ 274969 w 573161"/>
                    <a:gd name="connsiteY5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43988 w 573161"/>
                    <a:gd name="connsiteY47" fmla="*/ 118585 h 580547"/>
                    <a:gd name="connsiteX48" fmla="*/ 67800 w 573161"/>
                    <a:gd name="connsiteY48" fmla="*/ 92391 h 580547"/>
                    <a:gd name="connsiteX49" fmla="*/ 101138 w 573161"/>
                    <a:gd name="connsiteY49" fmla="*/ 63816 h 580547"/>
                    <a:gd name="connsiteX50" fmla="*/ 141619 w 573161"/>
                    <a:gd name="connsiteY50" fmla="*/ 40003 h 580547"/>
                    <a:gd name="connsiteX51" fmla="*/ 263063 w 573161"/>
                    <a:gd name="connsiteY51" fmla="*/ 4285 h 580547"/>
                    <a:gd name="connsiteX52" fmla="*/ 274969 w 573161"/>
                    <a:gd name="connsiteY5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3506 w 573161"/>
                    <a:gd name="connsiteY44" fmla="*/ 354328 h 580547"/>
                    <a:gd name="connsiteX45" fmla="*/ 3506 w 573161"/>
                    <a:gd name="connsiteY45" fmla="*/ 220978 h 580547"/>
                    <a:gd name="connsiteX46" fmla="*/ 43988 w 573161"/>
                    <a:gd name="connsiteY46" fmla="*/ 118585 h 580547"/>
                    <a:gd name="connsiteX47" fmla="*/ 67800 w 573161"/>
                    <a:gd name="connsiteY47" fmla="*/ 92391 h 580547"/>
                    <a:gd name="connsiteX48" fmla="*/ 101138 w 573161"/>
                    <a:gd name="connsiteY48" fmla="*/ 63816 h 580547"/>
                    <a:gd name="connsiteX49" fmla="*/ 141619 w 573161"/>
                    <a:gd name="connsiteY49" fmla="*/ 40003 h 580547"/>
                    <a:gd name="connsiteX50" fmla="*/ 263063 w 573161"/>
                    <a:gd name="connsiteY50" fmla="*/ 4285 h 580547"/>
                    <a:gd name="connsiteX51" fmla="*/ 274969 w 573161"/>
                    <a:gd name="connsiteY5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36844 w 573161"/>
                    <a:gd name="connsiteY41" fmla="*/ 425766 h 580547"/>
                    <a:gd name="connsiteX42" fmla="*/ 32081 w 573161"/>
                    <a:gd name="connsiteY42" fmla="*/ 416241 h 580547"/>
                    <a:gd name="connsiteX43" fmla="*/ 3506 w 573161"/>
                    <a:gd name="connsiteY43" fmla="*/ 354328 h 580547"/>
                    <a:gd name="connsiteX44" fmla="*/ 3506 w 573161"/>
                    <a:gd name="connsiteY44" fmla="*/ 220978 h 580547"/>
                    <a:gd name="connsiteX45" fmla="*/ 43988 w 573161"/>
                    <a:gd name="connsiteY45" fmla="*/ 118585 h 580547"/>
                    <a:gd name="connsiteX46" fmla="*/ 67800 w 573161"/>
                    <a:gd name="connsiteY46" fmla="*/ 92391 h 580547"/>
                    <a:gd name="connsiteX47" fmla="*/ 101138 w 573161"/>
                    <a:gd name="connsiteY47" fmla="*/ 63816 h 580547"/>
                    <a:gd name="connsiteX48" fmla="*/ 141619 w 573161"/>
                    <a:gd name="connsiteY48" fmla="*/ 40003 h 580547"/>
                    <a:gd name="connsiteX49" fmla="*/ 263063 w 573161"/>
                    <a:gd name="connsiteY49" fmla="*/ 4285 h 580547"/>
                    <a:gd name="connsiteX50" fmla="*/ 274969 w 573161"/>
                    <a:gd name="connsiteY5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48750 w 573161"/>
                    <a:gd name="connsiteY39" fmla="*/ 444816 h 580547"/>
                    <a:gd name="connsiteX40" fmla="*/ 36844 w 573161"/>
                    <a:gd name="connsiteY40" fmla="*/ 425766 h 580547"/>
                    <a:gd name="connsiteX41" fmla="*/ 32081 w 573161"/>
                    <a:gd name="connsiteY41" fmla="*/ 416241 h 580547"/>
                    <a:gd name="connsiteX42" fmla="*/ 3506 w 573161"/>
                    <a:gd name="connsiteY42" fmla="*/ 354328 h 580547"/>
                    <a:gd name="connsiteX43" fmla="*/ 3506 w 573161"/>
                    <a:gd name="connsiteY43" fmla="*/ 220978 h 580547"/>
                    <a:gd name="connsiteX44" fmla="*/ 43988 w 573161"/>
                    <a:gd name="connsiteY44" fmla="*/ 118585 h 580547"/>
                    <a:gd name="connsiteX45" fmla="*/ 67800 w 573161"/>
                    <a:gd name="connsiteY45" fmla="*/ 92391 h 580547"/>
                    <a:gd name="connsiteX46" fmla="*/ 101138 w 573161"/>
                    <a:gd name="connsiteY46" fmla="*/ 63816 h 580547"/>
                    <a:gd name="connsiteX47" fmla="*/ 141619 w 573161"/>
                    <a:gd name="connsiteY47" fmla="*/ 40003 h 580547"/>
                    <a:gd name="connsiteX48" fmla="*/ 263063 w 573161"/>
                    <a:gd name="connsiteY48" fmla="*/ 4285 h 580547"/>
                    <a:gd name="connsiteX49" fmla="*/ 274969 w 573161"/>
                    <a:gd name="connsiteY4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36844 w 573161"/>
                    <a:gd name="connsiteY39" fmla="*/ 425766 h 580547"/>
                    <a:gd name="connsiteX40" fmla="*/ 32081 w 573161"/>
                    <a:gd name="connsiteY40" fmla="*/ 416241 h 580547"/>
                    <a:gd name="connsiteX41" fmla="*/ 3506 w 573161"/>
                    <a:gd name="connsiteY41" fmla="*/ 354328 h 580547"/>
                    <a:gd name="connsiteX42" fmla="*/ 3506 w 573161"/>
                    <a:gd name="connsiteY42" fmla="*/ 220978 h 580547"/>
                    <a:gd name="connsiteX43" fmla="*/ 43988 w 573161"/>
                    <a:gd name="connsiteY43" fmla="*/ 118585 h 580547"/>
                    <a:gd name="connsiteX44" fmla="*/ 67800 w 573161"/>
                    <a:gd name="connsiteY44" fmla="*/ 92391 h 580547"/>
                    <a:gd name="connsiteX45" fmla="*/ 101138 w 573161"/>
                    <a:gd name="connsiteY45" fmla="*/ 63816 h 580547"/>
                    <a:gd name="connsiteX46" fmla="*/ 141619 w 573161"/>
                    <a:gd name="connsiteY46" fmla="*/ 40003 h 580547"/>
                    <a:gd name="connsiteX47" fmla="*/ 263063 w 573161"/>
                    <a:gd name="connsiteY47" fmla="*/ 4285 h 580547"/>
                    <a:gd name="connsiteX48" fmla="*/ 274969 w 573161"/>
                    <a:gd name="connsiteY4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36844 w 573161"/>
                    <a:gd name="connsiteY39" fmla="*/ 425766 h 580547"/>
                    <a:gd name="connsiteX40" fmla="*/ 3506 w 573161"/>
                    <a:gd name="connsiteY40" fmla="*/ 354328 h 580547"/>
                    <a:gd name="connsiteX41" fmla="*/ 3506 w 573161"/>
                    <a:gd name="connsiteY41" fmla="*/ 220978 h 580547"/>
                    <a:gd name="connsiteX42" fmla="*/ 43988 w 573161"/>
                    <a:gd name="connsiteY42" fmla="*/ 118585 h 580547"/>
                    <a:gd name="connsiteX43" fmla="*/ 67800 w 573161"/>
                    <a:gd name="connsiteY43" fmla="*/ 92391 h 580547"/>
                    <a:gd name="connsiteX44" fmla="*/ 101138 w 573161"/>
                    <a:gd name="connsiteY44" fmla="*/ 63816 h 580547"/>
                    <a:gd name="connsiteX45" fmla="*/ 141619 w 573161"/>
                    <a:gd name="connsiteY45" fmla="*/ 40003 h 580547"/>
                    <a:gd name="connsiteX46" fmla="*/ 263063 w 573161"/>
                    <a:gd name="connsiteY46" fmla="*/ 4285 h 580547"/>
                    <a:gd name="connsiteX47" fmla="*/ 274969 w 573161"/>
                    <a:gd name="connsiteY4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96375 w 573161"/>
                    <a:gd name="connsiteY36" fmla="*/ 504347 h 580547"/>
                    <a:gd name="connsiteX37" fmla="*/ 58275 w 573161"/>
                    <a:gd name="connsiteY37" fmla="*/ 461485 h 580547"/>
                    <a:gd name="connsiteX38" fmla="*/ 36844 w 573161"/>
                    <a:gd name="connsiteY38" fmla="*/ 425766 h 580547"/>
                    <a:gd name="connsiteX39" fmla="*/ 3506 w 573161"/>
                    <a:gd name="connsiteY39" fmla="*/ 354328 h 580547"/>
                    <a:gd name="connsiteX40" fmla="*/ 3506 w 573161"/>
                    <a:gd name="connsiteY40" fmla="*/ 220978 h 580547"/>
                    <a:gd name="connsiteX41" fmla="*/ 43988 w 573161"/>
                    <a:gd name="connsiteY41" fmla="*/ 118585 h 580547"/>
                    <a:gd name="connsiteX42" fmla="*/ 67800 w 573161"/>
                    <a:gd name="connsiteY42" fmla="*/ 92391 h 580547"/>
                    <a:gd name="connsiteX43" fmla="*/ 101138 w 573161"/>
                    <a:gd name="connsiteY43" fmla="*/ 63816 h 580547"/>
                    <a:gd name="connsiteX44" fmla="*/ 141619 w 573161"/>
                    <a:gd name="connsiteY44" fmla="*/ 40003 h 580547"/>
                    <a:gd name="connsiteX45" fmla="*/ 263063 w 573161"/>
                    <a:gd name="connsiteY45" fmla="*/ 4285 h 580547"/>
                    <a:gd name="connsiteX46" fmla="*/ 274969 w 573161"/>
                    <a:gd name="connsiteY4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96375 w 573161"/>
                    <a:gd name="connsiteY35" fmla="*/ 504347 h 580547"/>
                    <a:gd name="connsiteX36" fmla="*/ 58275 w 573161"/>
                    <a:gd name="connsiteY36" fmla="*/ 461485 h 580547"/>
                    <a:gd name="connsiteX37" fmla="*/ 36844 w 573161"/>
                    <a:gd name="connsiteY37" fmla="*/ 425766 h 580547"/>
                    <a:gd name="connsiteX38" fmla="*/ 3506 w 573161"/>
                    <a:gd name="connsiteY38" fmla="*/ 354328 h 580547"/>
                    <a:gd name="connsiteX39" fmla="*/ 3506 w 573161"/>
                    <a:gd name="connsiteY39" fmla="*/ 220978 h 580547"/>
                    <a:gd name="connsiteX40" fmla="*/ 43988 w 573161"/>
                    <a:gd name="connsiteY40" fmla="*/ 118585 h 580547"/>
                    <a:gd name="connsiteX41" fmla="*/ 67800 w 573161"/>
                    <a:gd name="connsiteY41" fmla="*/ 92391 h 580547"/>
                    <a:gd name="connsiteX42" fmla="*/ 101138 w 573161"/>
                    <a:gd name="connsiteY42" fmla="*/ 63816 h 580547"/>
                    <a:gd name="connsiteX43" fmla="*/ 141619 w 573161"/>
                    <a:gd name="connsiteY43" fmla="*/ 40003 h 580547"/>
                    <a:gd name="connsiteX44" fmla="*/ 263063 w 573161"/>
                    <a:gd name="connsiteY44" fmla="*/ 4285 h 580547"/>
                    <a:gd name="connsiteX45" fmla="*/ 274969 w 573161"/>
                    <a:gd name="connsiteY4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96375 w 573161"/>
                    <a:gd name="connsiteY34" fmla="*/ 504347 h 580547"/>
                    <a:gd name="connsiteX35" fmla="*/ 58275 w 573161"/>
                    <a:gd name="connsiteY35" fmla="*/ 461485 h 580547"/>
                    <a:gd name="connsiteX36" fmla="*/ 36844 w 573161"/>
                    <a:gd name="connsiteY36" fmla="*/ 425766 h 580547"/>
                    <a:gd name="connsiteX37" fmla="*/ 3506 w 573161"/>
                    <a:gd name="connsiteY37" fmla="*/ 354328 h 580547"/>
                    <a:gd name="connsiteX38" fmla="*/ 3506 w 573161"/>
                    <a:gd name="connsiteY38" fmla="*/ 220978 h 580547"/>
                    <a:gd name="connsiteX39" fmla="*/ 43988 w 573161"/>
                    <a:gd name="connsiteY39" fmla="*/ 118585 h 580547"/>
                    <a:gd name="connsiteX40" fmla="*/ 67800 w 573161"/>
                    <a:gd name="connsiteY40" fmla="*/ 92391 h 580547"/>
                    <a:gd name="connsiteX41" fmla="*/ 101138 w 573161"/>
                    <a:gd name="connsiteY41" fmla="*/ 63816 h 580547"/>
                    <a:gd name="connsiteX42" fmla="*/ 141619 w 573161"/>
                    <a:gd name="connsiteY42" fmla="*/ 40003 h 580547"/>
                    <a:gd name="connsiteX43" fmla="*/ 263063 w 573161"/>
                    <a:gd name="connsiteY43" fmla="*/ 4285 h 580547"/>
                    <a:gd name="connsiteX44" fmla="*/ 274969 w 573161"/>
                    <a:gd name="connsiteY4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2100 w 573161"/>
                    <a:gd name="connsiteY32" fmla="*/ 559116 h 580547"/>
                    <a:gd name="connsiteX33" fmla="*/ 96375 w 573161"/>
                    <a:gd name="connsiteY33" fmla="*/ 504347 h 580547"/>
                    <a:gd name="connsiteX34" fmla="*/ 58275 w 573161"/>
                    <a:gd name="connsiteY34" fmla="*/ 461485 h 580547"/>
                    <a:gd name="connsiteX35" fmla="*/ 36844 w 573161"/>
                    <a:gd name="connsiteY35" fmla="*/ 425766 h 580547"/>
                    <a:gd name="connsiteX36" fmla="*/ 3506 w 573161"/>
                    <a:gd name="connsiteY36" fmla="*/ 354328 h 580547"/>
                    <a:gd name="connsiteX37" fmla="*/ 3506 w 573161"/>
                    <a:gd name="connsiteY37" fmla="*/ 220978 h 580547"/>
                    <a:gd name="connsiteX38" fmla="*/ 43988 w 573161"/>
                    <a:gd name="connsiteY38" fmla="*/ 118585 h 580547"/>
                    <a:gd name="connsiteX39" fmla="*/ 67800 w 573161"/>
                    <a:gd name="connsiteY39" fmla="*/ 92391 h 580547"/>
                    <a:gd name="connsiteX40" fmla="*/ 101138 w 573161"/>
                    <a:gd name="connsiteY40" fmla="*/ 63816 h 580547"/>
                    <a:gd name="connsiteX41" fmla="*/ 141619 w 573161"/>
                    <a:gd name="connsiteY41" fmla="*/ 40003 h 580547"/>
                    <a:gd name="connsiteX42" fmla="*/ 263063 w 573161"/>
                    <a:gd name="connsiteY42" fmla="*/ 4285 h 580547"/>
                    <a:gd name="connsiteX43" fmla="*/ 274969 w 573161"/>
                    <a:gd name="connsiteY4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182100 w 573161"/>
                    <a:gd name="connsiteY31" fmla="*/ 559116 h 580547"/>
                    <a:gd name="connsiteX32" fmla="*/ 96375 w 573161"/>
                    <a:gd name="connsiteY32" fmla="*/ 504347 h 580547"/>
                    <a:gd name="connsiteX33" fmla="*/ 58275 w 573161"/>
                    <a:gd name="connsiteY33" fmla="*/ 461485 h 580547"/>
                    <a:gd name="connsiteX34" fmla="*/ 36844 w 573161"/>
                    <a:gd name="connsiteY34" fmla="*/ 425766 h 580547"/>
                    <a:gd name="connsiteX35" fmla="*/ 3506 w 573161"/>
                    <a:gd name="connsiteY35" fmla="*/ 354328 h 580547"/>
                    <a:gd name="connsiteX36" fmla="*/ 3506 w 573161"/>
                    <a:gd name="connsiteY36" fmla="*/ 220978 h 580547"/>
                    <a:gd name="connsiteX37" fmla="*/ 43988 w 573161"/>
                    <a:gd name="connsiteY37" fmla="*/ 118585 h 580547"/>
                    <a:gd name="connsiteX38" fmla="*/ 67800 w 573161"/>
                    <a:gd name="connsiteY38" fmla="*/ 92391 h 580547"/>
                    <a:gd name="connsiteX39" fmla="*/ 101138 w 573161"/>
                    <a:gd name="connsiteY39" fmla="*/ 63816 h 580547"/>
                    <a:gd name="connsiteX40" fmla="*/ 141619 w 573161"/>
                    <a:gd name="connsiteY40" fmla="*/ 40003 h 580547"/>
                    <a:gd name="connsiteX41" fmla="*/ 263063 w 573161"/>
                    <a:gd name="connsiteY41" fmla="*/ 4285 h 580547"/>
                    <a:gd name="connsiteX42" fmla="*/ 274969 w 573161"/>
                    <a:gd name="connsiteY4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182100 w 573161"/>
                    <a:gd name="connsiteY30" fmla="*/ 559116 h 580547"/>
                    <a:gd name="connsiteX31" fmla="*/ 96375 w 573161"/>
                    <a:gd name="connsiteY31" fmla="*/ 504347 h 580547"/>
                    <a:gd name="connsiteX32" fmla="*/ 58275 w 573161"/>
                    <a:gd name="connsiteY32" fmla="*/ 461485 h 580547"/>
                    <a:gd name="connsiteX33" fmla="*/ 36844 w 573161"/>
                    <a:gd name="connsiteY33" fmla="*/ 425766 h 580547"/>
                    <a:gd name="connsiteX34" fmla="*/ 3506 w 573161"/>
                    <a:gd name="connsiteY34" fmla="*/ 354328 h 580547"/>
                    <a:gd name="connsiteX35" fmla="*/ 3506 w 573161"/>
                    <a:gd name="connsiteY35" fmla="*/ 220978 h 580547"/>
                    <a:gd name="connsiteX36" fmla="*/ 43988 w 573161"/>
                    <a:gd name="connsiteY36" fmla="*/ 118585 h 580547"/>
                    <a:gd name="connsiteX37" fmla="*/ 67800 w 573161"/>
                    <a:gd name="connsiteY37" fmla="*/ 92391 h 580547"/>
                    <a:gd name="connsiteX38" fmla="*/ 101138 w 573161"/>
                    <a:gd name="connsiteY38" fmla="*/ 63816 h 580547"/>
                    <a:gd name="connsiteX39" fmla="*/ 141619 w 573161"/>
                    <a:gd name="connsiteY39" fmla="*/ 40003 h 580547"/>
                    <a:gd name="connsiteX40" fmla="*/ 263063 w 573161"/>
                    <a:gd name="connsiteY40" fmla="*/ 4285 h 580547"/>
                    <a:gd name="connsiteX41" fmla="*/ 274969 w 573161"/>
                    <a:gd name="connsiteY41" fmla="*/ 1903 h 580547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65456 w 573161"/>
                    <a:gd name="connsiteY23" fmla="*/ 554353 h 580910"/>
                    <a:gd name="connsiteX24" fmla="*/ 344025 w 573161"/>
                    <a:gd name="connsiteY24" fmla="*/ 559116 h 580910"/>
                    <a:gd name="connsiteX25" fmla="*/ 329738 w 573161"/>
                    <a:gd name="connsiteY25" fmla="*/ 563878 h 580910"/>
                    <a:gd name="connsiteX26" fmla="*/ 310688 w 573161"/>
                    <a:gd name="connsiteY26" fmla="*/ 575785 h 580910"/>
                    <a:gd name="connsiteX27" fmla="*/ 282113 w 573161"/>
                    <a:gd name="connsiteY27" fmla="*/ 580547 h 580910"/>
                    <a:gd name="connsiteX28" fmla="*/ 232106 w 573161"/>
                    <a:gd name="connsiteY28" fmla="*/ 578166 h 580910"/>
                    <a:gd name="connsiteX29" fmla="*/ 182100 w 573161"/>
                    <a:gd name="connsiteY29" fmla="*/ 559116 h 580910"/>
                    <a:gd name="connsiteX30" fmla="*/ 96375 w 573161"/>
                    <a:gd name="connsiteY30" fmla="*/ 504347 h 580910"/>
                    <a:gd name="connsiteX31" fmla="*/ 58275 w 573161"/>
                    <a:gd name="connsiteY31" fmla="*/ 461485 h 580910"/>
                    <a:gd name="connsiteX32" fmla="*/ 36844 w 573161"/>
                    <a:gd name="connsiteY32" fmla="*/ 425766 h 580910"/>
                    <a:gd name="connsiteX33" fmla="*/ 3506 w 573161"/>
                    <a:gd name="connsiteY33" fmla="*/ 354328 h 580910"/>
                    <a:gd name="connsiteX34" fmla="*/ 3506 w 573161"/>
                    <a:gd name="connsiteY34" fmla="*/ 220978 h 580910"/>
                    <a:gd name="connsiteX35" fmla="*/ 43988 w 573161"/>
                    <a:gd name="connsiteY35" fmla="*/ 118585 h 580910"/>
                    <a:gd name="connsiteX36" fmla="*/ 67800 w 573161"/>
                    <a:gd name="connsiteY36" fmla="*/ 92391 h 580910"/>
                    <a:gd name="connsiteX37" fmla="*/ 101138 w 573161"/>
                    <a:gd name="connsiteY37" fmla="*/ 63816 h 580910"/>
                    <a:gd name="connsiteX38" fmla="*/ 141619 w 573161"/>
                    <a:gd name="connsiteY38" fmla="*/ 40003 h 580910"/>
                    <a:gd name="connsiteX39" fmla="*/ 263063 w 573161"/>
                    <a:gd name="connsiteY39" fmla="*/ 4285 h 580910"/>
                    <a:gd name="connsiteX40" fmla="*/ 274969 w 573161"/>
                    <a:gd name="connsiteY40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65456 w 573161"/>
                    <a:gd name="connsiteY23" fmla="*/ 554353 h 580910"/>
                    <a:gd name="connsiteX24" fmla="*/ 329738 w 573161"/>
                    <a:gd name="connsiteY24" fmla="*/ 563878 h 580910"/>
                    <a:gd name="connsiteX25" fmla="*/ 310688 w 573161"/>
                    <a:gd name="connsiteY25" fmla="*/ 575785 h 580910"/>
                    <a:gd name="connsiteX26" fmla="*/ 282113 w 573161"/>
                    <a:gd name="connsiteY26" fmla="*/ 580547 h 580910"/>
                    <a:gd name="connsiteX27" fmla="*/ 232106 w 573161"/>
                    <a:gd name="connsiteY27" fmla="*/ 578166 h 580910"/>
                    <a:gd name="connsiteX28" fmla="*/ 182100 w 573161"/>
                    <a:gd name="connsiteY28" fmla="*/ 559116 h 580910"/>
                    <a:gd name="connsiteX29" fmla="*/ 96375 w 573161"/>
                    <a:gd name="connsiteY29" fmla="*/ 504347 h 580910"/>
                    <a:gd name="connsiteX30" fmla="*/ 58275 w 573161"/>
                    <a:gd name="connsiteY30" fmla="*/ 461485 h 580910"/>
                    <a:gd name="connsiteX31" fmla="*/ 36844 w 573161"/>
                    <a:gd name="connsiteY31" fmla="*/ 425766 h 580910"/>
                    <a:gd name="connsiteX32" fmla="*/ 3506 w 573161"/>
                    <a:gd name="connsiteY32" fmla="*/ 354328 h 580910"/>
                    <a:gd name="connsiteX33" fmla="*/ 3506 w 573161"/>
                    <a:gd name="connsiteY33" fmla="*/ 220978 h 580910"/>
                    <a:gd name="connsiteX34" fmla="*/ 43988 w 573161"/>
                    <a:gd name="connsiteY34" fmla="*/ 118585 h 580910"/>
                    <a:gd name="connsiteX35" fmla="*/ 67800 w 573161"/>
                    <a:gd name="connsiteY35" fmla="*/ 92391 h 580910"/>
                    <a:gd name="connsiteX36" fmla="*/ 101138 w 573161"/>
                    <a:gd name="connsiteY36" fmla="*/ 63816 h 580910"/>
                    <a:gd name="connsiteX37" fmla="*/ 141619 w 573161"/>
                    <a:gd name="connsiteY37" fmla="*/ 40003 h 580910"/>
                    <a:gd name="connsiteX38" fmla="*/ 263063 w 573161"/>
                    <a:gd name="connsiteY38" fmla="*/ 4285 h 580910"/>
                    <a:gd name="connsiteX39" fmla="*/ 274969 w 573161"/>
                    <a:gd name="connsiteY39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29738 w 573161"/>
                    <a:gd name="connsiteY23" fmla="*/ 563878 h 580910"/>
                    <a:gd name="connsiteX24" fmla="*/ 310688 w 573161"/>
                    <a:gd name="connsiteY24" fmla="*/ 575785 h 580910"/>
                    <a:gd name="connsiteX25" fmla="*/ 282113 w 573161"/>
                    <a:gd name="connsiteY25" fmla="*/ 580547 h 580910"/>
                    <a:gd name="connsiteX26" fmla="*/ 232106 w 573161"/>
                    <a:gd name="connsiteY26" fmla="*/ 578166 h 580910"/>
                    <a:gd name="connsiteX27" fmla="*/ 182100 w 573161"/>
                    <a:gd name="connsiteY27" fmla="*/ 559116 h 580910"/>
                    <a:gd name="connsiteX28" fmla="*/ 96375 w 573161"/>
                    <a:gd name="connsiteY28" fmla="*/ 504347 h 580910"/>
                    <a:gd name="connsiteX29" fmla="*/ 58275 w 573161"/>
                    <a:gd name="connsiteY29" fmla="*/ 461485 h 580910"/>
                    <a:gd name="connsiteX30" fmla="*/ 36844 w 573161"/>
                    <a:gd name="connsiteY30" fmla="*/ 425766 h 580910"/>
                    <a:gd name="connsiteX31" fmla="*/ 3506 w 573161"/>
                    <a:gd name="connsiteY31" fmla="*/ 354328 h 580910"/>
                    <a:gd name="connsiteX32" fmla="*/ 3506 w 573161"/>
                    <a:gd name="connsiteY32" fmla="*/ 220978 h 580910"/>
                    <a:gd name="connsiteX33" fmla="*/ 43988 w 573161"/>
                    <a:gd name="connsiteY33" fmla="*/ 118585 h 580910"/>
                    <a:gd name="connsiteX34" fmla="*/ 67800 w 573161"/>
                    <a:gd name="connsiteY34" fmla="*/ 92391 h 580910"/>
                    <a:gd name="connsiteX35" fmla="*/ 101138 w 573161"/>
                    <a:gd name="connsiteY35" fmla="*/ 63816 h 580910"/>
                    <a:gd name="connsiteX36" fmla="*/ 141619 w 573161"/>
                    <a:gd name="connsiteY36" fmla="*/ 40003 h 580910"/>
                    <a:gd name="connsiteX37" fmla="*/ 263063 w 573161"/>
                    <a:gd name="connsiteY37" fmla="*/ 4285 h 580910"/>
                    <a:gd name="connsiteX38" fmla="*/ 274969 w 573161"/>
                    <a:gd name="connsiteY38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29738 w 573161"/>
                    <a:gd name="connsiteY22" fmla="*/ 563878 h 580910"/>
                    <a:gd name="connsiteX23" fmla="*/ 310688 w 573161"/>
                    <a:gd name="connsiteY23" fmla="*/ 575785 h 580910"/>
                    <a:gd name="connsiteX24" fmla="*/ 282113 w 573161"/>
                    <a:gd name="connsiteY24" fmla="*/ 580547 h 580910"/>
                    <a:gd name="connsiteX25" fmla="*/ 232106 w 573161"/>
                    <a:gd name="connsiteY25" fmla="*/ 578166 h 580910"/>
                    <a:gd name="connsiteX26" fmla="*/ 182100 w 573161"/>
                    <a:gd name="connsiteY26" fmla="*/ 559116 h 580910"/>
                    <a:gd name="connsiteX27" fmla="*/ 96375 w 573161"/>
                    <a:gd name="connsiteY27" fmla="*/ 504347 h 580910"/>
                    <a:gd name="connsiteX28" fmla="*/ 58275 w 573161"/>
                    <a:gd name="connsiteY28" fmla="*/ 461485 h 580910"/>
                    <a:gd name="connsiteX29" fmla="*/ 36844 w 573161"/>
                    <a:gd name="connsiteY29" fmla="*/ 425766 h 580910"/>
                    <a:gd name="connsiteX30" fmla="*/ 3506 w 573161"/>
                    <a:gd name="connsiteY30" fmla="*/ 354328 h 580910"/>
                    <a:gd name="connsiteX31" fmla="*/ 3506 w 573161"/>
                    <a:gd name="connsiteY31" fmla="*/ 220978 h 580910"/>
                    <a:gd name="connsiteX32" fmla="*/ 43988 w 573161"/>
                    <a:gd name="connsiteY32" fmla="*/ 118585 h 580910"/>
                    <a:gd name="connsiteX33" fmla="*/ 67800 w 573161"/>
                    <a:gd name="connsiteY33" fmla="*/ 92391 h 580910"/>
                    <a:gd name="connsiteX34" fmla="*/ 101138 w 573161"/>
                    <a:gd name="connsiteY34" fmla="*/ 63816 h 580910"/>
                    <a:gd name="connsiteX35" fmla="*/ 141619 w 573161"/>
                    <a:gd name="connsiteY35" fmla="*/ 40003 h 580910"/>
                    <a:gd name="connsiteX36" fmla="*/ 263063 w 573161"/>
                    <a:gd name="connsiteY36" fmla="*/ 4285 h 580910"/>
                    <a:gd name="connsiteX37" fmla="*/ 274969 w 573161"/>
                    <a:gd name="connsiteY37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10688 w 573161"/>
                    <a:gd name="connsiteY22" fmla="*/ 575785 h 580910"/>
                    <a:gd name="connsiteX23" fmla="*/ 282113 w 573161"/>
                    <a:gd name="connsiteY23" fmla="*/ 580547 h 580910"/>
                    <a:gd name="connsiteX24" fmla="*/ 232106 w 573161"/>
                    <a:gd name="connsiteY24" fmla="*/ 578166 h 580910"/>
                    <a:gd name="connsiteX25" fmla="*/ 182100 w 573161"/>
                    <a:gd name="connsiteY25" fmla="*/ 559116 h 580910"/>
                    <a:gd name="connsiteX26" fmla="*/ 96375 w 573161"/>
                    <a:gd name="connsiteY26" fmla="*/ 504347 h 580910"/>
                    <a:gd name="connsiteX27" fmla="*/ 58275 w 573161"/>
                    <a:gd name="connsiteY27" fmla="*/ 461485 h 580910"/>
                    <a:gd name="connsiteX28" fmla="*/ 36844 w 573161"/>
                    <a:gd name="connsiteY28" fmla="*/ 425766 h 580910"/>
                    <a:gd name="connsiteX29" fmla="*/ 3506 w 573161"/>
                    <a:gd name="connsiteY29" fmla="*/ 354328 h 580910"/>
                    <a:gd name="connsiteX30" fmla="*/ 3506 w 573161"/>
                    <a:gd name="connsiteY30" fmla="*/ 220978 h 580910"/>
                    <a:gd name="connsiteX31" fmla="*/ 43988 w 573161"/>
                    <a:gd name="connsiteY31" fmla="*/ 118585 h 580910"/>
                    <a:gd name="connsiteX32" fmla="*/ 67800 w 573161"/>
                    <a:gd name="connsiteY32" fmla="*/ 92391 h 580910"/>
                    <a:gd name="connsiteX33" fmla="*/ 101138 w 573161"/>
                    <a:gd name="connsiteY33" fmla="*/ 63816 h 580910"/>
                    <a:gd name="connsiteX34" fmla="*/ 141619 w 573161"/>
                    <a:gd name="connsiteY34" fmla="*/ 40003 h 580910"/>
                    <a:gd name="connsiteX35" fmla="*/ 263063 w 573161"/>
                    <a:gd name="connsiteY35" fmla="*/ 4285 h 580910"/>
                    <a:gd name="connsiteX36" fmla="*/ 274969 w 573161"/>
                    <a:gd name="connsiteY36" fmla="*/ 1903 h 580910"/>
                    <a:gd name="connsiteX0" fmla="*/ 274969 w 573161"/>
                    <a:gd name="connsiteY0" fmla="*/ 1903 h 583194"/>
                    <a:gd name="connsiteX1" fmla="*/ 370219 w 573161"/>
                    <a:gd name="connsiteY1" fmla="*/ 1903 h 583194"/>
                    <a:gd name="connsiteX2" fmla="*/ 379744 w 573161"/>
                    <a:gd name="connsiteY2" fmla="*/ 4285 h 583194"/>
                    <a:gd name="connsiteX3" fmla="*/ 408319 w 573161"/>
                    <a:gd name="connsiteY3" fmla="*/ 13810 h 583194"/>
                    <a:gd name="connsiteX4" fmla="*/ 472613 w 573161"/>
                    <a:gd name="connsiteY4" fmla="*/ 51910 h 583194"/>
                    <a:gd name="connsiteX5" fmla="*/ 479756 w 573161"/>
                    <a:gd name="connsiteY5" fmla="*/ 61435 h 583194"/>
                    <a:gd name="connsiteX6" fmla="*/ 498806 w 573161"/>
                    <a:gd name="connsiteY6" fmla="*/ 82866 h 583194"/>
                    <a:gd name="connsiteX7" fmla="*/ 529763 w 573161"/>
                    <a:gd name="connsiteY7" fmla="*/ 125728 h 583194"/>
                    <a:gd name="connsiteX8" fmla="*/ 555956 w 573161"/>
                    <a:gd name="connsiteY8" fmla="*/ 168591 h 583194"/>
                    <a:gd name="connsiteX9" fmla="*/ 567863 w 573161"/>
                    <a:gd name="connsiteY9" fmla="*/ 220978 h 583194"/>
                    <a:gd name="connsiteX10" fmla="*/ 572625 w 573161"/>
                    <a:gd name="connsiteY10" fmla="*/ 349566 h 583194"/>
                    <a:gd name="connsiteX11" fmla="*/ 565481 w 573161"/>
                    <a:gd name="connsiteY11" fmla="*/ 411478 h 583194"/>
                    <a:gd name="connsiteX12" fmla="*/ 560719 w 573161"/>
                    <a:gd name="connsiteY12" fmla="*/ 428147 h 583194"/>
                    <a:gd name="connsiteX13" fmla="*/ 532144 w 573161"/>
                    <a:gd name="connsiteY13" fmla="*/ 451960 h 583194"/>
                    <a:gd name="connsiteX14" fmla="*/ 515475 w 573161"/>
                    <a:gd name="connsiteY14" fmla="*/ 475772 h 583194"/>
                    <a:gd name="connsiteX15" fmla="*/ 508331 w 573161"/>
                    <a:gd name="connsiteY15" fmla="*/ 482916 h 583194"/>
                    <a:gd name="connsiteX16" fmla="*/ 501188 w 573161"/>
                    <a:gd name="connsiteY16" fmla="*/ 492441 h 583194"/>
                    <a:gd name="connsiteX17" fmla="*/ 494044 w 573161"/>
                    <a:gd name="connsiteY17" fmla="*/ 499585 h 583194"/>
                    <a:gd name="connsiteX18" fmla="*/ 467850 w 573161"/>
                    <a:gd name="connsiteY18" fmla="*/ 528160 h 583194"/>
                    <a:gd name="connsiteX19" fmla="*/ 451181 w 573161"/>
                    <a:gd name="connsiteY19" fmla="*/ 537685 h 583194"/>
                    <a:gd name="connsiteX20" fmla="*/ 439275 w 573161"/>
                    <a:gd name="connsiteY20" fmla="*/ 542447 h 583194"/>
                    <a:gd name="connsiteX21" fmla="*/ 424988 w 573161"/>
                    <a:gd name="connsiteY21" fmla="*/ 544828 h 583194"/>
                    <a:gd name="connsiteX22" fmla="*/ 282113 w 573161"/>
                    <a:gd name="connsiteY22" fmla="*/ 580547 h 583194"/>
                    <a:gd name="connsiteX23" fmla="*/ 232106 w 573161"/>
                    <a:gd name="connsiteY23" fmla="*/ 578166 h 583194"/>
                    <a:gd name="connsiteX24" fmla="*/ 182100 w 573161"/>
                    <a:gd name="connsiteY24" fmla="*/ 559116 h 583194"/>
                    <a:gd name="connsiteX25" fmla="*/ 96375 w 573161"/>
                    <a:gd name="connsiteY25" fmla="*/ 504347 h 583194"/>
                    <a:gd name="connsiteX26" fmla="*/ 58275 w 573161"/>
                    <a:gd name="connsiteY26" fmla="*/ 461485 h 583194"/>
                    <a:gd name="connsiteX27" fmla="*/ 36844 w 573161"/>
                    <a:gd name="connsiteY27" fmla="*/ 425766 h 583194"/>
                    <a:gd name="connsiteX28" fmla="*/ 3506 w 573161"/>
                    <a:gd name="connsiteY28" fmla="*/ 354328 h 583194"/>
                    <a:gd name="connsiteX29" fmla="*/ 3506 w 573161"/>
                    <a:gd name="connsiteY29" fmla="*/ 220978 h 583194"/>
                    <a:gd name="connsiteX30" fmla="*/ 43988 w 573161"/>
                    <a:gd name="connsiteY30" fmla="*/ 118585 h 583194"/>
                    <a:gd name="connsiteX31" fmla="*/ 67800 w 573161"/>
                    <a:gd name="connsiteY31" fmla="*/ 92391 h 583194"/>
                    <a:gd name="connsiteX32" fmla="*/ 101138 w 573161"/>
                    <a:gd name="connsiteY32" fmla="*/ 63816 h 583194"/>
                    <a:gd name="connsiteX33" fmla="*/ 141619 w 573161"/>
                    <a:gd name="connsiteY33" fmla="*/ 40003 h 583194"/>
                    <a:gd name="connsiteX34" fmla="*/ 263063 w 573161"/>
                    <a:gd name="connsiteY34" fmla="*/ 4285 h 583194"/>
                    <a:gd name="connsiteX35" fmla="*/ 274969 w 573161"/>
                    <a:gd name="connsiteY35" fmla="*/ 1903 h 583194"/>
                    <a:gd name="connsiteX0" fmla="*/ 274969 w 573161"/>
                    <a:gd name="connsiteY0" fmla="*/ 1903 h 583371"/>
                    <a:gd name="connsiteX1" fmla="*/ 370219 w 573161"/>
                    <a:gd name="connsiteY1" fmla="*/ 1903 h 583371"/>
                    <a:gd name="connsiteX2" fmla="*/ 379744 w 573161"/>
                    <a:gd name="connsiteY2" fmla="*/ 4285 h 583371"/>
                    <a:gd name="connsiteX3" fmla="*/ 408319 w 573161"/>
                    <a:gd name="connsiteY3" fmla="*/ 13810 h 583371"/>
                    <a:gd name="connsiteX4" fmla="*/ 472613 w 573161"/>
                    <a:gd name="connsiteY4" fmla="*/ 51910 h 583371"/>
                    <a:gd name="connsiteX5" fmla="*/ 479756 w 573161"/>
                    <a:gd name="connsiteY5" fmla="*/ 61435 h 583371"/>
                    <a:gd name="connsiteX6" fmla="*/ 498806 w 573161"/>
                    <a:gd name="connsiteY6" fmla="*/ 82866 h 583371"/>
                    <a:gd name="connsiteX7" fmla="*/ 529763 w 573161"/>
                    <a:gd name="connsiteY7" fmla="*/ 125728 h 583371"/>
                    <a:gd name="connsiteX8" fmla="*/ 555956 w 573161"/>
                    <a:gd name="connsiteY8" fmla="*/ 168591 h 583371"/>
                    <a:gd name="connsiteX9" fmla="*/ 567863 w 573161"/>
                    <a:gd name="connsiteY9" fmla="*/ 220978 h 583371"/>
                    <a:gd name="connsiteX10" fmla="*/ 572625 w 573161"/>
                    <a:gd name="connsiteY10" fmla="*/ 349566 h 583371"/>
                    <a:gd name="connsiteX11" fmla="*/ 565481 w 573161"/>
                    <a:gd name="connsiteY11" fmla="*/ 411478 h 583371"/>
                    <a:gd name="connsiteX12" fmla="*/ 560719 w 573161"/>
                    <a:gd name="connsiteY12" fmla="*/ 428147 h 583371"/>
                    <a:gd name="connsiteX13" fmla="*/ 532144 w 573161"/>
                    <a:gd name="connsiteY13" fmla="*/ 451960 h 583371"/>
                    <a:gd name="connsiteX14" fmla="*/ 515475 w 573161"/>
                    <a:gd name="connsiteY14" fmla="*/ 475772 h 583371"/>
                    <a:gd name="connsiteX15" fmla="*/ 508331 w 573161"/>
                    <a:gd name="connsiteY15" fmla="*/ 482916 h 583371"/>
                    <a:gd name="connsiteX16" fmla="*/ 501188 w 573161"/>
                    <a:gd name="connsiteY16" fmla="*/ 492441 h 583371"/>
                    <a:gd name="connsiteX17" fmla="*/ 494044 w 573161"/>
                    <a:gd name="connsiteY17" fmla="*/ 499585 h 583371"/>
                    <a:gd name="connsiteX18" fmla="*/ 467850 w 573161"/>
                    <a:gd name="connsiteY18" fmla="*/ 528160 h 583371"/>
                    <a:gd name="connsiteX19" fmla="*/ 451181 w 573161"/>
                    <a:gd name="connsiteY19" fmla="*/ 537685 h 583371"/>
                    <a:gd name="connsiteX20" fmla="*/ 439275 w 573161"/>
                    <a:gd name="connsiteY20" fmla="*/ 542447 h 583371"/>
                    <a:gd name="connsiteX21" fmla="*/ 282113 w 573161"/>
                    <a:gd name="connsiteY21" fmla="*/ 580547 h 583371"/>
                    <a:gd name="connsiteX22" fmla="*/ 232106 w 573161"/>
                    <a:gd name="connsiteY22" fmla="*/ 578166 h 583371"/>
                    <a:gd name="connsiteX23" fmla="*/ 182100 w 573161"/>
                    <a:gd name="connsiteY23" fmla="*/ 559116 h 583371"/>
                    <a:gd name="connsiteX24" fmla="*/ 96375 w 573161"/>
                    <a:gd name="connsiteY24" fmla="*/ 504347 h 583371"/>
                    <a:gd name="connsiteX25" fmla="*/ 58275 w 573161"/>
                    <a:gd name="connsiteY25" fmla="*/ 461485 h 583371"/>
                    <a:gd name="connsiteX26" fmla="*/ 36844 w 573161"/>
                    <a:gd name="connsiteY26" fmla="*/ 425766 h 583371"/>
                    <a:gd name="connsiteX27" fmla="*/ 3506 w 573161"/>
                    <a:gd name="connsiteY27" fmla="*/ 354328 h 583371"/>
                    <a:gd name="connsiteX28" fmla="*/ 3506 w 573161"/>
                    <a:gd name="connsiteY28" fmla="*/ 220978 h 583371"/>
                    <a:gd name="connsiteX29" fmla="*/ 43988 w 573161"/>
                    <a:gd name="connsiteY29" fmla="*/ 118585 h 583371"/>
                    <a:gd name="connsiteX30" fmla="*/ 67800 w 573161"/>
                    <a:gd name="connsiteY30" fmla="*/ 92391 h 583371"/>
                    <a:gd name="connsiteX31" fmla="*/ 101138 w 573161"/>
                    <a:gd name="connsiteY31" fmla="*/ 63816 h 583371"/>
                    <a:gd name="connsiteX32" fmla="*/ 141619 w 573161"/>
                    <a:gd name="connsiteY32" fmla="*/ 40003 h 583371"/>
                    <a:gd name="connsiteX33" fmla="*/ 263063 w 573161"/>
                    <a:gd name="connsiteY33" fmla="*/ 4285 h 583371"/>
                    <a:gd name="connsiteX34" fmla="*/ 274969 w 573161"/>
                    <a:gd name="connsiteY34" fmla="*/ 1903 h 583371"/>
                    <a:gd name="connsiteX0" fmla="*/ 274969 w 573161"/>
                    <a:gd name="connsiteY0" fmla="*/ 1903 h 583723"/>
                    <a:gd name="connsiteX1" fmla="*/ 370219 w 573161"/>
                    <a:gd name="connsiteY1" fmla="*/ 1903 h 583723"/>
                    <a:gd name="connsiteX2" fmla="*/ 379744 w 573161"/>
                    <a:gd name="connsiteY2" fmla="*/ 4285 h 583723"/>
                    <a:gd name="connsiteX3" fmla="*/ 408319 w 573161"/>
                    <a:gd name="connsiteY3" fmla="*/ 13810 h 583723"/>
                    <a:gd name="connsiteX4" fmla="*/ 472613 w 573161"/>
                    <a:gd name="connsiteY4" fmla="*/ 51910 h 583723"/>
                    <a:gd name="connsiteX5" fmla="*/ 479756 w 573161"/>
                    <a:gd name="connsiteY5" fmla="*/ 61435 h 583723"/>
                    <a:gd name="connsiteX6" fmla="*/ 498806 w 573161"/>
                    <a:gd name="connsiteY6" fmla="*/ 82866 h 583723"/>
                    <a:gd name="connsiteX7" fmla="*/ 529763 w 573161"/>
                    <a:gd name="connsiteY7" fmla="*/ 125728 h 583723"/>
                    <a:gd name="connsiteX8" fmla="*/ 555956 w 573161"/>
                    <a:gd name="connsiteY8" fmla="*/ 168591 h 583723"/>
                    <a:gd name="connsiteX9" fmla="*/ 567863 w 573161"/>
                    <a:gd name="connsiteY9" fmla="*/ 220978 h 583723"/>
                    <a:gd name="connsiteX10" fmla="*/ 572625 w 573161"/>
                    <a:gd name="connsiteY10" fmla="*/ 349566 h 583723"/>
                    <a:gd name="connsiteX11" fmla="*/ 565481 w 573161"/>
                    <a:gd name="connsiteY11" fmla="*/ 411478 h 583723"/>
                    <a:gd name="connsiteX12" fmla="*/ 560719 w 573161"/>
                    <a:gd name="connsiteY12" fmla="*/ 428147 h 583723"/>
                    <a:gd name="connsiteX13" fmla="*/ 532144 w 573161"/>
                    <a:gd name="connsiteY13" fmla="*/ 451960 h 583723"/>
                    <a:gd name="connsiteX14" fmla="*/ 515475 w 573161"/>
                    <a:gd name="connsiteY14" fmla="*/ 475772 h 583723"/>
                    <a:gd name="connsiteX15" fmla="*/ 508331 w 573161"/>
                    <a:gd name="connsiteY15" fmla="*/ 482916 h 583723"/>
                    <a:gd name="connsiteX16" fmla="*/ 501188 w 573161"/>
                    <a:gd name="connsiteY16" fmla="*/ 492441 h 583723"/>
                    <a:gd name="connsiteX17" fmla="*/ 494044 w 573161"/>
                    <a:gd name="connsiteY17" fmla="*/ 499585 h 583723"/>
                    <a:gd name="connsiteX18" fmla="*/ 467850 w 573161"/>
                    <a:gd name="connsiteY18" fmla="*/ 528160 h 583723"/>
                    <a:gd name="connsiteX19" fmla="*/ 451181 w 573161"/>
                    <a:gd name="connsiteY19" fmla="*/ 537685 h 583723"/>
                    <a:gd name="connsiteX20" fmla="*/ 282113 w 573161"/>
                    <a:gd name="connsiteY20" fmla="*/ 580547 h 583723"/>
                    <a:gd name="connsiteX21" fmla="*/ 232106 w 573161"/>
                    <a:gd name="connsiteY21" fmla="*/ 578166 h 583723"/>
                    <a:gd name="connsiteX22" fmla="*/ 182100 w 573161"/>
                    <a:gd name="connsiteY22" fmla="*/ 559116 h 583723"/>
                    <a:gd name="connsiteX23" fmla="*/ 96375 w 573161"/>
                    <a:gd name="connsiteY23" fmla="*/ 504347 h 583723"/>
                    <a:gd name="connsiteX24" fmla="*/ 58275 w 573161"/>
                    <a:gd name="connsiteY24" fmla="*/ 461485 h 583723"/>
                    <a:gd name="connsiteX25" fmla="*/ 36844 w 573161"/>
                    <a:gd name="connsiteY25" fmla="*/ 425766 h 583723"/>
                    <a:gd name="connsiteX26" fmla="*/ 3506 w 573161"/>
                    <a:gd name="connsiteY26" fmla="*/ 354328 h 583723"/>
                    <a:gd name="connsiteX27" fmla="*/ 3506 w 573161"/>
                    <a:gd name="connsiteY27" fmla="*/ 220978 h 583723"/>
                    <a:gd name="connsiteX28" fmla="*/ 43988 w 573161"/>
                    <a:gd name="connsiteY28" fmla="*/ 118585 h 583723"/>
                    <a:gd name="connsiteX29" fmla="*/ 67800 w 573161"/>
                    <a:gd name="connsiteY29" fmla="*/ 92391 h 583723"/>
                    <a:gd name="connsiteX30" fmla="*/ 101138 w 573161"/>
                    <a:gd name="connsiteY30" fmla="*/ 63816 h 583723"/>
                    <a:gd name="connsiteX31" fmla="*/ 141619 w 573161"/>
                    <a:gd name="connsiteY31" fmla="*/ 40003 h 583723"/>
                    <a:gd name="connsiteX32" fmla="*/ 263063 w 573161"/>
                    <a:gd name="connsiteY32" fmla="*/ 4285 h 583723"/>
                    <a:gd name="connsiteX33" fmla="*/ 274969 w 573161"/>
                    <a:gd name="connsiteY33" fmla="*/ 1903 h 583723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8331 w 573161"/>
                    <a:gd name="connsiteY15" fmla="*/ 482916 h 584428"/>
                    <a:gd name="connsiteX16" fmla="*/ 501188 w 573161"/>
                    <a:gd name="connsiteY16" fmla="*/ 492441 h 584428"/>
                    <a:gd name="connsiteX17" fmla="*/ 494044 w 573161"/>
                    <a:gd name="connsiteY17" fmla="*/ 499585 h 584428"/>
                    <a:gd name="connsiteX18" fmla="*/ 467850 w 573161"/>
                    <a:gd name="connsiteY18" fmla="*/ 528160 h 584428"/>
                    <a:gd name="connsiteX19" fmla="*/ 282113 w 573161"/>
                    <a:gd name="connsiteY19" fmla="*/ 580547 h 584428"/>
                    <a:gd name="connsiteX20" fmla="*/ 232106 w 573161"/>
                    <a:gd name="connsiteY20" fmla="*/ 578166 h 584428"/>
                    <a:gd name="connsiteX21" fmla="*/ 182100 w 573161"/>
                    <a:gd name="connsiteY21" fmla="*/ 559116 h 584428"/>
                    <a:gd name="connsiteX22" fmla="*/ 96375 w 573161"/>
                    <a:gd name="connsiteY22" fmla="*/ 504347 h 584428"/>
                    <a:gd name="connsiteX23" fmla="*/ 58275 w 573161"/>
                    <a:gd name="connsiteY23" fmla="*/ 461485 h 584428"/>
                    <a:gd name="connsiteX24" fmla="*/ 36844 w 573161"/>
                    <a:gd name="connsiteY24" fmla="*/ 425766 h 584428"/>
                    <a:gd name="connsiteX25" fmla="*/ 3506 w 573161"/>
                    <a:gd name="connsiteY25" fmla="*/ 354328 h 584428"/>
                    <a:gd name="connsiteX26" fmla="*/ 3506 w 573161"/>
                    <a:gd name="connsiteY26" fmla="*/ 220978 h 584428"/>
                    <a:gd name="connsiteX27" fmla="*/ 43988 w 573161"/>
                    <a:gd name="connsiteY27" fmla="*/ 118585 h 584428"/>
                    <a:gd name="connsiteX28" fmla="*/ 67800 w 573161"/>
                    <a:gd name="connsiteY28" fmla="*/ 92391 h 584428"/>
                    <a:gd name="connsiteX29" fmla="*/ 101138 w 573161"/>
                    <a:gd name="connsiteY29" fmla="*/ 63816 h 584428"/>
                    <a:gd name="connsiteX30" fmla="*/ 141619 w 573161"/>
                    <a:gd name="connsiteY30" fmla="*/ 40003 h 584428"/>
                    <a:gd name="connsiteX31" fmla="*/ 263063 w 573161"/>
                    <a:gd name="connsiteY31" fmla="*/ 4285 h 584428"/>
                    <a:gd name="connsiteX32" fmla="*/ 274969 w 573161"/>
                    <a:gd name="connsiteY32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1188 w 573161"/>
                    <a:gd name="connsiteY15" fmla="*/ 492441 h 584428"/>
                    <a:gd name="connsiteX16" fmla="*/ 494044 w 573161"/>
                    <a:gd name="connsiteY16" fmla="*/ 499585 h 584428"/>
                    <a:gd name="connsiteX17" fmla="*/ 467850 w 573161"/>
                    <a:gd name="connsiteY17" fmla="*/ 528160 h 584428"/>
                    <a:gd name="connsiteX18" fmla="*/ 282113 w 573161"/>
                    <a:gd name="connsiteY18" fmla="*/ 580547 h 584428"/>
                    <a:gd name="connsiteX19" fmla="*/ 232106 w 573161"/>
                    <a:gd name="connsiteY19" fmla="*/ 578166 h 584428"/>
                    <a:gd name="connsiteX20" fmla="*/ 182100 w 573161"/>
                    <a:gd name="connsiteY20" fmla="*/ 559116 h 584428"/>
                    <a:gd name="connsiteX21" fmla="*/ 96375 w 573161"/>
                    <a:gd name="connsiteY21" fmla="*/ 504347 h 584428"/>
                    <a:gd name="connsiteX22" fmla="*/ 58275 w 573161"/>
                    <a:gd name="connsiteY22" fmla="*/ 461485 h 584428"/>
                    <a:gd name="connsiteX23" fmla="*/ 36844 w 573161"/>
                    <a:gd name="connsiteY23" fmla="*/ 425766 h 584428"/>
                    <a:gd name="connsiteX24" fmla="*/ 3506 w 573161"/>
                    <a:gd name="connsiteY24" fmla="*/ 354328 h 584428"/>
                    <a:gd name="connsiteX25" fmla="*/ 3506 w 573161"/>
                    <a:gd name="connsiteY25" fmla="*/ 220978 h 584428"/>
                    <a:gd name="connsiteX26" fmla="*/ 43988 w 573161"/>
                    <a:gd name="connsiteY26" fmla="*/ 118585 h 584428"/>
                    <a:gd name="connsiteX27" fmla="*/ 67800 w 573161"/>
                    <a:gd name="connsiteY27" fmla="*/ 92391 h 584428"/>
                    <a:gd name="connsiteX28" fmla="*/ 101138 w 573161"/>
                    <a:gd name="connsiteY28" fmla="*/ 63816 h 584428"/>
                    <a:gd name="connsiteX29" fmla="*/ 141619 w 573161"/>
                    <a:gd name="connsiteY29" fmla="*/ 40003 h 584428"/>
                    <a:gd name="connsiteX30" fmla="*/ 263063 w 573161"/>
                    <a:gd name="connsiteY30" fmla="*/ 4285 h 584428"/>
                    <a:gd name="connsiteX31" fmla="*/ 274969 w 573161"/>
                    <a:gd name="connsiteY31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1188 w 573161"/>
                    <a:gd name="connsiteY15" fmla="*/ 492441 h 584428"/>
                    <a:gd name="connsiteX16" fmla="*/ 467850 w 573161"/>
                    <a:gd name="connsiteY16" fmla="*/ 528160 h 584428"/>
                    <a:gd name="connsiteX17" fmla="*/ 282113 w 573161"/>
                    <a:gd name="connsiteY17" fmla="*/ 580547 h 584428"/>
                    <a:gd name="connsiteX18" fmla="*/ 232106 w 573161"/>
                    <a:gd name="connsiteY18" fmla="*/ 578166 h 584428"/>
                    <a:gd name="connsiteX19" fmla="*/ 182100 w 573161"/>
                    <a:gd name="connsiteY19" fmla="*/ 559116 h 584428"/>
                    <a:gd name="connsiteX20" fmla="*/ 96375 w 573161"/>
                    <a:gd name="connsiteY20" fmla="*/ 504347 h 584428"/>
                    <a:gd name="connsiteX21" fmla="*/ 58275 w 573161"/>
                    <a:gd name="connsiteY21" fmla="*/ 461485 h 584428"/>
                    <a:gd name="connsiteX22" fmla="*/ 36844 w 573161"/>
                    <a:gd name="connsiteY22" fmla="*/ 425766 h 584428"/>
                    <a:gd name="connsiteX23" fmla="*/ 3506 w 573161"/>
                    <a:gd name="connsiteY23" fmla="*/ 354328 h 584428"/>
                    <a:gd name="connsiteX24" fmla="*/ 3506 w 573161"/>
                    <a:gd name="connsiteY24" fmla="*/ 220978 h 584428"/>
                    <a:gd name="connsiteX25" fmla="*/ 43988 w 573161"/>
                    <a:gd name="connsiteY25" fmla="*/ 118585 h 584428"/>
                    <a:gd name="connsiteX26" fmla="*/ 67800 w 573161"/>
                    <a:gd name="connsiteY26" fmla="*/ 92391 h 584428"/>
                    <a:gd name="connsiteX27" fmla="*/ 101138 w 573161"/>
                    <a:gd name="connsiteY27" fmla="*/ 63816 h 584428"/>
                    <a:gd name="connsiteX28" fmla="*/ 141619 w 573161"/>
                    <a:gd name="connsiteY28" fmla="*/ 40003 h 584428"/>
                    <a:gd name="connsiteX29" fmla="*/ 263063 w 573161"/>
                    <a:gd name="connsiteY29" fmla="*/ 4285 h 584428"/>
                    <a:gd name="connsiteX30" fmla="*/ 274969 w 573161"/>
                    <a:gd name="connsiteY30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467850 w 573161"/>
                    <a:gd name="connsiteY15" fmla="*/ 528160 h 584428"/>
                    <a:gd name="connsiteX16" fmla="*/ 282113 w 573161"/>
                    <a:gd name="connsiteY16" fmla="*/ 580547 h 584428"/>
                    <a:gd name="connsiteX17" fmla="*/ 232106 w 573161"/>
                    <a:gd name="connsiteY17" fmla="*/ 578166 h 584428"/>
                    <a:gd name="connsiteX18" fmla="*/ 182100 w 573161"/>
                    <a:gd name="connsiteY18" fmla="*/ 559116 h 584428"/>
                    <a:gd name="connsiteX19" fmla="*/ 96375 w 573161"/>
                    <a:gd name="connsiteY19" fmla="*/ 504347 h 584428"/>
                    <a:gd name="connsiteX20" fmla="*/ 58275 w 573161"/>
                    <a:gd name="connsiteY20" fmla="*/ 461485 h 584428"/>
                    <a:gd name="connsiteX21" fmla="*/ 36844 w 573161"/>
                    <a:gd name="connsiteY21" fmla="*/ 425766 h 584428"/>
                    <a:gd name="connsiteX22" fmla="*/ 3506 w 573161"/>
                    <a:gd name="connsiteY22" fmla="*/ 354328 h 584428"/>
                    <a:gd name="connsiteX23" fmla="*/ 3506 w 573161"/>
                    <a:gd name="connsiteY23" fmla="*/ 220978 h 584428"/>
                    <a:gd name="connsiteX24" fmla="*/ 43988 w 573161"/>
                    <a:gd name="connsiteY24" fmla="*/ 118585 h 584428"/>
                    <a:gd name="connsiteX25" fmla="*/ 67800 w 573161"/>
                    <a:gd name="connsiteY25" fmla="*/ 92391 h 584428"/>
                    <a:gd name="connsiteX26" fmla="*/ 101138 w 573161"/>
                    <a:gd name="connsiteY26" fmla="*/ 63816 h 584428"/>
                    <a:gd name="connsiteX27" fmla="*/ 141619 w 573161"/>
                    <a:gd name="connsiteY27" fmla="*/ 40003 h 584428"/>
                    <a:gd name="connsiteX28" fmla="*/ 263063 w 573161"/>
                    <a:gd name="connsiteY28" fmla="*/ 4285 h 584428"/>
                    <a:gd name="connsiteX29" fmla="*/ 274969 w 573161"/>
                    <a:gd name="connsiteY29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15475 w 573161"/>
                    <a:gd name="connsiteY13" fmla="*/ 475772 h 584428"/>
                    <a:gd name="connsiteX14" fmla="*/ 467850 w 573161"/>
                    <a:gd name="connsiteY14" fmla="*/ 528160 h 584428"/>
                    <a:gd name="connsiteX15" fmla="*/ 282113 w 573161"/>
                    <a:gd name="connsiteY15" fmla="*/ 580547 h 584428"/>
                    <a:gd name="connsiteX16" fmla="*/ 232106 w 573161"/>
                    <a:gd name="connsiteY16" fmla="*/ 578166 h 584428"/>
                    <a:gd name="connsiteX17" fmla="*/ 182100 w 573161"/>
                    <a:gd name="connsiteY17" fmla="*/ 559116 h 584428"/>
                    <a:gd name="connsiteX18" fmla="*/ 96375 w 573161"/>
                    <a:gd name="connsiteY18" fmla="*/ 504347 h 584428"/>
                    <a:gd name="connsiteX19" fmla="*/ 58275 w 573161"/>
                    <a:gd name="connsiteY19" fmla="*/ 461485 h 584428"/>
                    <a:gd name="connsiteX20" fmla="*/ 36844 w 573161"/>
                    <a:gd name="connsiteY20" fmla="*/ 425766 h 584428"/>
                    <a:gd name="connsiteX21" fmla="*/ 3506 w 573161"/>
                    <a:gd name="connsiteY21" fmla="*/ 354328 h 584428"/>
                    <a:gd name="connsiteX22" fmla="*/ 3506 w 573161"/>
                    <a:gd name="connsiteY22" fmla="*/ 220978 h 584428"/>
                    <a:gd name="connsiteX23" fmla="*/ 43988 w 573161"/>
                    <a:gd name="connsiteY23" fmla="*/ 118585 h 584428"/>
                    <a:gd name="connsiteX24" fmla="*/ 67800 w 573161"/>
                    <a:gd name="connsiteY24" fmla="*/ 92391 h 584428"/>
                    <a:gd name="connsiteX25" fmla="*/ 101138 w 573161"/>
                    <a:gd name="connsiteY25" fmla="*/ 63816 h 584428"/>
                    <a:gd name="connsiteX26" fmla="*/ 141619 w 573161"/>
                    <a:gd name="connsiteY26" fmla="*/ 40003 h 584428"/>
                    <a:gd name="connsiteX27" fmla="*/ 263063 w 573161"/>
                    <a:gd name="connsiteY27" fmla="*/ 4285 h 584428"/>
                    <a:gd name="connsiteX28" fmla="*/ 274969 w 573161"/>
                    <a:gd name="connsiteY28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15475 w 573161"/>
                    <a:gd name="connsiteY12" fmla="*/ 475772 h 584428"/>
                    <a:gd name="connsiteX13" fmla="*/ 467850 w 573161"/>
                    <a:gd name="connsiteY13" fmla="*/ 528160 h 584428"/>
                    <a:gd name="connsiteX14" fmla="*/ 282113 w 573161"/>
                    <a:gd name="connsiteY14" fmla="*/ 580547 h 584428"/>
                    <a:gd name="connsiteX15" fmla="*/ 232106 w 573161"/>
                    <a:gd name="connsiteY15" fmla="*/ 578166 h 584428"/>
                    <a:gd name="connsiteX16" fmla="*/ 182100 w 573161"/>
                    <a:gd name="connsiteY16" fmla="*/ 559116 h 584428"/>
                    <a:gd name="connsiteX17" fmla="*/ 96375 w 573161"/>
                    <a:gd name="connsiteY17" fmla="*/ 504347 h 584428"/>
                    <a:gd name="connsiteX18" fmla="*/ 58275 w 573161"/>
                    <a:gd name="connsiteY18" fmla="*/ 461485 h 584428"/>
                    <a:gd name="connsiteX19" fmla="*/ 36844 w 573161"/>
                    <a:gd name="connsiteY19" fmla="*/ 425766 h 584428"/>
                    <a:gd name="connsiteX20" fmla="*/ 3506 w 573161"/>
                    <a:gd name="connsiteY20" fmla="*/ 354328 h 584428"/>
                    <a:gd name="connsiteX21" fmla="*/ 3506 w 573161"/>
                    <a:gd name="connsiteY21" fmla="*/ 220978 h 584428"/>
                    <a:gd name="connsiteX22" fmla="*/ 43988 w 573161"/>
                    <a:gd name="connsiteY22" fmla="*/ 118585 h 584428"/>
                    <a:gd name="connsiteX23" fmla="*/ 67800 w 573161"/>
                    <a:gd name="connsiteY23" fmla="*/ 92391 h 584428"/>
                    <a:gd name="connsiteX24" fmla="*/ 101138 w 573161"/>
                    <a:gd name="connsiteY24" fmla="*/ 63816 h 584428"/>
                    <a:gd name="connsiteX25" fmla="*/ 141619 w 573161"/>
                    <a:gd name="connsiteY25" fmla="*/ 40003 h 584428"/>
                    <a:gd name="connsiteX26" fmla="*/ 263063 w 573161"/>
                    <a:gd name="connsiteY26" fmla="*/ 4285 h 584428"/>
                    <a:gd name="connsiteX27" fmla="*/ 274969 w 573161"/>
                    <a:gd name="connsiteY27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479756 w 570589"/>
                    <a:gd name="connsiteY5" fmla="*/ 61435 h 584428"/>
                    <a:gd name="connsiteX6" fmla="*/ 498806 w 570589"/>
                    <a:gd name="connsiteY6" fmla="*/ 82866 h 584428"/>
                    <a:gd name="connsiteX7" fmla="*/ 529763 w 570589"/>
                    <a:gd name="connsiteY7" fmla="*/ 125728 h 584428"/>
                    <a:gd name="connsiteX8" fmla="*/ 555956 w 570589"/>
                    <a:gd name="connsiteY8" fmla="*/ 168591 h 584428"/>
                    <a:gd name="connsiteX9" fmla="*/ 567863 w 570589"/>
                    <a:gd name="connsiteY9" fmla="*/ 220978 h 584428"/>
                    <a:gd name="connsiteX10" fmla="*/ 565481 w 570589"/>
                    <a:gd name="connsiteY10" fmla="*/ 411478 h 584428"/>
                    <a:gd name="connsiteX11" fmla="*/ 515475 w 570589"/>
                    <a:gd name="connsiteY11" fmla="*/ 475772 h 584428"/>
                    <a:gd name="connsiteX12" fmla="*/ 467850 w 570589"/>
                    <a:gd name="connsiteY12" fmla="*/ 528160 h 584428"/>
                    <a:gd name="connsiteX13" fmla="*/ 282113 w 570589"/>
                    <a:gd name="connsiteY13" fmla="*/ 580547 h 584428"/>
                    <a:gd name="connsiteX14" fmla="*/ 232106 w 570589"/>
                    <a:gd name="connsiteY14" fmla="*/ 578166 h 584428"/>
                    <a:gd name="connsiteX15" fmla="*/ 182100 w 570589"/>
                    <a:gd name="connsiteY15" fmla="*/ 559116 h 584428"/>
                    <a:gd name="connsiteX16" fmla="*/ 96375 w 570589"/>
                    <a:gd name="connsiteY16" fmla="*/ 504347 h 584428"/>
                    <a:gd name="connsiteX17" fmla="*/ 58275 w 570589"/>
                    <a:gd name="connsiteY17" fmla="*/ 461485 h 584428"/>
                    <a:gd name="connsiteX18" fmla="*/ 36844 w 570589"/>
                    <a:gd name="connsiteY18" fmla="*/ 425766 h 584428"/>
                    <a:gd name="connsiteX19" fmla="*/ 3506 w 570589"/>
                    <a:gd name="connsiteY19" fmla="*/ 354328 h 584428"/>
                    <a:gd name="connsiteX20" fmla="*/ 3506 w 570589"/>
                    <a:gd name="connsiteY20" fmla="*/ 220978 h 584428"/>
                    <a:gd name="connsiteX21" fmla="*/ 43988 w 570589"/>
                    <a:gd name="connsiteY21" fmla="*/ 118585 h 584428"/>
                    <a:gd name="connsiteX22" fmla="*/ 67800 w 570589"/>
                    <a:gd name="connsiteY22" fmla="*/ 92391 h 584428"/>
                    <a:gd name="connsiteX23" fmla="*/ 101138 w 570589"/>
                    <a:gd name="connsiteY23" fmla="*/ 63816 h 584428"/>
                    <a:gd name="connsiteX24" fmla="*/ 141619 w 570589"/>
                    <a:gd name="connsiteY24" fmla="*/ 40003 h 584428"/>
                    <a:gd name="connsiteX25" fmla="*/ 263063 w 570589"/>
                    <a:gd name="connsiteY25" fmla="*/ 4285 h 584428"/>
                    <a:gd name="connsiteX26" fmla="*/ 274969 w 570589"/>
                    <a:gd name="connsiteY26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479756 w 570589"/>
                    <a:gd name="connsiteY5" fmla="*/ 61435 h 584428"/>
                    <a:gd name="connsiteX6" fmla="*/ 529763 w 570589"/>
                    <a:gd name="connsiteY6" fmla="*/ 125728 h 584428"/>
                    <a:gd name="connsiteX7" fmla="*/ 555956 w 570589"/>
                    <a:gd name="connsiteY7" fmla="*/ 168591 h 584428"/>
                    <a:gd name="connsiteX8" fmla="*/ 567863 w 570589"/>
                    <a:gd name="connsiteY8" fmla="*/ 220978 h 584428"/>
                    <a:gd name="connsiteX9" fmla="*/ 565481 w 570589"/>
                    <a:gd name="connsiteY9" fmla="*/ 411478 h 584428"/>
                    <a:gd name="connsiteX10" fmla="*/ 515475 w 570589"/>
                    <a:gd name="connsiteY10" fmla="*/ 475772 h 584428"/>
                    <a:gd name="connsiteX11" fmla="*/ 467850 w 570589"/>
                    <a:gd name="connsiteY11" fmla="*/ 528160 h 584428"/>
                    <a:gd name="connsiteX12" fmla="*/ 282113 w 570589"/>
                    <a:gd name="connsiteY12" fmla="*/ 580547 h 584428"/>
                    <a:gd name="connsiteX13" fmla="*/ 232106 w 570589"/>
                    <a:gd name="connsiteY13" fmla="*/ 578166 h 584428"/>
                    <a:gd name="connsiteX14" fmla="*/ 182100 w 570589"/>
                    <a:gd name="connsiteY14" fmla="*/ 559116 h 584428"/>
                    <a:gd name="connsiteX15" fmla="*/ 96375 w 570589"/>
                    <a:gd name="connsiteY15" fmla="*/ 504347 h 584428"/>
                    <a:gd name="connsiteX16" fmla="*/ 58275 w 570589"/>
                    <a:gd name="connsiteY16" fmla="*/ 461485 h 584428"/>
                    <a:gd name="connsiteX17" fmla="*/ 36844 w 570589"/>
                    <a:gd name="connsiteY17" fmla="*/ 425766 h 584428"/>
                    <a:gd name="connsiteX18" fmla="*/ 3506 w 570589"/>
                    <a:gd name="connsiteY18" fmla="*/ 354328 h 584428"/>
                    <a:gd name="connsiteX19" fmla="*/ 3506 w 570589"/>
                    <a:gd name="connsiteY19" fmla="*/ 220978 h 584428"/>
                    <a:gd name="connsiteX20" fmla="*/ 43988 w 570589"/>
                    <a:gd name="connsiteY20" fmla="*/ 118585 h 584428"/>
                    <a:gd name="connsiteX21" fmla="*/ 67800 w 570589"/>
                    <a:gd name="connsiteY21" fmla="*/ 92391 h 584428"/>
                    <a:gd name="connsiteX22" fmla="*/ 101138 w 570589"/>
                    <a:gd name="connsiteY22" fmla="*/ 63816 h 584428"/>
                    <a:gd name="connsiteX23" fmla="*/ 141619 w 570589"/>
                    <a:gd name="connsiteY23" fmla="*/ 40003 h 584428"/>
                    <a:gd name="connsiteX24" fmla="*/ 263063 w 570589"/>
                    <a:gd name="connsiteY24" fmla="*/ 4285 h 584428"/>
                    <a:gd name="connsiteX25" fmla="*/ 274969 w 570589"/>
                    <a:gd name="connsiteY25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529763 w 570589"/>
                    <a:gd name="connsiteY5" fmla="*/ 125728 h 584428"/>
                    <a:gd name="connsiteX6" fmla="*/ 555956 w 570589"/>
                    <a:gd name="connsiteY6" fmla="*/ 168591 h 584428"/>
                    <a:gd name="connsiteX7" fmla="*/ 567863 w 570589"/>
                    <a:gd name="connsiteY7" fmla="*/ 220978 h 584428"/>
                    <a:gd name="connsiteX8" fmla="*/ 565481 w 570589"/>
                    <a:gd name="connsiteY8" fmla="*/ 411478 h 584428"/>
                    <a:gd name="connsiteX9" fmla="*/ 515475 w 570589"/>
                    <a:gd name="connsiteY9" fmla="*/ 475772 h 584428"/>
                    <a:gd name="connsiteX10" fmla="*/ 467850 w 570589"/>
                    <a:gd name="connsiteY10" fmla="*/ 528160 h 584428"/>
                    <a:gd name="connsiteX11" fmla="*/ 282113 w 570589"/>
                    <a:gd name="connsiteY11" fmla="*/ 580547 h 584428"/>
                    <a:gd name="connsiteX12" fmla="*/ 232106 w 570589"/>
                    <a:gd name="connsiteY12" fmla="*/ 578166 h 584428"/>
                    <a:gd name="connsiteX13" fmla="*/ 182100 w 570589"/>
                    <a:gd name="connsiteY13" fmla="*/ 559116 h 584428"/>
                    <a:gd name="connsiteX14" fmla="*/ 96375 w 570589"/>
                    <a:gd name="connsiteY14" fmla="*/ 504347 h 584428"/>
                    <a:gd name="connsiteX15" fmla="*/ 58275 w 570589"/>
                    <a:gd name="connsiteY15" fmla="*/ 461485 h 584428"/>
                    <a:gd name="connsiteX16" fmla="*/ 36844 w 570589"/>
                    <a:gd name="connsiteY16" fmla="*/ 425766 h 584428"/>
                    <a:gd name="connsiteX17" fmla="*/ 3506 w 570589"/>
                    <a:gd name="connsiteY17" fmla="*/ 354328 h 584428"/>
                    <a:gd name="connsiteX18" fmla="*/ 3506 w 570589"/>
                    <a:gd name="connsiteY18" fmla="*/ 220978 h 584428"/>
                    <a:gd name="connsiteX19" fmla="*/ 43988 w 570589"/>
                    <a:gd name="connsiteY19" fmla="*/ 118585 h 584428"/>
                    <a:gd name="connsiteX20" fmla="*/ 67800 w 570589"/>
                    <a:gd name="connsiteY20" fmla="*/ 92391 h 584428"/>
                    <a:gd name="connsiteX21" fmla="*/ 101138 w 570589"/>
                    <a:gd name="connsiteY21" fmla="*/ 63816 h 584428"/>
                    <a:gd name="connsiteX22" fmla="*/ 141619 w 570589"/>
                    <a:gd name="connsiteY22" fmla="*/ 40003 h 584428"/>
                    <a:gd name="connsiteX23" fmla="*/ 263063 w 570589"/>
                    <a:gd name="connsiteY23" fmla="*/ 4285 h 584428"/>
                    <a:gd name="connsiteX24" fmla="*/ 274969 w 570589"/>
                    <a:gd name="connsiteY24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411478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67800 w 573984"/>
                    <a:gd name="connsiteY19" fmla="*/ 92391 h 584428"/>
                    <a:gd name="connsiteX20" fmla="*/ 101138 w 573984"/>
                    <a:gd name="connsiteY20" fmla="*/ 63816 h 584428"/>
                    <a:gd name="connsiteX21" fmla="*/ 141619 w 573984"/>
                    <a:gd name="connsiteY21" fmla="*/ 40003 h 584428"/>
                    <a:gd name="connsiteX22" fmla="*/ 263063 w 573984"/>
                    <a:gd name="connsiteY22" fmla="*/ 4285 h 584428"/>
                    <a:gd name="connsiteX23" fmla="*/ 274969 w 573984"/>
                    <a:gd name="connsiteY23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67800 w 573984"/>
                    <a:gd name="connsiteY19" fmla="*/ 92391 h 584428"/>
                    <a:gd name="connsiteX20" fmla="*/ 101138 w 573984"/>
                    <a:gd name="connsiteY20" fmla="*/ 63816 h 584428"/>
                    <a:gd name="connsiteX21" fmla="*/ 141619 w 573984"/>
                    <a:gd name="connsiteY21" fmla="*/ 40003 h 584428"/>
                    <a:gd name="connsiteX22" fmla="*/ 263063 w 573984"/>
                    <a:gd name="connsiteY22" fmla="*/ 4285 h 584428"/>
                    <a:gd name="connsiteX23" fmla="*/ 274969 w 573984"/>
                    <a:gd name="connsiteY23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101138 w 573984"/>
                    <a:gd name="connsiteY19" fmla="*/ 63816 h 584428"/>
                    <a:gd name="connsiteX20" fmla="*/ 141619 w 573984"/>
                    <a:gd name="connsiteY20" fmla="*/ 40003 h 584428"/>
                    <a:gd name="connsiteX21" fmla="*/ 263063 w 573984"/>
                    <a:gd name="connsiteY21" fmla="*/ 4285 h 584428"/>
                    <a:gd name="connsiteX22" fmla="*/ 274969 w 573984"/>
                    <a:gd name="connsiteY22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141619 w 573984"/>
                    <a:gd name="connsiteY19" fmla="*/ 40003 h 584428"/>
                    <a:gd name="connsiteX20" fmla="*/ 263063 w 573984"/>
                    <a:gd name="connsiteY20" fmla="*/ 4285 h 584428"/>
                    <a:gd name="connsiteX21" fmla="*/ 274969 w 573984"/>
                    <a:gd name="connsiteY21" fmla="*/ 1903 h 584428"/>
                    <a:gd name="connsiteX0" fmla="*/ 263063 w 573984"/>
                    <a:gd name="connsiteY0" fmla="*/ 3607 h 583750"/>
                    <a:gd name="connsiteX1" fmla="*/ 370219 w 573984"/>
                    <a:gd name="connsiteY1" fmla="*/ 1225 h 583750"/>
                    <a:gd name="connsiteX2" fmla="*/ 379744 w 573984"/>
                    <a:gd name="connsiteY2" fmla="*/ 3607 h 583750"/>
                    <a:gd name="connsiteX3" fmla="*/ 408319 w 573984"/>
                    <a:gd name="connsiteY3" fmla="*/ 13132 h 583750"/>
                    <a:gd name="connsiteX4" fmla="*/ 472613 w 573984"/>
                    <a:gd name="connsiteY4" fmla="*/ 51232 h 583750"/>
                    <a:gd name="connsiteX5" fmla="*/ 529763 w 573984"/>
                    <a:gd name="connsiteY5" fmla="*/ 125050 h 583750"/>
                    <a:gd name="connsiteX6" fmla="*/ 555956 w 573984"/>
                    <a:gd name="connsiteY6" fmla="*/ 167913 h 583750"/>
                    <a:gd name="connsiteX7" fmla="*/ 567863 w 573984"/>
                    <a:gd name="connsiteY7" fmla="*/ 220300 h 583750"/>
                    <a:gd name="connsiteX8" fmla="*/ 565481 w 573984"/>
                    <a:gd name="connsiteY8" fmla="*/ 394131 h 583750"/>
                    <a:gd name="connsiteX9" fmla="*/ 467850 w 573984"/>
                    <a:gd name="connsiteY9" fmla="*/ 527482 h 583750"/>
                    <a:gd name="connsiteX10" fmla="*/ 282113 w 573984"/>
                    <a:gd name="connsiteY10" fmla="*/ 579869 h 583750"/>
                    <a:gd name="connsiteX11" fmla="*/ 232106 w 573984"/>
                    <a:gd name="connsiteY11" fmla="*/ 577488 h 583750"/>
                    <a:gd name="connsiteX12" fmla="*/ 182100 w 573984"/>
                    <a:gd name="connsiteY12" fmla="*/ 558438 h 583750"/>
                    <a:gd name="connsiteX13" fmla="*/ 96375 w 573984"/>
                    <a:gd name="connsiteY13" fmla="*/ 503669 h 583750"/>
                    <a:gd name="connsiteX14" fmla="*/ 58275 w 573984"/>
                    <a:gd name="connsiteY14" fmla="*/ 460807 h 583750"/>
                    <a:gd name="connsiteX15" fmla="*/ 36844 w 573984"/>
                    <a:gd name="connsiteY15" fmla="*/ 425088 h 583750"/>
                    <a:gd name="connsiteX16" fmla="*/ 3506 w 573984"/>
                    <a:gd name="connsiteY16" fmla="*/ 353650 h 583750"/>
                    <a:gd name="connsiteX17" fmla="*/ 3506 w 573984"/>
                    <a:gd name="connsiteY17" fmla="*/ 220300 h 583750"/>
                    <a:gd name="connsiteX18" fmla="*/ 43988 w 573984"/>
                    <a:gd name="connsiteY18" fmla="*/ 117907 h 583750"/>
                    <a:gd name="connsiteX19" fmla="*/ 141619 w 573984"/>
                    <a:gd name="connsiteY19" fmla="*/ 39325 h 583750"/>
                    <a:gd name="connsiteX20" fmla="*/ 263063 w 573984"/>
                    <a:gd name="connsiteY20" fmla="*/ 3607 h 583750"/>
                    <a:gd name="connsiteX0" fmla="*/ 263063 w 573984"/>
                    <a:gd name="connsiteY0" fmla="*/ 4167 h 584310"/>
                    <a:gd name="connsiteX1" fmla="*/ 370219 w 573984"/>
                    <a:gd name="connsiteY1" fmla="*/ 1785 h 584310"/>
                    <a:gd name="connsiteX2" fmla="*/ 408319 w 573984"/>
                    <a:gd name="connsiteY2" fmla="*/ 13692 h 584310"/>
                    <a:gd name="connsiteX3" fmla="*/ 472613 w 573984"/>
                    <a:gd name="connsiteY3" fmla="*/ 51792 h 584310"/>
                    <a:gd name="connsiteX4" fmla="*/ 529763 w 573984"/>
                    <a:gd name="connsiteY4" fmla="*/ 125610 h 584310"/>
                    <a:gd name="connsiteX5" fmla="*/ 555956 w 573984"/>
                    <a:gd name="connsiteY5" fmla="*/ 168473 h 584310"/>
                    <a:gd name="connsiteX6" fmla="*/ 567863 w 573984"/>
                    <a:gd name="connsiteY6" fmla="*/ 220860 h 584310"/>
                    <a:gd name="connsiteX7" fmla="*/ 565481 w 573984"/>
                    <a:gd name="connsiteY7" fmla="*/ 394691 h 584310"/>
                    <a:gd name="connsiteX8" fmla="*/ 467850 w 573984"/>
                    <a:gd name="connsiteY8" fmla="*/ 528042 h 584310"/>
                    <a:gd name="connsiteX9" fmla="*/ 282113 w 573984"/>
                    <a:gd name="connsiteY9" fmla="*/ 580429 h 584310"/>
                    <a:gd name="connsiteX10" fmla="*/ 232106 w 573984"/>
                    <a:gd name="connsiteY10" fmla="*/ 578048 h 584310"/>
                    <a:gd name="connsiteX11" fmla="*/ 182100 w 573984"/>
                    <a:gd name="connsiteY11" fmla="*/ 558998 h 584310"/>
                    <a:gd name="connsiteX12" fmla="*/ 96375 w 573984"/>
                    <a:gd name="connsiteY12" fmla="*/ 504229 h 584310"/>
                    <a:gd name="connsiteX13" fmla="*/ 58275 w 573984"/>
                    <a:gd name="connsiteY13" fmla="*/ 461367 h 584310"/>
                    <a:gd name="connsiteX14" fmla="*/ 36844 w 573984"/>
                    <a:gd name="connsiteY14" fmla="*/ 425648 h 584310"/>
                    <a:gd name="connsiteX15" fmla="*/ 3506 w 573984"/>
                    <a:gd name="connsiteY15" fmla="*/ 354210 h 584310"/>
                    <a:gd name="connsiteX16" fmla="*/ 3506 w 573984"/>
                    <a:gd name="connsiteY16" fmla="*/ 220860 h 584310"/>
                    <a:gd name="connsiteX17" fmla="*/ 43988 w 573984"/>
                    <a:gd name="connsiteY17" fmla="*/ 118467 h 584310"/>
                    <a:gd name="connsiteX18" fmla="*/ 141619 w 573984"/>
                    <a:gd name="connsiteY18" fmla="*/ 39885 h 584310"/>
                    <a:gd name="connsiteX19" fmla="*/ 263063 w 573984"/>
                    <a:gd name="connsiteY19" fmla="*/ 4167 h 584310"/>
                    <a:gd name="connsiteX0" fmla="*/ 263063 w 573984"/>
                    <a:gd name="connsiteY0" fmla="*/ 6801 h 586944"/>
                    <a:gd name="connsiteX1" fmla="*/ 370219 w 573984"/>
                    <a:gd name="connsiteY1" fmla="*/ 4419 h 586944"/>
                    <a:gd name="connsiteX2" fmla="*/ 472613 w 573984"/>
                    <a:gd name="connsiteY2" fmla="*/ 54426 h 586944"/>
                    <a:gd name="connsiteX3" fmla="*/ 529763 w 573984"/>
                    <a:gd name="connsiteY3" fmla="*/ 128244 h 586944"/>
                    <a:gd name="connsiteX4" fmla="*/ 555956 w 573984"/>
                    <a:gd name="connsiteY4" fmla="*/ 171107 h 586944"/>
                    <a:gd name="connsiteX5" fmla="*/ 567863 w 573984"/>
                    <a:gd name="connsiteY5" fmla="*/ 223494 h 586944"/>
                    <a:gd name="connsiteX6" fmla="*/ 565481 w 573984"/>
                    <a:gd name="connsiteY6" fmla="*/ 397325 h 586944"/>
                    <a:gd name="connsiteX7" fmla="*/ 467850 w 573984"/>
                    <a:gd name="connsiteY7" fmla="*/ 530676 h 586944"/>
                    <a:gd name="connsiteX8" fmla="*/ 282113 w 573984"/>
                    <a:gd name="connsiteY8" fmla="*/ 583063 h 586944"/>
                    <a:gd name="connsiteX9" fmla="*/ 232106 w 573984"/>
                    <a:gd name="connsiteY9" fmla="*/ 580682 h 586944"/>
                    <a:gd name="connsiteX10" fmla="*/ 182100 w 573984"/>
                    <a:gd name="connsiteY10" fmla="*/ 561632 h 586944"/>
                    <a:gd name="connsiteX11" fmla="*/ 96375 w 573984"/>
                    <a:gd name="connsiteY11" fmla="*/ 506863 h 586944"/>
                    <a:gd name="connsiteX12" fmla="*/ 58275 w 573984"/>
                    <a:gd name="connsiteY12" fmla="*/ 464001 h 586944"/>
                    <a:gd name="connsiteX13" fmla="*/ 36844 w 573984"/>
                    <a:gd name="connsiteY13" fmla="*/ 428282 h 586944"/>
                    <a:gd name="connsiteX14" fmla="*/ 3506 w 573984"/>
                    <a:gd name="connsiteY14" fmla="*/ 356844 h 586944"/>
                    <a:gd name="connsiteX15" fmla="*/ 3506 w 573984"/>
                    <a:gd name="connsiteY15" fmla="*/ 223494 h 586944"/>
                    <a:gd name="connsiteX16" fmla="*/ 43988 w 573984"/>
                    <a:gd name="connsiteY16" fmla="*/ 121101 h 586944"/>
                    <a:gd name="connsiteX17" fmla="*/ 141619 w 573984"/>
                    <a:gd name="connsiteY17" fmla="*/ 42519 h 586944"/>
                    <a:gd name="connsiteX18" fmla="*/ 263063 w 573984"/>
                    <a:gd name="connsiteY18" fmla="*/ 6801 h 586944"/>
                    <a:gd name="connsiteX0" fmla="*/ 263063 w 573984"/>
                    <a:gd name="connsiteY0" fmla="*/ 8012 h 588155"/>
                    <a:gd name="connsiteX1" fmla="*/ 370219 w 573984"/>
                    <a:gd name="connsiteY1" fmla="*/ 5630 h 588155"/>
                    <a:gd name="connsiteX2" fmla="*/ 467850 w 573984"/>
                    <a:gd name="connsiteY2" fmla="*/ 72306 h 588155"/>
                    <a:gd name="connsiteX3" fmla="*/ 529763 w 573984"/>
                    <a:gd name="connsiteY3" fmla="*/ 129455 h 588155"/>
                    <a:gd name="connsiteX4" fmla="*/ 555956 w 573984"/>
                    <a:gd name="connsiteY4" fmla="*/ 172318 h 588155"/>
                    <a:gd name="connsiteX5" fmla="*/ 567863 w 573984"/>
                    <a:gd name="connsiteY5" fmla="*/ 224705 h 588155"/>
                    <a:gd name="connsiteX6" fmla="*/ 565481 w 573984"/>
                    <a:gd name="connsiteY6" fmla="*/ 398536 h 588155"/>
                    <a:gd name="connsiteX7" fmla="*/ 467850 w 573984"/>
                    <a:gd name="connsiteY7" fmla="*/ 531887 h 588155"/>
                    <a:gd name="connsiteX8" fmla="*/ 282113 w 573984"/>
                    <a:gd name="connsiteY8" fmla="*/ 584274 h 588155"/>
                    <a:gd name="connsiteX9" fmla="*/ 232106 w 573984"/>
                    <a:gd name="connsiteY9" fmla="*/ 581893 h 588155"/>
                    <a:gd name="connsiteX10" fmla="*/ 182100 w 573984"/>
                    <a:gd name="connsiteY10" fmla="*/ 562843 h 588155"/>
                    <a:gd name="connsiteX11" fmla="*/ 96375 w 573984"/>
                    <a:gd name="connsiteY11" fmla="*/ 508074 h 588155"/>
                    <a:gd name="connsiteX12" fmla="*/ 58275 w 573984"/>
                    <a:gd name="connsiteY12" fmla="*/ 465212 h 588155"/>
                    <a:gd name="connsiteX13" fmla="*/ 36844 w 573984"/>
                    <a:gd name="connsiteY13" fmla="*/ 429493 h 588155"/>
                    <a:gd name="connsiteX14" fmla="*/ 3506 w 573984"/>
                    <a:gd name="connsiteY14" fmla="*/ 358055 h 588155"/>
                    <a:gd name="connsiteX15" fmla="*/ 3506 w 573984"/>
                    <a:gd name="connsiteY15" fmla="*/ 224705 h 588155"/>
                    <a:gd name="connsiteX16" fmla="*/ 43988 w 573984"/>
                    <a:gd name="connsiteY16" fmla="*/ 122312 h 588155"/>
                    <a:gd name="connsiteX17" fmla="*/ 141619 w 573984"/>
                    <a:gd name="connsiteY17" fmla="*/ 43730 h 588155"/>
                    <a:gd name="connsiteX18" fmla="*/ 263063 w 573984"/>
                    <a:gd name="connsiteY18" fmla="*/ 8012 h 588155"/>
                    <a:gd name="connsiteX0" fmla="*/ 263063 w 573984"/>
                    <a:gd name="connsiteY0" fmla="*/ 4167 h 584310"/>
                    <a:gd name="connsiteX1" fmla="*/ 363076 w 573984"/>
                    <a:gd name="connsiteY1" fmla="*/ 8929 h 584310"/>
                    <a:gd name="connsiteX2" fmla="*/ 467850 w 573984"/>
                    <a:gd name="connsiteY2" fmla="*/ 68461 h 584310"/>
                    <a:gd name="connsiteX3" fmla="*/ 529763 w 573984"/>
                    <a:gd name="connsiteY3" fmla="*/ 125610 h 584310"/>
                    <a:gd name="connsiteX4" fmla="*/ 555956 w 573984"/>
                    <a:gd name="connsiteY4" fmla="*/ 168473 h 584310"/>
                    <a:gd name="connsiteX5" fmla="*/ 567863 w 573984"/>
                    <a:gd name="connsiteY5" fmla="*/ 220860 h 584310"/>
                    <a:gd name="connsiteX6" fmla="*/ 565481 w 573984"/>
                    <a:gd name="connsiteY6" fmla="*/ 394691 h 584310"/>
                    <a:gd name="connsiteX7" fmla="*/ 467850 w 573984"/>
                    <a:gd name="connsiteY7" fmla="*/ 528042 h 584310"/>
                    <a:gd name="connsiteX8" fmla="*/ 282113 w 573984"/>
                    <a:gd name="connsiteY8" fmla="*/ 580429 h 584310"/>
                    <a:gd name="connsiteX9" fmla="*/ 232106 w 573984"/>
                    <a:gd name="connsiteY9" fmla="*/ 578048 h 584310"/>
                    <a:gd name="connsiteX10" fmla="*/ 182100 w 573984"/>
                    <a:gd name="connsiteY10" fmla="*/ 558998 h 584310"/>
                    <a:gd name="connsiteX11" fmla="*/ 96375 w 573984"/>
                    <a:gd name="connsiteY11" fmla="*/ 504229 h 584310"/>
                    <a:gd name="connsiteX12" fmla="*/ 58275 w 573984"/>
                    <a:gd name="connsiteY12" fmla="*/ 461367 h 584310"/>
                    <a:gd name="connsiteX13" fmla="*/ 36844 w 573984"/>
                    <a:gd name="connsiteY13" fmla="*/ 425648 h 584310"/>
                    <a:gd name="connsiteX14" fmla="*/ 3506 w 573984"/>
                    <a:gd name="connsiteY14" fmla="*/ 354210 h 584310"/>
                    <a:gd name="connsiteX15" fmla="*/ 3506 w 573984"/>
                    <a:gd name="connsiteY15" fmla="*/ 220860 h 584310"/>
                    <a:gd name="connsiteX16" fmla="*/ 43988 w 573984"/>
                    <a:gd name="connsiteY16" fmla="*/ 118467 h 584310"/>
                    <a:gd name="connsiteX17" fmla="*/ 141619 w 573984"/>
                    <a:gd name="connsiteY17" fmla="*/ 39885 h 584310"/>
                    <a:gd name="connsiteX18" fmla="*/ 263063 w 573984"/>
                    <a:gd name="connsiteY18" fmla="*/ 4167 h 584310"/>
                    <a:gd name="connsiteX0" fmla="*/ 263063 w 573984"/>
                    <a:gd name="connsiteY0" fmla="*/ 2310 h 582453"/>
                    <a:gd name="connsiteX1" fmla="*/ 363076 w 573984"/>
                    <a:gd name="connsiteY1" fmla="*/ 7072 h 582453"/>
                    <a:gd name="connsiteX2" fmla="*/ 467850 w 573984"/>
                    <a:gd name="connsiteY2" fmla="*/ 66604 h 582453"/>
                    <a:gd name="connsiteX3" fmla="*/ 529763 w 573984"/>
                    <a:gd name="connsiteY3" fmla="*/ 123753 h 582453"/>
                    <a:gd name="connsiteX4" fmla="*/ 555956 w 573984"/>
                    <a:gd name="connsiteY4" fmla="*/ 166616 h 582453"/>
                    <a:gd name="connsiteX5" fmla="*/ 567863 w 573984"/>
                    <a:gd name="connsiteY5" fmla="*/ 219003 h 582453"/>
                    <a:gd name="connsiteX6" fmla="*/ 565481 w 573984"/>
                    <a:gd name="connsiteY6" fmla="*/ 392834 h 582453"/>
                    <a:gd name="connsiteX7" fmla="*/ 467850 w 573984"/>
                    <a:gd name="connsiteY7" fmla="*/ 526185 h 582453"/>
                    <a:gd name="connsiteX8" fmla="*/ 282113 w 573984"/>
                    <a:gd name="connsiteY8" fmla="*/ 578572 h 582453"/>
                    <a:gd name="connsiteX9" fmla="*/ 232106 w 573984"/>
                    <a:gd name="connsiteY9" fmla="*/ 576191 h 582453"/>
                    <a:gd name="connsiteX10" fmla="*/ 182100 w 573984"/>
                    <a:gd name="connsiteY10" fmla="*/ 557141 h 582453"/>
                    <a:gd name="connsiteX11" fmla="*/ 96375 w 573984"/>
                    <a:gd name="connsiteY11" fmla="*/ 502372 h 582453"/>
                    <a:gd name="connsiteX12" fmla="*/ 58275 w 573984"/>
                    <a:gd name="connsiteY12" fmla="*/ 459510 h 582453"/>
                    <a:gd name="connsiteX13" fmla="*/ 36844 w 573984"/>
                    <a:gd name="connsiteY13" fmla="*/ 423791 h 582453"/>
                    <a:gd name="connsiteX14" fmla="*/ 3506 w 573984"/>
                    <a:gd name="connsiteY14" fmla="*/ 352353 h 582453"/>
                    <a:gd name="connsiteX15" fmla="*/ 3506 w 573984"/>
                    <a:gd name="connsiteY15" fmla="*/ 219003 h 582453"/>
                    <a:gd name="connsiteX16" fmla="*/ 43988 w 573984"/>
                    <a:gd name="connsiteY16" fmla="*/ 116610 h 582453"/>
                    <a:gd name="connsiteX17" fmla="*/ 141619 w 573984"/>
                    <a:gd name="connsiteY17" fmla="*/ 38028 h 582453"/>
                    <a:gd name="connsiteX18" fmla="*/ 263063 w 573984"/>
                    <a:gd name="connsiteY18" fmla="*/ 2310 h 582453"/>
                    <a:gd name="connsiteX0" fmla="*/ 263063 w 573984"/>
                    <a:gd name="connsiteY0" fmla="*/ 2310 h 582453"/>
                    <a:gd name="connsiteX1" fmla="*/ 363076 w 573984"/>
                    <a:gd name="connsiteY1" fmla="*/ 7072 h 582453"/>
                    <a:gd name="connsiteX2" fmla="*/ 467850 w 573984"/>
                    <a:gd name="connsiteY2" fmla="*/ 66604 h 582453"/>
                    <a:gd name="connsiteX3" fmla="*/ 529763 w 573984"/>
                    <a:gd name="connsiteY3" fmla="*/ 123753 h 582453"/>
                    <a:gd name="connsiteX4" fmla="*/ 555956 w 573984"/>
                    <a:gd name="connsiteY4" fmla="*/ 166616 h 582453"/>
                    <a:gd name="connsiteX5" fmla="*/ 567863 w 573984"/>
                    <a:gd name="connsiteY5" fmla="*/ 219003 h 582453"/>
                    <a:gd name="connsiteX6" fmla="*/ 565481 w 573984"/>
                    <a:gd name="connsiteY6" fmla="*/ 392834 h 582453"/>
                    <a:gd name="connsiteX7" fmla="*/ 467850 w 573984"/>
                    <a:gd name="connsiteY7" fmla="*/ 526185 h 582453"/>
                    <a:gd name="connsiteX8" fmla="*/ 282113 w 573984"/>
                    <a:gd name="connsiteY8" fmla="*/ 578572 h 582453"/>
                    <a:gd name="connsiteX9" fmla="*/ 232106 w 573984"/>
                    <a:gd name="connsiteY9" fmla="*/ 576191 h 582453"/>
                    <a:gd name="connsiteX10" fmla="*/ 182100 w 573984"/>
                    <a:gd name="connsiteY10" fmla="*/ 557141 h 582453"/>
                    <a:gd name="connsiteX11" fmla="*/ 96375 w 573984"/>
                    <a:gd name="connsiteY11" fmla="*/ 502372 h 582453"/>
                    <a:gd name="connsiteX12" fmla="*/ 36844 w 573984"/>
                    <a:gd name="connsiteY12" fmla="*/ 423791 h 582453"/>
                    <a:gd name="connsiteX13" fmla="*/ 3506 w 573984"/>
                    <a:gd name="connsiteY13" fmla="*/ 352353 h 582453"/>
                    <a:gd name="connsiteX14" fmla="*/ 3506 w 573984"/>
                    <a:gd name="connsiteY14" fmla="*/ 219003 h 582453"/>
                    <a:gd name="connsiteX15" fmla="*/ 43988 w 573984"/>
                    <a:gd name="connsiteY15" fmla="*/ 116610 h 582453"/>
                    <a:gd name="connsiteX16" fmla="*/ 141619 w 573984"/>
                    <a:gd name="connsiteY16" fmla="*/ 38028 h 582453"/>
                    <a:gd name="connsiteX17" fmla="*/ 263063 w 573984"/>
                    <a:gd name="connsiteY17" fmla="*/ 2310 h 582453"/>
                    <a:gd name="connsiteX0" fmla="*/ 263063 w 575295"/>
                    <a:gd name="connsiteY0" fmla="*/ 2310 h 582453"/>
                    <a:gd name="connsiteX1" fmla="*/ 363076 w 575295"/>
                    <a:gd name="connsiteY1" fmla="*/ 7072 h 582453"/>
                    <a:gd name="connsiteX2" fmla="*/ 467850 w 575295"/>
                    <a:gd name="connsiteY2" fmla="*/ 66604 h 582453"/>
                    <a:gd name="connsiteX3" fmla="*/ 529763 w 575295"/>
                    <a:gd name="connsiteY3" fmla="*/ 123753 h 582453"/>
                    <a:gd name="connsiteX4" fmla="*/ 567863 w 575295"/>
                    <a:gd name="connsiteY4" fmla="*/ 219003 h 582453"/>
                    <a:gd name="connsiteX5" fmla="*/ 565481 w 575295"/>
                    <a:gd name="connsiteY5" fmla="*/ 392834 h 582453"/>
                    <a:gd name="connsiteX6" fmla="*/ 467850 w 575295"/>
                    <a:gd name="connsiteY6" fmla="*/ 526185 h 582453"/>
                    <a:gd name="connsiteX7" fmla="*/ 282113 w 575295"/>
                    <a:gd name="connsiteY7" fmla="*/ 578572 h 582453"/>
                    <a:gd name="connsiteX8" fmla="*/ 232106 w 575295"/>
                    <a:gd name="connsiteY8" fmla="*/ 576191 h 582453"/>
                    <a:gd name="connsiteX9" fmla="*/ 182100 w 575295"/>
                    <a:gd name="connsiteY9" fmla="*/ 557141 h 582453"/>
                    <a:gd name="connsiteX10" fmla="*/ 96375 w 575295"/>
                    <a:gd name="connsiteY10" fmla="*/ 502372 h 582453"/>
                    <a:gd name="connsiteX11" fmla="*/ 36844 w 575295"/>
                    <a:gd name="connsiteY11" fmla="*/ 423791 h 582453"/>
                    <a:gd name="connsiteX12" fmla="*/ 3506 w 575295"/>
                    <a:gd name="connsiteY12" fmla="*/ 352353 h 582453"/>
                    <a:gd name="connsiteX13" fmla="*/ 3506 w 575295"/>
                    <a:gd name="connsiteY13" fmla="*/ 219003 h 582453"/>
                    <a:gd name="connsiteX14" fmla="*/ 43988 w 575295"/>
                    <a:gd name="connsiteY14" fmla="*/ 116610 h 582453"/>
                    <a:gd name="connsiteX15" fmla="*/ 141619 w 575295"/>
                    <a:gd name="connsiteY15" fmla="*/ 38028 h 582453"/>
                    <a:gd name="connsiteX16" fmla="*/ 263063 w 575295"/>
                    <a:gd name="connsiteY16" fmla="*/ 2310 h 582453"/>
                    <a:gd name="connsiteX0" fmla="*/ 263063 w 579079"/>
                    <a:gd name="connsiteY0" fmla="*/ 2310 h 582453"/>
                    <a:gd name="connsiteX1" fmla="*/ 363076 w 579079"/>
                    <a:gd name="connsiteY1" fmla="*/ 7072 h 582453"/>
                    <a:gd name="connsiteX2" fmla="*/ 467850 w 579079"/>
                    <a:gd name="connsiteY2" fmla="*/ 66604 h 582453"/>
                    <a:gd name="connsiteX3" fmla="*/ 567863 w 579079"/>
                    <a:gd name="connsiteY3" fmla="*/ 219003 h 582453"/>
                    <a:gd name="connsiteX4" fmla="*/ 565481 w 579079"/>
                    <a:gd name="connsiteY4" fmla="*/ 392834 h 582453"/>
                    <a:gd name="connsiteX5" fmla="*/ 467850 w 579079"/>
                    <a:gd name="connsiteY5" fmla="*/ 526185 h 582453"/>
                    <a:gd name="connsiteX6" fmla="*/ 282113 w 579079"/>
                    <a:gd name="connsiteY6" fmla="*/ 578572 h 582453"/>
                    <a:gd name="connsiteX7" fmla="*/ 232106 w 579079"/>
                    <a:gd name="connsiteY7" fmla="*/ 576191 h 582453"/>
                    <a:gd name="connsiteX8" fmla="*/ 182100 w 579079"/>
                    <a:gd name="connsiteY8" fmla="*/ 557141 h 582453"/>
                    <a:gd name="connsiteX9" fmla="*/ 96375 w 579079"/>
                    <a:gd name="connsiteY9" fmla="*/ 502372 h 582453"/>
                    <a:gd name="connsiteX10" fmla="*/ 36844 w 579079"/>
                    <a:gd name="connsiteY10" fmla="*/ 423791 h 582453"/>
                    <a:gd name="connsiteX11" fmla="*/ 3506 w 579079"/>
                    <a:gd name="connsiteY11" fmla="*/ 352353 h 582453"/>
                    <a:gd name="connsiteX12" fmla="*/ 3506 w 579079"/>
                    <a:gd name="connsiteY12" fmla="*/ 219003 h 582453"/>
                    <a:gd name="connsiteX13" fmla="*/ 43988 w 579079"/>
                    <a:gd name="connsiteY13" fmla="*/ 116610 h 582453"/>
                    <a:gd name="connsiteX14" fmla="*/ 141619 w 579079"/>
                    <a:gd name="connsiteY14" fmla="*/ 38028 h 582453"/>
                    <a:gd name="connsiteX15" fmla="*/ 263063 w 579079"/>
                    <a:gd name="connsiteY15" fmla="*/ 2310 h 58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79079" h="582453">
                      <a:moveTo>
                        <a:pt x="263063" y="2310"/>
                      </a:moveTo>
                      <a:cubicBezTo>
                        <a:pt x="301163" y="-4040"/>
                        <a:pt x="327399" y="4440"/>
                        <a:pt x="363076" y="7072"/>
                      </a:cubicBezTo>
                      <a:cubicBezTo>
                        <a:pt x="411495" y="10644"/>
                        <a:pt x="433719" y="31282"/>
                        <a:pt x="467850" y="66604"/>
                      </a:cubicBezTo>
                      <a:cubicBezTo>
                        <a:pt x="501981" y="101926"/>
                        <a:pt x="551591" y="164631"/>
                        <a:pt x="567863" y="219003"/>
                      </a:cubicBezTo>
                      <a:cubicBezTo>
                        <a:pt x="584135" y="273375"/>
                        <a:pt x="582150" y="341637"/>
                        <a:pt x="565481" y="392834"/>
                      </a:cubicBezTo>
                      <a:cubicBezTo>
                        <a:pt x="548812" y="444031"/>
                        <a:pt x="515078" y="495229"/>
                        <a:pt x="467850" y="526185"/>
                      </a:cubicBezTo>
                      <a:cubicBezTo>
                        <a:pt x="420622" y="557141"/>
                        <a:pt x="321404" y="570238"/>
                        <a:pt x="282113" y="578572"/>
                      </a:cubicBezTo>
                      <a:cubicBezTo>
                        <a:pt x="242822" y="586906"/>
                        <a:pt x="248775" y="579763"/>
                        <a:pt x="232106" y="576191"/>
                      </a:cubicBezTo>
                      <a:cubicBezTo>
                        <a:pt x="215437" y="572619"/>
                        <a:pt x="204722" y="569444"/>
                        <a:pt x="182100" y="557141"/>
                      </a:cubicBezTo>
                      <a:cubicBezTo>
                        <a:pt x="159478" y="544838"/>
                        <a:pt x="120584" y="524597"/>
                        <a:pt x="96375" y="502372"/>
                      </a:cubicBezTo>
                      <a:cubicBezTo>
                        <a:pt x="72166" y="480147"/>
                        <a:pt x="52322" y="448794"/>
                        <a:pt x="36844" y="423791"/>
                      </a:cubicBezTo>
                      <a:cubicBezTo>
                        <a:pt x="21366" y="398788"/>
                        <a:pt x="9062" y="386484"/>
                        <a:pt x="3506" y="352353"/>
                      </a:cubicBezTo>
                      <a:cubicBezTo>
                        <a:pt x="-1744" y="294596"/>
                        <a:pt x="-558" y="318555"/>
                        <a:pt x="3506" y="219003"/>
                      </a:cubicBezTo>
                      <a:cubicBezTo>
                        <a:pt x="10253" y="179713"/>
                        <a:pt x="20969" y="146772"/>
                        <a:pt x="43988" y="116610"/>
                      </a:cubicBezTo>
                      <a:cubicBezTo>
                        <a:pt x="67007" y="86448"/>
                        <a:pt x="105107" y="57078"/>
                        <a:pt x="141619" y="38028"/>
                      </a:cubicBezTo>
                      <a:cubicBezTo>
                        <a:pt x="178131" y="18978"/>
                        <a:pt x="224963" y="8660"/>
                        <a:pt x="263063" y="231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M Sans 14p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032" name="Group 1031">
              <a:extLst>
                <a:ext uri="{FF2B5EF4-FFF2-40B4-BE49-F238E27FC236}">
                  <a16:creationId xmlns:a16="http://schemas.microsoft.com/office/drawing/2014/main" id="{276794B3-6269-5DD2-AF76-6BFB603F143C}"/>
                </a:ext>
              </a:extLst>
            </p:cNvPr>
            <p:cNvGrpSpPr/>
            <p:nvPr/>
          </p:nvGrpSpPr>
          <p:grpSpPr>
            <a:xfrm rot="1019954">
              <a:off x="9770295" y="4820819"/>
              <a:ext cx="459603" cy="587790"/>
              <a:chOff x="3395346" y="1880433"/>
              <a:chExt cx="1633885" cy="2089588"/>
            </a:xfrm>
          </p:grpSpPr>
          <p:sp>
            <p:nvSpPr>
              <p:cNvPr id="1033" name="Freeform: Shape 1032">
                <a:extLst>
                  <a:ext uri="{FF2B5EF4-FFF2-40B4-BE49-F238E27FC236}">
                    <a16:creationId xmlns:a16="http://schemas.microsoft.com/office/drawing/2014/main" id="{BC796F5D-2F0B-68FE-DCBE-C17A5D2CBC0E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34" name="Freeform: Shape 1033">
                <a:extLst>
                  <a:ext uri="{FF2B5EF4-FFF2-40B4-BE49-F238E27FC236}">
                    <a16:creationId xmlns:a16="http://schemas.microsoft.com/office/drawing/2014/main" id="{956DADC0-92D3-9678-5C90-0C679024F111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35" name="Freeform: Shape 1034">
                <a:extLst>
                  <a:ext uri="{FF2B5EF4-FFF2-40B4-BE49-F238E27FC236}">
                    <a16:creationId xmlns:a16="http://schemas.microsoft.com/office/drawing/2014/main" id="{1889A542-52F2-F655-581E-ED77903C662F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36" name="Freeform: Shape 1035">
                <a:extLst>
                  <a:ext uri="{FF2B5EF4-FFF2-40B4-BE49-F238E27FC236}">
                    <a16:creationId xmlns:a16="http://schemas.microsoft.com/office/drawing/2014/main" id="{12B2F2C4-578E-206A-6897-CCAC7656A486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FACCD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…</a:t>
                </a:r>
              </a:p>
            </p:txBody>
          </p:sp>
          <p:sp>
            <p:nvSpPr>
              <p:cNvPr id="1037" name="Freeform: Shape 1036">
                <a:extLst>
                  <a:ext uri="{FF2B5EF4-FFF2-40B4-BE49-F238E27FC236}">
                    <a16:creationId xmlns:a16="http://schemas.microsoft.com/office/drawing/2014/main" id="{CFCABE52-DD2B-4A63-D11B-187D71341724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38" name="Freeform: Shape 1037">
                <a:extLst>
                  <a:ext uri="{FF2B5EF4-FFF2-40B4-BE49-F238E27FC236}">
                    <a16:creationId xmlns:a16="http://schemas.microsoft.com/office/drawing/2014/main" id="{82A46FFA-FCBA-2A7D-7074-8F3C2F7CEB14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39" name="Freeform: Shape 1038">
                <a:extLst>
                  <a:ext uri="{FF2B5EF4-FFF2-40B4-BE49-F238E27FC236}">
                    <a16:creationId xmlns:a16="http://schemas.microsoft.com/office/drawing/2014/main" id="{FCD6BE69-F320-0473-1960-5C6C5BF8524B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  <p:sp>
            <p:nvSpPr>
              <p:cNvPr id="1040" name="Freeform: Shape 1039">
                <a:extLst>
                  <a:ext uri="{FF2B5EF4-FFF2-40B4-BE49-F238E27FC236}">
                    <a16:creationId xmlns:a16="http://schemas.microsoft.com/office/drawing/2014/main" id="{CDB9F9FA-71B3-9ECD-E68D-08B7C263185A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 14pt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350C2ED-6D03-E814-38F8-C7919FB712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5963505"/>
              </p:ext>
            </p:extLst>
          </p:nvPr>
        </p:nvGraphicFramePr>
        <p:xfrm>
          <a:off x="2232741" y="5580568"/>
          <a:ext cx="8128000" cy="70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Rektangel 16">
            <a:extLst>
              <a:ext uri="{FF2B5EF4-FFF2-40B4-BE49-F238E27FC236}">
                <a16:creationId xmlns:a16="http://schemas.microsoft.com/office/drawing/2014/main" id="{1C471711-B5A4-758D-613C-D4E4FE2BBAD9}"/>
              </a:ext>
            </a:extLst>
          </p:cNvPr>
          <p:cNvSpPr/>
          <p:nvPr/>
        </p:nvSpPr>
        <p:spPr>
          <a:xfrm>
            <a:off x="10000034" y="5591305"/>
            <a:ext cx="544749" cy="685670"/>
          </a:xfrm>
          <a:prstGeom prst="rect">
            <a:avLst/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8" name="Tekstfelt 9">
            <a:extLst>
              <a:ext uri="{FF2B5EF4-FFF2-40B4-BE49-F238E27FC236}">
                <a16:creationId xmlns:a16="http://schemas.microsoft.com/office/drawing/2014/main" id="{1F773F98-BBCE-8245-3B37-324F44C0E0F2}"/>
              </a:ext>
            </a:extLst>
          </p:cNvPr>
          <p:cNvSpPr txBox="1"/>
          <p:nvPr/>
        </p:nvSpPr>
        <p:spPr>
          <a:xfrm>
            <a:off x="464821" y="5824621"/>
            <a:ext cx="1194238" cy="215444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Fundamentet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Freeform: Shape 157">
            <a:extLst>
              <a:ext uri="{FF2B5EF4-FFF2-40B4-BE49-F238E27FC236}">
                <a16:creationId xmlns:a16="http://schemas.microsoft.com/office/drawing/2014/main" id="{FFF7A4FB-9293-76D2-29F7-2AC2EA2E4A77}"/>
              </a:ext>
            </a:extLst>
          </p:cNvPr>
          <p:cNvSpPr/>
          <p:nvPr/>
        </p:nvSpPr>
        <p:spPr>
          <a:xfrm rot="11137881">
            <a:off x="1765044" y="5876485"/>
            <a:ext cx="382083" cy="216490"/>
          </a:xfrm>
          <a:custGeom>
            <a:avLst/>
            <a:gdLst>
              <a:gd name="connsiteX0" fmla="*/ 743273 w 743273"/>
              <a:gd name="connsiteY0" fmla="*/ 30315 h 211028"/>
              <a:gd name="connsiteX1" fmla="*/ 127659 w 743273"/>
              <a:gd name="connsiteY1" fmla="*/ 141554 h 211028"/>
              <a:gd name="connsiteX2" fmla="*/ 1618 w 743273"/>
              <a:gd name="connsiteY2" fmla="*/ 176975 h 211028"/>
              <a:gd name="connsiteX3" fmla="*/ 209441 w 743273"/>
              <a:gd name="connsiteY3" fmla="*/ 203105 h 211028"/>
              <a:gd name="connsiteX4" fmla="*/ 5339 w 743273"/>
              <a:gd name="connsiteY4" fmla="*/ 190856 h 211028"/>
              <a:gd name="connsiteX5" fmla="*/ 54546 w 743273"/>
              <a:gd name="connsiteY5" fmla="*/ 146266 h 211028"/>
              <a:gd name="connsiteX6" fmla="*/ 162457 w 743273"/>
              <a:gd name="connsiteY6" fmla="*/ 0 h 211028"/>
              <a:gd name="connsiteX0" fmla="*/ 285363 w 285363"/>
              <a:gd name="connsiteY0" fmla="*/ 109293 h 211028"/>
              <a:gd name="connsiteX1" fmla="*/ 127659 w 285363"/>
              <a:gd name="connsiteY1" fmla="*/ 141554 h 211028"/>
              <a:gd name="connsiteX2" fmla="*/ 1618 w 285363"/>
              <a:gd name="connsiteY2" fmla="*/ 176975 h 211028"/>
              <a:gd name="connsiteX3" fmla="*/ 209441 w 285363"/>
              <a:gd name="connsiteY3" fmla="*/ 203105 h 211028"/>
              <a:gd name="connsiteX4" fmla="*/ 5339 w 285363"/>
              <a:gd name="connsiteY4" fmla="*/ 190856 h 211028"/>
              <a:gd name="connsiteX5" fmla="*/ 54546 w 285363"/>
              <a:gd name="connsiteY5" fmla="*/ 146266 h 211028"/>
              <a:gd name="connsiteX6" fmla="*/ 162457 w 285363"/>
              <a:gd name="connsiteY6" fmla="*/ 0 h 211028"/>
              <a:gd name="connsiteX0" fmla="*/ 285363 w 285363"/>
              <a:gd name="connsiteY0" fmla="*/ 109293 h 211028"/>
              <a:gd name="connsiteX1" fmla="*/ 1618 w 285363"/>
              <a:gd name="connsiteY1" fmla="*/ 176975 h 211028"/>
              <a:gd name="connsiteX2" fmla="*/ 209441 w 285363"/>
              <a:gd name="connsiteY2" fmla="*/ 203105 h 211028"/>
              <a:gd name="connsiteX3" fmla="*/ 5339 w 285363"/>
              <a:gd name="connsiteY3" fmla="*/ 190856 h 211028"/>
              <a:gd name="connsiteX4" fmla="*/ 54546 w 285363"/>
              <a:gd name="connsiteY4" fmla="*/ 146266 h 211028"/>
              <a:gd name="connsiteX5" fmla="*/ 162457 w 285363"/>
              <a:gd name="connsiteY5" fmla="*/ 0 h 2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363" h="211028">
                <a:moveTo>
                  <a:pt x="285363" y="109293"/>
                </a:moveTo>
                <a:cubicBezTo>
                  <a:pt x="226250" y="123393"/>
                  <a:pt x="14272" y="161340"/>
                  <a:pt x="1618" y="176975"/>
                </a:cubicBezTo>
                <a:cubicBezTo>
                  <a:pt x="-11036" y="192610"/>
                  <a:pt x="150920" y="177464"/>
                  <a:pt x="209441" y="203105"/>
                </a:cubicBezTo>
                <a:cubicBezTo>
                  <a:pt x="271868" y="230454"/>
                  <a:pt x="72097" y="177114"/>
                  <a:pt x="5339" y="190856"/>
                </a:cubicBezTo>
                <a:cubicBezTo>
                  <a:pt x="-18791" y="195821"/>
                  <a:pt x="46208" y="152927"/>
                  <a:pt x="54546" y="146266"/>
                </a:cubicBezTo>
                <a:cubicBezTo>
                  <a:pt x="104329" y="106483"/>
                  <a:pt x="131076" y="54350"/>
                  <a:pt x="162457" y="0"/>
                </a:cubicBezTo>
              </a:path>
            </a:pathLst>
          </a:custGeom>
          <a:noFill/>
          <a:ln w="19050" cap="rnd">
            <a:solidFill>
              <a:srgbClr val="00595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36E2C380-2D9D-7ACF-FF93-3DF4E12E6F70}"/>
              </a:ext>
            </a:extLst>
          </p:cNvPr>
          <p:cNvSpPr/>
          <p:nvPr/>
        </p:nvSpPr>
        <p:spPr>
          <a:xfrm rot="16200000">
            <a:off x="3314967" y="3808651"/>
            <a:ext cx="1602935" cy="33855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 w="0"/>
                <a:solidFill>
                  <a:srgbClr val="00595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idensdeling</a:t>
            </a:r>
          </a:p>
        </p:txBody>
      </p:sp>
      <p:sp>
        <p:nvSpPr>
          <p:cNvPr id="112" name="Rektangel 111">
            <a:extLst>
              <a:ext uri="{FF2B5EF4-FFF2-40B4-BE49-F238E27FC236}">
                <a16:creationId xmlns:a16="http://schemas.microsoft.com/office/drawing/2014/main" id="{9135472B-2225-D918-819F-2884074A6A59}"/>
              </a:ext>
            </a:extLst>
          </p:cNvPr>
          <p:cNvSpPr/>
          <p:nvPr/>
        </p:nvSpPr>
        <p:spPr>
          <a:xfrm rot="18721189">
            <a:off x="3905181" y="2368657"/>
            <a:ext cx="1602935" cy="33855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 w="0"/>
                <a:solidFill>
                  <a:srgbClr val="00595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ugervenlighed</a:t>
            </a:r>
          </a:p>
        </p:txBody>
      </p:sp>
      <p:sp>
        <p:nvSpPr>
          <p:cNvPr id="113" name="Rektangel 112">
            <a:extLst>
              <a:ext uri="{FF2B5EF4-FFF2-40B4-BE49-F238E27FC236}">
                <a16:creationId xmlns:a16="http://schemas.microsoft.com/office/drawing/2014/main" id="{FC5848EA-EA31-494D-933A-8779AD3A4A20}"/>
              </a:ext>
            </a:extLst>
          </p:cNvPr>
          <p:cNvSpPr/>
          <p:nvPr/>
        </p:nvSpPr>
        <p:spPr>
          <a:xfrm>
            <a:off x="5525577" y="1705457"/>
            <a:ext cx="1602935" cy="33855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 w="0"/>
                <a:solidFill>
                  <a:srgbClr val="00595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ed involvering</a:t>
            </a:r>
          </a:p>
        </p:txBody>
      </p:sp>
      <p:sp>
        <p:nvSpPr>
          <p:cNvPr id="1043" name="Rektangel 1042">
            <a:extLst>
              <a:ext uri="{FF2B5EF4-FFF2-40B4-BE49-F238E27FC236}">
                <a16:creationId xmlns:a16="http://schemas.microsoft.com/office/drawing/2014/main" id="{9CA322AB-A13C-E2F5-C310-F6F87BBF6092}"/>
              </a:ext>
            </a:extLst>
          </p:cNvPr>
          <p:cNvSpPr/>
          <p:nvPr/>
        </p:nvSpPr>
        <p:spPr>
          <a:xfrm rot="5400000">
            <a:off x="7461332" y="3906603"/>
            <a:ext cx="1735487" cy="33855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 w="0"/>
                <a:solidFill>
                  <a:srgbClr val="00595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ta færdigheder</a:t>
            </a:r>
          </a:p>
        </p:txBody>
      </p:sp>
      <p:sp>
        <p:nvSpPr>
          <p:cNvPr id="1045" name="Rektangel 1044">
            <a:extLst>
              <a:ext uri="{FF2B5EF4-FFF2-40B4-BE49-F238E27FC236}">
                <a16:creationId xmlns:a16="http://schemas.microsoft.com/office/drawing/2014/main" id="{AB0390AB-4BB9-44B3-3A64-A884DDF4E46A}"/>
              </a:ext>
            </a:extLst>
          </p:cNvPr>
          <p:cNvSpPr/>
          <p:nvPr/>
        </p:nvSpPr>
        <p:spPr>
          <a:xfrm rot="2701392">
            <a:off x="6982191" y="2394480"/>
            <a:ext cx="1602935" cy="338554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 w="0"/>
                <a:solidFill>
                  <a:srgbClr val="00595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ælles sprog</a:t>
            </a:r>
          </a:p>
        </p:txBody>
      </p:sp>
      <p:sp>
        <p:nvSpPr>
          <p:cNvPr id="1046" name="Tekstfelt 9">
            <a:extLst>
              <a:ext uri="{FF2B5EF4-FFF2-40B4-BE49-F238E27FC236}">
                <a16:creationId xmlns:a16="http://schemas.microsoft.com/office/drawing/2014/main" id="{C6F8FA47-F521-FA2E-CC87-989C493FE062}"/>
              </a:ext>
            </a:extLst>
          </p:cNvPr>
          <p:cNvSpPr txBox="1"/>
          <p:nvPr/>
        </p:nvSpPr>
        <p:spPr>
          <a:xfrm>
            <a:off x="464821" y="2498474"/>
            <a:ext cx="2142092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t er en fælles rejse, og slutdestinationen er uvis 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48" name="Freeform: Shape 157">
            <a:extLst>
              <a:ext uri="{FF2B5EF4-FFF2-40B4-BE49-F238E27FC236}">
                <a16:creationId xmlns:a16="http://schemas.microsoft.com/office/drawing/2014/main" id="{9FFDD465-38C0-1803-8842-2973796F41A3}"/>
              </a:ext>
            </a:extLst>
          </p:cNvPr>
          <p:cNvSpPr/>
          <p:nvPr/>
        </p:nvSpPr>
        <p:spPr>
          <a:xfrm rot="21268256" flipH="1">
            <a:off x="2691085" y="2555661"/>
            <a:ext cx="475099" cy="215896"/>
          </a:xfrm>
          <a:custGeom>
            <a:avLst/>
            <a:gdLst>
              <a:gd name="connsiteX0" fmla="*/ 743273 w 743273"/>
              <a:gd name="connsiteY0" fmla="*/ 30315 h 211028"/>
              <a:gd name="connsiteX1" fmla="*/ 127659 w 743273"/>
              <a:gd name="connsiteY1" fmla="*/ 141554 h 211028"/>
              <a:gd name="connsiteX2" fmla="*/ 1618 w 743273"/>
              <a:gd name="connsiteY2" fmla="*/ 176975 h 211028"/>
              <a:gd name="connsiteX3" fmla="*/ 209441 w 743273"/>
              <a:gd name="connsiteY3" fmla="*/ 203105 h 211028"/>
              <a:gd name="connsiteX4" fmla="*/ 5339 w 743273"/>
              <a:gd name="connsiteY4" fmla="*/ 190856 h 211028"/>
              <a:gd name="connsiteX5" fmla="*/ 54546 w 743273"/>
              <a:gd name="connsiteY5" fmla="*/ 146266 h 211028"/>
              <a:gd name="connsiteX6" fmla="*/ 162457 w 743273"/>
              <a:gd name="connsiteY6" fmla="*/ 0 h 211028"/>
              <a:gd name="connsiteX0" fmla="*/ 285363 w 285363"/>
              <a:gd name="connsiteY0" fmla="*/ 109293 h 211028"/>
              <a:gd name="connsiteX1" fmla="*/ 127659 w 285363"/>
              <a:gd name="connsiteY1" fmla="*/ 141554 h 211028"/>
              <a:gd name="connsiteX2" fmla="*/ 1618 w 285363"/>
              <a:gd name="connsiteY2" fmla="*/ 176975 h 211028"/>
              <a:gd name="connsiteX3" fmla="*/ 209441 w 285363"/>
              <a:gd name="connsiteY3" fmla="*/ 203105 h 211028"/>
              <a:gd name="connsiteX4" fmla="*/ 5339 w 285363"/>
              <a:gd name="connsiteY4" fmla="*/ 190856 h 211028"/>
              <a:gd name="connsiteX5" fmla="*/ 54546 w 285363"/>
              <a:gd name="connsiteY5" fmla="*/ 146266 h 211028"/>
              <a:gd name="connsiteX6" fmla="*/ 162457 w 285363"/>
              <a:gd name="connsiteY6" fmla="*/ 0 h 211028"/>
              <a:gd name="connsiteX0" fmla="*/ 285363 w 285363"/>
              <a:gd name="connsiteY0" fmla="*/ 109293 h 211028"/>
              <a:gd name="connsiteX1" fmla="*/ 1618 w 285363"/>
              <a:gd name="connsiteY1" fmla="*/ 176975 h 211028"/>
              <a:gd name="connsiteX2" fmla="*/ 209441 w 285363"/>
              <a:gd name="connsiteY2" fmla="*/ 203105 h 211028"/>
              <a:gd name="connsiteX3" fmla="*/ 5339 w 285363"/>
              <a:gd name="connsiteY3" fmla="*/ 190856 h 211028"/>
              <a:gd name="connsiteX4" fmla="*/ 54546 w 285363"/>
              <a:gd name="connsiteY4" fmla="*/ 146266 h 211028"/>
              <a:gd name="connsiteX5" fmla="*/ 162457 w 285363"/>
              <a:gd name="connsiteY5" fmla="*/ 0 h 2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363" h="211028">
                <a:moveTo>
                  <a:pt x="285363" y="109293"/>
                </a:moveTo>
                <a:cubicBezTo>
                  <a:pt x="226250" y="123393"/>
                  <a:pt x="14272" y="161340"/>
                  <a:pt x="1618" y="176975"/>
                </a:cubicBezTo>
                <a:cubicBezTo>
                  <a:pt x="-11036" y="192610"/>
                  <a:pt x="150920" y="177464"/>
                  <a:pt x="209441" y="203105"/>
                </a:cubicBezTo>
                <a:cubicBezTo>
                  <a:pt x="271868" y="230454"/>
                  <a:pt x="72097" y="177114"/>
                  <a:pt x="5339" y="190856"/>
                </a:cubicBezTo>
                <a:cubicBezTo>
                  <a:pt x="-18791" y="195821"/>
                  <a:pt x="46208" y="152927"/>
                  <a:pt x="54546" y="146266"/>
                </a:cubicBezTo>
                <a:cubicBezTo>
                  <a:pt x="104329" y="106483"/>
                  <a:pt x="131076" y="54350"/>
                  <a:pt x="162457" y="0"/>
                </a:cubicBezTo>
              </a:path>
            </a:pathLst>
          </a:custGeom>
          <a:noFill/>
          <a:ln w="19050" cap="rnd">
            <a:solidFill>
              <a:srgbClr val="00595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FAA89188-160A-350E-3C02-5AC7354D9731}"/>
              </a:ext>
            </a:extLst>
          </p:cNvPr>
          <p:cNvSpPr>
            <a:spLocks/>
          </p:cNvSpPr>
          <p:nvPr/>
        </p:nvSpPr>
        <p:spPr>
          <a:xfrm>
            <a:off x="8779964" y="1584374"/>
            <a:ext cx="3052035" cy="2263502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incipper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Fra kompleksitet til enkelt og anvendeligt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0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- Løbende udvikling med feedback</a:t>
            </a:r>
            <a:endParaRPr lang="da-DK" sz="100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0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S</a:t>
            </a:r>
            <a:r>
              <a:rPr lang="da-DK" sz="10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marbejde med andre initiativer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000" kern="1200" cap="none" spc="0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Gratis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1435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E3472-9EBE-1C7F-D777-CECBA53FDC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51E90A-7252-D62A-FA28-1AB9B68F93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1E90A-7252-D62A-FA28-1AB9B68F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15" name="Group 1314">
            <a:extLst>
              <a:ext uri="{FF2B5EF4-FFF2-40B4-BE49-F238E27FC236}">
                <a16:creationId xmlns:a16="http://schemas.microsoft.com/office/drawing/2014/main" id="{D6D7DB69-6D4B-A51B-427D-B79AB91855DF}"/>
              </a:ext>
            </a:extLst>
          </p:cNvPr>
          <p:cNvGrpSpPr/>
          <p:nvPr/>
        </p:nvGrpSpPr>
        <p:grpSpPr>
          <a:xfrm>
            <a:off x="10991301" y="3584214"/>
            <a:ext cx="278478" cy="580835"/>
            <a:chOff x="6489723" y="5343074"/>
            <a:chExt cx="122249" cy="381840"/>
          </a:xfrm>
        </p:grpSpPr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6AF7C796-C370-D33F-F5A3-E671DF09854A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E629A7C-3810-8E88-8C77-7C904CB95F29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5C83BCFC-1455-7F86-3B57-0639D50DD83D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6E779459-765B-B685-89D3-7A859FE01570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18A70D4E-1963-BB6D-AF74-DAF65318278A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F7D1F80E-3B36-43E9-3604-D63888F98E2C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AFF5B5DD-3C85-876F-1B4D-9462BA7145A6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37C122DF-F5EB-DF63-8D66-7569D4830B3C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5A341A19-DC0A-1E54-A8F0-E9502523C016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13B10CD9-AD9B-D9B5-E65E-C99B3672B1A9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e-DE">
                <a:solidFill>
                  <a:srgbClr val="000000"/>
                </a:solidFill>
                <a:latin typeface="DM Sans 14pt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E7E6049D-E7CF-EA87-E5D8-25702A161B30}"/>
              </a:ext>
            </a:extLst>
          </p:cNvPr>
          <p:cNvSpPr/>
          <p:nvPr/>
        </p:nvSpPr>
        <p:spPr>
          <a:xfrm>
            <a:off x="8896351" y="4597744"/>
            <a:ext cx="2720534" cy="365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 prioriterede </a:t>
            </a:r>
          </a:p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ålepunkter </a:t>
            </a:r>
            <a:r>
              <a:rPr lang="da-DK" sz="10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august 2024)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fter workshops med branchen og interessenter og styregruppens endelige beslutning blev 14 målepunkter prioriteret til hurtig, central dataunderstøttelse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2805E7F-B89D-9A6A-7BB1-8CD9F698B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/>
          <a:p>
            <a:r>
              <a:rPr lang="da-DK"/>
              <a:t>Vejen til ESG-standarde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0DFF767-430B-3EE5-3D3E-B0C4460490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/>
              <a:pPr/>
              <a:t>7</a:t>
            </a:fld>
            <a:endParaRPr lang="da-DK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848DEEAD-7FD5-EB7D-1EBA-3AE2C69758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6E01CC3E-7AD5-26D6-1C75-F1609D5CA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sz="1600"/>
              <a:t>Vi har fundet målepunkterne gennem en grundig, metodisk proces. Nu skal der udvikles indikatorer i samarbejde med eksperter fra det almene og omverdenen. Standarden bliver færdig i løbet af 2025.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1C3010-EEE3-6A2F-A23B-51AB9F6AB6F5}"/>
              </a:ext>
            </a:extLst>
          </p:cNvPr>
          <p:cNvSpPr/>
          <p:nvPr/>
        </p:nvSpPr>
        <p:spPr>
          <a:xfrm>
            <a:off x="6116204" y="2209791"/>
            <a:ext cx="2389943" cy="4966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Dobbelt </a:t>
            </a:r>
          </a:p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Væsentlighedsanalyser </a:t>
            </a:r>
            <a:r>
              <a:rPr lang="da-DK" sz="1000" b="1">
                <a:solidFill>
                  <a:srgbClr val="000000"/>
                </a:solidFill>
                <a:latin typeface="Verdana"/>
                <a:ea typeface="Verdana"/>
              </a:rPr>
              <a:t>(maj/juni 2024) </a:t>
            </a:r>
          </a:p>
          <a:p>
            <a:pPr defTabSz="914309">
              <a:defRPr/>
            </a:pPr>
            <a:endParaRPr lang="da-DK" sz="1400">
              <a:solidFill>
                <a:srgbClr val="005950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/>
                <a:ea typeface="Verdana"/>
              </a:rPr>
              <a:t>Identifikation af væsentlige emner i relation til CSRD for en arketypisk bolig- og administrationsorganisation (find resultatet på hjemmesiden)</a:t>
            </a:r>
            <a:endParaRPr lang="da-DK" sz="1200">
              <a:solidFill>
                <a:srgbClr val="0059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F3C42-449A-AB70-BE4E-42A1D0C6DABE}"/>
              </a:ext>
            </a:extLst>
          </p:cNvPr>
          <p:cNvSpPr/>
          <p:nvPr/>
        </p:nvSpPr>
        <p:spPr>
          <a:xfrm>
            <a:off x="9058275" y="2215665"/>
            <a:ext cx="2160331" cy="365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Bruttoliste af målepunkter </a:t>
            </a:r>
            <a:r>
              <a:rPr lang="da-DK" sz="1000" b="1">
                <a:solidFill>
                  <a:srgbClr val="000000"/>
                </a:solidFill>
                <a:latin typeface="Verdana"/>
                <a:ea typeface="Verdana"/>
              </a:rPr>
              <a:t>(juni 2024)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/>
                <a:ea typeface="Verdana"/>
              </a:rPr>
              <a:t>På baggrund af forudgående analyser blev potentielle målepunkter indstillet til videre prioritering</a:t>
            </a:r>
            <a:endParaRPr lang="da-DK" sz="1200">
              <a:solidFill>
                <a:srgbClr val="0059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B817445-79DF-1C6A-C01E-DCF4490FE64C}"/>
              </a:ext>
            </a:extLst>
          </p:cNvPr>
          <p:cNvCxnSpPr>
            <a:stCxn id="12" idx="0"/>
          </p:cNvCxnSpPr>
          <p:nvPr/>
        </p:nvCxnSpPr>
        <p:spPr>
          <a:xfrm>
            <a:off x="572283" y="2105278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033F14E-6F34-CFE1-0073-FB8E0F7B2042}"/>
              </a:ext>
            </a:extLst>
          </p:cNvPr>
          <p:cNvCxnSpPr>
            <a:cxnSpLocks/>
          </p:cNvCxnSpPr>
          <p:nvPr/>
        </p:nvCxnSpPr>
        <p:spPr>
          <a:xfrm>
            <a:off x="3243293" y="2069969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38AB281-9C59-0EC3-45DD-9C6C92F53775}"/>
              </a:ext>
            </a:extLst>
          </p:cNvPr>
          <p:cNvCxnSpPr>
            <a:cxnSpLocks/>
          </p:cNvCxnSpPr>
          <p:nvPr/>
        </p:nvCxnSpPr>
        <p:spPr>
          <a:xfrm>
            <a:off x="8769959" y="4638675"/>
            <a:ext cx="0" cy="1634755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C842F98-74AF-7138-11A9-3657545C4912}"/>
              </a:ext>
            </a:extLst>
          </p:cNvPr>
          <p:cNvCxnSpPr>
            <a:cxnSpLocks/>
          </p:cNvCxnSpPr>
          <p:nvPr/>
        </p:nvCxnSpPr>
        <p:spPr>
          <a:xfrm>
            <a:off x="8895690" y="2149615"/>
            <a:ext cx="0" cy="1669250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A651090-7AC0-3823-AA0F-548200C47369}"/>
              </a:ext>
            </a:extLst>
          </p:cNvPr>
          <p:cNvGrpSpPr/>
          <p:nvPr/>
        </p:nvGrpSpPr>
        <p:grpSpPr>
          <a:xfrm>
            <a:off x="-36478" y="1788819"/>
            <a:ext cx="11780804" cy="2611731"/>
            <a:chOff x="-36478" y="1788819"/>
            <a:chExt cx="11780804" cy="2844236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518AA1D-7673-39FB-DCE7-496F459ED9FE}"/>
                </a:ext>
              </a:extLst>
            </p:cNvPr>
            <p:cNvSpPr/>
            <p:nvPr/>
          </p:nvSpPr>
          <p:spPr>
            <a:xfrm>
              <a:off x="-36478" y="1788819"/>
              <a:ext cx="11780804" cy="2844236"/>
            </a:xfrm>
            <a:custGeom>
              <a:avLst/>
              <a:gdLst>
                <a:gd name="connsiteX0" fmla="*/ 533470 w 11780804"/>
                <a:gd name="connsiteY0" fmla="*/ 0 h 2844236"/>
                <a:gd name="connsiteX1" fmla="*/ 1606026 w 11780804"/>
                <a:gd name="connsiteY1" fmla="*/ 10047 h 2844236"/>
                <a:gd name="connsiteX2" fmla="*/ 1983406 w 11780804"/>
                <a:gd name="connsiteY2" fmla="*/ 10047 h 2844236"/>
                <a:gd name="connsiteX3" fmla="*/ 4466175 w 11780804"/>
                <a:gd name="connsiteY3" fmla="*/ 30141 h 2844236"/>
                <a:gd name="connsiteX4" fmla="*/ 6214043 w 11780804"/>
                <a:gd name="connsiteY4" fmla="*/ 60282 h 2844236"/>
                <a:gd name="connsiteX5" fmla="*/ 6968804 w 11780804"/>
                <a:gd name="connsiteY5" fmla="*/ 30141 h 2844236"/>
                <a:gd name="connsiteX6" fmla="*/ 7991705 w 11780804"/>
                <a:gd name="connsiteY6" fmla="*/ 60282 h 2844236"/>
                <a:gd name="connsiteX7" fmla="*/ 8838763 w 11780804"/>
                <a:gd name="connsiteY7" fmla="*/ 60282 h 2844236"/>
                <a:gd name="connsiteX8" fmla="*/ 9971126 w 11780804"/>
                <a:gd name="connsiteY8" fmla="*/ 0 h 2844236"/>
                <a:gd name="connsiteX9" fmla="*/ 11477456 w 11780804"/>
                <a:gd name="connsiteY9" fmla="*/ 351648 h 2844236"/>
                <a:gd name="connsiteX10" fmla="*/ 11467965 w 11780804"/>
                <a:gd name="connsiteY10" fmla="*/ 2551950 h 2844236"/>
                <a:gd name="connsiteX11" fmla="*/ 9878609 w 11780804"/>
                <a:gd name="connsiteY11" fmla="*/ 2823220 h 2844236"/>
                <a:gd name="connsiteX12" fmla="*/ 9312537 w 11780804"/>
                <a:gd name="connsiteY12" fmla="*/ 2823220 h 2844236"/>
                <a:gd name="connsiteX13" fmla="*/ 7266737 w 11780804"/>
                <a:gd name="connsiteY13" fmla="*/ 2783032 h 2844236"/>
                <a:gd name="connsiteX14" fmla="*/ 6651010 w 11780804"/>
                <a:gd name="connsiteY14" fmla="*/ 2803125 h 2844236"/>
                <a:gd name="connsiteX15" fmla="*/ 6511975 w 11780804"/>
                <a:gd name="connsiteY15" fmla="*/ 2793079 h 2844236"/>
                <a:gd name="connsiteX16" fmla="*/ 4714452 w 11780804"/>
                <a:gd name="connsiteY16" fmla="*/ 2843314 h 2844236"/>
                <a:gd name="connsiteX17" fmla="*/ 3880241 w 11780804"/>
                <a:gd name="connsiteY17" fmla="*/ 2823220 h 2844236"/>
                <a:gd name="connsiteX18" fmla="*/ 2897065 w 11780804"/>
                <a:gd name="connsiteY18" fmla="*/ 2803125 h 2844236"/>
                <a:gd name="connsiteX19" fmla="*/ 1854302 w 11780804"/>
                <a:gd name="connsiteY19" fmla="*/ 2813173 h 2844236"/>
                <a:gd name="connsiteX20" fmla="*/ 0 w 11780804"/>
                <a:gd name="connsiteY20" fmla="*/ 2793077 h 2844236"/>
                <a:gd name="connsiteX21" fmla="*/ 168568 w 11780804"/>
                <a:gd name="connsiteY21" fmla="*/ 1049632 h 2844236"/>
                <a:gd name="connsiteX22" fmla="*/ 388902 w 11780804"/>
                <a:gd name="connsiteY22" fmla="*/ 1049632 h 2844236"/>
                <a:gd name="connsiteX23" fmla="*/ 388902 w 11780804"/>
                <a:gd name="connsiteY23" fmla="*/ 3854 h 2844236"/>
                <a:gd name="connsiteX24" fmla="*/ 394191 w 11780804"/>
                <a:gd name="connsiteY24" fmla="*/ 3258 h 2844236"/>
                <a:gd name="connsiteX25" fmla="*/ 533470 w 11780804"/>
                <a:gd name="connsiteY25" fmla="*/ 0 h 2844236"/>
                <a:gd name="connsiteX0" fmla="*/ 394191 w 11780804"/>
                <a:gd name="connsiteY0" fmla="*/ 3258 h 2844236"/>
                <a:gd name="connsiteX1" fmla="*/ 533470 w 11780804"/>
                <a:gd name="connsiteY1" fmla="*/ 0 h 2844236"/>
                <a:gd name="connsiteX2" fmla="*/ 1606026 w 11780804"/>
                <a:gd name="connsiteY2" fmla="*/ 10047 h 2844236"/>
                <a:gd name="connsiteX3" fmla="*/ 1983406 w 11780804"/>
                <a:gd name="connsiteY3" fmla="*/ 10047 h 2844236"/>
                <a:gd name="connsiteX4" fmla="*/ 4466175 w 11780804"/>
                <a:gd name="connsiteY4" fmla="*/ 30141 h 2844236"/>
                <a:gd name="connsiteX5" fmla="*/ 6214043 w 11780804"/>
                <a:gd name="connsiteY5" fmla="*/ 60282 h 2844236"/>
                <a:gd name="connsiteX6" fmla="*/ 6968804 w 11780804"/>
                <a:gd name="connsiteY6" fmla="*/ 30141 h 2844236"/>
                <a:gd name="connsiteX7" fmla="*/ 7991705 w 11780804"/>
                <a:gd name="connsiteY7" fmla="*/ 60282 h 2844236"/>
                <a:gd name="connsiteX8" fmla="*/ 8838763 w 11780804"/>
                <a:gd name="connsiteY8" fmla="*/ 60282 h 2844236"/>
                <a:gd name="connsiteX9" fmla="*/ 9971126 w 11780804"/>
                <a:gd name="connsiteY9" fmla="*/ 0 h 2844236"/>
                <a:gd name="connsiteX10" fmla="*/ 11477456 w 11780804"/>
                <a:gd name="connsiteY10" fmla="*/ 351648 h 2844236"/>
                <a:gd name="connsiteX11" fmla="*/ 11467965 w 11780804"/>
                <a:gd name="connsiteY11" fmla="*/ 2551950 h 2844236"/>
                <a:gd name="connsiteX12" fmla="*/ 9878609 w 11780804"/>
                <a:gd name="connsiteY12" fmla="*/ 2823220 h 2844236"/>
                <a:gd name="connsiteX13" fmla="*/ 9312537 w 11780804"/>
                <a:gd name="connsiteY13" fmla="*/ 2823220 h 2844236"/>
                <a:gd name="connsiteX14" fmla="*/ 7266737 w 11780804"/>
                <a:gd name="connsiteY14" fmla="*/ 2783032 h 2844236"/>
                <a:gd name="connsiteX15" fmla="*/ 6651010 w 11780804"/>
                <a:gd name="connsiteY15" fmla="*/ 2803125 h 2844236"/>
                <a:gd name="connsiteX16" fmla="*/ 6511975 w 11780804"/>
                <a:gd name="connsiteY16" fmla="*/ 2793079 h 2844236"/>
                <a:gd name="connsiteX17" fmla="*/ 4714452 w 11780804"/>
                <a:gd name="connsiteY17" fmla="*/ 2843314 h 2844236"/>
                <a:gd name="connsiteX18" fmla="*/ 3880241 w 11780804"/>
                <a:gd name="connsiteY18" fmla="*/ 2823220 h 2844236"/>
                <a:gd name="connsiteX19" fmla="*/ 2897065 w 11780804"/>
                <a:gd name="connsiteY19" fmla="*/ 2803125 h 2844236"/>
                <a:gd name="connsiteX20" fmla="*/ 1854302 w 11780804"/>
                <a:gd name="connsiteY20" fmla="*/ 2813173 h 2844236"/>
                <a:gd name="connsiteX21" fmla="*/ 0 w 11780804"/>
                <a:gd name="connsiteY21" fmla="*/ 2793077 h 2844236"/>
                <a:gd name="connsiteX22" fmla="*/ 168568 w 11780804"/>
                <a:gd name="connsiteY22" fmla="*/ 1049632 h 2844236"/>
                <a:gd name="connsiteX23" fmla="*/ 388902 w 11780804"/>
                <a:gd name="connsiteY23" fmla="*/ 1049632 h 2844236"/>
                <a:gd name="connsiteX24" fmla="*/ 388902 w 11780804"/>
                <a:gd name="connsiteY24" fmla="*/ 3854 h 2844236"/>
                <a:gd name="connsiteX25" fmla="*/ 485631 w 11780804"/>
                <a:gd name="connsiteY25" fmla="*/ 94698 h 2844236"/>
                <a:gd name="connsiteX0" fmla="*/ 394191 w 11780804"/>
                <a:gd name="connsiteY0" fmla="*/ 3258 h 2844236"/>
                <a:gd name="connsiteX1" fmla="*/ 533470 w 11780804"/>
                <a:gd name="connsiteY1" fmla="*/ 0 h 2844236"/>
                <a:gd name="connsiteX2" fmla="*/ 1606026 w 11780804"/>
                <a:gd name="connsiteY2" fmla="*/ 10047 h 2844236"/>
                <a:gd name="connsiteX3" fmla="*/ 1983406 w 11780804"/>
                <a:gd name="connsiteY3" fmla="*/ 10047 h 2844236"/>
                <a:gd name="connsiteX4" fmla="*/ 4466175 w 11780804"/>
                <a:gd name="connsiteY4" fmla="*/ 30141 h 2844236"/>
                <a:gd name="connsiteX5" fmla="*/ 6214043 w 11780804"/>
                <a:gd name="connsiteY5" fmla="*/ 60282 h 2844236"/>
                <a:gd name="connsiteX6" fmla="*/ 6968804 w 11780804"/>
                <a:gd name="connsiteY6" fmla="*/ 30141 h 2844236"/>
                <a:gd name="connsiteX7" fmla="*/ 7991705 w 11780804"/>
                <a:gd name="connsiteY7" fmla="*/ 60282 h 2844236"/>
                <a:gd name="connsiteX8" fmla="*/ 8838763 w 11780804"/>
                <a:gd name="connsiteY8" fmla="*/ 60282 h 2844236"/>
                <a:gd name="connsiteX9" fmla="*/ 9971126 w 11780804"/>
                <a:gd name="connsiteY9" fmla="*/ 0 h 2844236"/>
                <a:gd name="connsiteX10" fmla="*/ 11477456 w 11780804"/>
                <a:gd name="connsiteY10" fmla="*/ 351648 h 2844236"/>
                <a:gd name="connsiteX11" fmla="*/ 11467965 w 11780804"/>
                <a:gd name="connsiteY11" fmla="*/ 2551950 h 2844236"/>
                <a:gd name="connsiteX12" fmla="*/ 9878609 w 11780804"/>
                <a:gd name="connsiteY12" fmla="*/ 2823220 h 2844236"/>
                <a:gd name="connsiteX13" fmla="*/ 9312537 w 11780804"/>
                <a:gd name="connsiteY13" fmla="*/ 2823220 h 2844236"/>
                <a:gd name="connsiteX14" fmla="*/ 7266737 w 11780804"/>
                <a:gd name="connsiteY14" fmla="*/ 2783032 h 2844236"/>
                <a:gd name="connsiteX15" fmla="*/ 6651010 w 11780804"/>
                <a:gd name="connsiteY15" fmla="*/ 2803125 h 2844236"/>
                <a:gd name="connsiteX16" fmla="*/ 6511975 w 11780804"/>
                <a:gd name="connsiteY16" fmla="*/ 2793079 h 2844236"/>
                <a:gd name="connsiteX17" fmla="*/ 4714452 w 11780804"/>
                <a:gd name="connsiteY17" fmla="*/ 2843314 h 2844236"/>
                <a:gd name="connsiteX18" fmla="*/ 3880241 w 11780804"/>
                <a:gd name="connsiteY18" fmla="*/ 2823220 h 2844236"/>
                <a:gd name="connsiteX19" fmla="*/ 2897065 w 11780804"/>
                <a:gd name="connsiteY19" fmla="*/ 2803125 h 2844236"/>
                <a:gd name="connsiteX20" fmla="*/ 1854302 w 11780804"/>
                <a:gd name="connsiteY20" fmla="*/ 2813173 h 2844236"/>
                <a:gd name="connsiteX21" fmla="*/ 0 w 11780804"/>
                <a:gd name="connsiteY21" fmla="*/ 2793077 h 2844236"/>
                <a:gd name="connsiteX22" fmla="*/ 168568 w 11780804"/>
                <a:gd name="connsiteY22" fmla="*/ 1049632 h 2844236"/>
                <a:gd name="connsiteX23" fmla="*/ 388902 w 11780804"/>
                <a:gd name="connsiteY23" fmla="*/ 1049632 h 2844236"/>
                <a:gd name="connsiteX24" fmla="*/ 388902 w 11780804"/>
                <a:gd name="connsiteY24" fmla="*/ 3854 h 2844236"/>
                <a:gd name="connsiteX0" fmla="*/ 394191 w 11780804"/>
                <a:gd name="connsiteY0" fmla="*/ 3258 h 2844236"/>
                <a:gd name="connsiteX1" fmla="*/ 533470 w 11780804"/>
                <a:gd name="connsiteY1" fmla="*/ 0 h 2844236"/>
                <a:gd name="connsiteX2" fmla="*/ 1606026 w 11780804"/>
                <a:gd name="connsiteY2" fmla="*/ 10047 h 2844236"/>
                <a:gd name="connsiteX3" fmla="*/ 1983406 w 11780804"/>
                <a:gd name="connsiteY3" fmla="*/ 10047 h 2844236"/>
                <a:gd name="connsiteX4" fmla="*/ 4466175 w 11780804"/>
                <a:gd name="connsiteY4" fmla="*/ 30141 h 2844236"/>
                <a:gd name="connsiteX5" fmla="*/ 6214043 w 11780804"/>
                <a:gd name="connsiteY5" fmla="*/ 60282 h 2844236"/>
                <a:gd name="connsiteX6" fmla="*/ 6968804 w 11780804"/>
                <a:gd name="connsiteY6" fmla="*/ 30141 h 2844236"/>
                <a:gd name="connsiteX7" fmla="*/ 7991705 w 11780804"/>
                <a:gd name="connsiteY7" fmla="*/ 60282 h 2844236"/>
                <a:gd name="connsiteX8" fmla="*/ 8838763 w 11780804"/>
                <a:gd name="connsiteY8" fmla="*/ 60282 h 2844236"/>
                <a:gd name="connsiteX9" fmla="*/ 9971126 w 11780804"/>
                <a:gd name="connsiteY9" fmla="*/ 0 h 2844236"/>
                <a:gd name="connsiteX10" fmla="*/ 11477456 w 11780804"/>
                <a:gd name="connsiteY10" fmla="*/ 351648 h 2844236"/>
                <a:gd name="connsiteX11" fmla="*/ 11467965 w 11780804"/>
                <a:gd name="connsiteY11" fmla="*/ 2551950 h 2844236"/>
                <a:gd name="connsiteX12" fmla="*/ 9878609 w 11780804"/>
                <a:gd name="connsiteY12" fmla="*/ 2823220 h 2844236"/>
                <a:gd name="connsiteX13" fmla="*/ 9312537 w 11780804"/>
                <a:gd name="connsiteY13" fmla="*/ 2823220 h 2844236"/>
                <a:gd name="connsiteX14" fmla="*/ 7266737 w 11780804"/>
                <a:gd name="connsiteY14" fmla="*/ 2783032 h 2844236"/>
                <a:gd name="connsiteX15" fmla="*/ 6651010 w 11780804"/>
                <a:gd name="connsiteY15" fmla="*/ 2803125 h 2844236"/>
                <a:gd name="connsiteX16" fmla="*/ 6511975 w 11780804"/>
                <a:gd name="connsiteY16" fmla="*/ 2793079 h 2844236"/>
                <a:gd name="connsiteX17" fmla="*/ 4714452 w 11780804"/>
                <a:gd name="connsiteY17" fmla="*/ 2843314 h 2844236"/>
                <a:gd name="connsiteX18" fmla="*/ 3880241 w 11780804"/>
                <a:gd name="connsiteY18" fmla="*/ 2823220 h 2844236"/>
                <a:gd name="connsiteX19" fmla="*/ 2897065 w 11780804"/>
                <a:gd name="connsiteY19" fmla="*/ 2803125 h 2844236"/>
                <a:gd name="connsiteX20" fmla="*/ 1854302 w 11780804"/>
                <a:gd name="connsiteY20" fmla="*/ 2813173 h 2844236"/>
                <a:gd name="connsiteX21" fmla="*/ 0 w 11780804"/>
                <a:gd name="connsiteY21" fmla="*/ 2793077 h 2844236"/>
                <a:gd name="connsiteX22" fmla="*/ 168568 w 11780804"/>
                <a:gd name="connsiteY22" fmla="*/ 1049632 h 2844236"/>
                <a:gd name="connsiteX23" fmla="*/ 388902 w 11780804"/>
                <a:gd name="connsiteY23" fmla="*/ 1049632 h 2844236"/>
                <a:gd name="connsiteX0" fmla="*/ 394191 w 11780804"/>
                <a:gd name="connsiteY0" fmla="*/ 3258 h 2844236"/>
                <a:gd name="connsiteX1" fmla="*/ 533470 w 11780804"/>
                <a:gd name="connsiteY1" fmla="*/ 0 h 2844236"/>
                <a:gd name="connsiteX2" fmla="*/ 1606026 w 11780804"/>
                <a:gd name="connsiteY2" fmla="*/ 10047 h 2844236"/>
                <a:gd name="connsiteX3" fmla="*/ 1983406 w 11780804"/>
                <a:gd name="connsiteY3" fmla="*/ 10047 h 2844236"/>
                <a:gd name="connsiteX4" fmla="*/ 4466175 w 11780804"/>
                <a:gd name="connsiteY4" fmla="*/ 30141 h 2844236"/>
                <a:gd name="connsiteX5" fmla="*/ 6214043 w 11780804"/>
                <a:gd name="connsiteY5" fmla="*/ 60282 h 2844236"/>
                <a:gd name="connsiteX6" fmla="*/ 6968804 w 11780804"/>
                <a:gd name="connsiteY6" fmla="*/ 30141 h 2844236"/>
                <a:gd name="connsiteX7" fmla="*/ 7991705 w 11780804"/>
                <a:gd name="connsiteY7" fmla="*/ 60282 h 2844236"/>
                <a:gd name="connsiteX8" fmla="*/ 8838763 w 11780804"/>
                <a:gd name="connsiteY8" fmla="*/ 60282 h 2844236"/>
                <a:gd name="connsiteX9" fmla="*/ 9971126 w 11780804"/>
                <a:gd name="connsiteY9" fmla="*/ 0 h 2844236"/>
                <a:gd name="connsiteX10" fmla="*/ 11477456 w 11780804"/>
                <a:gd name="connsiteY10" fmla="*/ 351648 h 2844236"/>
                <a:gd name="connsiteX11" fmla="*/ 11467965 w 11780804"/>
                <a:gd name="connsiteY11" fmla="*/ 2551950 h 2844236"/>
                <a:gd name="connsiteX12" fmla="*/ 9878609 w 11780804"/>
                <a:gd name="connsiteY12" fmla="*/ 2823220 h 2844236"/>
                <a:gd name="connsiteX13" fmla="*/ 9312537 w 11780804"/>
                <a:gd name="connsiteY13" fmla="*/ 2823220 h 2844236"/>
                <a:gd name="connsiteX14" fmla="*/ 7266737 w 11780804"/>
                <a:gd name="connsiteY14" fmla="*/ 2783032 h 2844236"/>
                <a:gd name="connsiteX15" fmla="*/ 6651010 w 11780804"/>
                <a:gd name="connsiteY15" fmla="*/ 2803125 h 2844236"/>
                <a:gd name="connsiteX16" fmla="*/ 6511975 w 11780804"/>
                <a:gd name="connsiteY16" fmla="*/ 2793079 h 2844236"/>
                <a:gd name="connsiteX17" fmla="*/ 4714452 w 11780804"/>
                <a:gd name="connsiteY17" fmla="*/ 2843314 h 2844236"/>
                <a:gd name="connsiteX18" fmla="*/ 3880241 w 11780804"/>
                <a:gd name="connsiteY18" fmla="*/ 2823220 h 2844236"/>
                <a:gd name="connsiteX19" fmla="*/ 2897065 w 11780804"/>
                <a:gd name="connsiteY19" fmla="*/ 2803125 h 2844236"/>
                <a:gd name="connsiteX20" fmla="*/ 1854302 w 11780804"/>
                <a:gd name="connsiteY20" fmla="*/ 2813173 h 2844236"/>
                <a:gd name="connsiteX21" fmla="*/ 0 w 11780804"/>
                <a:gd name="connsiteY21" fmla="*/ 2793077 h 2844236"/>
                <a:gd name="connsiteX22" fmla="*/ 168568 w 11780804"/>
                <a:gd name="connsiteY22" fmla="*/ 1049632 h 2844236"/>
                <a:gd name="connsiteX0" fmla="*/ 394191 w 11780804"/>
                <a:gd name="connsiteY0" fmla="*/ 3258 h 2844236"/>
                <a:gd name="connsiteX1" fmla="*/ 533470 w 11780804"/>
                <a:gd name="connsiteY1" fmla="*/ 0 h 2844236"/>
                <a:gd name="connsiteX2" fmla="*/ 1606026 w 11780804"/>
                <a:gd name="connsiteY2" fmla="*/ 10047 h 2844236"/>
                <a:gd name="connsiteX3" fmla="*/ 1983406 w 11780804"/>
                <a:gd name="connsiteY3" fmla="*/ 10047 h 2844236"/>
                <a:gd name="connsiteX4" fmla="*/ 4466175 w 11780804"/>
                <a:gd name="connsiteY4" fmla="*/ 30141 h 2844236"/>
                <a:gd name="connsiteX5" fmla="*/ 6214043 w 11780804"/>
                <a:gd name="connsiteY5" fmla="*/ 60282 h 2844236"/>
                <a:gd name="connsiteX6" fmla="*/ 6968804 w 11780804"/>
                <a:gd name="connsiteY6" fmla="*/ 30141 h 2844236"/>
                <a:gd name="connsiteX7" fmla="*/ 7991705 w 11780804"/>
                <a:gd name="connsiteY7" fmla="*/ 60282 h 2844236"/>
                <a:gd name="connsiteX8" fmla="*/ 8838763 w 11780804"/>
                <a:gd name="connsiteY8" fmla="*/ 60282 h 2844236"/>
                <a:gd name="connsiteX9" fmla="*/ 9971126 w 11780804"/>
                <a:gd name="connsiteY9" fmla="*/ 0 h 2844236"/>
                <a:gd name="connsiteX10" fmla="*/ 11477456 w 11780804"/>
                <a:gd name="connsiteY10" fmla="*/ 351648 h 2844236"/>
                <a:gd name="connsiteX11" fmla="*/ 11467965 w 11780804"/>
                <a:gd name="connsiteY11" fmla="*/ 2551950 h 2844236"/>
                <a:gd name="connsiteX12" fmla="*/ 9878609 w 11780804"/>
                <a:gd name="connsiteY12" fmla="*/ 2823220 h 2844236"/>
                <a:gd name="connsiteX13" fmla="*/ 9312537 w 11780804"/>
                <a:gd name="connsiteY13" fmla="*/ 2823220 h 2844236"/>
                <a:gd name="connsiteX14" fmla="*/ 7266737 w 11780804"/>
                <a:gd name="connsiteY14" fmla="*/ 2783032 h 2844236"/>
                <a:gd name="connsiteX15" fmla="*/ 6651010 w 11780804"/>
                <a:gd name="connsiteY15" fmla="*/ 2803125 h 2844236"/>
                <a:gd name="connsiteX16" fmla="*/ 6511975 w 11780804"/>
                <a:gd name="connsiteY16" fmla="*/ 2793079 h 2844236"/>
                <a:gd name="connsiteX17" fmla="*/ 4714452 w 11780804"/>
                <a:gd name="connsiteY17" fmla="*/ 2843314 h 2844236"/>
                <a:gd name="connsiteX18" fmla="*/ 3880241 w 11780804"/>
                <a:gd name="connsiteY18" fmla="*/ 2823220 h 2844236"/>
                <a:gd name="connsiteX19" fmla="*/ 2897065 w 11780804"/>
                <a:gd name="connsiteY19" fmla="*/ 2803125 h 2844236"/>
                <a:gd name="connsiteX20" fmla="*/ 1854302 w 11780804"/>
                <a:gd name="connsiteY20" fmla="*/ 2813173 h 2844236"/>
                <a:gd name="connsiteX21" fmla="*/ 0 w 11780804"/>
                <a:gd name="connsiteY21" fmla="*/ 2793077 h 284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0804" h="2844236">
                  <a:moveTo>
                    <a:pt x="394191" y="3258"/>
                  </a:moveTo>
                  <a:cubicBezTo>
                    <a:pt x="422825" y="1622"/>
                    <a:pt x="466022" y="419"/>
                    <a:pt x="533470" y="0"/>
                  </a:cubicBezTo>
                  <a:lnTo>
                    <a:pt x="1606026" y="10047"/>
                  </a:lnTo>
                  <a:lnTo>
                    <a:pt x="1983406" y="10047"/>
                  </a:lnTo>
                  <a:lnTo>
                    <a:pt x="4466175" y="30141"/>
                  </a:lnTo>
                  <a:lnTo>
                    <a:pt x="6214043" y="60282"/>
                  </a:lnTo>
                  <a:cubicBezTo>
                    <a:pt x="6631148" y="60282"/>
                    <a:pt x="6672527" y="30141"/>
                    <a:pt x="6968804" y="30141"/>
                  </a:cubicBezTo>
                  <a:cubicBezTo>
                    <a:pt x="7265081" y="30141"/>
                    <a:pt x="7680046" y="55259"/>
                    <a:pt x="7991705" y="60282"/>
                  </a:cubicBezTo>
                  <a:cubicBezTo>
                    <a:pt x="8303365" y="65306"/>
                    <a:pt x="8592141" y="61957"/>
                    <a:pt x="8838763" y="60282"/>
                  </a:cubicBezTo>
                  <a:lnTo>
                    <a:pt x="9971126" y="0"/>
                  </a:lnTo>
                  <a:cubicBezTo>
                    <a:pt x="10282299" y="6698"/>
                    <a:pt x="10990251" y="5267"/>
                    <a:pt x="11477456" y="351648"/>
                  </a:cubicBezTo>
                  <a:cubicBezTo>
                    <a:pt x="11910580" y="659580"/>
                    <a:pt x="11855143" y="2253733"/>
                    <a:pt x="11467965" y="2551950"/>
                  </a:cubicBezTo>
                  <a:cubicBezTo>
                    <a:pt x="11102731" y="2833267"/>
                    <a:pt x="10265829" y="2783032"/>
                    <a:pt x="9878609" y="2823220"/>
                  </a:cubicBezTo>
                  <a:cubicBezTo>
                    <a:pt x="9635297" y="2823220"/>
                    <a:pt x="9747849" y="2829918"/>
                    <a:pt x="9312537" y="2823220"/>
                  </a:cubicBezTo>
                  <a:lnTo>
                    <a:pt x="7266737" y="2783032"/>
                  </a:lnTo>
                  <a:cubicBezTo>
                    <a:pt x="6823149" y="2779684"/>
                    <a:pt x="6856252" y="2796427"/>
                    <a:pt x="6651010" y="2803125"/>
                  </a:cubicBezTo>
                  <a:cubicBezTo>
                    <a:pt x="6604572" y="2801560"/>
                    <a:pt x="6558428" y="2792115"/>
                    <a:pt x="6511975" y="2793079"/>
                  </a:cubicBezTo>
                  <a:lnTo>
                    <a:pt x="4714452" y="2843314"/>
                  </a:lnTo>
                  <a:cubicBezTo>
                    <a:pt x="4275829" y="2848338"/>
                    <a:pt x="4173207" y="2831593"/>
                    <a:pt x="3880241" y="2823220"/>
                  </a:cubicBezTo>
                  <a:lnTo>
                    <a:pt x="2897065" y="2803125"/>
                  </a:lnTo>
                  <a:lnTo>
                    <a:pt x="1854302" y="2813173"/>
                  </a:lnTo>
                  <a:lnTo>
                    <a:pt x="0" y="2793077"/>
                  </a:lnTo>
                </a:path>
              </a:pathLst>
            </a:custGeom>
            <a:noFill/>
            <a:ln w="2000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14309">
                <a:defRPr/>
              </a:pPr>
              <a:endParaRPr lang="da-DK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10E1A65-017A-6E74-D053-54D85CA5D328}"/>
                </a:ext>
              </a:extLst>
            </p:cNvPr>
            <p:cNvSpPr/>
            <p:nvPr/>
          </p:nvSpPr>
          <p:spPr>
            <a:xfrm>
              <a:off x="-36478" y="1788819"/>
              <a:ext cx="11780804" cy="2844236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290220 w 11919928"/>
                <a:gd name="connsiteY0" fmla="*/ 10572 h 2844606"/>
                <a:gd name="connsiteX1" fmla="*/ 539770 w 11919928"/>
                <a:gd name="connsiteY1" fmla="*/ 0 h 2844606"/>
                <a:gd name="connsiteX2" fmla="*/ 1624992 w 11919928"/>
                <a:gd name="connsiteY2" fmla="*/ 10048 h 2844606"/>
                <a:gd name="connsiteX3" fmla="*/ 2006829 w 11919928"/>
                <a:gd name="connsiteY3" fmla="*/ 10048 h 2844606"/>
                <a:gd name="connsiteX4" fmla="*/ 4518917 w 11919928"/>
                <a:gd name="connsiteY4" fmla="*/ 30145 h 2844606"/>
                <a:gd name="connsiteX5" fmla="*/ 6287427 w 11919928"/>
                <a:gd name="connsiteY5" fmla="*/ 60290 h 2844606"/>
                <a:gd name="connsiteX6" fmla="*/ 7051101 w 11919928"/>
                <a:gd name="connsiteY6" fmla="*/ 30145 h 2844606"/>
                <a:gd name="connsiteX7" fmla="*/ 8086082 w 11919928"/>
                <a:gd name="connsiteY7" fmla="*/ 60290 h 2844606"/>
                <a:gd name="connsiteX8" fmla="*/ 8943143 w 11919928"/>
                <a:gd name="connsiteY8" fmla="*/ 60290 h 2844606"/>
                <a:gd name="connsiteX9" fmla="*/ 10088879 w 11919928"/>
                <a:gd name="connsiteY9" fmla="*/ 0 h 2844606"/>
                <a:gd name="connsiteX10" fmla="*/ 11612998 w 11919928"/>
                <a:gd name="connsiteY10" fmla="*/ 351694 h 2844606"/>
                <a:gd name="connsiteX11" fmla="*/ 11603395 w 11919928"/>
                <a:gd name="connsiteY11" fmla="*/ 2552282 h 2844606"/>
                <a:gd name="connsiteX12" fmla="*/ 9995269 w 11919928"/>
                <a:gd name="connsiteY12" fmla="*/ 2823587 h 2844606"/>
                <a:gd name="connsiteX13" fmla="*/ 9422512 w 11919928"/>
                <a:gd name="connsiteY13" fmla="*/ 2823587 h 2844606"/>
                <a:gd name="connsiteX14" fmla="*/ 7352552 w 11919928"/>
                <a:gd name="connsiteY14" fmla="*/ 2783394 h 2844606"/>
                <a:gd name="connsiteX15" fmla="*/ 6729554 w 11919928"/>
                <a:gd name="connsiteY15" fmla="*/ 2803490 h 2844606"/>
                <a:gd name="connsiteX16" fmla="*/ 6588877 w 11919928"/>
                <a:gd name="connsiteY16" fmla="*/ 2793442 h 2844606"/>
                <a:gd name="connsiteX17" fmla="*/ 4770126 w 11919928"/>
                <a:gd name="connsiteY17" fmla="*/ 2843684 h 2844606"/>
                <a:gd name="connsiteX18" fmla="*/ 3926064 w 11919928"/>
                <a:gd name="connsiteY18" fmla="*/ 2823587 h 2844606"/>
                <a:gd name="connsiteX19" fmla="*/ 2931277 w 11919928"/>
                <a:gd name="connsiteY19" fmla="*/ 2803490 h 2844606"/>
                <a:gd name="connsiteX20" fmla="*/ 1876200 w 11919928"/>
                <a:gd name="connsiteY20" fmla="*/ 2813539 h 2844606"/>
                <a:gd name="connsiteX21" fmla="*/ 0 w 11919928"/>
                <a:gd name="connsiteY21" fmla="*/ 2793440 h 28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919928" h="2844606">
                  <a:moveTo>
                    <a:pt x="290220" y="10572"/>
                  </a:moveTo>
                  <a:cubicBezTo>
                    <a:pt x="405357" y="6385"/>
                    <a:pt x="266790" y="1675"/>
                    <a:pt x="539770" y="0"/>
                  </a:cubicBezTo>
                  <a:lnTo>
                    <a:pt x="1624992" y="10048"/>
                  </a:lnTo>
                  <a:lnTo>
                    <a:pt x="2006829" y="10048"/>
                  </a:lnTo>
                  <a:lnTo>
                    <a:pt x="4518917" y="30145"/>
                  </a:lnTo>
                  <a:lnTo>
                    <a:pt x="6287427" y="60290"/>
                  </a:lnTo>
                  <a:cubicBezTo>
                    <a:pt x="6709458" y="60290"/>
                    <a:pt x="6751325" y="30145"/>
                    <a:pt x="7051101" y="30145"/>
                  </a:cubicBezTo>
                  <a:cubicBezTo>
                    <a:pt x="7350877" y="30145"/>
                    <a:pt x="7770742" y="55266"/>
                    <a:pt x="8086082" y="60290"/>
                  </a:cubicBezTo>
                  <a:cubicBezTo>
                    <a:pt x="8401422" y="65314"/>
                    <a:pt x="8693609" y="61965"/>
                    <a:pt x="8943143" y="60290"/>
                  </a:cubicBezTo>
                  <a:lnTo>
                    <a:pt x="10088879" y="0"/>
                  </a:lnTo>
                  <a:cubicBezTo>
                    <a:pt x="10403727" y="6699"/>
                    <a:pt x="11120039" y="5268"/>
                    <a:pt x="11612998" y="351694"/>
                  </a:cubicBezTo>
                  <a:cubicBezTo>
                    <a:pt x="12051237" y="659666"/>
                    <a:pt x="11995145" y="2254026"/>
                    <a:pt x="11603395" y="2552282"/>
                  </a:cubicBezTo>
                  <a:cubicBezTo>
                    <a:pt x="11233847" y="2833635"/>
                    <a:pt x="10387062" y="2783394"/>
                    <a:pt x="9995269" y="2823587"/>
                  </a:cubicBezTo>
                  <a:cubicBezTo>
                    <a:pt x="9749084" y="2823587"/>
                    <a:pt x="9862965" y="2830286"/>
                    <a:pt x="9422512" y="2823587"/>
                  </a:cubicBezTo>
                  <a:lnTo>
                    <a:pt x="7352552" y="2783394"/>
                  </a:lnTo>
                  <a:cubicBezTo>
                    <a:pt x="6903726" y="2780045"/>
                    <a:pt x="6937220" y="2796791"/>
                    <a:pt x="6729554" y="2803490"/>
                  </a:cubicBezTo>
                  <a:cubicBezTo>
                    <a:pt x="6682568" y="2801924"/>
                    <a:pt x="6635879" y="2792478"/>
                    <a:pt x="6588877" y="2793442"/>
                  </a:cubicBezTo>
                  <a:lnTo>
                    <a:pt x="4770126" y="2843684"/>
                  </a:lnTo>
                  <a:cubicBezTo>
                    <a:pt x="4326324" y="2848708"/>
                    <a:pt x="4222490" y="2831961"/>
                    <a:pt x="3926064" y="2823587"/>
                  </a:cubicBezTo>
                  <a:lnTo>
                    <a:pt x="2931277" y="2803490"/>
                  </a:lnTo>
                  <a:lnTo>
                    <a:pt x="1876200" y="2813539"/>
                  </a:lnTo>
                  <a:lnTo>
                    <a:pt x="0" y="279344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DEE898F-584C-073B-759C-D8792F78422A}"/>
              </a:ext>
            </a:extLst>
          </p:cNvPr>
          <p:cNvGrpSpPr/>
          <p:nvPr/>
        </p:nvGrpSpPr>
        <p:grpSpPr>
          <a:xfrm rot="10800000">
            <a:off x="8683396" y="1589519"/>
            <a:ext cx="424589" cy="514669"/>
            <a:chOff x="352424" y="3433220"/>
            <a:chExt cx="1582577" cy="1918336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C2F921E-7888-7A17-E12F-9F9D7381F20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77B8CEF-EF6E-2232-94C6-FB4FADD7CF21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3A49D7-4FE0-1D2B-D546-A626269DE5F5}"/>
              </a:ext>
            </a:extLst>
          </p:cNvPr>
          <p:cNvGrpSpPr/>
          <p:nvPr/>
        </p:nvGrpSpPr>
        <p:grpSpPr>
          <a:xfrm rot="10800000">
            <a:off x="8557665" y="4152353"/>
            <a:ext cx="424589" cy="514669"/>
            <a:chOff x="352424" y="3433220"/>
            <a:chExt cx="1582577" cy="1918336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2E860C2-8979-BF48-00DB-D1CB888A4365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99F9BBA-3A8A-7365-AD70-9ACD3862CE19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79750-31B6-74B5-E19F-FC2076EF143C}"/>
              </a:ext>
            </a:extLst>
          </p:cNvPr>
          <p:cNvGrpSpPr/>
          <p:nvPr/>
        </p:nvGrpSpPr>
        <p:grpSpPr>
          <a:xfrm rot="10800000">
            <a:off x="362137" y="1590915"/>
            <a:ext cx="424589" cy="514669"/>
            <a:chOff x="352424" y="3433220"/>
            <a:chExt cx="1582577" cy="191833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9F371D5-C3F8-EE38-2CB4-1006EFFC5CC6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B1CB87F-F912-57E2-183E-C139E263C701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596798A-2035-806B-95C6-B61AE20BCCF6}"/>
              </a:ext>
            </a:extLst>
          </p:cNvPr>
          <p:cNvGrpSpPr/>
          <p:nvPr/>
        </p:nvGrpSpPr>
        <p:grpSpPr>
          <a:xfrm rot="10800000">
            <a:off x="3031689" y="1590915"/>
            <a:ext cx="424589" cy="514669"/>
            <a:chOff x="352424" y="3433220"/>
            <a:chExt cx="1582577" cy="191833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8F5A7FF-4786-EF49-03BE-1EC90197775A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457FE74-AD92-6765-0EE2-2FF1A80E5A7C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F726FCF-5C68-3F9B-3550-2C53A4883A24}"/>
              </a:ext>
            </a:extLst>
          </p:cNvPr>
          <p:cNvGrpSpPr/>
          <p:nvPr/>
        </p:nvGrpSpPr>
        <p:grpSpPr>
          <a:xfrm>
            <a:off x="5758615" y="1589520"/>
            <a:ext cx="424589" cy="2229345"/>
            <a:chOff x="6015790" y="1589520"/>
            <a:chExt cx="424589" cy="2229345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E37C34-E5FB-73D3-249F-A7D84CA64FF3}"/>
                </a:ext>
              </a:extLst>
            </p:cNvPr>
            <p:cNvCxnSpPr>
              <a:cxnSpLocks/>
            </p:cNvCxnSpPr>
            <p:nvPr/>
          </p:nvCxnSpPr>
          <p:spPr>
            <a:xfrm>
              <a:off x="6227394" y="2069969"/>
              <a:ext cx="1380" cy="1748896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4CDACDA-697D-6B2E-5312-C1009014E1F0}"/>
                </a:ext>
              </a:extLst>
            </p:cNvPr>
            <p:cNvGrpSpPr/>
            <p:nvPr/>
          </p:nvGrpSpPr>
          <p:grpSpPr>
            <a:xfrm rot="10800000">
              <a:off x="6015790" y="1589520"/>
              <a:ext cx="424589" cy="514669"/>
              <a:chOff x="352424" y="3433220"/>
              <a:chExt cx="1582577" cy="1918336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BC99AE6-30D2-AE84-51AE-891043FA955D}"/>
                  </a:ext>
                </a:extLst>
              </p:cNvPr>
              <p:cNvSpPr/>
              <p:nvPr/>
            </p:nvSpPr>
            <p:spPr>
              <a:xfrm rot="10800000">
                <a:off x="358140" y="3608480"/>
                <a:ext cx="1576861" cy="174307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9">
                  <a:defRPr/>
                </a:pPr>
                <a:endParaRPr lang="da-DK" sz="1400">
                  <a:solidFill>
                    <a:srgbClr val="FFFFFF"/>
                  </a:solidFill>
                  <a:latin typeface="DM Sans 14pt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068D6208-BFA5-910B-D6C2-94FF39D95BBD}"/>
                  </a:ext>
                </a:extLst>
              </p:cNvPr>
              <p:cNvSpPr/>
              <p:nvPr/>
            </p:nvSpPr>
            <p:spPr>
              <a:xfrm rot="10800000">
                <a:off x="352424" y="3433220"/>
                <a:ext cx="1576861" cy="174307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noFill/>
              <a:ln>
                <a:solidFill>
                  <a:srgbClr val="88BCA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9">
                  <a:defRPr/>
                </a:pPr>
                <a:endParaRPr lang="da-DK" sz="1400">
                  <a:solidFill>
                    <a:srgbClr val="FFFFFF"/>
                  </a:solidFill>
                  <a:latin typeface="DM Sans 14pt"/>
                </a:endParaRPr>
              </a:p>
            </p:txBody>
          </p:sp>
        </p:grp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F055757-BEA7-CF0D-2BB3-E47BCF0B86E8}"/>
              </a:ext>
            </a:extLst>
          </p:cNvPr>
          <p:cNvSpPr/>
          <p:nvPr/>
        </p:nvSpPr>
        <p:spPr>
          <a:xfrm>
            <a:off x="686523" y="2209791"/>
            <a:ext cx="2160684" cy="261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Foranalyser </a:t>
            </a:r>
            <a:r>
              <a:rPr lang="da-DK" sz="900" b="1">
                <a:solidFill>
                  <a:srgbClr val="000000"/>
                </a:solidFill>
                <a:latin typeface="Verdana"/>
                <a:ea typeface="Verdana"/>
              </a:rPr>
              <a:t>(forår 2024)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/>
                <a:ea typeface="Verdana"/>
              </a:rPr>
              <a:t>Kortlægning af eksisterende regulering og lovgivning, sideordnede initiativer mv.</a:t>
            </a:r>
            <a:endParaRPr lang="da-DK" sz="1200">
              <a:solidFill>
                <a:srgbClr val="0059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ECF22D-88A8-0DED-EBC6-6062A469304B}"/>
              </a:ext>
            </a:extLst>
          </p:cNvPr>
          <p:cNvSpPr/>
          <p:nvPr/>
        </p:nvSpPr>
        <p:spPr>
          <a:xfrm>
            <a:off x="3399335" y="2209790"/>
            <a:ext cx="2164741" cy="42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Interessentanalyse </a:t>
            </a:r>
            <a:r>
              <a:rPr lang="da-DK" sz="1000" b="1">
                <a:solidFill>
                  <a:srgbClr val="000000"/>
                </a:solidFill>
                <a:latin typeface="Verdana"/>
                <a:ea typeface="Verdana"/>
              </a:rPr>
              <a:t>(forår 2024)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/>
                <a:ea typeface="Verdana"/>
              </a:rPr>
              <a:t>Afdækning af forskellige motivationer, interesser, målgrupper og roller i og omkring branchen (se foregående slide for overblik)</a:t>
            </a:r>
            <a:endParaRPr lang="da-DK" sz="1200">
              <a:solidFill>
                <a:srgbClr val="005950"/>
              </a:solidFill>
              <a:latin typeface="DM Sans 14p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B9794B4-5605-C9E7-A14C-C5F4BAEEE9D0}"/>
              </a:ext>
            </a:extLst>
          </p:cNvPr>
          <p:cNvGrpSpPr/>
          <p:nvPr/>
        </p:nvGrpSpPr>
        <p:grpSpPr>
          <a:xfrm>
            <a:off x="356684" y="4842788"/>
            <a:ext cx="668924" cy="878026"/>
            <a:chOff x="9475842" y="2213929"/>
            <a:chExt cx="1007606" cy="1162067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C019571-8140-0F1A-1FB0-A40961E10031}"/>
                </a:ext>
              </a:extLst>
            </p:cNvPr>
            <p:cNvSpPr/>
            <p:nvPr/>
          </p:nvSpPr>
          <p:spPr>
            <a:xfrm>
              <a:off x="9476383" y="2213929"/>
              <a:ext cx="755165" cy="1161525"/>
            </a:xfrm>
            <a:custGeom>
              <a:avLst/>
              <a:gdLst>
                <a:gd name="connsiteX0" fmla="*/ 716629 w 755165"/>
                <a:gd name="connsiteY0" fmla="*/ 859731 h 1161525"/>
                <a:gd name="connsiteX1" fmla="*/ 678228 w 755165"/>
                <a:gd name="connsiteY1" fmla="*/ 715864 h 1161525"/>
                <a:gd name="connsiteX2" fmla="*/ 651726 w 755165"/>
                <a:gd name="connsiteY2" fmla="*/ 729386 h 1161525"/>
                <a:gd name="connsiteX3" fmla="*/ 653349 w 755165"/>
                <a:gd name="connsiteY3" fmla="*/ 609857 h 1161525"/>
                <a:gd name="connsiteX4" fmla="*/ 671197 w 755165"/>
                <a:gd name="connsiteY4" fmla="*/ 561180 h 1161525"/>
                <a:gd name="connsiteX5" fmla="*/ 601968 w 755165"/>
                <a:gd name="connsiteY5" fmla="*/ 395680 h 1161525"/>
                <a:gd name="connsiteX6" fmla="*/ 612244 w 755165"/>
                <a:gd name="connsiteY6" fmla="*/ 381077 h 1161525"/>
                <a:gd name="connsiteX7" fmla="*/ 547882 w 755165"/>
                <a:gd name="connsiteY7" fmla="*/ 255599 h 1161525"/>
                <a:gd name="connsiteX8" fmla="*/ 515972 w 755165"/>
                <a:gd name="connsiteY8" fmla="*/ 116060 h 1161525"/>
                <a:gd name="connsiteX9" fmla="*/ 504074 w 755165"/>
                <a:gd name="connsiteY9" fmla="*/ 44126 h 1161525"/>
                <a:gd name="connsiteX10" fmla="*/ 400771 w 755165"/>
                <a:gd name="connsiteY10" fmla="*/ 112815 h 1161525"/>
                <a:gd name="connsiteX11" fmla="*/ 270426 w 755165"/>
                <a:gd name="connsiteY11" fmla="*/ 280479 h 1161525"/>
                <a:gd name="connsiteX12" fmla="*/ 94108 w 755165"/>
                <a:gd name="connsiteY12" fmla="*/ 432999 h 1161525"/>
                <a:gd name="connsiteX13" fmla="*/ 207146 w 755165"/>
                <a:gd name="connsiteY13" fmla="*/ 553609 h 1161525"/>
                <a:gd name="connsiteX14" fmla="*/ 212554 w 755165"/>
                <a:gd name="connsiteY14" fmla="*/ 588764 h 1161525"/>
                <a:gd name="connsiteX15" fmla="*/ 157388 w 755165"/>
                <a:gd name="connsiteY15" fmla="*/ 597959 h 1161525"/>
                <a:gd name="connsiteX16" fmla="*/ 117905 w 755165"/>
                <a:gd name="connsiteY16" fmla="*/ 684495 h 1161525"/>
                <a:gd name="connsiteX17" fmla="*/ 133049 w 755165"/>
                <a:gd name="connsiteY17" fmla="*/ 748856 h 1161525"/>
                <a:gd name="connsiteX18" fmla="*/ 69229 w 755165"/>
                <a:gd name="connsiteY18" fmla="*/ 785093 h 1161525"/>
                <a:gd name="connsiteX19" fmla="*/ 56789 w 755165"/>
                <a:gd name="connsiteY19" fmla="*/ 847291 h 1161525"/>
                <a:gd name="connsiteX20" fmla="*/ 81128 w 755165"/>
                <a:gd name="connsiteY20" fmla="*/ 894886 h 1161525"/>
                <a:gd name="connsiteX21" fmla="*/ 81128 w 755165"/>
                <a:gd name="connsiteY21" fmla="*/ 894886 h 1161525"/>
                <a:gd name="connsiteX22" fmla="*/ 0 w 755165"/>
                <a:gd name="connsiteY22" fmla="*/ 1029558 h 1161525"/>
                <a:gd name="connsiteX23" fmla="*/ 76260 w 755165"/>
                <a:gd name="connsiteY23" fmla="*/ 1161526 h 1161525"/>
                <a:gd name="connsiteX24" fmla="*/ 228239 w 755165"/>
                <a:gd name="connsiteY24" fmla="*/ 1161526 h 1161525"/>
                <a:gd name="connsiteX25" fmla="*/ 304499 w 755165"/>
                <a:gd name="connsiteY25" fmla="*/ 1029558 h 1161525"/>
                <a:gd name="connsiteX26" fmla="*/ 303958 w 755165"/>
                <a:gd name="connsiteY26" fmla="*/ 1019282 h 1161525"/>
                <a:gd name="connsiteX27" fmla="*/ 304499 w 755165"/>
                <a:gd name="connsiteY27" fmla="*/ 1019282 h 1161525"/>
                <a:gd name="connsiteX28" fmla="*/ 409425 w 755165"/>
                <a:gd name="connsiteY28" fmla="*/ 935450 h 1161525"/>
                <a:gd name="connsiteX29" fmla="*/ 452693 w 755165"/>
                <a:gd name="connsiteY29" fmla="*/ 1032803 h 1161525"/>
                <a:gd name="connsiteX30" fmla="*/ 608999 w 755165"/>
                <a:gd name="connsiteY30" fmla="*/ 967901 h 1161525"/>
                <a:gd name="connsiteX31" fmla="*/ 644695 w 755165"/>
                <a:gd name="connsiteY31" fmla="*/ 1101492 h 1161525"/>
                <a:gd name="connsiteX32" fmla="*/ 669574 w 755165"/>
                <a:gd name="connsiteY32" fmla="*/ 1101492 h 1161525"/>
                <a:gd name="connsiteX33" fmla="*/ 748538 w 755165"/>
                <a:gd name="connsiteY33" fmla="*/ 924092 h 1161525"/>
                <a:gd name="connsiteX34" fmla="*/ 716629 w 755165"/>
                <a:gd name="connsiteY34" fmla="*/ 859731 h 116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55165" h="1161525">
                  <a:moveTo>
                    <a:pt x="716629" y="859731"/>
                  </a:moveTo>
                  <a:cubicBezTo>
                    <a:pt x="790725" y="749938"/>
                    <a:pt x="746916" y="689903"/>
                    <a:pt x="678228" y="715864"/>
                  </a:cubicBezTo>
                  <a:lnTo>
                    <a:pt x="651726" y="729386"/>
                  </a:lnTo>
                  <a:cubicBezTo>
                    <a:pt x="726904" y="620674"/>
                    <a:pt x="714465" y="569293"/>
                    <a:pt x="653349" y="609857"/>
                  </a:cubicBezTo>
                  <a:lnTo>
                    <a:pt x="671197" y="561180"/>
                  </a:lnTo>
                  <a:cubicBezTo>
                    <a:pt x="687422" y="468695"/>
                    <a:pt x="662543" y="408660"/>
                    <a:pt x="601968" y="395680"/>
                  </a:cubicBezTo>
                  <a:lnTo>
                    <a:pt x="612244" y="381077"/>
                  </a:lnTo>
                  <a:cubicBezTo>
                    <a:pt x="643614" y="305358"/>
                    <a:pt x="629010" y="229098"/>
                    <a:pt x="547882" y="255599"/>
                  </a:cubicBezTo>
                  <a:cubicBezTo>
                    <a:pt x="586283" y="190697"/>
                    <a:pt x="578170" y="108488"/>
                    <a:pt x="515972" y="116060"/>
                  </a:cubicBezTo>
                  <a:cubicBezTo>
                    <a:pt x="564649" y="54402"/>
                    <a:pt x="534902" y="11675"/>
                    <a:pt x="504074" y="44126"/>
                  </a:cubicBezTo>
                  <a:cubicBezTo>
                    <a:pt x="509482" y="-32675"/>
                    <a:pt x="455397" y="-8877"/>
                    <a:pt x="400771" y="112815"/>
                  </a:cubicBezTo>
                  <a:cubicBezTo>
                    <a:pt x="361289" y="91180"/>
                    <a:pt x="295846" y="178257"/>
                    <a:pt x="270426" y="280479"/>
                  </a:cubicBezTo>
                  <a:cubicBezTo>
                    <a:pt x="209309" y="243701"/>
                    <a:pt x="108711" y="314552"/>
                    <a:pt x="94108" y="432999"/>
                  </a:cubicBezTo>
                  <a:cubicBezTo>
                    <a:pt x="87077" y="519535"/>
                    <a:pt x="136835" y="574702"/>
                    <a:pt x="207146" y="553609"/>
                  </a:cubicBezTo>
                  <a:lnTo>
                    <a:pt x="212554" y="588764"/>
                  </a:lnTo>
                  <a:cubicBezTo>
                    <a:pt x="191461" y="581192"/>
                    <a:pt x="172531" y="583356"/>
                    <a:pt x="157388" y="597959"/>
                  </a:cubicBezTo>
                  <a:cubicBezTo>
                    <a:pt x="141162" y="613102"/>
                    <a:pt x="128722" y="622297"/>
                    <a:pt x="117905" y="684495"/>
                  </a:cubicBezTo>
                  <a:lnTo>
                    <a:pt x="133049" y="748856"/>
                  </a:lnTo>
                  <a:cubicBezTo>
                    <a:pt x="108170" y="749938"/>
                    <a:pt x="86536" y="760214"/>
                    <a:pt x="69229" y="785093"/>
                  </a:cubicBezTo>
                  <a:cubicBezTo>
                    <a:pt x="56789" y="804564"/>
                    <a:pt x="52462" y="825116"/>
                    <a:pt x="56789" y="847291"/>
                  </a:cubicBezTo>
                  <a:cubicBezTo>
                    <a:pt x="58412" y="866221"/>
                    <a:pt x="67065" y="881906"/>
                    <a:pt x="81128" y="894886"/>
                  </a:cubicBezTo>
                  <a:lnTo>
                    <a:pt x="81128" y="894886"/>
                  </a:lnTo>
                  <a:cubicBezTo>
                    <a:pt x="32992" y="920306"/>
                    <a:pt x="0" y="971146"/>
                    <a:pt x="0" y="1029558"/>
                  </a:cubicBezTo>
                  <a:cubicBezTo>
                    <a:pt x="0" y="1085807"/>
                    <a:pt x="30828" y="1135024"/>
                    <a:pt x="76260" y="1161526"/>
                  </a:cubicBezTo>
                  <a:lnTo>
                    <a:pt x="228239" y="1161526"/>
                  </a:lnTo>
                  <a:cubicBezTo>
                    <a:pt x="273671" y="1135024"/>
                    <a:pt x="304499" y="1085807"/>
                    <a:pt x="304499" y="1029558"/>
                  </a:cubicBezTo>
                  <a:cubicBezTo>
                    <a:pt x="304499" y="1026313"/>
                    <a:pt x="304499" y="1022527"/>
                    <a:pt x="303958" y="1019282"/>
                  </a:cubicBezTo>
                  <a:lnTo>
                    <a:pt x="304499" y="1019282"/>
                  </a:lnTo>
                  <a:cubicBezTo>
                    <a:pt x="354258" y="1045243"/>
                    <a:pt x="384545" y="1000352"/>
                    <a:pt x="409425" y="935450"/>
                  </a:cubicBezTo>
                  <a:lnTo>
                    <a:pt x="452693" y="1032803"/>
                  </a:lnTo>
                  <a:cubicBezTo>
                    <a:pt x="553832" y="1096083"/>
                    <a:pt x="608999" y="967901"/>
                    <a:pt x="608999" y="967901"/>
                  </a:cubicBezTo>
                  <a:cubicBezTo>
                    <a:pt x="608999" y="967901"/>
                    <a:pt x="591691" y="1074449"/>
                    <a:pt x="644695" y="1101492"/>
                  </a:cubicBezTo>
                  <a:cubicBezTo>
                    <a:pt x="651726" y="1104737"/>
                    <a:pt x="660380" y="1100951"/>
                    <a:pt x="669574" y="1101492"/>
                  </a:cubicBezTo>
                  <a:cubicBezTo>
                    <a:pt x="733395" y="1091215"/>
                    <a:pt x="755570" y="990076"/>
                    <a:pt x="748538" y="924092"/>
                  </a:cubicBezTo>
                  <a:cubicBezTo>
                    <a:pt x="743671" y="879202"/>
                    <a:pt x="716629" y="859731"/>
                    <a:pt x="716629" y="859731"/>
                  </a:cubicBezTo>
                  <a:close/>
                </a:path>
              </a:pathLst>
            </a:custGeom>
            <a:solidFill>
              <a:srgbClr val="88BCAD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AF8805EF-F679-8D5C-E081-09DDAACB01CA}"/>
                </a:ext>
              </a:extLst>
            </p:cNvPr>
            <p:cNvSpPr/>
            <p:nvPr/>
          </p:nvSpPr>
          <p:spPr>
            <a:xfrm>
              <a:off x="10270381" y="2777273"/>
              <a:ext cx="212910" cy="408343"/>
            </a:xfrm>
            <a:custGeom>
              <a:avLst/>
              <a:gdLst>
                <a:gd name="connsiteX0" fmla="*/ 106520 w 212910"/>
                <a:gd name="connsiteY0" fmla="*/ 408343 h 408343"/>
                <a:gd name="connsiteX1" fmla="*/ 180076 w 212910"/>
                <a:gd name="connsiteY1" fmla="*/ 334787 h 408343"/>
                <a:gd name="connsiteX2" fmla="*/ 202792 w 212910"/>
                <a:gd name="connsiteY2" fmla="*/ 208228 h 408343"/>
                <a:gd name="connsiteX3" fmla="*/ 107061 w 212910"/>
                <a:gd name="connsiteY3" fmla="*/ 0 h 408343"/>
                <a:gd name="connsiteX4" fmla="*/ 105979 w 212910"/>
                <a:gd name="connsiteY4" fmla="*/ 0 h 408343"/>
                <a:gd name="connsiteX5" fmla="*/ 10249 w 212910"/>
                <a:gd name="connsiteY5" fmla="*/ 208228 h 408343"/>
                <a:gd name="connsiteX6" fmla="*/ 32964 w 212910"/>
                <a:gd name="connsiteY6" fmla="*/ 334787 h 408343"/>
                <a:gd name="connsiteX7" fmla="*/ 71906 w 212910"/>
                <a:gd name="connsiteY7" fmla="*/ 373728 h 408343"/>
                <a:gd name="connsiteX8" fmla="*/ 106520 w 212910"/>
                <a:gd name="connsiteY8" fmla="*/ 408343 h 40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910" h="408343">
                  <a:moveTo>
                    <a:pt x="106520" y="408343"/>
                  </a:moveTo>
                  <a:lnTo>
                    <a:pt x="180076" y="334787"/>
                  </a:lnTo>
                  <a:cubicBezTo>
                    <a:pt x="213068" y="301795"/>
                    <a:pt x="222262" y="250955"/>
                    <a:pt x="202792" y="208228"/>
                  </a:cubicBezTo>
                  <a:lnTo>
                    <a:pt x="107061" y="0"/>
                  </a:lnTo>
                  <a:lnTo>
                    <a:pt x="105979" y="0"/>
                  </a:lnTo>
                  <a:lnTo>
                    <a:pt x="10249" y="208228"/>
                  </a:lnTo>
                  <a:cubicBezTo>
                    <a:pt x="-9222" y="250955"/>
                    <a:pt x="-569" y="301254"/>
                    <a:pt x="32964" y="334787"/>
                  </a:cubicBezTo>
                  <a:lnTo>
                    <a:pt x="71906" y="373728"/>
                  </a:lnTo>
                  <a:lnTo>
                    <a:pt x="106520" y="408343"/>
                  </a:ln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704BC3CF-48CA-5908-52C8-FF15EE093CF6}"/>
                </a:ext>
              </a:extLst>
            </p:cNvPr>
            <p:cNvSpPr/>
            <p:nvPr/>
          </p:nvSpPr>
          <p:spPr>
            <a:xfrm>
              <a:off x="9852816" y="2752394"/>
              <a:ext cx="150897" cy="623602"/>
            </a:xfrm>
            <a:custGeom>
              <a:avLst/>
              <a:gdLst>
                <a:gd name="connsiteX0" fmla="*/ 0 w 150897"/>
                <a:gd name="connsiteY0" fmla="*/ 76260 h 623602"/>
                <a:gd name="connsiteX1" fmla="*/ 0 w 150897"/>
                <a:gd name="connsiteY1" fmla="*/ 623602 h 623602"/>
                <a:gd name="connsiteX2" fmla="*/ 74096 w 150897"/>
                <a:gd name="connsiteY2" fmla="*/ 623602 h 623602"/>
                <a:gd name="connsiteX3" fmla="*/ 74096 w 150897"/>
                <a:gd name="connsiteY3" fmla="*/ 289356 h 623602"/>
                <a:gd name="connsiteX4" fmla="*/ 150898 w 150897"/>
                <a:gd name="connsiteY4" fmla="*/ 40023 h 623602"/>
                <a:gd name="connsiteX5" fmla="*/ 126559 w 150897"/>
                <a:gd name="connsiteY5" fmla="*/ 40023 h 623602"/>
                <a:gd name="connsiteX6" fmla="*/ 73556 w 150897"/>
                <a:gd name="connsiteY6" fmla="*/ 204983 h 623602"/>
                <a:gd name="connsiteX7" fmla="*/ 70311 w 150897"/>
                <a:gd name="connsiteY7" fmla="*/ 0 h 623602"/>
                <a:gd name="connsiteX8" fmla="*/ 48677 w 150897"/>
                <a:gd name="connsiteY8" fmla="*/ 0 h 623602"/>
                <a:gd name="connsiteX9" fmla="*/ 0 w 150897"/>
                <a:gd name="connsiteY9" fmla="*/ 76260 h 623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97" h="623602">
                  <a:moveTo>
                    <a:pt x="0" y="76260"/>
                  </a:moveTo>
                  <a:lnTo>
                    <a:pt x="0" y="623602"/>
                  </a:lnTo>
                  <a:lnTo>
                    <a:pt x="74096" y="623602"/>
                  </a:lnTo>
                  <a:lnTo>
                    <a:pt x="74096" y="289356"/>
                  </a:lnTo>
                  <a:lnTo>
                    <a:pt x="150898" y="40023"/>
                  </a:lnTo>
                  <a:lnTo>
                    <a:pt x="126559" y="40023"/>
                  </a:lnTo>
                  <a:lnTo>
                    <a:pt x="73556" y="204983"/>
                  </a:lnTo>
                  <a:lnTo>
                    <a:pt x="70311" y="0"/>
                  </a:lnTo>
                  <a:lnTo>
                    <a:pt x="48677" y="0"/>
                  </a:lnTo>
                  <a:cubicBezTo>
                    <a:pt x="49758" y="0"/>
                    <a:pt x="44350" y="63821"/>
                    <a:pt x="0" y="76260"/>
                  </a:cubicBezTo>
                  <a:close/>
                </a:path>
              </a:pathLst>
            </a:custGeom>
            <a:solidFill>
              <a:srgbClr val="CADBCF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61DA3EB1-215E-630B-BFE0-038368FFC03B}"/>
                </a:ext>
              </a:extLst>
            </p:cNvPr>
            <p:cNvSpPr/>
            <p:nvPr/>
          </p:nvSpPr>
          <p:spPr>
            <a:xfrm>
              <a:off x="10375279" y="2894097"/>
              <a:ext cx="2704" cy="392658"/>
            </a:xfrm>
            <a:custGeom>
              <a:avLst/>
              <a:gdLst>
                <a:gd name="connsiteX0" fmla="*/ 0 w 2704"/>
                <a:gd name="connsiteY0" fmla="*/ 0 h 392658"/>
                <a:gd name="connsiteX1" fmla="*/ 1623 w 2704"/>
                <a:gd name="connsiteY1" fmla="*/ 17848 h 392658"/>
                <a:gd name="connsiteX2" fmla="*/ 541 w 2704"/>
                <a:gd name="connsiteY2" fmla="*/ 35696 h 392658"/>
                <a:gd name="connsiteX3" fmla="*/ 2164 w 2704"/>
                <a:gd name="connsiteY3" fmla="*/ 53544 h 392658"/>
                <a:gd name="connsiteX4" fmla="*/ 1081 w 2704"/>
                <a:gd name="connsiteY4" fmla="*/ 71392 h 392658"/>
                <a:gd name="connsiteX5" fmla="*/ 1081 w 2704"/>
                <a:gd name="connsiteY5" fmla="*/ 89241 h 392658"/>
                <a:gd name="connsiteX6" fmla="*/ 541 w 2704"/>
                <a:gd name="connsiteY6" fmla="*/ 107089 h 392658"/>
                <a:gd name="connsiteX7" fmla="*/ 2704 w 2704"/>
                <a:gd name="connsiteY7" fmla="*/ 124937 h 392658"/>
                <a:gd name="connsiteX8" fmla="*/ 2164 w 2704"/>
                <a:gd name="connsiteY8" fmla="*/ 142785 h 392658"/>
                <a:gd name="connsiteX9" fmla="*/ 1623 w 2704"/>
                <a:gd name="connsiteY9" fmla="*/ 160633 h 392658"/>
                <a:gd name="connsiteX10" fmla="*/ 1081 w 2704"/>
                <a:gd name="connsiteY10" fmla="*/ 178481 h 392658"/>
                <a:gd name="connsiteX11" fmla="*/ 2704 w 2704"/>
                <a:gd name="connsiteY11" fmla="*/ 196329 h 392658"/>
                <a:gd name="connsiteX12" fmla="*/ 2704 w 2704"/>
                <a:gd name="connsiteY12" fmla="*/ 214177 h 392658"/>
                <a:gd name="connsiteX13" fmla="*/ 1623 w 2704"/>
                <a:gd name="connsiteY13" fmla="*/ 232026 h 392658"/>
                <a:gd name="connsiteX14" fmla="*/ 1623 w 2704"/>
                <a:gd name="connsiteY14" fmla="*/ 249874 h 392658"/>
                <a:gd name="connsiteX15" fmla="*/ 2704 w 2704"/>
                <a:gd name="connsiteY15" fmla="*/ 267722 h 392658"/>
                <a:gd name="connsiteX16" fmla="*/ 2164 w 2704"/>
                <a:gd name="connsiteY16" fmla="*/ 285570 h 392658"/>
                <a:gd name="connsiteX17" fmla="*/ 1623 w 2704"/>
                <a:gd name="connsiteY17" fmla="*/ 303418 h 392658"/>
                <a:gd name="connsiteX18" fmla="*/ 541 w 2704"/>
                <a:gd name="connsiteY18" fmla="*/ 321266 h 392658"/>
                <a:gd name="connsiteX19" fmla="*/ 0 w 2704"/>
                <a:gd name="connsiteY19" fmla="*/ 339114 h 392658"/>
                <a:gd name="connsiteX20" fmla="*/ 541 w 2704"/>
                <a:gd name="connsiteY20" fmla="*/ 356962 h 392658"/>
                <a:gd name="connsiteX21" fmla="*/ 0 w 2704"/>
                <a:gd name="connsiteY21" fmla="*/ 374811 h 392658"/>
                <a:gd name="connsiteX22" fmla="*/ 1081 w 2704"/>
                <a:gd name="connsiteY22" fmla="*/ 392659 h 39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4" h="392658">
                  <a:moveTo>
                    <a:pt x="0" y="0"/>
                  </a:moveTo>
                  <a:cubicBezTo>
                    <a:pt x="0" y="9195"/>
                    <a:pt x="1623" y="9195"/>
                    <a:pt x="1623" y="17848"/>
                  </a:cubicBezTo>
                  <a:cubicBezTo>
                    <a:pt x="1623" y="27043"/>
                    <a:pt x="541" y="27043"/>
                    <a:pt x="541" y="35696"/>
                  </a:cubicBezTo>
                  <a:cubicBezTo>
                    <a:pt x="541" y="44891"/>
                    <a:pt x="2164" y="44891"/>
                    <a:pt x="2164" y="53544"/>
                  </a:cubicBezTo>
                  <a:cubicBezTo>
                    <a:pt x="2164" y="62739"/>
                    <a:pt x="1081" y="62739"/>
                    <a:pt x="1081" y="71392"/>
                  </a:cubicBezTo>
                  <a:cubicBezTo>
                    <a:pt x="1081" y="80587"/>
                    <a:pt x="1081" y="80587"/>
                    <a:pt x="1081" y="89241"/>
                  </a:cubicBezTo>
                  <a:cubicBezTo>
                    <a:pt x="1081" y="98435"/>
                    <a:pt x="541" y="98435"/>
                    <a:pt x="541" y="107089"/>
                  </a:cubicBezTo>
                  <a:cubicBezTo>
                    <a:pt x="541" y="116283"/>
                    <a:pt x="2704" y="116283"/>
                    <a:pt x="2704" y="124937"/>
                  </a:cubicBezTo>
                  <a:cubicBezTo>
                    <a:pt x="2704" y="134132"/>
                    <a:pt x="2164" y="134132"/>
                    <a:pt x="2164" y="142785"/>
                  </a:cubicBezTo>
                  <a:cubicBezTo>
                    <a:pt x="2164" y="151980"/>
                    <a:pt x="1623" y="151980"/>
                    <a:pt x="1623" y="160633"/>
                  </a:cubicBezTo>
                  <a:cubicBezTo>
                    <a:pt x="1623" y="169828"/>
                    <a:pt x="1081" y="169828"/>
                    <a:pt x="1081" y="178481"/>
                  </a:cubicBezTo>
                  <a:cubicBezTo>
                    <a:pt x="1081" y="187676"/>
                    <a:pt x="2704" y="187676"/>
                    <a:pt x="2704" y="196329"/>
                  </a:cubicBezTo>
                  <a:cubicBezTo>
                    <a:pt x="2704" y="205524"/>
                    <a:pt x="2704" y="205524"/>
                    <a:pt x="2704" y="214177"/>
                  </a:cubicBezTo>
                  <a:cubicBezTo>
                    <a:pt x="2704" y="223372"/>
                    <a:pt x="1623" y="223372"/>
                    <a:pt x="1623" y="232026"/>
                  </a:cubicBezTo>
                  <a:cubicBezTo>
                    <a:pt x="1623" y="241220"/>
                    <a:pt x="1623" y="241220"/>
                    <a:pt x="1623" y="249874"/>
                  </a:cubicBezTo>
                  <a:cubicBezTo>
                    <a:pt x="1623" y="259068"/>
                    <a:pt x="2704" y="259068"/>
                    <a:pt x="2704" y="267722"/>
                  </a:cubicBezTo>
                  <a:cubicBezTo>
                    <a:pt x="2704" y="276916"/>
                    <a:pt x="2164" y="276916"/>
                    <a:pt x="2164" y="285570"/>
                  </a:cubicBezTo>
                  <a:cubicBezTo>
                    <a:pt x="2164" y="294764"/>
                    <a:pt x="1623" y="294764"/>
                    <a:pt x="1623" y="303418"/>
                  </a:cubicBezTo>
                  <a:cubicBezTo>
                    <a:pt x="1623" y="312613"/>
                    <a:pt x="541" y="312613"/>
                    <a:pt x="541" y="321266"/>
                  </a:cubicBezTo>
                  <a:cubicBezTo>
                    <a:pt x="541" y="330461"/>
                    <a:pt x="0" y="330461"/>
                    <a:pt x="0" y="339114"/>
                  </a:cubicBezTo>
                  <a:cubicBezTo>
                    <a:pt x="0" y="348309"/>
                    <a:pt x="541" y="348309"/>
                    <a:pt x="541" y="356962"/>
                  </a:cubicBezTo>
                  <a:cubicBezTo>
                    <a:pt x="541" y="366157"/>
                    <a:pt x="0" y="366157"/>
                    <a:pt x="0" y="374811"/>
                  </a:cubicBezTo>
                  <a:cubicBezTo>
                    <a:pt x="0" y="383464"/>
                    <a:pt x="1081" y="384005"/>
                    <a:pt x="1081" y="39265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ECF7B651-3413-EA73-72C5-A04EA8B42D5E}"/>
                </a:ext>
              </a:extLst>
            </p:cNvPr>
            <p:cNvSpPr/>
            <p:nvPr/>
          </p:nvSpPr>
          <p:spPr>
            <a:xfrm>
              <a:off x="10331470" y="2962785"/>
              <a:ext cx="45972" cy="44890"/>
            </a:xfrm>
            <a:custGeom>
              <a:avLst/>
              <a:gdLst>
                <a:gd name="connsiteX0" fmla="*/ 0 w 45972"/>
                <a:gd name="connsiteY0" fmla="*/ 0 h 44890"/>
                <a:gd name="connsiteX1" fmla="*/ 11358 w 45972"/>
                <a:gd name="connsiteY1" fmla="*/ 11358 h 44890"/>
                <a:gd name="connsiteX2" fmla="*/ 23256 w 45972"/>
                <a:gd name="connsiteY2" fmla="*/ 22175 h 44890"/>
                <a:gd name="connsiteX3" fmla="*/ 34073 w 45972"/>
                <a:gd name="connsiteY3" fmla="*/ 34074 h 44890"/>
                <a:gd name="connsiteX4" fmla="*/ 45972 w 45972"/>
                <a:gd name="connsiteY4" fmla="*/ 44891 h 4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4890">
                  <a:moveTo>
                    <a:pt x="0" y="0"/>
                  </a:moveTo>
                  <a:cubicBezTo>
                    <a:pt x="5409" y="5409"/>
                    <a:pt x="5409" y="5409"/>
                    <a:pt x="11358" y="11358"/>
                  </a:cubicBezTo>
                  <a:cubicBezTo>
                    <a:pt x="16766" y="16767"/>
                    <a:pt x="17307" y="16767"/>
                    <a:pt x="23256" y="22175"/>
                  </a:cubicBezTo>
                  <a:cubicBezTo>
                    <a:pt x="28665" y="27584"/>
                    <a:pt x="28665" y="28124"/>
                    <a:pt x="34073" y="34074"/>
                  </a:cubicBezTo>
                  <a:cubicBezTo>
                    <a:pt x="39482" y="39482"/>
                    <a:pt x="40564" y="38941"/>
                    <a:pt x="45972" y="4489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BA568429-F2F3-CB92-459F-7E686EFCCC1D}"/>
                </a:ext>
              </a:extLst>
            </p:cNvPr>
            <p:cNvSpPr/>
            <p:nvPr/>
          </p:nvSpPr>
          <p:spPr>
            <a:xfrm>
              <a:off x="10376360" y="3026065"/>
              <a:ext cx="39482" cy="39482"/>
            </a:xfrm>
            <a:custGeom>
              <a:avLst/>
              <a:gdLst>
                <a:gd name="connsiteX0" fmla="*/ 39482 w 39482"/>
                <a:gd name="connsiteY0" fmla="*/ 0 h 39482"/>
                <a:gd name="connsiteX1" fmla="*/ 25961 w 39482"/>
                <a:gd name="connsiteY1" fmla="*/ 12440 h 39482"/>
                <a:gd name="connsiteX2" fmla="*/ 13521 w 39482"/>
                <a:gd name="connsiteY2" fmla="*/ 26502 h 39482"/>
                <a:gd name="connsiteX3" fmla="*/ 0 w 39482"/>
                <a:gd name="connsiteY3" fmla="*/ 39482 h 3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9482">
                  <a:moveTo>
                    <a:pt x="39482" y="0"/>
                  </a:moveTo>
                  <a:cubicBezTo>
                    <a:pt x="32992" y="6490"/>
                    <a:pt x="32451" y="5949"/>
                    <a:pt x="25961" y="12440"/>
                  </a:cubicBezTo>
                  <a:cubicBezTo>
                    <a:pt x="19471" y="18930"/>
                    <a:pt x="20012" y="20012"/>
                    <a:pt x="13521" y="26502"/>
                  </a:cubicBezTo>
                  <a:cubicBezTo>
                    <a:pt x="7031" y="32992"/>
                    <a:pt x="6491" y="32451"/>
                    <a:pt x="0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38078893-F1E8-B912-32EB-215DA2CB280B}"/>
                </a:ext>
              </a:extLst>
            </p:cNvPr>
            <p:cNvSpPr/>
            <p:nvPr/>
          </p:nvSpPr>
          <p:spPr>
            <a:xfrm>
              <a:off x="10335796" y="3061220"/>
              <a:ext cx="39482" cy="41645"/>
            </a:xfrm>
            <a:custGeom>
              <a:avLst/>
              <a:gdLst>
                <a:gd name="connsiteX0" fmla="*/ 0 w 39482"/>
                <a:gd name="connsiteY0" fmla="*/ 0 h 41645"/>
                <a:gd name="connsiteX1" fmla="*/ 12981 w 39482"/>
                <a:gd name="connsiteY1" fmla="*/ 14062 h 41645"/>
                <a:gd name="connsiteX2" fmla="*/ 27584 w 39482"/>
                <a:gd name="connsiteY2" fmla="*/ 26502 h 41645"/>
                <a:gd name="connsiteX3" fmla="*/ 39482 w 39482"/>
                <a:gd name="connsiteY3" fmla="*/ 41646 h 4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41645">
                  <a:moveTo>
                    <a:pt x="0" y="0"/>
                  </a:moveTo>
                  <a:cubicBezTo>
                    <a:pt x="6491" y="6490"/>
                    <a:pt x="6491" y="7031"/>
                    <a:pt x="12981" y="14062"/>
                  </a:cubicBezTo>
                  <a:cubicBezTo>
                    <a:pt x="19471" y="20552"/>
                    <a:pt x="21093" y="19471"/>
                    <a:pt x="27584" y="26502"/>
                  </a:cubicBezTo>
                  <a:cubicBezTo>
                    <a:pt x="34074" y="32992"/>
                    <a:pt x="32992" y="34615"/>
                    <a:pt x="39482" y="4164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61ADE1E3-0103-F12B-9A42-585C24428582}"/>
                </a:ext>
              </a:extLst>
            </p:cNvPr>
            <p:cNvSpPr/>
            <p:nvPr/>
          </p:nvSpPr>
          <p:spPr>
            <a:xfrm>
              <a:off x="10269812" y="2775967"/>
              <a:ext cx="213636" cy="409648"/>
            </a:xfrm>
            <a:custGeom>
              <a:avLst/>
              <a:gdLst>
                <a:gd name="connsiteX0" fmla="*/ 107630 w 213636"/>
                <a:gd name="connsiteY0" fmla="*/ 409649 h 409648"/>
                <a:gd name="connsiteX1" fmla="*/ 119528 w 213636"/>
                <a:gd name="connsiteY1" fmla="*/ 397209 h 409648"/>
                <a:gd name="connsiteX2" fmla="*/ 132509 w 213636"/>
                <a:gd name="connsiteY2" fmla="*/ 385310 h 409648"/>
                <a:gd name="connsiteX3" fmla="*/ 144407 w 213636"/>
                <a:gd name="connsiteY3" fmla="*/ 372871 h 409648"/>
                <a:gd name="connsiteX4" fmla="*/ 156306 w 213636"/>
                <a:gd name="connsiteY4" fmla="*/ 360431 h 409648"/>
                <a:gd name="connsiteX5" fmla="*/ 168205 w 213636"/>
                <a:gd name="connsiteY5" fmla="*/ 347992 h 409648"/>
                <a:gd name="connsiteX6" fmla="*/ 180104 w 213636"/>
                <a:gd name="connsiteY6" fmla="*/ 335011 h 409648"/>
                <a:gd name="connsiteX7" fmla="*/ 191462 w 213636"/>
                <a:gd name="connsiteY7" fmla="*/ 322031 h 409648"/>
                <a:gd name="connsiteX8" fmla="*/ 201197 w 213636"/>
                <a:gd name="connsiteY8" fmla="*/ 307969 h 409648"/>
                <a:gd name="connsiteX9" fmla="*/ 206605 w 213636"/>
                <a:gd name="connsiteY9" fmla="*/ 291743 h 409648"/>
                <a:gd name="connsiteX10" fmla="*/ 210932 w 213636"/>
                <a:gd name="connsiteY10" fmla="*/ 275518 h 409648"/>
                <a:gd name="connsiteX11" fmla="*/ 213636 w 213636"/>
                <a:gd name="connsiteY11" fmla="*/ 258751 h 409648"/>
                <a:gd name="connsiteX12" fmla="*/ 212014 w 213636"/>
                <a:gd name="connsiteY12" fmla="*/ 241985 h 409648"/>
                <a:gd name="connsiteX13" fmla="*/ 208228 w 213636"/>
                <a:gd name="connsiteY13" fmla="*/ 225218 h 409648"/>
                <a:gd name="connsiteX14" fmla="*/ 203901 w 213636"/>
                <a:gd name="connsiteY14" fmla="*/ 208452 h 409648"/>
                <a:gd name="connsiteX15" fmla="*/ 195788 w 213636"/>
                <a:gd name="connsiteY15" fmla="*/ 192767 h 409648"/>
                <a:gd name="connsiteX16" fmla="*/ 187675 w 213636"/>
                <a:gd name="connsiteY16" fmla="*/ 177083 h 409648"/>
                <a:gd name="connsiteX17" fmla="*/ 180104 w 213636"/>
                <a:gd name="connsiteY17" fmla="*/ 161398 h 409648"/>
                <a:gd name="connsiteX18" fmla="*/ 174695 w 213636"/>
                <a:gd name="connsiteY18" fmla="*/ 144631 h 409648"/>
                <a:gd name="connsiteX19" fmla="*/ 166583 w 213636"/>
                <a:gd name="connsiteY19" fmla="*/ 128947 h 409648"/>
                <a:gd name="connsiteX20" fmla="*/ 160092 w 213636"/>
                <a:gd name="connsiteY20" fmla="*/ 112721 h 409648"/>
                <a:gd name="connsiteX21" fmla="*/ 152520 w 213636"/>
                <a:gd name="connsiteY21" fmla="*/ 96496 h 409648"/>
                <a:gd name="connsiteX22" fmla="*/ 143866 w 213636"/>
                <a:gd name="connsiteY22" fmla="*/ 81352 h 409648"/>
                <a:gd name="connsiteX23" fmla="*/ 138458 w 213636"/>
                <a:gd name="connsiteY23" fmla="*/ 64585 h 409648"/>
                <a:gd name="connsiteX24" fmla="*/ 129264 w 213636"/>
                <a:gd name="connsiteY24" fmla="*/ 49442 h 409648"/>
                <a:gd name="connsiteX25" fmla="*/ 123855 w 213636"/>
                <a:gd name="connsiteY25" fmla="*/ 32675 h 409648"/>
                <a:gd name="connsiteX26" fmla="*/ 116283 w 213636"/>
                <a:gd name="connsiteY26" fmla="*/ 16450 h 409648"/>
                <a:gd name="connsiteX27" fmla="*/ 109252 w 213636"/>
                <a:gd name="connsiteY27" fmla="*/ 224 h 409648"/>
                <a:gd name="connsiteX28" fmla="*/ 107089 w 213636"/>
                <a:gd name="connsiteY28" fmla="*/ 765 h 409648"/>
                <a:gd name="connsiteX29" fmla="*/ 99517 w 213636"/>
                <a:gd name="connsiteY29" fmla="*/ 16450 h 409648"/>
                <a:gd name="connsiteX30" fmla="*/ 92486 w 213636"/>
                <a:gd name="connsiteY30" fmla="*/ 32675 h 409648"/>
                <a:gd name="connsiteX31" fmla="*/ 84373 w 213636"/>
                <a:gd name="connsiteY31" fmla="*/ 48360 h 409648"/>
                <a:gd name="connsiteX32" fmla="*/ 77342 w 213636"/>
                <a:gd name="connsiteY32" fmla="*/ 64585 h 409648"/>
                <a:gd name="connsiteX33" fmla="*/ 70851 w 213636"/>
                <a:gd name="connsiteY33" fmla="*/ 80811 h 409648"/>
                <a:gd name="connsiteX34" fmla="*/ 64361 w 213636"/>
                <a:gd name="connsiteY34" fmla="*/ 97037 h 409648"/>
                <a:gd name="connsiteX35" fmla="*/ 56789 w 213636"/>
                <a:gd name="connsiteY35" fmla="*/ 112721 h 409648"/>
                <a:gd name="connsiteX36" fmla="*/ 49758 w 213636"/>
                <a:gd name="connsiteY36" fmla="*/ 128947 h 409648"/>
                <a:gd name="connsiteX37" fmla="*/ 42727 w 213636"/>
                <a:gd name="connsiteY37" fmla="*/ 145172 h 409648"/>
                <a:gd name="connsiteX38" fmla="*/ 34615 w 213636"/>
                <a:gd name="connsiteY38" fmla="*/ 160857 h 409648"/>
                <a:gd name="connsiteX39" fmla="*/ 27043 w 213636"/>
                <a:gd name="connsiteY39" fmla="*/ 177083 h 409648"/>
                <a:gd name="connsiteX40" fmla="*/ 19471 w 213636"/>
                <a:gd name="connsiteY40" fmla="*/ 193308 h 409648"/>
                <a:gd name="connsiteX41" fmla="*/ 10817 w 213636"/>
                <a:gd name="connsiteY41" fmla="*/ 208993 h 409648"/>
                <a:gd name="connsiteX42" fmla="*/ 5949 w 213636"/>
                <a:gd name="connsiteY42" fmla="*/ 225218 h 409648"/>
                <a:gd name="connsiteX43" fmla="*/ 2164 w 213636"/>
                <a:gd name="connsiteY43" fmla="*/ 241985 h 409648"/>
                <a:gd name="connsiteX44" fmla="*/ 0 w 213636"/>
                <a:gd name="connsiteY44" fmla="*/ 259292 h 409648"/>
                <a:gd name="connsiteX45" fmla="*/ 3786 w 213636"/>
                <a:gd name="connsiteY45" fmla="*/ 276058 h 409648"/>
                <a:gd name="connsiteX46" fmla="*/ 8113 w 213636"/>
                <a:gd name="connsiteY46" fmla="*/ 292284 h 409648"/>
                <a:gd name="connsiteX47" fmla="*/ 12981 w 213636"/>
                <a:gd name="connsiteY47" fmla="*/ 309051 h 409648"/>
                <a:gd name="connsiteX48" fmla="*/ 22716 w 213636"/>
                <a:gd name="connsiteY48" fmla="*/ 323113 h 409648"/>
                <a:gd name="connsiteX49" fmla="*/ 33533 w 213636"/>
                <a:gd name="connsiteY49" fmla="*/ 336634 h 409648"/>
                <a:gd name="connsiteX50" fmla="*/ 46513 w 213636"/>
                <a:gd name="connsiteY50" fmla="*/ 349614 h 409648"/>
                <a:gd name="connsiteX51" fmla="*/ 59494 w 213636"/>
                <a:gd name="connsiteY51" fmla="*/ 362595 h 409648"/>
                <a:gd name="connsiteX52" fmla="*/ 72474 w 213636"/>
                <a:gd name="connsiteY52" fmla="*/ 375575 h 40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3636" h="409648">
                  <a:moveTo>
                    <a:pt x="107630" y="409649"/>
                  </a:moveTo>
                  <a:cubicBezTo>
                    <a:pt x="113579" y="403700"/>
                    <a:pt x="113579" y="403159"/>
                    <a:pt x="119528" y="397209"/>
                  </a:cubicBezTo>
                  <a:cubicBezTo>
                    <a:pt x="125477" y="391260"/>
                    <a:pt x="126019" y="391801"/>
                    <a:pt x="132509" y="385310"/>
                  </a:cubicBezTo>
                  <a:cubicBezTo>
                    <a:pt x="138458" y="379361"/>
                    <a:pt x="138458" y="378820"/>
                    <a:pt x="144407" y="372871"/>
                  </a:cubicBezTo>
                  <a:cubicBezTo>
                    <a:pt x="150357" y="366921"/>
                    <a:pt x="150357" y="366381"/>
                    <a:pt x="156306" y="360431"/>
                  </a:cubicBezTo>
                  <a:cubicBezTo>
                    <a:pt x="162256" y="354482"/>
                    <a:pt x="162256" y="353941"/>
                    <a:pt x="168205" y="347992"/>
                  </a:cubicBezTo>
                  <a:cubicBezTo>
                    <a:pt x="174154" y="342042"/>
                    <a:pt x="173613" y="341502"/>
                    <a:pt x="180104" y="335011"/>
                  </a:cubicBezTo>
                  <a:cubicBezTo>
                    <a:pt x="184430" y="330685"/>
                    <a:pt x="188217" y="326899"/>
                    <a:pt x="191462" y="322031"/>
                  </a:cubicBezTo>
                  <a:cubicBezTo>
                    <a:pt x="194707" y="317163"/>
                    <a:pt x="198492" y="312836"/>
                    <a:pt x="201197" y="307969"/>
                  </a:cubicBezTo>
                  <a:cubicBezTo>
                    <a:pt x="203901" y="303101"/>
                    <a:pt x="204983" y="297152"/>
                    <a:pt x="206605" y="291743"/>
                  </a:cubicBezTo>
                  <a:cubicBezTo>
                    <a:pt x="208228" y="286335"/>
                    <a:pt x="209851" y="280926"/>
                    <a:pt x="210932" y="275518"/>
                  </a:cubicBezTo>
                  <a:cubicBezTo>
                    <a:pt x="212014" y="270109"/>
                    <a:pt x="213636" y="264160"/>
                    <a:pt x="213636" y="258751"/>
                  </a:cubicBezTo>
                  <a:cubicBezTo>
                    <a:pt x="213636" y="253343"/>
                    <a:pt x="213096" y="247393"/>
                    <a:pt x="212014" y="241985"/>
                  </a:cubicBezTo>
                  <a:cubicBezTo>
                    <a:pt x="211473" y="236576"/>
                    <a:pt x="209851" y="231168"/>
                    <a:pt x="208228" y="225218"/>
                  </a:cubicBezTo>
                  <a:cubicBezTo>
                    <a:pt x="206605" y="219810"/>
                    <a:pt x="206064" y="213860"/>
                    <a:pt x="203901" y="208452"/>
                  </a:cubicBezTo>
                  <a:cubicBezTo>
                    <a:pt x="200115" y="200339"/>
                    <a:pt x="199034" y="200880"/>
                    <a:pt x="195788" y="192767"/>
                  </a:cubicBezTo>
                  <a:cubicBezTo>
                    <a:pt x="192002" y="184655"/>
                    <a:pt x="191462" y="185195"/>
                    <a:pt x="187675" y="177083"/>
                  </a:cubicBezTo>
                  <a:cubicBezTo>
                    <a:pt x="183890" y="168970"/>
                    <a:pt x="183890" y="168970"/>
                    <a:pt x="180104" y="161398"/>
                  </a:cubicBezTo>
                  <a:cubicBezTo>
                    <a:pt x="176318" y="153285"/>
                    <a:pt x="177940" y="152744"/>
                    <a:pt x="174695" y="144631"/>
                  </a:cubicBezTo>
                  <a:cubicBezTo>
                    <a:pt x="170909" y="136519"/>
                    <a:pt x="170368" y="137059"/>
                    <a:pt x="166583" y="128947"/>
                  </a:cubicBezTo>
                  <a:cubicBezTo>
                    <a:pt x="162796" y="120834"/>
                    <a:pt x="163878" y="120293"/>
                    <a:pt x="160092" y="112721"/>
                  </a:cubicBezTo>
                  <a:cubicBezTo>
                    <a:pt x="156306" y="104608"/>
                    <a:pt x="156306" y="104608"/>
                    <a:pt x="152520" y="96496"/>
                  </a:cubicBezTo>
                  <a:cubicBezTo>
                    <a:pt x="148734" y="88383"/>
                    <a:pt x="147653" y="88924"/>
                    <a:pt x="143866" y="81352"/>
                  </a:cubicBezTo>
                  <a:cubicBezTo>
                    <a:pt x="140081" y="73239"/>
                    <a:pt x="141703" y="72698"/>
                    <a:pt x="138458" y="64585"/>
                  </a:cubicBezTo>
                  <a:cubicBezTo>
                    <a:pt x="134672" y="56473"/>
                    <a:pt x="133049" y="57554"/>
                    <a:pt x="129264" y="49442"/>
                  </a:cubicBezTo>
                  <a:cubicBezTo>
                    <a:pt x="125477" y="41329"/>
                    <a:pt x="127100" y="40788"/>
                    <a:pt x="123855" y="32675"/>
                  </a:cubicBezTo>
                  <a:cubicBezTo>
                    <a:pt x="120069" y="24562"/>
                    <a:pt x="120069" y="24562"/>
                    <a:pt x="116283" y="16450"/>
                  </a:cubicBezTo>
                  <a:cubicBezTo>
                    <a:pt x="112497" y="8337"/>
                    <a:pt x="113038" y="8337"/>
                    <a:pt x="109252" y="224"/>
                  </a:cubicBezTo>
                  <a:cubicBezTo>
                    <a:pt x="109252" y="-317"/>
                    <a:pt x="107089" y="224"/>
                    <a:pt x="107089" y="765"/>
                  </a:cubicBezTo>
                  <a:cubicBezTo>
                    <a:pt x="102762" y="8337"/>
                    <a:pt x="103303" y="8878"/>
                    <a:pt x="99517" y="16450"/>
                  </a:cubicBezTo>
                  <a:cubicBezTo>
                    <a:pt x="95730" y="24562"/>
                    <a:pt x="96272" y="24562"/>
                    <a:pt x="92486" y="32675"/>
                  </a:cubicBezTo>
                  <a:cubicBezTo>
                    <a:pt x="88700" y="40788"/>
                    <a:pt x="88159" y="40247"/>
                    <a:pt x="84373" y="48360"/>
                  </a:cubicBezTo>
                  <a:cubicBezTo>
                    <a:pt x="80587" y="56473"/>
                    <a:pt x="80587" y="56473"/>
                    <a:pt x="77342" y="64585"/>
                  </a:cubicBezTo>
                  <a:cubicBezTo>
                    <a:pt x="73556" y="72698"/>
                    <a:pt x="74096" y="72698"/>
                    <a:pt x="70851" y="80811"/>
                  </a:cubicBezTo>
                  <a:cubicBezTo>
                    <a:pt x="67066" y="88924"/>
                    <a:pt x="68147" y="89465"/>
                    <a:pt x="64361" y="97037"/>
                  </a:cubicBezTo>
                  <a:cubicBezTo>
                    <a:pt x="60575" y="105149"/>
                    <a:pt x="60034" y="104608"/>
                    <a:pt x="56789" y="112721"/>
                  </a:cubicBezTo>
                  <a:cubicBezTo>
                    <a:pt x="53004" y="120834"/>
                    <a:pt x="53544" y="120834"/>
                    <a:pt x="49758" y="128947"/>
                  </a:cubicBezTo>
                  <a:cubicBezTo>
                    <a:pt x="45972" y="137059"/>
                    <a:pt x="46513" y="137059"/>
                    <a:pt x="42727" y="145172"/>
                  </a:cubicBezTo>
                  <a:cubicBezTo>
                    <a:pt x="38941" y="153285"/>
                    <a:pt x="38400" y="152744"/>
                    <a:pt x="34615" y="160857"/>
                  </a:cubicBezTo>
                  <a:cubicBezTo>
                    <a:pt x="30828" y="168970"/>
                    <a:pt x="30828" y="168970"/>
                    <a:pt x="27043" y="177083"/>
                  </a:cubicBezTo>
                  <a:cubicBezTo>
                    <a:pt x="23257" y="185195"/>
                    <a:pt x="23257" y="185195"/>
                    <a:pt x="19471" y="193308"/>
                  </a:cubicBezTo>
                  <a:cubicBezTo>
                    <a:pt x="15685" y="201421"/>
                    <a:pt x="14603" y="200880"/>
                    <a:pt x="10817" y="208993"/>
                  </a:cubicBezTo>
                  <a:cubicBezTo>
                    <a:pt x="8653" y="214401"/>
                    <a:pt x="7572" y="219810"/>
                    <a:pt x="5949" y="225218"/>
                  </a:cubicBezTo>
                  <a:cubicBezTo>
                    <a:pt x="4327" y="230627"/>
                    <a:pt x="3245" y="236576"/>
                    <a:pt x="2164" y="241985"/>
                  </a:cubicBezTo>
                  <a:cubicBezTo>
                    <a:pt x="1623" y="247393"/>
                    <a:pt x="0" y="253343"/>
                    <a:pt x="0" y="259292"/>
                  </a:cubicBezTo>
                  <a:cubicBezTo>
                    <a:pt x="0" y="265241"/>
                    <a:pt x="2704" y="270650"/>
                    <a:pt x="3786" y="276058"/>
                  </a:cubicBezTo>
                  <a:cubicBezTo>
                    <a:pt x="4868" y="281467"/>
                    <a:pt x="6490" y="286875"/>
                    <a:pt x="8113" y="292284"/>
                  </a:cubicBezTo>
                  <a:cubicBezTo>
                    <a:pt x="9736" y="297692"/>
                    <a:pt x="10276" y="303642"/>
                    <a:pt x="12981" y="309051"/>
                  </a:cubicBezTo>
                  <a:cubicBezTo>
                    <a:pt x="15685" y="313918"/>
                    <a:pt x="19471" y="318786"/>
                    <a:pt x="22716" y="323113"/>
                  </a:cubicBezTo>
                  <a:cubicBezTo>
                    <a:pt x="25961" y="327439"/>
                    <a:pt x="29206" y="332307"/>
                    <a:pt x="33533" y="336634"/>
                  </a:cubicBezTo>
                  <a:cubicBezTo>
                    <a:pt x="40023" y="343124"/>
                    <a:pt x="40023" y="343124"/>
                    <a:pt x="46513" y="349614"/>
                  </a:cubicBezTo>
                  <a:cubicBezTo>
                    <a:pt x="53004" y="356104"/>
                    <a:pt x="53004" y="356104"/>
                    <a:pt x="59494" y="362595"/>
                  </a:cubicBezTo>
                  <a:cubicBezTo>
                    <a:pt x="65984" y="369085"/>
                    <a:pt x="65984" y="369085"/>
                    <a:pt x="72474" y="3755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4D2D9990-15CF-2D6A-435F-C72EC56628FA}"/>
                </a:ext>
              </a:extLst>
            </p:cNvPr>
            <p:cNvSpPr/>
            <p:nvPr/>
          </p:nvSpPr>
          <p:spPr>
            <a:xfrm>
              <a:off x="10076187" y="2468988"/>
              <a:ext cx="155850" cy="851783"/>
            </a:xfrm>
            <a:custGeom>
              <a:avLst/>
              <a:gdLst>
                <a:gd name="connsiteX0" fmla="*/ 0 w 155850"/>
                <a:gd name="connsiteY0" fmla="*/ 0 h 851783"/>
                <a:gd name="connsiteX1" fmla="*/ 13521 w 155850"/>
                <a:gd name="connsiteY1" fmla="*/ 12440 h 851783"/>
                <a:gd name="connsiteX2" fmla="*/ 23257 w 155850"/>
                <a:gd name="connsiteY2" fmla="*/ 27583 h 851783"/>
                <a:gd name="connsiteX3" fmla="*/ 27584 w 155850"/>
                <a:gd name="connsiteY3" fmla="*/ 45432 h 851783"/>
                <a:gd name="connsiteX4" fmla="*/ 30288 w 155850"/>
                <a:gd name="connsiteY4" fmla="*/ 63820 h 851783"/>
                <a:gd name="connsiteX5" fmla="*/ 28125 w 155850"/>
                <a:gd name="connsiteY5" fmla="*/ 82210 h 851783"/>
                <a:gd name="connsiteX6" fmla="*/ 22716 w 155850"/>
                <a:gd name="connsiteY6" fmla="*/ 100058 h 851783"/>
                <a:gd name="connsiteX7" fmla="*/ 16767 w 155850"/>
                <a:gd name="connsiteY7" fmla="*/ 117365 h 851783"/>
                <a:gd name="connsiteX8" fmla="*/ 11899 w 155850"/>
                <a:gd name="connsiteY8" fmla="*/ 130345 h 851783"/>
                <a:gd name="connsiteX9" fmla="*/ 3246 w 155850"/>
                <a:gd name="connsiteY9" fmla="*/ 141162 h 851783"/>
                <a:gd name="connsiteX10" fmla="*/ 5950 w 155850"/>
                <a:gd name="connsiteY10" fmla="*/ 140621 h 851783"/>
                <a:gd name="connsiteX11" fmla="*/ 23257 w 155850"/>
                <a:gd name="connsiteY11" fmla="*/ 146571 h 851783"/>
                <a:gd name="connsiteX12" fmla="*/ 38942 w 155850"/>
                <a:gd name="connsiteY12" fmla="*/ 155765 h 851783"/>
                <a:gd name="connsiteX13" fmla="*/ 51922 w 155850"/>
                <a:gd name="connsiteY13" fmla="*/ 169287 h 851783"/>
                <a:gd name="connsiteX14" fmla="*/ 61657 w 155850"/>
                <a:gd name="connsiteY14" fmla="*/ 184971 h 851783"/>
                <a:gd name="connsiteX15" fmla="*/ 68148 w 155850"/>
                <a:gd name="connsiteY15" fmla="*/ 202279 h 851783"/>
                <a:gd name="connsiteX16" fmla="*/ 71393 w 155850"/>
                <a:gd name="connsiteY16" fmla="*/ 220127 h 851783"/>
                <a:gd name="connsiteX17" fmla="*/ 75179 w 155850"/>
                <a:gd name="connsiteY17" fmla="*/ 237975 h 851783"/>
                <a:gd name="connsiteX18" fmla="*/ 78424 w 155850"/>
                <a:gd name="connsiteY18" fmla="*/ 256364 h 851783"/>
                <a:gd name="connsiteX19" fmla="*/ 75719 w 155850"/>
                <a:gd name="connsiteY19" fmla="*/ 274753 h 851783"/>
                <a:gd name="connsiteX20" fmla="*/ 75719 w 155850"/>
                <a:gd name="connsiteY20" fmla="*/ 291519 h 851783"/>
                <a:gd name="connsiteX21" fmla="*/ 72474 w 155850"/>
                <a:gd name="connsiteY21" fmla="*/ 308286 h 851783"/>
                <a:gd name="connsiteX22" fmla="*/ 67066 w 155850"/>
                <a:gd name="connsiteY22" fmla="*/ 323970 h 851783"/>
                <a:gd name="connsiteX23" fmla="*/ 61117 w 155850"/>
                <a:gd name="connsiteY23" fmla="*/ 339655 h 851783"/>
                <a:gd name="connsiteX24" fmla="*/ 53544 w 155850"/>
                <a:gd name="connsiteY24" fmla="*/ 353717 h 851783"/>
                <a:gd name="connsiteX25" fmla="*/ 67066 w 155850"/>
                <a:gd name="connsiteY25" fmla="*/ 346686 h 851783"/>
                <a:gd name="connsiteX26" fmla="*/ 82210 w 155850"/>
                <a:gd name="connsiteY26" fmla="*/ 342900 h 851783"/>
                <a:gd name="connsiteX27" fmla="*/ 96813 w 155850"/>
                <a:gd name="connsiteY27" fmla="*/ 345604 h 851783"/>
                <a:gd name="connsiteX28" fmla="*/ 104925 w 155850"/>
                <a:gd name="connsiteY28" fmla="*/ 360748 h 851783"/>
                <a:gd name="connsiteX29" fmla="*/ 102221 w 155850"/>
                <a:gd name="connsiteY29" fmla="*/ 378596 h 851783"/>
                <a:gd name="connsiteX30" fmla="*/ 97895 w 155850"/>
                <a:gd name="connsiteY30" fmla="*/ 395904 h 851783"/>
                <a:gd name="connsiteX31" fmla="*/ 90323 w 155850"/>
                <a:gd name="connsiteY31" fmla="*/ 412129 h 851783"/>
                <a:gd name="connsiteX32" fmla="*/ 82210 w 155850"/>
                <a:gd name="connsiteY32" fmla="*/ 427814 h 851783"/>
                <a:gd name="connsiteX33" fmla="*/ 74638 w 155850"/>
                <a:gd name="connsiteY33" fmla="*/ 444039 h 851783"/>
                <a:gd name="connsiteX34" fmla="*/ 64361 w 155850"/>
                <a:gd name="connsiteY34" fmla="*/ 458642 h 851783"/>
                <a:gd name="connsiteX35" fmla="*/ 55167 w 155850"/>
                <a:gd name="connsiteY35" fmla="*/ 473786 h 851783"/>
                <a:gd name="connsiteX36" fmla="*/ 50299 w 155850"/>
                <a:gd name="connsiteY36" fmla="*/ 477572 h 851783"/>
                <a:gd name="connsiteX37" fmla="*/ 65984 w 155850"/>
                <a:gd name="connsiteY37" fmla="*/ 467296 h 851783"/>
                <a:gd name="connsiteX38" fmla="*/ 83291 w 155850"/>
                <a:gd name="connsiteY38" fmla="*/ 460265 h 851783"/>
                <a:gd name="connsiteX39" fmla="*/ 101680 w 155850"/>
                <a:gd name="connsiteY39" fmla="*/ 457560 h 851783"/>
                <a:gd name="connsiteX40" fmla="*/ 120069 w 155850"/>
                <a:gd name="connsiteY40" fmla="*/ 458102 h 851783"/>
                <a:gd name="connsiteX41" fmla="*/ 136836 w 155850"/>
                <a:gd name="connsiteY41" fmla="*/ 465673 h 851783"/>
                <a:gd name="connsiteX42" fmla="*/ 147112 w 155850"/>
                <a:gd name="connsiteY42" fmla="*/ 478654 h 851783"/>
                <a:gd name="connsiteX43" fmla="*/ 153061 w 155850"/>
                <a:gd name="connsiteY43" fmla="*/ 494339 h 851783"/>
                <a:gd name="connsiteX44" fmla="*/ 155766 w 155850"/>
                <a:gd name="connsiteY44" fmla="*/ 511646 h 851783"/>
                <a:gd name="connsiteX45" fmla="*/ 153061 w 155850"/>
                <a:gd name="connsiteY45" fmla="*/ 528953 h 851783"/>
                <a:gd name="connsiteX46" fmla="*/ 148194 w 155850"/>
                <a:gd name="connsiteY46" fmla="*/ 545720 h 851783"/>
                <a:gd name="connsiteX47" fmla="*/ 141704 w 155850"/>
                <a:gd name="connsiteY47" fmla="*/ 561945 h 851783"/>
                <a:gd name="connsiteX48" fmla="*/ 134672 w 155850"/>
                <a:gd name="connsiteY48" fmla="*/ 577630 h 851783"/>
                <a:gd name="connsiteX49" fmla="*/ 127100 w 155850"/>
                <a:gd name="connsiteY49" fmla="*/ 593314 h 851783"/>
                <a:gd name="connsiteX50" fmla="*/ 117906 w 155850"/>
                <a:gd name="connsiteY50" fmla="*/ 607376 h 851783"/>
                <a:gd name="connsiteX51" fmla="*/ 128723 w 155850"/>
                <a:gd name="connsiteY51" fmla="*/ 620357 h 851783"/>
                <a:gd name="connsiteX52" fmla="*/ 138459 w 155850"/>
                <a:gd name="connsiteY52" fmla="*/ 634960 h 851783"/>
                <a:gd name="connsiteX53" fmla="*/ 145489 w 155850"/>
                <a:gd name="connsiteY53" fmla="*/ 651186 h 851783"/>
                <a:gd name="connsiteX54" fmla="*/ 148194 w 155850"/>
                <a:gd name="connsiteY54" fmla="*/ 668493 h 851783"/>
                <a:gd name="connsiteX55" fmla="*/ 149816 w 155850"/>
                <a:gd name="connsiteY55" fmla="*/ 685800 h 851783"/>
                <a:gd name="connsiteX56" fmla="*/ 151438 w 155850"/>
                <a:gd name="connsiteY56" fmla="*/ 703107 h 851783"/>
                <a:gd name="connsiteX57" fmla="*/ 148734 w 155850"/>
                <a:gd name="connsiteY57" fmla="*/ 720415 h 851783"/>
                <a:gd name="connsiteX58" fmla="*/ 147653 w 155850"/>
                <a:gd name="connsiteY58" fmla="*/ 737722 h 851783"/>
                <a:gd name="connsiteX59" fmla="*/ 142785 w 155850"/>
                <a:gd name="connsiteY59" fmla="*/ 754488 h 851783"/>
                <a:gd name="connsiteX60" fmla="*/ 140081 w 155850"/>
                <a:gd name="connsiteY60" fmla="*/ 771796 h 851783"/>
                <a:gd name="connsiteX61" fmla="*/ 132509 w 155850"/>
                <a:gd name="connsiteY61" fmla="*/ 788021 h 851783"/>
                <a:gd name="connsiteX62" fmla="*/ 125478 w 155850"/>
                <a:gd name="connsiteY62" fmla="*/ 804247 h 851783"/>
                <a:gd name="connsiteX63" fmla="*/ 115742 w 155850"/>
                <a:gd name="connsiteY63" fmla="*/ 818850 h 851783"/>
                <a:gd name="connsiteX64" fmla="*/ 102762 w 155850"/>
                <a:gd name="connsiteY64" fmla="*/ 831289 h 851783"/>
                <a:gd name="connsiteX65" fmla="*/ 89782 w 155850"/>
                <a:gd name="connsiteY65" fmla="*/ 842647 h 851783"/>
                <a:gd name="connsiteX66" fmla="*/ 74638 w 155850"/>
                <a:gd name="connsiteY66" fmla="*/ 850760 h 851783"/>
                <a:gd name="connsiteX67" fmla="*/ 57331 w 155850"/>
                <a:gd name="connsiteY67" fmla="*/ 850760 h 851783"/>
                <a:gd name="connsiteX68" fmla="*/ 40564 w 155850"/>
                <a:gd name="connsiteY68" fmla="*/ 845351 h 851783"/>
                <a:gd name="connsiteX69" fmla="*/ 28665 w 155850"/>
                <a:gd name="connsiteY69" fmla="*/ 832371 h 851783"/>
                <a:gd name="connsiteX70" fmla="*/ 19471 w 155850"/>
                <a:gd name="connsiteY70" fmla="*/ 817227 h 851783"/>
                <a:gd name="connsiteX71" fmla="*/ 12981 w 155850"/>
                <a:gd name="connsiteY71" fmla="*/ 801001 h 851783"/>
                <a:gd name="connsiteX72" fmla="*/ 9195 w 155850"/>
                <a:gd name="connsiteY72" fmla="*/ 783694 h 851783"/>
                <a:gd name="connsiteX73" fmla="*/ 5409 w 155850"/>
                <a:gd name="connsiteY73" fmla="*/ 766387 h 851783"/>
                <a:gd name="connsiteX74" fmla="*/ 6491 w 155850"/>
                <a:gd name="connsiteY74" fmla="*/ 748539 h 851783"/>
                <a:gd name="connsiteX75" fmla="*/ 8113 w 155850"/>
                <a:gd name="connsiteY75" fmla="*/ 731232 h 851783"/>
                <a:gd name="connsiteX76" fmla="*/ 8654 w 155850"/>
                <a:gd name="connsiteY76" fmla="*/ 713384 h 85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55850" h="851783">
                  <a:moveTo>
                    <a:pt x="0" y="0"/>
                  </a:moveTo>
                  <a:cubicBezTo>
                    <a:pt x="5409" y="2163"/>
                    <a:pt x="9736" y="7572"/>
                    <a:pt x="13521" y="12440"/>
                  </a:cubicBezTo>
                  <a:cubicBezTo>
                    <a:pt x="17308" y="16766"/>
                    <a:pt x="20553" y="21634"/>
                    <a:pt x="23257" y="27583"/>
                  </a:cubicBezTo>
                  <a:cubicBezTo>
                    <a:pt x="25420" y="32992"/>
                    <a:pt x="26502" y="38941"/>
                    <a:pt x="27584" y="45432"/>
                  </a:cubicBezTo>
                  <a:cubicBezTo>
                    <a:pt x="28665" y="51381"/>
                    <a:pt x="30288" y="57330"/>
                    <a:pt x="30288" y="63820"/>
                  </a:cubicBezTo>
                  <a:cubicBezTo>
                    <a:pt x="30288" y="69770"/>
                    <a:pt x="29206" y="75719"/>
                    <a:pt x="28125" y="82210"/>
                  </a:cubicBezTo>
                  <a:cubicBezTo>
                    <a:pt x="27043" y="88159"/>
                    <a:pt x="24338" y="93567"/>
                    <a:pt x="22716" y="100058"/>
                  </a:cubicBezTo>
                  <a:cubicBezTo>
                    <a:pt x="21093" y="106007"/>
                    <a:pt x="19471" y="111415"/>
                    <a:pt x="16767" y="117365"/>
                  </a:cubicBezTo>
                  <a:cubicBezTo>
                    <a:pt x="15144" y="121692"/>
                    <a:pt x="14063" y="126559"/>
                    <a:pt x="11899" y="130345"/>
                  </a:cubicBezTo>
                  <a:cubicBezTo>
                    <a:pt x="9736" y="134672"/>
                    <a:pt x="5409" y="137376"/>
                    <a:pt x="3246" y="141162"/>
                  </a:cubicBezTo>
                  <a:cubicBezTo>
                    <a:pt x="3786" y="141162"/>
                    <a:pt x="5409" y="140621"/>
                    <a:pt x="5950" y="140621"/>
                  </a:cubicBezTo>
                  <a:cubicBezTo>
                    <a:pt x="11899" y="141162"/>
                    <a:pt x="17848" y="143867"/>
                    <a:pt x="23257" y="146571"/>
                  </a:cubicBezTo>
                  <a:cubicBezTo>
                    <a:pt x="28665" y="148734"/>
                    <a:pt x="34615" y="151438"/>
                    <a:pt x="38942" y="155765"/>
                  </a:cubicBezTo>
                  <a:cubicBezTo>
                    <a:pt x="43268" y="159551"/>
                    <a:pt x="48136" y="163878"/>
                    <a:pt x="51922" y="169287"/>
                  </a:cubicBezTo>
                  <a:cubicBezTo>
                    <a:pt x="55167" y="174154"/>
                    <a:pt x="58953" y="179563"/>
                    <a:pt x="61657" y="184971"/>
                  </a:cubicBezTo>
                  <a:cubicBezTo>
                    <a:pt x="64361" y="190380"/>
                    <a:pt x="65984" y="196329"/>
                    <a:pt x="68148" y="202279"/>
                  </a:cubicBezTo>
                  <a:cubicBezTo>
                    <a:pt x="70311" y="207687"/>
                    <a:pt x="70311" y="214177"/>
                    <a:pt x="71393" y="220127"/>
                  </a:cubicBezTo>
                  <a:cubicBezTo>
                    <a:pt x="72474" y="226076"/>
                    <a:pt x="74638" y="232025"/>
                    <a:pt x="75179" y="237975"/>
                  </a:cubicBezTo>
                  <a:cubicBezTo>
                    <a:pt x="75719" y="243924"/>
                    <a:pt x="78424" y="249874"/>
                    <a:pt x="78424" y="256364"/>
                  </a:cubicBezTo>
                  <a:cubicBezTo>
                    <a:pt x="78424" y="262313"/>
                    <a:pt x="76261" y="268263"/>
                    <a:pt x="75719" y="274753"/>
                  </a:cubicBezTo>
                  <a:cubicBezTo>
                    <a:pt x="75179" y="280161"/>
                    <a:pt x="76801" y="286111"/>
                    <a:pt x="75719" y="291519"/>
                  </a:cubicBezTo>
                  <a:cubicBezTo>
                    <a:pt x="74638" y="296928"/>
                    <a:pt x="73556" y="302877"/>
                    <a:pt x="72474" y="308286"/>
                  </a:cubicBezTo>
                  <a:cubicBezTo>
                    <a:pt x="71393" y="313694"/>
                    <a:pt x="68689" y="319103"/>
                    <a:pt x="67066" y="323970"/>
                  </a:cubicBezTo>
                  <a:cubicBezTo>
                    <a:pt x="65444" y="329379"/>
                    <a:pt x="63280" y="334787"/>
                    <a:pt x="61117" y="339655"/>
                  </a:cubicBezTo>
                  <a:cubicBezTo>
                    <a:pt x="58953" y="345063"/>
                    <a:pt x="56789" y="348849"/>
                    <a:pt x="53544" y="353717"/>
                  </a:cubicBezTo>
                  <a:cubicBezTo>
                    <a:pt x="58412" y="350472"/>
                    <a:pt x="62198" y="348849"/>
                    <a:pt x="67066" y="346686"/>
                  </a:cubicBezTo>
                  <a:cubicBezTo>
                    <a:pt x="72474" y="343982"/>
                    <a:pt x="77883" y="343441"/>
                    <a:pt x="82210" y="342900"/>
                  </a:cubicBezTo>
                  <a:cubicBezTo>
                    <a:pt x="88159" y="341818"/>
                    <a:pt x="93027" y="342900"/>
                    <a:pt x="96813" y="345604"/>
                  </a:cubicBezTo>
                  <a:cubicBezTo>
                    <a:pt x="101140" y="348849"/>
                    <a:pt x="104385" y="353717"/>
                    <a:pt x="104925" y="360748"/>
                  </a:cubicBezTo>
                  <a:cubicBezTo>
                    <a:pt x="105466" y="365616"/>
                    <a:pt x="103303" y="371565"/>
                    <a:pt x="102221" y="378596"/>
                  </a:cubicBezTo>
                  <a:cubicBezTo>
                    <a:pt x="101140" y="384005"/>
                    <a:pt x="100058" y="389954"/>
                    <a:pt x="97895" y="395904"/>
                  </a:cubicBezTo>
                  <a:cubicBezTo>
                    <a:pt x="96272" y="401312"/>
                    <a:pt x="93027" y="406180"/>
                    <a:pt x="90323" y="412129"/>
                  </a:cubicBezTo>
                  <a:cubicBezTo>
                    <a:pt x="88159" y="417538"/>
                    <a:pt x="84914" y="422405"/>
                    <a:pt x="82210" y="427814"/>
                  </a:cubicBezTo>
                  <a:cubicBezTo>
                    <a:pt x="79506" y="432681"/>
                    <a:pt x="77883" y="438631"/>
                    <a:pt x="74638" y="444039"/>
                  </a:cubicBezTo>
                  <a:cubicBezTo>
                    <a:pt x="71393" y="448907"/>
                    <a:pt x="67606" y="453775"/>
                    <a:pt x="64361" y="458642"/>
                  </a:cubicBezTo>
                  <a:cubicBezTo>
                    <a:pt x="61117" y="463510"/>
                    <a:pt x="58953" y="468919"/>
                    <a:pt x="55167" y="473786"/>
                  </a:cubicBezTo>
                  <a:cubicBezTo>
                    <a:pt x="54085" y="475409"/>
                    <a:pt x="51381" y="475950"/>
                    <a:pt x="50299" y="477572"/>
                  </a:cubicBezTo>
                  <a:cubicBezTo>
                    <a:pt x="55708" y="473786"/>
                    <a:pt x="60576" y="470000"/>
                    <a:pt x="65984" y="467296"/>
                  </a:cubicBezTo>
                  <a:cubicBezTo>
                    <a:pt x="71934" y="464051"/>
                    <a:pt x="77883" y="461888"/>
                    <a:pt x="83291" y="460265"/>
                  </a:cubicBezTo>
                  <a:cubicBezTo>
                    <a:pt x="89782" y="458102"/>
                    <a:pt x="95731" y="458102"/>
                    <a:pt x="101680" y="457560"/>
                  </a:cubicBezTo>
                  <a:cubicBezTo>
                    <a:pt x="108170" y="457020"/>
                    <a:pt x="114120" y="457020"/>
                    <a:pt x="120069" y="458102"/>
                  </a:cubicBezTo>
                  <a:cubicBezTo>
                    <a:pt x="126559" y="459183"/>
                    <a:pt x="131968" y="461888"/>
                    <a:pt x="136836" y="465673"/>
                  </a:cubicBezTo>
                  <a:cubicBezTo>
                    <a:pt x="141704" y="469459"/>
                    <a:pt x="144408" y="473786"/>
                    <a:pt x="147112" y="478654"/>
                  </a:cubicBezTo>
                  <a:cubicBezTo>
                    <a:pt x="149816" y="483522"/>
                    <a:pt x="151980" y="488389"/>
                    <a:pt x="153061" y="494339"/>
                  </a:cubicBezTo>
                  <a:cubicBezTo>
                    <a:pt x="154143" y="499747"/>
                    <a:pt x="156306" y="505696"/>
                    <a:pt x="155766" y="511646"/>
                  </a:cubicBezTo>
                  <a:cubicBezTo>
                    <a:pt x="155766" y="517054"/>
                    <a:pt x="154143" y="523004"/>
                    <a:pt x="153061" y="528953"/>
                  </a:cubicBezTo>
                  <a:cubicBezTo>
                    <a:pt x="151980" y="534361"/>
                    <a:pt x="149816" y="539770"/>
                    <a:pt x="148194" y="545720"/>
                  </a:cubicBezTo>
                  <a:cubicBezTo>
                    <a:pt x="146571" y="551128"/>
                    <a:pt x="143867" y="555996"/>
                    <a:pt x="141704" y="561945"/>
                  </a:cubicBezTo>
                  <a:cubicBezTo>
                    <a:pt x="139540" y="567354"/>
                    <a:pt x="137376" y="572221"/>
                    <a:pt x="134672" y="577630"/>
                  </a:cubicBezTo>
                  <a:cubicBezTo>
                    <a:pt x="131968" y="582497"/>
                    <a:pt x="130346" y="588447"/>
                    <a:pt x="127100" y="593314"/>
                  </a:cubicBezTo>
                  <a:cubicBezTo>
                    <a:pt x="123855" y="598182"/>
                    <a:pt x="121692" y="602509"/>
                    <a:pt x="117906" y="607376"/>
                  </a:cubicBezTo>
                  <a:cubicBezTo>
                    <a:pt x="122233" y="610622"/>
                    <a:pt x="124937" y="614949"/>
                    <a:pt x="128723" y="620357"/>
                  </a:cubicBezTo>
                  <a:cubicBezTo>
                    <a:pt x="131968" y="624684"/>
                    <a:pt x="135754" y="629552"/>
                    <a:pt x="138459" y="634960"/>
                  </a:cubicBezTo>
                  <a:cubicBezTo>
                    <a:pt x="140621" y="639828"/>
                    <a:pt x="143867" y="645236"/>
                    <a:pt x="145489" y="651186"/>
                  </a:cubicBezTo>
                  <a:cubicBezTo>
                    <a:pt x="147112" y="656594"/>
                    <a:pt x="147653" y="662543"/>
                    <a:pt x="148194" y="668493"/>
                  </a:cubicBezTo>
                  <a:cubicBezTo>
                    <a:pt x="149276" y="673901"/>
                    <a:pt x="149276" y="679851"/>
                    <a:pt x="149816" y="685800"/>
                  </a:cubicBezTo>
                  <a:cubicBezTo>
                    <a:pt x="150357" y="691208"/>
                    <a:pt x="151438" y="697158"/>
                    <a:pt x="151438" y="703107"/>
                  </a:cubicBezTo>
                  <a:cubicBezTo>
                    <a:pt x="151438" y="709057"/>
                    <a:pt x="149276" y="714465"/>
                    <a:pt x="148734" y="720415"/>
                  </a:cubicBezTo>
                  <a:cubicBezTo>
                    <a:pt x="148194" y="726364"/>
                    <a:pt x="148734" y="732313"/>
                    <a:pt x="147653" y="737722"/>
                  </a:cubicBezTo>
                  <a:cubicBezTo>
                    <a:pt x="146571" y="743671"/>
                    <a:pt x="143867" y="749080"/>
                    <a:pt x="142785" y="754488"/>
                  </a:cubicBezTo>
                  <a:cubicBezTo>
                    <a:pt x="141163" y="760437"/>
                    <a:pt x="141704" y="766387"/>
                    <a:pt x="140081" y="771796"/>
                  </a:cubicBezTo>
                  <a:cubicBezTo>
                    <a:pt x="137917" y="777745"/>
                    <a:pt x="134672" y="782613"/>
                    <a:pt x="132509" y="788021"/>
                  </a:cubicBezTo>
                  <a:cubicBezTo>
                    <a:pt x="130346" y="793430"/>
                    <a:pt x="128182" y="799379"/>
                    <a:pt x="125478" y="804247"/>
                  </a:cubicBezTo>
                  <a:cubicBezTo>
                    <a:pt x="122233" y="809655"/>
                    <a:pt x="118987" y="814523"/>
                    <a:pt x="115742" y="818850"/>
                  </a:cubicBezTo>
                  <a:cubicBezTo>
                    <a:pt x="111957" y="823717"/>
                    <a:pt x="107089" y="826962"/>
                    <a:pt x="102762" y="831289"/>
                  </a:cubicBezTo>
                  <a:cubicBezTo>
                    <a:pt x="98435" y="835616"/>
                    <a:pt x="94108" y="839402"/>
                    <a:pt x="89782" y="842647"/>
                  </a:cubicBezTo>
                  <a:cubicBezTo>
                    <a:pt x="84373" y="845892"/>
                    <a:pt x="79506" y="849678"/>
                    <a:pt x="74638" y="850760"/>
                  </a:cubicBezTo>
                  <a:cubicBezTo>
                    <a:pt x="68689" y="852382"/>
                    <a:pt x="62739" y="851842"/>
                    <a:pt x="57331" y="850760"/>
                  </a:cubicBezTo>
                  <a:cubicBezTo>
                    <a:pt x="51381" y="849678"/>
                    <a:pt x="45432" y="848597"/>
                    <a:pt x="40564" y="845351"/>
                  </a:cubicBezTo>
                  <a:cubicBezTo>
                    <a:pt x="35697" y="842106"/>
                    <a:pt x="32451" y="837238"/>
                    <a:pt x="28665" y="832371"/>
                  </a:cubicBezTo>
                  <a:cubicBezTo>
                    <a:pt x="25420" y="828044"/>
                    <a:pt x="22175" y="823176"/>
                    <a:pt x="19471" y="817227"/>
                  </a:cubicBezTo>
                  <a:cubicBezTo>
                    <a:pt x="17308" y="812359"/>
                    <a:pt x="14603" y="806951"/>
                    <a:pt x="12981" y="801001"/>
                  </a:cubicBezTo>
                  <a:cubicBezTo>
                    <a:pt x="11358" y="795593"/>
                    <a:pt x="10276" y="789644"/>
                    <a:pt x="9195" y="783694"/>
                  </a:cubicBezTo>
                  <a:cubicBezTo>
                    <a:pt x="8113" y="778286"/>
                    <a:pt x="5950" y="772336"/>
                    <a:pt x="5409" y="766387"/>
                  </a:cubicBezTo>
                  <a:cubicBezTo>
                    <a:pt x="4868" y="760437"/>
                    <a:pt x="6491" y="754488"/>
                    <a:pt x="6491" y="748539"/>
                  </a:cubicBezTo>
                  <a:cubicBezTo>
                    <a:pt x="6491" y="742589"/>
                    <a:pt x="7572" y="737181"/>
                    <a:pt x="8113" y="731232"/>
                  </a:cubicBezTo>
                  <a:cubicBezTo>
                    <a:pt x="8654" y="725282"/>
                    <a:pt x="7572" y="719333"/>
                    <a:pt x="8654" y="71338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CF00975A-09E8-16DB-3BE2-C9F2E09BE439}"/>
                </a:ext>
              </a:extLst>
            </p:cNvPr>
            <p:cNvSpPr/>
            <p:nvPr/>
          </p:nvSpPr>
          <p:spPr>
            <a:xfrm>
              <a:off x="9923127" y="2329989"/>
              <a:ext cx="125477" cy="119528"/>
            </a:xfrm>
            <a:custGeom>
              <a:avLst/>
              <a:gdLst>
                <a:gd name="connsiteX0" fmla="*/ 0 w 125477"/>
                <a:gd name="connsiteY0" fmla="*/ 72474 h 119528"/>
                <a:gd name="connsiteX1" fmla="*/ 8653 w 125477"/>
                <a:gd name="connsiteY1" fmla="*/ 54626 h 119528"/>
                <a:gd name="connsiteX2" fmla="*/ 18930 w 125477"/>
                <a:gd name="connsiteY2" fmla="*/ 38401 h 119528"/>
                <a:gd name="connsiteX3" fmla="*/ 32451 w 125477"/>
                <a:gd name="connsiteY3" fmla="*/ 24338 h 119528"/>
                <a:gd name="connsiteX4" fmla="*/ 47054 w 125477"/>
                <a:gd name="connsiteY4" fmla="*/ 11899 h 119528"/>
                <a:gd name="connsiteX5" fmla="*/ 64361 w 125477"/>
                <a:gd name="connsiteY5" fmla="*/ 3245 h 119528"/>
                <a:gd name="connsiteX6" fmla="*/ 79505 w 125477"/>
                <a:gd name="connsiteY6" fmla="*/ 0 h 119528"/>
                <a:gd name="connsiteX7" fmla="*/ 94649 w 125477"/>
                <a:gd name="connsiteY7" fmla="*/ 2704 h 119528"/>
                <a:gd name="connsiteX8" fmla="*/ 109793 w 125477"/>
                <a:gd name="connsiteY8" fmla="*/ 13521 h 119528"/>
                <a:gd name="connsiteX9" fmla="*/ 118987 w 125477"/>
                <a:gd name="connsiteY9" fmla="*/ 29747 h 119528"/>
                <a:gd name="connsiteX10" fmla="*/ 122232 w 125477"/>
                <a:gd name="connsiteY10" fmla="*/ 47595 h 119528"/>
                <a:gd name="connsiteX11" fmla="*/ 125477 w 125477"/>
                <a:gd name="connsiteY11" fmla="*/ 65984 h 119528"/>
                <a:gd name="connsiteX12" fmla="*/ 123314 w 125477"/>
                <a:gd name="connsiteY12" fmla="*/ 84373 h 119528"/>
                <a:gd name="connsiteX13" fmla="*/ 117905 w 125477"/>
                <a:gd name="connsiteY13" fmla="*/ 102221 h 119528"/>
                <a:gd name="connsiteX14" fmla="*/ 111956 w 125477"/>
                <a:gd name="connsiteY14" fmla="*/ 119528 h 11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477" h="119528">
                  <a:moveTo>
                    <a:pt x="0" y="72474"/>
                  </a:moveTo>
                  <a:cubicBezTo>
                    <a:pt x="2704" y="66525"/>
                    <a:pt x="5409" y="60575"/>
                    <a:pt x="8653" y="54626"/>
                  </a:cubicBezTo>
                  <a:cubicBezTo>
                    <a:pt x="11898" y="48677"/>
                    <a:pt x="15143" y="43268"/>
                    <a:pt x="18930" y="38401"/>
                  </a:cubicBezTo>
                  <a:cubicBezTo>
                    <a:pt x="23256" y="32992"/>
                    <a:pt x="28124" y="28665"/>
                    <a:pt x="32451" y="24338"/>
                  </a:cubicBezTo>
                  <a:cubicBezTo>
                    <a:pt x="37319" y="19471"/>
                    <a:pt x="41645" y="15144"/>
                    <a:pt x="47054" y="11899"/>
                  </a:cubicBezTo>
                  <a:cubicBezTo>
                    <a:pt x="57871" y="5949"/>
                    <a:pt x="54626" y="7572"/>
                    <a:pt x="64361" y="3245"/>
                  </a:cubicBezTo>
                  <a:cubicBezTo>
                    <a:pt x="69229" y="1623"/>
                    <a:pt x="74637" y="0"/>
                    <a:pt x="79505" y="0"/>
                  </a:cubicBezTo>
                  <a:cubicBezTo>
                    <a:pt x="84913" y="0"/>
                    <a:pt x="89781" y="1082"/>
                    <a:pt x="94649" y="2704"/>
                  </a:cubicBezTo>
                  <a:cubicBezTo>
                    <a:pt x="100058" y="4868"/>
                    <a:pt x="105466" y="8654"/>
                    <a:pt x="109793" y="13521"/>
                  </a:cubicBezTo>
                  <a:cubicBezTo>
                    <a:pt x="113579" y="17848"/>
                    <a:pt x="116283" y="23798"/>
                    <a:pt x="118987" y="29747"/>
                  </a:cubicBezTo>
                  <a:cubicBezTo>
                    <a:pt x="121151" y="35155"/>
                    <a:pt x="121692" y="41105"/>
                    <a:pt x="122232" y="47595"/>
                  </a:cubicBezTo>
                  <a:cubicBezTo>
                    <a:pt x="123314" y="53544"/>
                    <a:pt x="125477" y="59494"/>
                    <a:pt x="125477" y="65984"/>
                  </a:cubicBezTo>
                  <a:cubicBezTo>
                    <a:pt x="125477" y="71933"/>
                    <a:pt x="124396" y="77883"/>
                    <a:pt x="123314" y="84373"/>
                  </a:cubicBezTo>
                  <a:cubicBezTo>
                    <a:pt x="122232" y="90322"/>
                    <a:pt x="119528" y="95731"/>
                    <a:pt x="117905" y="102221"/>
                  </a:cubicBezTo>
                  <a:cubicBezTo>
                    <a:pt x="116283" y="108170"/>
                    <a:pt x="114120" y="113579"/>
                    <a:pt x="111956" y="11952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2CD86295-0138-724C-F743-B2E027F17E14}"/>
                </a:ext>
              </a:extLst>
            </p:cNvPr>
            <p:cNvSpPr/>
            <p:nvPr/>
          </p:nvSpPr>
          <p:spPr>
            <a:xfrm>
              <a:off x="9475842" y="2215825"/>
              <a:ext cx="542686" cy="1135832"/>
            </a:xfrm>
            <a:custGeom>
              <a:avLst/>
              <a:gdLst>
                <a:gd name="connsiteX0" fmla="*/ 47595 w 542686"/>
                <a:gd name="connsiteY0" fmla="*/ 1135833 h 1135832"/>
                <a:gd name="connsiteX1" fmla="*/ 36237 w 542686"/>
                <a:gd name="connsiteY1" fmla="*/ 1122311 h 1135832"/>
                <a:gd name="connsiteX2" fmla="*/ 25961 w 542686"/>
                <a:gd name="connsiteY2" fmla="*/ 1108249 h 1135832"/>
                <a:gd name="connsiteX3" fmla="*/ 16767 w 542686"/>
                <a:gd name="connsiteY3" fmla="*/ 1093646 h 1135832"/>
                <a:gd name="connsiteX4" fmla="*/ 8654 w 542686"/>
                <a:gd name="connsiteY4" fmla="*/ 1077961 h 1135832"/>
                <a:gd name="connsiteX5" fmla="*/ 4327 w 542686"/>
                <a:gd name="connsiteY5" fmla="*/ 1061195 h 1135832"/>
                <a:gd name="connsiteX6" fmla="*/ 1082 w 542686"/>
                <a:gd name="connsiteY6" fmla="*/ 1043888 h 1135832"/>
                <a:gd name="connsiteX7" fmla="*/ 0 w 542686"/>
                <a:gd name="connsiteY7" fmla="*/ 1026580 h 1135832"/>
                <a:gd name="connsiteX8" fmla="*/ 2164 w 542686"/>
                <a:gd name="connsiteY8" fmla="*/ 1008191 h 1135832"/>
                <a:gd name="connsiteX9" fmla="*/ 3786 w 542686"/>
                <a:gd name="connsiteY9" fmla="*/ 989803 h 1135832"/>
                <a:gd name="connsiteX10" fmla="*/ 9195 w 542686"/>
                <a:gd name="connsiteY10" fmla="*/ 971955 h 1135832"/>
                <a:gd name="connsiteX11" fmla="*/ 18389 w 542686"/>
                <a:gd name="connsiteY11" fmla="*/ 955729 h 1135832"/>
                <a:gd name="connsiteX12" fmla="*/ 27043 w 542686"/>
                <a:gd name="connsiteY12" fmla="*/ 939503 h 1135832"/>
                <a:gd name="connsiteX13" fmla="*/ 38942 w 542686"/>
                <a:gd name="connsiteY13" fmla="*/ 925441 h 1135832"/>
                <a:gd name="connsiteX14" fmla="*/ 52463 w 542686"/>
                <a:gd name="connsiteY14" fmla="*/ 913002 h 1135832"/>
                <a:gd name="connsiteX15" fmla="*/ 67066 w 542686"/>
                <a:gd name="connsiteY15" fmla="*/ 901644 h 1135832"/>
                <a:gd name="connsiteX16" fmla="*/ 83291 w 542686"/>
                <a:gd name="connsiteY16" fmla="*/ 892449 h 1135832"/>
                <a:gd name="connsiteX17" fmla="*/ 70311 w 542686"/>
                <a:gd name="connsiteY17" fmla="*/ 880010 h 1135832"/>
                <a:gd name="connsiteX18" fmla="*/ 61657 w 542686"/>
                <a:gd name="connsiteY18" fmla="*/ 864866 h 1135832"/>
                <a:gd name="connsiteX19" fmla="*/ 57872 w 542686"/>
                <a:gd name="connsiteY19" fmla="*/ 847559 h 1135832"/>
                <a:gd name="connsiteX20" fmla="*/ 54627 w 542686"/>
                <a:gd name="connsiteY20" fmla="*/ 830251 h 1135832"/>
                <a:gd name="connsiteX21" fmla="*/ 58412 w 542686"/>
                <a:gd name="connsiteY21" fmla="*/ 812403 h 1135832"/>
                <a:gd name="connsiteX22" fmla="*/ 62198 w 542686"/>
                <a:gd name="connsiteY22" fmla="*/ 794555 h 1135832"/>
                <a:gd name="connsiteX23" fmla="*/ 73015 w 542686"/>
                <a:gd name="connsiteY23" fmla="*/ 779952 h 1135832"/>
                <a:gd name="connsiteX24" fmla="*/ 84373 w 542686"/>
                <a:gd name="connsiteY24" fmla="*/ 765349 h 1135832"/>
                <a:gd name="connsiteX25" fmla="*/ 100058 w 542686"/>
                <a:gd name="connsiteY25" fmla="*/ 756155 h 1135832"/>
                <a:gd name="connsiteX26" fmla="*/ 116825 w 542686"/>
                <a:gd name="connsiteY26" fmla="*/ 749664 h 1135832"/>
                <a:gd name="connsiteX27" fmla="*/ 135213 w 542686"/>
                <a:gd name="connsiteY27" fmla="*/ 746419 h 1135832"/>
                <a:gd name="connsiteX28" fmla="*/ 128723 w 542686"/>
                <a:gd name="connsiteY28" fmla="*/ 731276 h 1135832"/>
                <a:gd name="connsiteX29" fmla="*/ 122233 w 542686"/>
                <a:gd name="connsiteY29" fmla="*/ 716672 h 1135832"/>
                <a:gd name="connsiteX30" fmla="*/ 121151 w 542686"/>
                <a:gd name="connsiteY30" fmla="*/ 700988 h 1135832"/>
                <a:gd name="connsiteX31" fmla="*/ 119529 w 542686"/>
                <a:gd name="connsiteY31" fmla="*/ 685303 h 1135832"/>
                <a:gd name="connsiteX32" fmla="*/ 121692 w 542686"/>
                <a:gd name="connsiteY32" fmla="*/ 667996 h 1135832"/>
                <a:gd name="connsiteX33" fmla="*/ 124937 w 542686"/>
                <a:gd name="connsiteY33" fmla="*/ 651229 h 1135832"/>
                <a:gd name="connsiteX34" fmla="*/ 128182 w 542686"/>
                <a:gd name="connsiteY34" fmla="*/ 633922 h 1135832"/>
                <a:gd name="connsiteX35" fmla="*/ 138459 w 542686"/>
                <a:gd name="connsiteY35" fmla="*/ 619860 h 1135832"/>
                <a:gd name="connsiteX36" fmla="*/ 148734 w 542686"/>
                <a:gd name="connsiteY36" fmla="*/ 606339 h 1135832"/>
                <a:gd name="connsiteX37" fmla="*/ 160633 w 542686"/>
                <a:gd name="connsiteY37" fmla="*/ 593899 h 1135832"/>
                <a:gd name="connsiteX38" fmla="*/ 176318 w 542686"/>
                <a:gd name="connsiteY38" fmla="*/ 586327 h 1135832"/>
                <a:gd name="connsiteX39" fmla="*/ 193625 w 542686"/>
                <a:gd name="connsiteY39" fmla="*/ 584705 h 1135832"/>
                <a:gd name="connsiteX40" fmla="*/ 213096 w 542686"/>
                <a:gd name="connsiteY40" fmla="*/ 588491 h 1135832"/>
                <a:gd name="connsiteX41" fmla="*/ 209851 w 542686"/>
                <a:gd name="connsiteY41" fmla="*/ 570643 h 1135832"/>
                <a:gd name="connsiteX42" fmla="*/ 208228 w 542686"/>
                <a:gd name="connsiteY42" fmla="*/ 551713 h 1135832"/>
                <a:gd name="connsiteX43" fmla="*/ 188217 w 542686"/>
                <a:gd name="connsiteY43" fmla="*/ 557662 h 1135832"/>
                <a:gd name="connsiteX44" fmla="*/ 168205 w 542686"/>
                <a:gd name="connsiteY44" fmla="*/ 556580 h 1135832"/>
                <a:gd name="connsiteX45" fmla="*/ 149276 w 542686"/>
                <a:gd name="connsiteY45" fmla="*/ 550631 h 1135832"/>
                <a:gd name="connsiteX46" fmla="*/ 132509 w 542686"/>
                <a:gd name="connsiteY46" fmla="*/ 543059 h 1135832"/>
                <a:gd name="connsiteX47" fmla="*/ 119529 w 542686"/>
                <a:gd name="connsiteY47" fmla="*/ 530079 h 1135832"/>
                <a:gd name="connsiteX48" fmla="*/ 108170 w 542686"/>
                <a:gd name="connsiteY48" fmla="*/ 515476 h 1135832"/>
                <a:gd name="connsiteX49" fmla="*/ 101140 w 542686"/>
                <a:gd name="connsiteY49" fmla="*/ 498168 h 1135832"/>
                <a:gd name="connsiteX50" fmla="*/ 95731 w 542686"/>
                <a:gd name="connsiteY50" fmla="*/ 480861 h 1135832"/>
                <a:gd name="connsiteX51" fmla="*/ 94108 w 542686"/>
                <a:gd name="connsiteY51" fmla="*/ 462472 h 1135832"/>
                <a:gd name="connsiteX52" fmla="*/ 94108 w 542686"/>
                <a:gd name="connsiteY52" fmla="*/ 444083 h 1135832"/>
                <a:gd name="connsiteX53" fmla="*/ 95190 w 542686"/>
                <a:gd name="connsiteY53" fmla="*/ 425694 h 1135832"/>
                <a:gd name="connsiteX54" fmla="*/ 98435 w 542686"/>
                <a:gd name="connsiteY54" fmla="*/ 407846 h 1135832"/>
                <a:gd name="connsiteX55" fmla="*/ 103844 w 542686"/>
                <a:gd name="connsiteY55" fmla="*/ 390539 h 1135832"/>
                <a:gd name="connsiteX56" fmla="*/ 108712 w 542686"/>
                <a:gd name="connsiteY56" fmla="*/ 372691 h 1135832"/>
                <a:gd name="connsiteX57" fmla="*/ 116283 w 542686"/>
                <a:gd name="connsiteY57" fmla="*/ 355924 h 1135832"/>
                <a:gd name="connsiteX58" fmla="*/ 126019 w 542686"/>
                <a:gd name="connsiteY58" fmla="*/ 340240 h 1135832"/>
                <a:gd name="connsiteX59" fmla="*/ 137376 w 542686"/>
                <a:gd name="connsiteY59" fmla="*/ 325637 h 1135832"/>
                <a:gd name="connsiteX60" fmla="*/ 149816 w 542686"/>
                <a:gd name="connsiteY60" fmla="*/ 312115 h 1135832"/>
                <a:gd name="connsiteX61" fmla="*/ 163878 w 542686"/>
                <a:gd name="connsiteY61" fmla="*/ 300217 h 1135832"/>
                <a:gd name="connsiteX62" fmla="*/ 177940 w 542686"/>
                <a:gd name="connsiteY62" fmla="*/ 288318 h 1135832"/>
                <a:gd name="connsiteX63" fmla="*/ 193625 w 542686"/>
                <a:gd name="connsiteY63" fmla="*/ 279123 h 1135832"/>
                <a:gd name="connsiteX64" fmla="*/ 210932 w 542686"/>
                <a:gd name="connsiteY64" fmla="*/ 272092 h 1135832"/>
                <a:gd name="connsiteX65" fmla="*/ 229321 w 542686"/>
                <a:gd name="connsiteY65" fmla="*/ 271010 h 1135832"/>
                <a:gd name="connsiteX66" fmla="*/ 247710 w 542686"/>
                <a:gd name="connsiteY66" fmla="*/ 270470 h 1135832"/>
                <a:gd name="connsiteX67" fmla="*/ 265559 w 542686"/>
                <a:gd name="connsiteY67" fmla="*/ 275337 h 1135832"/>
                <a:gd name="connsiteX68" fmla="*/ 274212 w 542686"/>
                <a:gd name="connsiteY68" fmla="*/ 280746 h 1135832"/>
                <a:gd name="connsiteX69" fmla="*/ 275294 w 542686"/>
                <a:gd name="connsiteY69" fmla="*/ 264520 h 1135832"/>
                <a:gd name="connsiteX70" fmla="*/ 281243 w 542686"/>
                <a:gd name="connsiteY70" fmla="*/ 249376 h 1135832"/>
                <a:gd name="connsiteX71" fmla="*/ 285570 w 542686"/>
                <a:gd name="connsiteY71" fmla="*/ 233692 h 1135832"/>
                <a:gd name="connsiteX72" fmla="*/ 290438 w 542686"/>
                <a:gd name="connsiteY72" fmla="*/ 218007 h 1135832"/>
                <a:gd name="connsiteX73" fmla="*/ 299091 w 542686"/>
                <a:gd name="connsiteY73" fmla="*/ 203945 h 1135832"/>
                <a:gd name="connsiteX74" fmla="*/ 307204 w 542686"/>
                <a:gd name="connsiteY74" fmla="*/ 187719 h 1135832"/>
                <a:gd name="connsiteX75" fmla="*/ 315858 w 542686"/>
                <a:gd name="connsiteY75" fmla="*/ 171494 h 1135832"/>
                <a:gd name="connsiteX76" fmla="*/ 325052 w 542686"/>
                <a:gd name="connsiteY76" fmla="*/ 155809 h 1135832"/>
                <a:gd name="connsiteX77" fmla="*/ 337492 w 542686"/>
                <a:gd name="connsiteY77" fmla="*/ 142829 h 1135832"/>
                <a:gd name="connsiteX78" fmla="*/ 349931 w 542686"/>
                <a:gd name="connsiteY78" fmla="*/ 129848 h 1135832"/>
                <a:gd name="connsiteX79" fmla="*/ 363453 w 542686"/>
                <a:gd name="connsiteY79" fmla="*/ 117950 h 1135832"/>
                <a:gd name="connsiteX80" fmla="*/ 379678 w 542686"/>
                <a:gd name="connsiteY80" fmla="*/ 109296 h 1135832"/>
                <a:gd name="connsiteX81" fmla="*/ 397526 w 542686"/>
                <a:gd name="connsiteY81" fmla="*/ 111459 h 1135832"/>
                <a:gd name="connsiteX82" fmla="*/ 402394 w 542686"/>
                <a:gd name="connsiteY82" fmla="*/ 113623 h 1135832"/>
                <a:gd name="connsiteX83" fmla="*/ 411589 w 542686"/>
                <a:gd name="connsiteY83" fmla="*/ 91989 h 1135832"/>
                <a:gd name="connsiteX84" fmla="*/ 418619 w 542686"/>
                <a:gd name="connsiteY84" fmla="*/ 74681 h 1135832"/>
                <a:gd name="connsiteX85" fmla="*/ 428896 w 542686"/>
                <a:gd name="connsiteY85" fmla="*/ 58997 h 1135832"/>
                <a:gd name="connsiteX86" fmla="*/ 439172 w 542686"/>
                <a:gd name="connsiteY86" fmla="*/ 43853 h 1135832"/>
                <a:gd name="connsiteX87" fmla="*/ 449989 w 542686"/>
                <a:gd name="connsiteY87" fmla="*/ 28709 h 1135832"/>
                <a:gd name="connsiteX88" fmla="*/ 462428 w 542686"/>
                <a:gd name="connsiteY88" fmla="*/ 15188 h 1135832"/>
                <a:gd name="connsiteX89" fmla="*/ 477032 w 542686"/>
                <a:gd name="connsiteY89" fmla="*/ 3289 h 1135832"/>
                <a:gd name="connsiteX90" fmla="*/ 495421 w 542686"/>
                <a:gd name="connsiteY90" fmla="*/ 1125 h 1135832"/>
                <a:gd name="connsiteX91" fmla="*/ 504074 w 542686"/>
                <a:gd name="connsiteY91" fmla="*/ 20596 h 1135832"/>
                <a:gd name="connsiteX92" fmla="*/ 505156 w 542686"/>
                <a:gd name="connsiteY92" fmla="*/ 42230 h 1135832"/>
                <a:gd name="connsiteX93" fmla="*/ 517055 w 542686"/>
                <a:gd name="connsiteY93" fmla="*/ 33036 h 1135832"/>
                <a:gd name="connsiteX94" fmla="*/ 531658 w 542686"/>
                <a:gd name="connsiteY94" fmla="*/ 33577 h 1135832"/>
                <a:gd name="connsiteX95" fmla="*/ 541393 w 542686"/>
                <a:gd name="connsiteY95" fmla="*/ 44394 h 1135832"/>
                <a:gd name="connsiteX96" fmla="*/ 542475 w 542686"/>
                <a:gd name="connsiteY96" fmla="*/ 60078 h 1135832"/>
                <a:gd name="connsiteX97" fmla="*/ 538148 w 542686"/>
                <a:gd name="connsiteY97" fmla="*/ 75222 h 1135832"/>
                <a:gd name="connsiteX98" fmla="*/ 534362 w 542686"/>
                <a:gd name="connsiteY98" fmla="*/ 90366 h 1135832"/>
                <a:gd name="connsiteX99" fmla="*/ 525168 w 542686"/>
                <a:gd name="connsiteY99" fmla="*/ 106051 h 1135832"/>
                <a:gd name="connsiteX100" fmla="*/ 512187 w 542686"/>
                <a:gd name="connsiteY100" fmla="*/ 118490 h 1135832"/>
                <a:gd name="connsiteX101" fmla="*/ 494339 w 542686"/>
                <a:gd name="connsiteY101" fmla="*/ 126062 h 113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42686" h="1135832">
                  <a:moveTo>
                    <a:pt x="47595" y="1135833"/>
                  </a:moveTo>
                  <a:cubicBezTo>
                    <a:pt x="43268" y="1132047"/>
                    <a:pt x="40023" y="1126638"/>
                    <a:pt x="36237" y="1122311"/>
                  </a:cubicBezTo>
                  <a:cubicBezTo>
                    <a:pt x="32451" y="1117985"/>
                    <a:pt x="29206" y="1113117"/>
                    <a:pt x="25961" y="1108249"/>
                  </a:cubicBezTo>
                  <a:cubicBezTo>
                    <a:pt x="22716" y="1103381"/>
                    <a:pt x="19471" y="1098514"/>
                    <a:pt x="16767" y="1093646"/>
                  </a:cubicBezTo>
                  <a:cubicBezTo>
                    <a:pt x="14063" y="1088238"/>
                    <a:pt x="10817" y="1083370"/>
                    <a:pt x="8654" y="1077961"/>
                  </a:cubicBezTo>
                  <a:cubicBezTo>
                    <a:pt x="6491" y="1072553"/>
                    <a:pt x="5409" y="1066604"/>
                    <a:pt x="4327" y="1061195"/>
                  </a:cubicBezTo>
                  <a:cubicBezTo>
                    <a:pt x="3246" y="1055787"/>
                    <a:pt x="1623" y="1049837"/>
                    <a:pt x="1082" y="1043888"/>
                  </a:cubicBezTo>
                  <a:cubicBezTo>
                    <a:pt x="541" y="1037938"/>
                    <a:pt x="0" y="1032530"/>
                    <a:pt x="0" y="1026580"/>
                  </a:cubicBezTo>
                  <a:cubicBezTo>
                    <a:pt x="0" y="1020090"/>
                    <a:pt x="1082" y="1014141"/>
                    <a:pt x="2164" y="1008191"/>
                  </a:cubicBezTo>
                  <a:cubicBezTo>
                    <a:pt x="2704" y="1002242"/>
                    <a:pt x="2704" y="995752"/>
                    <a:pt x="3786" y="989803"/>
                  </a:cubicBezTo>
                  <a:cubicBezTo>
                    <a:pt x="5409" y="983853"/>
                    <a:pt x="7031" y="977904"/>
                    <a:pt x="9195" y="971955"/>
                  </a:cubicBezTo>
                  <a:cubicBezTo>
                    <a:pt x="11358" y="966005"/>
                    <a:pt x="15144" y="961138"/>
                    <a:pt x="18389" y="955729"/>
                  </a:cubicBezTo>
                  <a:cubicBezTo>
                    <a:pt x="21093" y="950320"/>
                    <a:pt x="23257" y="944371"/>
                    <a:pt x="27043" y="939503"/>
                  </a:cubicBezTo>
                  <a:cubicBezTo>
                    <a:pt x="30829" y="934636"/>
                    <a:pt x="34615" y="929768"/>
                    <a:pt x="38942" y="925441"/>
                  </a:cubicBezTo>
                  <a:cubicBezTo>
                    <a:pt x="43268" y="921114"/>
                    <a:pt x="47595" y="916788"/>
                    <a:pt x="52463" y="913002"/>
                  </a:cubicBezTo>
                  <a:cubicBezTo>
                    <a:pt x="57331" y="909216"/>
                    <a:pt x="61657" y="904889"/>
                    <a:pt x="67066" y="901644"/>
                  </a:cubicBezTo>
                  <a:cubicBezTo>
                    <a:pt x="71934" y="898399"/>
                    <a:pt x="77883" y="895154"/>
                    <a:pt x="83291" y="892449"/>
                  </a:cubicBezTo>
                  <a:cubicBezTo>
                    <a:pt x="78965" y="888663"/>
                    <a:pt x="74097" y="884877"/>
                    <a:pt x="70311" y="880010"/>
                  </a:cubicBezTo>
                  <a:cubicBezTo>
                    <a:pt x="67066" y="875142"/>
                    <a:pt x="63821" y="869733"/>
                    <a:pt x="61657" y="864866"/>
                  </a:cubicBezTo>
                  <a:cubicBezTo>
                    <a:pt x="59494" y="859457"/>
                    <a:pt x="58953" y="853508"/>
                    <a:pt x="57872" y="847559"/>
                  </a:cubicBezTo>
                  <a:cubicBezTo>
                    <a:pt x="56789" y="842150"/>
                    <a:pt x="54627" y="836201"/>
                    <a:pt x="54627" y="830251"/>
                  </a:cubicBezTo>
                  <a:cubicBezTo>
                    <a:pt x="54627" y="824302"/>
                    <a:pt x="57331" y="818353"/>
                    <a:pt x="58412" y="812403"/>
                  </a:cubicBezTo>
                  <a:cubicBezTo>
                    <a:pt x="59494" y="806454"/>
                    <a:pt x="59494" y="799963"/>
                    <a:pt x="62198" y="794555"/>
                  </a:cubicBezTo>
                  <a:cubicBezTo>
                    <a:pt x="64902" y="789146"/>
                    <a:pt x="69770" y="784820"/>
                    <a:pt x="73015" y="779952"/>
                  </a:cubicBezTo>
                  <a:cubicBezTo>
                    <a:pt x="76801" y="775084"/>
                    <a:pt x="79506" y="769135"/>
                    <a:pt x="84373" y="765349"/>
                  </a:cubicBezTo>
                  <a:cubicBezTo>
                    <a:pt x="89241" y="761563"/>
                    <a:pt x="95190" y="759400"/>
                    <a:pt x="100058" y="756155"/>
                  </a:cubicBezTo>
                  <a:cubicBezTo>
                    <a:pt x="105466" y="753450"/>
                    <a:pt x="110875" y="751287"/>
                    <a:pt x="116825" y="749664"/>
                  </a:cubicBezTo>
                  <a:cubicBezTo>
                    <a:pt x="122774" y="748042"/>
                    <a:pt x="129264" y="746419"/>
                    <a:pt x="135213" y="746419"/>
                  </a:cubicBezTo>
                  <a:cubicBezTo>
                    <a:pt x="132509" y="742093"/>
                    <a:pt x="130346" y="736143"/>
                    <a:pt x="128723" y="731276"/>
                  </a:cubicBezTo>
                  <a:cubicBezTo>
                    <a:pt x="127100" y="726408"/>
                    <a:pt x="123314" y="722081"/>
                    <a:pt x="122233" y="716672"/>
                  </a:cubicBezTo>
                  <a:cubicBezTo>
                    <a:pt x="121151" y="711805"/>
                    <a:pt x="121692" y="705855"/>
                    <a:pt x="121151" y="700988"/>
                  </a:cubicBezTo>
                  <a:cubicBezTo>
                    <a:pt x="120610" y="696120"/>
                    <a:pt x="119529" y="690712"/>
                    <a:pt x="119529" y="685303"/>
                  </a:cubicBezTo>
                  <a:cubicBezTo>
                    <a:pt x="119529" y="679354"/>
                    <a:pt x="121151" y="673945"/>
                    <a:pt x="121692" y="667996"/>
                  </a:cubicBezTo>
                  <a:cubicBezTo>
                    <a:pt x="122233" y="662046"/>
                    <a:pt x="123855" y="656638"/>
                    <a:pt x="124937" y="651229"/>
                  </a:cubicBezTo>
                  <a:cubicBezTo>
                    <a:pt x="126559" y="645280"/>
                    <a:pt x="126019" y="639331"/>
                    <a:pt x="128182" y="633922"/>
                  </a:cubicBezTo>
                  <a:cubicBezTo>
                    <a:pt x="130346" y="628514"/>
                    <a:pt x="135213" y="624728"/>
                    <a:pt x="138459" y="619860"/>
                  </a:cubicBezTo>
                  <a:cubicBezTo>
                    <a:pt x="141704" y="614992"/>
                    <a:pt x="144408" y="610125"/>
                    <a:pt x="148734" y="606339"/>
                  </a:cubicBezTo>
                  <a:cubicBezTo>
                    <a:pt x="153061" y="602012"/>
                    <a:pt x="156306" y="597144"/>
                    <a:pt x="160633" y="593899"/>
                  </a:cubicBezTo>
                  <a:cubicBezTo>
                    <a:pt x="165501" y="590654"/>
                    <a:pt x="170910" y="587950"/>
                    <a:pt x="176318" y="586327"/>
                  </a:cubicBezTo>
                  <a:cubicBezTo>
                    <a:pt x="181727" y="584705"/>
                    <a:pt x="187676" y="584705"/>
                    <a:pt x="193625" y="584705"/>
                  </a:cubicBezTo>
                  <a:cubicBezTo>
                    <a:pt x="200115" y="584705"/>
                    <a:pt x="206606" y="586327"/>
                    <a:pt x="213096" y="588491"/>
                  </a:cubicBezTo>
                  <a:cubicBezTo>
                    <a:pt x="211474" y="582541"/>
                    <a:pt x="210932" y="577133"/>
                    <a:pt x="209851" y="570643"/>
                  </a:cubicBezTo>
                  <a:cubicBezTo>
                    <a:pt x="208769" y="564693"/>
                    <a:pt x="208769" y="558203"/>
                    <a:pt x="208228" y="551713"/>
                  </a:cubicBezTo>
                  <a:cubicBezTo>
                    <a:pt x="201738" y="553876"/>
                    <a:pt x="194707" y="556580"/>
                    <a:pt x="188217" y="557662"/>
                  </a:cubicBezTo>
                  <a:cubicBezTo>
                    <a:pt x="181185" y="558203"/>
                    <a:pt x="174695" y="557662"/>
                    <a:pt x="168205" y="556580"/>
                  </a:cubicBezTo>
                  <a:cubicBezTo>
                    <a:pt x="161715" y="555499"/>
                    <a:pt x="155225" y="553335"/>
                    <a:pt x="149276" y="550631"/>
                  </a:cubicBezTo>
                  <a:cubicBezTo>
                    <a:pt x="143326" y="548468"/>
                    <a:pt x="137376" y="546304"/>
                    <a:pt x="132509" y="543059"/>
                  </a:cubicBezTo>
                  <a:cubicBezTo>
                    <a:pt x="127642" y="539814"/>
                    <a:pt x="123855" y="534405"/>
                    <a:pt x="119529" y="530079"/>
                  </a:cubicBezTo>
                  <a:cubicBezTo>
                    <a:pt x="115742" y="525752"/>
                    <a:pt x="111416" y="520884"/>
                    <a:pt x="108170" y="515476"/>
                  </a:cubicBezTo>
                  <a:cubicBezTo>
                    <a:pt x="105466" y="510067"/>
                    <a:pt x="103303" y="504118"/>
                    <a:pt x="101140" y="498168"/>
                  </a:cubicBezTo>
                  <a:cubicBezTo>
                    <a:pt x="98976" y="492760"/>
                    <a:pt x="96813" y="486810"/>
                    <a:pt x="95731" y="480861"/>
                  </a:cubicBezTo>
                  <a:cubicBezTo>
                    <a:pt x="94649" y="474912"/>
                    <a:pt x="94649" y="468962"/>
                    <a:pt x="94108" y="462472"/>
                  </a:cubicBezTo>
                  <a:cubicBezTo>
                    <a:pt x="93568" y="456523"/>
                    <a:pt x="93568" y="450573"/>
                    <a:pt x="94108" y="444083"/>
                  </a:cubicBezTo>
                  <a:cubicBezTo>
                    <a:pt x="94108" y="438134"/>
                    <a:pt x="94108" y="432184"/>
                    <a:pt x="95190" y="425694"/>
                  </a:cubicBezTo>
                  <a:cubicBezTo>
                    <a:pt x="95731" y="419745"/>
                    <a:pt x="96813" y="413795"/>
                    <a:pt x="98435" y="407846"/>
                  </a:cubicBezTo>
                  <a:cubicBezTo>
                    <a:pt x="99517" y="401897"/>
                    <a:pt x="101680" y="396488"/>
                    <a:pt x="103844" y="390539"/>
                  </a:cubicBezTo>
                  <a:cubicBezTo>
                    <a:pt x="105466" y="384589"/>
                    <a:pt x="106007" y="378640"/>
                    <a:pt x="108712" y="372691"/>
                  </a:cubicBezTo>
                  <a:cubicBezTo>
                    <a:pt x="110875" y="366741"/>
                    <a:pt x="113038" y="361333"/>
                    <a:pt x="116283" y="355924"/>
                  </a:cubicBezTo>
                  <a:cubicBezTo>
                    <a:pt x="118987" y="350516"/>
                    <a:pt x="122774" y="345107"/>
                    <a:pt x="126019" y="340240"/>
                  </a:cubicBezTo>
                  <a:cubicBezTo>
                    <a:pt x="129264" y="334831"/>
                    <a:pt x="133591" y="330504"/>
                    <a:pt x="137376" y="325637"/>
                  </a:cubicBezTo>
                  <a:cubicBezTo>
                    <a:pt x="141163" y="320769"/>
                    <a:pt x="145489" y="316442"/>
                    <a:pt x="149816" y="312115"/>
                  </a:cubicBezTo>
                  <a:cubicBezTo>
                    <a:pt x="154143" y="307789"/>
                    <a:pt x="159011" y="304002"/>
                    <a:pt x="163878" y="300217"/>
                  </a:cubicBezTo>
                  <a:cubicBezTo>
                    <a:pt x="168746" y="296431"/>
                    <a:pt x="173073" y="291563"/>
                    <a:pt x="177940" y="288318"/>
                  </a:cubicBezTo>
                  <a:cubicBezTo>
                    <a:pt x="183349" y="285073"/>
                    <a:pt x="188217" y="281287"/>
                    <a:pt x="193625" y="279123"/>
                  </a:cubicBezTo>
                  <a:cubicBezTo>
                    <a:pt x="199574" y="276419"/>
                    <a:pt x="204983" y="273715"/>
                    <a:pt x="210932" y="272092"/>
                  </a:cubicBezTo>
                  <a:cubicBezTo>
                    <a:pt x="216882" y="270470"/>
                    <a:pt x="223372" y="271010"/>
                    <a:pt x="229321" y="271010"/>
                  </a:cubicBezTo>
                  <a:cubicBezTo>
                    <a:pt x="235271" y="270470"/>
                    <a:pt x="241761" y="269388"/>
                    <a:pt x="247710" y="270470"/>
                  </a:cubicBezTo>
                  <a:cubicBezTo>
                    <a:pt x="253660" y="271551"/>
                    <a:pt x="259609" y="273174"/>
                    <a:pt x="265559" y="275337"/>
                  </a:cubicBezTo>
                  <a:cubicBezTo>
                    <a:pt x="268804" y="276419"/>
                    <a:pt x="271508" y="279123"/>
                    <a:pt x="274212" y="280746"/>
                  </a:cubicBezTo>
                  <a:cubicBezTo>
                    <a:pt x="274753" y="275878"/>
                    <a:pt x="274212" y="269929"/>
                    <a:pt x="275294" y="264520"/>
                  </a:cubicBezTo>
                  <a:cubicBezTo>
                    <a:pt x="276376" y="259653"/>
                    <a:pt x="279621" y="254785"/>
                    <a:pt x="281243" y="249376"/>
                  </a:cubicBezTo>
                  <a:cubicBezTo>
                    <a:pt x="282866" y="244509"/>
                    <a:pt x="283947" y="239100"/>
                    <a:pt x="285570" y="233692"/>
                  </a:cubicBezTo>
                  <a:cubicBezTo>
                    <a:pt x="287193" y="228824"/>
                    <a:pt x="288274" y="223416"/>
                    <a:pt x="290438" y="218007"/>
                  </a:cubicBezTo>
                  <a:cubicBezTo>
                    <a:pt x="292601" y="213139"/>
                    <a:pt x="296387" y="208813"/>
                    <a:pt x="299091" y="203945"/>
                  </a:cubicBezTo>
                  <a:cubicBezTo>
                    <a:pt x="301796" y="198536"/>
                    <a:pt x="303959" y="193128"/>
                    <a:pt x="307204" y="187719"/>
                  </a:cubicBezTo>
                  <a:cubicBezTo>
                    <a:pt x="309908" y="182311"/>
                    <a:pt x="312613" y="176902"/>
                    <a:pt x="315858" y="171494"/>
                  </a:cubicBezTo>
                  <a:cubicBezTo>
                    <a:pt x="319103" y="166085"/>
                    <a:pt x="321807" y="160677"/>
                    <a:pt x="325052" y="155809"/>
                  </a:cubicBezTo>
                  <a:cubicBezTo>
                    <a:pt x="328838" y="150941"/>
                    <a:pt x="333706" y="147155"/>
                    <a:pt x="337492" y="142829"/>
                  </a:cubicBezTo>
                  <a:cubicBezTo>
                    <a:pt x="341819" y="137961"/>
                    <a:pt x="345604" y="133634"/>
                    <a:pt x="349931" y="129848"/>
                  </a:cubicBezTo>
                  <a:cubicBezTo>
                    <a:pt x="354799" y="125521"/>
                    <a:pt x="358585" y="120654"/>
                    <a:pt x="363453" y="117950"/>
                  </a:cubicBezTo>
                  <a:cubicBezTo>
                    <a:pt x="368861" y="114163"/>
                    <a:pt x="374270" y="110378"/>
                    <a:pt x="379678" y="109296"/>
                  </a:cubicBezTo>
                  <a:cubicBezTo>
                    <a:pt x="386168" y="107673"/>
                    <a:pt x="392118" y="108755"/>
                    <a:pt x="397526" y="111459"/>
                  </a:cubicBezTo>
                  <a:cubicBezTo>
                    <a:pt x="398608" y="112000"/>
                    <a:pt x="401312" y="113082"/>
                    <a:pt x="402394" y="113623"/>
                  </a:cubicBezTo>
                  <a:cubicBezTo>
                    <a:pt x="405098" y="106592"/>
                    <a:pt x="407802" y="99020"/>
                    <a:pt x="411589" y="91989"/>
                  </a:cubicBezTo>
                  <a:cubicBezTo>
                    <a:pt x="414293" y="86039"/>
                    <a:pt x="415915" y="80090"/>
                    <a:pt x="418619" y="74681"/>
                  </a:cubicBezTo>
                  <a:cubicBezTo>
                    <a:pt x="421864" y="69273"/>
                    <a:pt x="425651" y="64405"/>
                    <a:pt x="428896" y="58997"/>
                  </a:cubicBezTo>
                  <a:cubicBezTo>
                    <a:pt x="432141" y="53588"/>
                    <a:pt x="435927" y="48721"/>
                    <a:pt x="439172" y="43853"/>
                  </a:cubicBezTo>
                  <a:cubicBezTo>
                    <a:pt x="442958" y="38444"/>
                    <a:pt x="446203" y="33577"/>
                    <a:pt x="449989" y="28709"/>
                  </a:cubicBezTo>
                  <a:cubicBezTo>
                    <a:pt x="454315" y="23841"/>
                    <a:pt x="458102" y="18974"/>
                    <a:pt x="462428" y="15188"/>
                  </a:cubicBezTo>
                  <a:cubicBezTo>
                    <a:pt x="467837" y="10320"/>
                    <a:pt x="472164" y="5993"/>
                    <a:pt x="477032" y="3289"/>
                  </a:cubicBezTo>
                  <a:cubicBezTo>
                    <a:pt x="484062" y="44"/>
                    <a:pt x="490553" y="-1038"/>
                    <a:pt x="495421" y="1125"/>
                  </a:cubicBezTo>
                  <a:cubicBezTo>
                    <a:pt x="500829" y="3830"/>
                    <a:pt x="502992" y="11402"/>
                    <a:pt x="504074" y="20596"/>
                  </a:cubicBezTo>
                  <a:cubicBezTo>
                    <a:pt x="505156" y="26546"/>
                    <a:pt x="506238" y="34117"/>
                    <a:pt x="505156" y="42230"/>
                  </a:cubicBezTo>
                  <a:cubicBezTo>
                    <a:pt x="509483" y="38444"/>
                    <a:pt x="513268" y="34658"/>
                    <a:pt x="517055" y="33036"/>
                  </a:cubicBezTo>
                  <a:cubicBezTo>
                    <a:pt x="522463" y="30331"/>
                    <a:pt x="527330" y="31413"/>
                    <a:pt x="531658" y="33577"/>
                  </a:cubicBezTo>
                  <a:cubicBezTo>
                    <a:pt x="535985" y="35740"/>
                    <a:pt x="539770" y="38985"/>
                    <a:pt x="541393" y="44394"/>
                  </a:cubicBezTo>
                  <a:cubicBezTo>
                    <a:pt x="542475" y="48721"/>
                    <a:pt x="543015" y="54129"/>
                    <a:pt x="542475" y="60078"/>
                  </a:cubicBezTo>
                  <a:cubicBezTo>
                    <a:pt x="541934" y="64946"/>
                    <a:pt x="539770" y="69814"/>
                    <a:pt x="538148" y="75222"/>
                  </a:cubicBezTo>
                  <a:cubicBezTo>
                    <a:pt x="536525" y="80090"/>
                    <a:pt x="536525" y="85498"/>
                    <a:pt x="534362" y="90366"/>
                  </a:cubicBezTo>
                  <a:cubicBezTo>
                    <a:pt x="531658" y="95775"/>
                    <a:pt x="528413" y="101183"/>
                    <a:pt x="525168" y="106051"/>
                  </a:cubicBezTo>
                  <a:cubicBezTo>
                    <a:pt x="521381" y="111459"/>
                    <a:pt x="516513" y="115245"/>
                    <a:pt x="512187" y="118490"/>
                  </a:cubicBezTo>
                  <a:cubicBezTo>
                    <a:pt x="506238" y="120113"/>
                    <a:pt x="499747" y="121736"/>
                    <a:pt x="494339" y="1260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D59AD117-6389-2DDD-0D72-439B86E13D30}"/>
                </a:ext>
              </a:extLst>
            </p:cNvPr>
            <p:cNvSpPr/>
            <p:nvPr/>
          </p:nvSpPr>
          <p:spPr>
            <a:xfrm>
              <a:off x="9728420" y="3241324"/>
              <a:ext cx="49758" cy="111415"/>
            </a:xfrm>
            <a:custGeom>
              <a:avLst/>
              <a:gdLst>
                <a:gd name="connsiteX0" fmla="*/ 49758 w 49758"/>
                <a:gd name="connsiteY0" fmla="*/ 0 h 111415"/>
                <a:gd name="connsiteX1" fmla="*/ 48677 w 49758"/>
                <a:gd name="connsiteY1" fmla="*/ 17848 h 111415"/>
                <a:gd name="connsiteX2" fmla="*/ 44890 w 49758"/>
                <a:gd name="connsiteY2" fmla="*/ 35696 h 111415"/>
                <a:gd name="connsiteX3" fmla="*/ 38941 w 49758"/>
                <a:gd name="connsiteY3" fmla="*/ 52463 h 111415"/>
                <a:gd name="connsiteX4" fmla="*/ 32992 w 49758"/>
                <a:gd name="connsiteY4" fmla="*/ 69229 h 111415"/>
                <a:gd name="connsiteX5" fmla="*/ 22716 w 49758"/>
                <a:gd name="connsiteY5" fmla="*/ 83832 h 111415"/>
                <a:gd name="connsiteX6" fmla="*/ 12981 w 49758"/>
                <a:gd name="connsiteY6" fmla="*/ 98976 h 111415"/>
                <a:gd name="connsiteX7" fmla="*/ 0 w 49758"/>
                <a:gd name="connsiteY7" fmla="*/ 111416 h 111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758" h="111415">
                  <a:moveTo>
                    <a:pt x="49758" y="0"/>
                  </a:moveTo>
                  <a:cubicBezTo>
                    <a:pt x="49758" y="5950"/>
                    <a:pt x="49217" y="11899"/>
                    <a:pt x="48677" y="17848"/>
                  </a:cubicBezTo>
                  <a:cubicBezTo>
                    <a:pt x="48136" y="23798"/>
                    <a:pt x="46513" y="29747"/>
                    <a:pt x="44890" y="35696"/>
                  </a:cubicBezTo>
                  <a:cubicBezTo>
                    <a:pt x="43268" y="41646"/>
                    <a:pt x="41105" y="47054"/>
                    <a:pt x="38941" y="52463"/>
                  </a:cubicBezTo>
                  <a:cubicBezTo>
                    <a:pt x="36778" y="57871"/>
                    <a:pt x="35696" y="64361"/>
                    <a:pt x="32992" y="69229"/>
                  </a:cubicBezTo>
                  <a:cubicBezTo>
                    <a:pt x="30288" y="74637"/>
                    <a:pt x="25960" y="78965"/>
                    <a:pt x="22716" y="83832"/>
                  </a:cubicBezTo>
                  <a:cubicBezTo>
                    <a:pt x="19471" y="88700"/>
                    <a:pt x="16766" y="94108"/>
                    <a:pt x="12981" y="98976"/>
                  </a:cubicBezTo>
                  <a:cubicBezTo>
                    <a:pt x="9194" y="103303"/>
                    <a:pt x="4326" y="107630"/>
                    <a:pt x="0" y="11141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DCF1B531-F454-6429-F637-EF88F3BACA51}"/>
                </a:ext>
              </a:extLst>
            </p:cNvPr>
            <p:cNvSpPr/>
            <p:nvPr/>
          </p:nvSpPr>
          <p:spPr>
            <a:xfrm>
              <a:off x="9852275" y="2829736"/>
              <a:ext cx="2162" cy="339114"/>
            </a:xfrm>
            <a:custGeom>
              <a:avLst/>
              <a:gdLst>
                <a:gd name="connsiteX0" fmla="*/ 541 w 2162"/>
                <a:gd name="connsiteY0" fmla="*/ 0 h 339114"/>
                <a:gd name="connsiteX1" fmla="*/ 0 w 2162"/>
                <a:gd name="connsiteY1" fmla="*/ 17848 h 339114"/>
                <a:gd name="connsiteX2" fmla="*/ 0 w 2162"/>
                <a:gd name="connsiteY2" fmla="*/ 35696 h 339114"/>
                <a:gd name="connsiteX3" fmla="*/ 1622 w 2162"/>
                <a:gd name="connsiteY3" fmla="*/ 53544 h 339114"/>
                <a:gd name="connsiteX4" fmla="*/ 2163 w 2162"/>
                <a:gd name="connsiteY4" fmla="*/ 71392 h 339114"/>
                <a:gd name="connsiteX5" fmla="*/ 541 w 2162"/>
                <a:gd name="connsiteY5" fmla="*/ 89241 h 339114"/>
                <a:gd name="connsiteX6" fmla="*/ 0 w 2162"/>
                <a:gd name="connsiteY6" fmla="*/ 107089 h 339114"/>
                <a:gd name="connsiteX7" fmla="*/ 0 w 2162"/>
                <a:gd name="connsiteY7" fmla="*/ 124937 h 339114"/>
                <a:gd name="connsiteX8" fmla="*/ 0 w 2162"/>
                <a:gd name="connsiteY8" fmla="*/ 142785 h 339114"/>
                <a:gd name="connsiteX9" fmla="*/ 0 w 2162"/>
                <a:gd name="connsiteY9" fmla="*/ 160633 h 339114"/>
                <a:gd name="connsiteX10" fmla="*/ 1622 w 2162"/>
                <a:gd name="connsiteY10" fmla="*/ 178481 h 339114"/>
                <a:gd name="connsiteX11" fmla="*/ 1081 w 2162"/>
                <a:gd name="connsiteY11" fmla="*/ 196329 h 339114"/>
                <a:gd name="connsiteX12" fmla="*/ 2163 w 2162"/>
                <a:gd name="connsiteY12" fmla="*/ 214177 h 339114"/>
                <a:gd name="connsiteX13" fmla="*/ 2163 w 2162"/>
                <a:gd name="connsiteY13" fmla="*/ 232025 h 339114"/>
                <a:gd name="connsiteX14" fmla="*/ 1622 w 2162"/>
                <a:gd name="connsiteY14" fmla="*/ 249874 h 339114"/>
                <a:gd name="connsiteX15" fmla="*/ 2163 w 2162"/>
                <a:gd name="connsiteY15" fmla="*/ 267722 h 339114"/>
                <a:gd name="connsiteX16" fmla="*/ 1622 w 2162"/>
                <a:gd name="connsiteY16" fmla="*/ 285570 h 339114"/>
                <a:gd name="connsiteX17" fmla="*/ 1081 w 2162"/>
                <a:gd name="connsiteY17" fmla="*/ 303418 h 339114"/>
                <a:gd name="connsiteX18" fmla="*/ 1081 w 2162"/>
                <a:gd name="connsiteY18" fmla="*/ 321266 h 339114"/>
                <a:gd name="connsiteX19" fmla="*/ 2163 w 2162"/>
                <a:gd name="connsiteY19" fmla="*/ 339114 h 339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62" h="339114">
                  <a:moveTo>
                    <a:pt x="541" y="0"/>
                  </a:moveTo>
                  <a:cubicBezTo>
                    <a:pt x="541" y="8653"/>
                    <a:pt x="0" y="8653"/>
                    <a:pt x="0" y="17848"/>
                  </a:cubicBezTo>
                  <a:cubicBezTo>
                    <a:pt x="0" y="26502"/>
                    <a:pt x="0" y="26502"/>
                    <a:pt x="0" y="35696"/>
                  </a:cubicBezTo>
                  <a:cubicBezTo>
                    <a:pt x="0" y="44350"/>
                    <a:pt x="1622" y="44350"/>
                    <a:pt x="1622" y="53544"/>
                  </a:cubicBezTo>
                  <a:cubicBezTo>
                    <a:pt x="1622" y="62198"/>
                    <a:pt x="2163" y="62198"/>
                    <a:pt x="2163" y="71392"/>
                  </a:cubicBezTo>
                  <a:cubicBezTo>
                    <a:pt x="2163" y="80046"/>
                    <a:pt x="541" y="80046"/>
                    <a:pt x="541" y="89241"/>
                  </a:cubicBezTo>
                  <a:cubicBezTo>
                    <a:pt x="541" y="97894"/>
                    <a:pt x="0" y="97894"/>
                    <a:pt x="0" y="107089"/>
                  </a:cubicBezTo>
                  <a:cubicBezTo>
                    <a:pt x="0" y="115742"/>
                    <a:pt x="0" y="115742"/>
                    <a:pt x="0" y="124937"/>
                  </a:cubicBezTo>
                  <a:cubicBezTo>
                    <a:pt x="0" y="133590"/>
                    <a:pt x="0" y="133590"/>
                    <a:pt x="0" y="142785"/>
                  </a:cubicBezTo>
                  <a:cubicBezTo>
                    <a:pt x="0" y="151438"/>
                    <a:pt x="0" y="151438"/>
                    <a:pt x="0" y="160633"/>
                  </a:cubicBezTo>
                  <a:cubicBezTo>
                    <a:pt x="0" y="169287"/>
                    <a:pt x="1622" y="169287"/>
                    <a:pt x="1622" y="178481"/>
                  </a:cubicBezTo>
                  <a:cubicBezTo>
                    <a:pt x="1622" y="187135"/>
                    <a:pt x="1081" y="187135"/>
                    <a:pt x="1081" y="196329"/>
                  </a:cubicBezTo>
                  <a:cubicBezTo>
                    <a:pt x="1081" y="204983"/>
                    <a:pt x="2163" y="204983"/>
                    <a:pt x="2163" y="214177"/>
                  </a:cubicBezTo>
                  <a:cubicBezTo>
                    <a:pt x="2163" y="223372"/>
                    <a:pt x="2163" y="222831"/>
                    <a:pt x="2163" y="232025"/>
                  </a:cubicBezTo>
                  <a:cubicBezTo>
                    <a:pt x="2163" y="240679"/>
                    <a:pt x="1622" y="240679"/>
                    <a:pt x="1622" y="249874"/>
                  </a:cubicBezTo>
                  <a:cubicBezTo>
                    <a:pt x="1622" y="258527"/>
                    <a:pt x="2163" y="258527"/>
                    <a:pt x="2163" y="267722"/>
                  </a:cubicBezTo>
                  <a:cubicBezTo>
                    <a:pt x="2163" y="276375"/>
                    <a:pt x="1622" y="276375"/>
                    <a:pt x="1622" y="285570"/>
                  </a:cubicBezTo>
                  <a:cubicBezTo>
                    <a:pt x="1622" y="294223"/>
                    <a:pt x="1081" y="294223"/>
                    <a:pt x="1081" y="303418"/>
                  </a:cubicBezTo>
                  <a:cubicBezTo>
                    <a:pt x="1081" y="312072"/>
                    <a:pt x="1081" y="312072"/>
                    <a:pt x="1081" y="321266"/>
                  </a:cubicBezTo>
                  <a:cubicBezTo>
                    <a:pt x="1081" y="329920"/>
                    <a:pt x="2163" y="329920"/>
                    <a:pt x="2163" y="33911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9F2C3CEA-CE7C-68D0-CF1B-0005C9D846B1}"/>
                </a:ext>
              </a:extLst>
            </p:cNvPr>
            <p:cNvSpPr/>
            <p:nvPr/>
          </p:nvSpPr>
          <p:spPr>
            <a:xfrm>
              <a:off x="9925831" y="3065006"/>
              <a:ext cx="2704" cy="207686"/>
            </a:xfrm>
            <a:custGeom>
              <a:avLst/>
              <a:gdLst>
                <a:gd name="connsiteX0" fmla="*/ 1081 w 2704"/>
                <a:gd name="connsiteY0" fmla="*/ 0 h 207686"/>
                <a:gd name="connsiteX1" fmla="*/ 541 w 2704"/>
                <a:gd name="connsiteY1" fmla="*/ 17307 h 207686"/>
                <a:gd name="connsiteX2" fmla="*/ 2704 w 2704"/>
                <a:gd name="connsiteY2" fmla="*/ 34614 h 207686"/>
                <a:gd name="connsiteX3" fmla="*/ 0 w 2704"/>
                <a:gd name="connsiteY3" fmla="*/ 51922 h 207686"/>
                <a:gd name="connsiteX4" fmla="*/ 1081 w 2704"/>
                <a:gd name="connsiteY4" fmla="*/ 69229 h 207686"/>
                <a:gd name="connsiteX5" fmla="*/ 541 w 2704"/>
                <a:gd name="connsiteY5" fmla="*/ 86536 h 207686"/>
                <a:gd name="connsiteX6" fmla="*/ 2164 w 2704"/>
                <a:gd name="connsiteY6" fmla="*/ 103844 h 207686"/>
                <a:gd name="connsiteX7" fmla="*/ 1081 w 2704"/>
                <a:gd name="connsiteY7" fmla="*/ 121151 h 207686"/>
                <a:gd name="connsiteX8" fmla="*/ 1622 w 2704"/>
                <a:gd name="connsiteY8" fmla="*/ 138458 h 207686"/>
                <a:gd name="connsiteX9" fmla="*/ 2164 w 2704"/>
                <a:gd name="connsiteY9" fmla="*/ 155765 h 207686"/>
                <a:gd name="connsiteX10" fmla="*/ 2164 w 2704"/>
                <a:gd name="connsiteY10" fmla="*/ 173073 h 207686"/>
                <a:gd name="connsiteX11" fmla="*/ 2164 w 2704"/>
                <a:gd name="connsiteY11" fmla="*/ 190380 h 207686"/>
                <a:gd name="connsiteX12" fmla="*/ 2704 w 2704"/>
                <a:gd name="connsiteY12" fmla="*/ 207687 h 20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04" h="207686">
                  <a:moveTo>
                    <a:pt x="1081" y="0"/>
                  </a:moveTo>
                  <a:cubicBezTo>
                    <a:pt x="1081" y="8653"/>
                    <a:pt x="541" y="8653"/>
                    <a:pt x="541" y="17307"/>
                  </a:cubicBezTo>
                  <a:cubicBezTo>
                    <a:pt x="541" y="25961"/>
                    <a:pt x="2704" y="25961"/>
                    <a:pt x="2704" y="34614"/>
                  </a:cubicBezTo>
                  <a:cubicBezTo>
                    <a:pt x="2704" y="43268"/>
                    <a:pt x="0" y="43268"/>
                    <a:pt x="0" y="51922"/>
                  </a:cubicBezTo>
                  <a:cubicBezTo>
                    <a:pt x="0" y="60575"/>
                    <a:pt x="1081" y="60575"/>
                    <a:pt x="1081" y="69229"/>
                  </a:cubicBezTo>
                  <a:cubicBezTo>
                    <a:pt x="1081" y="77882"/>
                    <a:pt x="541" y="77882"/>
                    <a:pt x="541" y="86536"/>
                  </a:cubicBezTo>
                  <a:cubicBezTo>
                    <a:pt x="541" y="95190"/>
                    <a:pt x="2164" y="95190"/>
                    <a:pt x="2164" y="103844"/>
                  </a:cubicBezTo>
                  <a:cubicBezTo>
                    <a:pt x="2164" y="112497"/>
                    <a:pt x="1081" y="112497"/>
                    <a:pt x="1081" y="121151"/>
                  </a:cubicBezTo>
                  <a:cubicBezTo>
                    <a:pt x="1081" y="129804"/>
                    <a:pt x="1622" y="129804"/>
                    <a:pt x="1622" y="138458"/>
                  </a:cubicBezTo>
                  <a:cubicBezTo>
                    <a:pt x="1622" y="147112"/>
                    <a:pt x="2164" y="147112"/>
                    <a:pt x="2164" y="155765"/>
                  </a:cubicBezTo>
                  <a:cubicBezTo>
                    <a:pt x="2164" y="164419"/>
                    <a:pt x="2164" y="164419"/>
                    <a:pt x="2164" y="173073"/>
                  </a:cubicBezTo>
                  <a:cubicBezTo>
                    <a:pt x="2164" y="181726"/>
                    <a:pt x="2164" y="181726"/>
                    <a:pt x="2164" y="190380"/>
                  </a:cubicBezTo>
                  <a:cubicBezTo>
                    <a:pt x="2164" y="199033"/>
                    <a:pt x="2704" y="199033"/>
                    <a:pt x="2704" y="207687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60DDA597-88BE-088F-8A94-6D3B5E59BA70}"/>
                </a:ext>
              </a:extLst>
            </p:cNvPr>
            <p:cNvSpPr/>
            <p:nvPr/>
          </p:nvSpPr>
          <p:spPr>
            <a:xfrm>
              <a:off x="9926372" y="2779977"/>
              <a:ext cx="2163" cy="191461"/>
            </a:xfrm>
            <a:custGeom>
              <a:avLst/>
              <a:gdLst>
                <a:gd name="connsiteX0" fmla="*/ 2164 w 2163"/>
                <a:gd name="connsiteY0" fmla="*/ 0 h 191461"/>
                <a:gd name="connsiteX1" fmla="*/ 0 w 2163"/>
                <a:gd name="connsiteY1" fmla="*/ 17307 h 191461"/>
                <a:gd name="connsiteX2" fmla="*/ 1081 w 2163"/>
                <a:gd name="connsiteY2" fmla="*/ 34615 h 191461"/>
                <a:gd name="connsiteX3" fmla="*/ 0 w 2163"/>
                <a:gd name="connsiteY3" fmla="*/ 51922 h 191461"/>
                <a:gd name="connsiteX4" fmla="*/ 2164 w 2163"/>
                <a:gd name="connsiteY4" fmla="*/ 69229 h 191461"/>
                <a:gd name="connsiteX5" fmla="*/ 0 w 2163"/>
                <a:gd name="connsiteY5" fmla="*/ 86536 h 191461"/>
                <a:gd name="connsiteX6" fmla="*/ 0 w 2163"/>
                <a:gd name="connsiteY6" fmla="*/ 103844 h 191461"/>
                <a:gd name="connsiteX7" fmla="*/ 541 w 2163"/>
                <a:gd name="connsiteY7" fmla="*/ 121151 h 191461"/>
                <a:gd name="connsiteX8" fmla="*/ 1081 w 2163"/>
                <a:gd name="connsiteY8" fmla="*/ 138458 h 191461"/>
                <a:gd name="connsiteX9" fmla="*/ 1081 w 2163"/>
                <a:gd name="connsiteY9" fmla="*/ 155765 h 191461"/>
                <a:gd name="connsiteX10" fmla="*/ 0 w 2163"/>
                <a:gd name="connsiteY10" fmla="*/ 173613 h 191461"/>
                <a:gd name="connsiteX11" fmla="*/ 541 w 2163"/>
                <a:gd name="connsiteY11" fmla="*/ 191462 h 19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3" h="191461">
                  <a:moveTo>
                    <a:pt x="2164" y="0"/>
                  </a:moveTo>
                  <a:cubicBezTo>
                    <a:pt x="2164" y="8653"/>
                    <a:pt x="0" y="8653"/>
                    <a:pt x="0" y="17307"/>
                  </a:cubicBezTo>
                  <a:cubicBezTo>
                    <a:pt x="0" y="25961"/>
                    <a:pt x="1081" y="25961"/>
                    <a:pt x="1081" y="34615"/>
                  </a:cubicBezTo>
                  <a:cubicBezTo>
                    <a:pt x="1081" y="43268"/>
                    <a:pt x="0" y="43268"/>
                    <a:pt x="0" y="51922"/>
                  </a:cubicBezTo>
                  <a:cubicBezTo>
                    <a:pt x="0" y="60575"/>
                    <a:pt x="2164" y="60575"/>
                    <a:pt x="2164" y="69229"/>
                  </a:cubicBezTo>
                  <a:cubicBezTo>
                    <a:pt x="2164" y="77883"/>
                    <a:pt x="0" y="77883"/>
                    <a:pt x="0" y="86536"/>
                  </a:cubicBezTo>
                  <a:cubicBezTo>
                    <a:pt x="0" y="95190"/>
                    <a:pt x="0" y="95190"/>
                    <a:pt x="0" y="103844"/>
                  </a:cubicBezTo>
                  <a:cubicBezTo>
                    <a:pt x="0" y="112497"/>
                    <a:pt x="541" y="112497"/>
                    <a:pt x="541" y="121151"/>
                  </a:cubicBezTo>
                  <a:cubicBezTo>
                    <a:pt x="541" y="129804"/>
                    <a:pt x="1081" y="129804"/>
                    <a:pt x="1081" y="138458"/>
                  </a:cubicBezTo>
                  <a:cubicBezTo>
                    <a:pt x="1081" y="147112"/>
                    <a:pt x="1081" y="147112"/>
                    <a:pt x="1081" y="155765"/>
                  </a:cubicBezTo>
                  <a:cubicBezTo>
                    <a:pt x="1081" y="164419"/>
                    <a:pt x="0" y="164419"/>
                    <a:pt x="0" y="173613"/>
                  </a:cubicBezTo>
                  <a:cubicBezTo>
                    <a:pt x="0" y="182808"/>
                    <a:pt x="541" y="182267"/>
                    <a:pt x="541" y="1914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E3AF948C-9832-8A7E-A14C-E7D9AF7DB8BA}"/>
                </a:ext>
              </a:extLst>
            </p:cNvPr>
            <p:cNvSpPr/>
            <p:nvPr/>
          </p:nvSpPr>
          <p:spPr>
            <a:xfrm>
              <a:off x="9927453" y="2794039"/>
              <a:ext cx="52463" cy="167664"/>
            </a:xfrm>
            <a:custGeom>
              <a:avLst/>
              <a:gdLst>
                <a:gd name="connsiteX0" fmla="*/ 52463 w 52463"/>
                <a:gd name="connsiteY0" fmla="*/ 0 h 167664"/>
                <a:gd name="connsiteX1" fmla="*/ 47055 w 52463"/>
                <a:gd name="connsiteY1" fmla="*/ 16767 h 167664"/>
                <a:gd name="connsiteX2" fmla="*/ 40564 w 52463"/>
                <a:gd name="connsiteY2" fmla="*/ 32992 h 167664"/>
                <a:gd name="connsiteX3" fmla="*/ 37860 w 52463"/>
                <a:gd name="connsiteY3" fmla="*/ 50299 h 167664"/>
                <a:gd name="connsiteX4" fmla="*/ 32451 w 52463"/>
                <a:gd name="connsiteY4" fmla="*/ 67066 h 167664"/>
                <a:gd name="connsiteX5" fmla="*/ 25420 w 52463"/>
                <a:gd name="connsiteY5" fmla="*/ 83291 h 167664"/>
                <a:gd name="connsiteX6" fmla="*/ 20012 w 52463"/>
                <a:gd name="connsiteY6" fmla="*/ 100058 h 167664"/>
                <a:gd name="connsiteX7" fmla="*/ 16226 w 52463"/>
                <a:gd name="connsiteY7" fmla="*/ 117365 h 167664"/>
                <a:gd name="connsiteX8" fmla="*/ 11358 w 52463"/>
                <a:gd name="connsiteY8" fmla="*/ 134132 h 167664"/>
                <a:gd name="connsiteX9" fmla="*/ 3786 w 52463"/>
                <a:gd name="connsiteY9" fmla="*/ 150357 h 167664"/>
                <a:gd name="connsiteX10" fmla="*/ 0 w 52463"/>
                <a:gd name="connsiteY10" fmla="*/ 167664 h 1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463" h="167664">
                  <a:moveTo>
                    <a:pt x="52463" y="0"/>
                  </a:moveTo>
                  <a:cubicBezTo>
                    <a:pt x="49759" y="8654"/>
                    <a:pt x="49759" y="8654"/>
                    <a:pt x="47055" y="16767"/>
                  </a:cubicBezTo>
                  <a:cubicBezTo>
                    <a:pt x="44350" y="25420"/>
                    <a:pt x="43268" y="24879"/>
                    <a:pt x="40564" y="32992"/>
                  </a:cubicBezTo>
                  <a:cubicBezTo>
                    <a:pt x="37860" y="41646"/>
                    <a:pt x="40023" y="42187"/>
                    <a:pt x="37860" y="50299"/>
                  </a:cubicBezTo>
                  <a:cubicBezTo>
                    <a:pt x="35155" y="58953"/>
                    <a:pt x="35155" y="58412"/>
                    <a:pt x="32451" y="67066"/>
                  </a:cubicBezTo>
                  <a:cubicBezTo>
                    <a:pt x="29747" y="75719"/>
                    <a:pt x="27584" y="74638"/>
                    <a:pt x="25420" y="83291"/>
                  </a:cubicBezTo>
                  <a:cubicBezTo>
                    <a:pt x="22716" y="91945"/>
                    <a:pt x="22716" y="91945"/>
                    <a:pt x="20012" y="100058"/>
                  </a:cubicBezTo>
                  <a:cubicBezTo>
                    <a:pt x="17308" y="108711"/>
                    <a:pt x="18930" y="109252"/>
                    <a:pt x="16226" y="117365"/>
                  </a:cubicBezTo>
                  <a:cubicBezTo>
                    <a:pt x="13521" y="126019"/>
                    <a:pt x="14063" y="126019"/>
                    <a:pt x="11358" y="134132"/>
                  </a:cubicBezTo>
                  <a:cubicBezTo>
                    <a:pt x="8654" y="142785"/>
                    <a:pt x="6491" y="141703"/>
                    <a:pt x="3786" y="150357"/>
                  </a:cubicBezTo>
                  <a:cubicBezTo>
                    <a:pt x="1082" y="159011"/>
                    <a:pt x="2704" y="159551"/>
                    <a:pt x="0" y="16766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AFA2E46A-AE7E-08D4-28C7-65C98AD14376}"/>
                </a:ext>
              </a:extLst>
            </p:cNvPr>
            <p:cNvSpPr/>
            <p:nvPr/>
          </p:nvSpPr>
          <p:spPr>
            <a:xfrm>
              <a:off x="9926912" y="2823786"/>
              <a:ext cx="65442" cy="220667"/>
            </a:xfrm>
            <a:custGeom>
              <a:avLst/>
              <a:gdLst>
                <a:gd name="connsiteX0" fmla="*/ 65443 w 65442"/>
                <a:gd name="connsiteY0" fmla="*/ 0 h 220667"/>
                <a:gd name="connsiteX1" fmla="*/ 61657 w 65442"/>
                <a:gd name="connsiteY1" fmla="*/ 17307 h 220667"/>
                <a:gd name="connsiteX2" fmla="*/ 56789 w 65442"/>
                <a:gd name="connsiteY2" fmla="*/ 34615 h 220667"/>
                <a:gd name="connsiteX3" fmla="*/ 49759 w 65442"/>
                <a:gd name="connsiteY3" fmla="*/ 50840 h 220667"/>
                <a:gd name="connsiteX4" fmla="*/ 44891 w 65442"/>
                <a:gd name="connsiteY4" fmla="*/ 67606 h 220667"/>
                <a:gd name="connsiteX5" fmla="*/ 39482 w 65442"/>
                <a:gd name="connsiteY5" fmla="*/ 84373 h 220667"/>
                <a:gd name="connsiteX6" fmla="*/ 36778 w 65442"/>
                <a:gd name="connsiteY6" fmla="*/ 102221 h 220667"/>
                <a:gd name="connsiteX7" fmla="*/ 30829 w 65442"/>
                <a:gd name="connsiteY7" fmla="*/ 118987 h 220667"/>
                <a:gd name="connsiteX8" fmla="*/ 26502 w 65442"/>
                <a:gd name="connsiteY8" fmla="*/ 136295 h 220667"/>
                <a:gd name="connsiteX9" fmla="*/ 20553 w 65442"/>
                <a:gd name="connsiteY9" fmla="*/ 153061 h 220667"/>
                <a:gd name="connsiteX10" fmla="*/ 15144 w 65442"/>
                <a:gd name="connsiteY10" fmla="*/ 169828 h 220667"/>
                <a:gd name="connsiteX11" fmla="*/ 9736 w 65442"/>
                <a:gd name="connsiteY11" fmla="*/ 186594 h 220667"/>
                <a:gd name="connsiteX12" fmla="*/ 5409 w 65442"/>
                <a:gd name="connsiteY12" fmla="*/ 203901 h 220667"/>
                <a:gd name="connsiteX13" fmla="*/ 0 w 65442"/>
                <a:gd name="connsiteY13" fmla="*/ 220668 h 22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442" h="220667">
                  <a:moveTo>
                    <a:pt x="65443" y="0"/>
                  </a:moveTo>
                  <a:cubicBezTo>
                    <a:pt x="62739" y="8654"/>
                    <a:pt x="64361" y="8654"/>
                    <a:pt x="61657" y="17307"/>
                  </a:cubicBezTo>
                  <a:cubicBezTo>
                    <a:pt x="58953" y="25961"/>
                    <a:pt x="59494" y="25961"/>
                    <a:pt x="56789" y="34615"/>
                  </a:cubicBezTo>
                  <a:cubicBezTo>
                    <a:pt x="54085" y="43268"/>
                    <a:pt x="52463" y="42727"/>
                    <a:pt x="49759" y="50840"/>
                  </a:cubicBezTo>
                  <a:cubicBezTo>
                    <a:pt x="47055" y="59494"/>
                    <a:pt x="47055" y="59494"/>
                    <a:pt x="44891" y="67606"/>
                  </a:cubicBezTo>
                  <a:cubicBezTo>
                    <a:pt x="42187" y="76260"/>
                    <a:pt x="41646" y="75719"/>
                    <a:pt x="39482" y="84373"/>
                  </a:cubicBezTo>
                  <a:cubicBezTo>
                    <a:pt x="36778" y="93027"/>
                    <a:pt x="38942" y="93568"/>
                    <a:pt x="36778" y="102221"/>
                  </a:cubicBezTo>
                  <a:cubicBezTo>
                    <a:pt x="34074" y="110875"/>
                    <a:pt x="33533" y="110334"/>
                    <a:pt x="30829" y="118987"/>
                  </a:cubicBezTo>
                  <a:cubicBezTo>
                    <a:pt x="28125" y="127641"/>
                    <a:pt x="28665" y="127641"/>
                    <a:pt x="26502" y="136295"/>
                  </a:cubicBezTo>
                  <a:cubicBezTo>
                    <a:pt x="23798" y="144949"/>
                    <a:pt x="23257" y="144407"/>
                    <a:pt x="20553" y="153061"/>
                  </a:cubicBezTo>
                  <a:cubicBezTo>
                    <a:pt x="17848" y="161715"/>
                    <a:pt x="17848" y="161715"/>
                    <a:pt x="15144" y="169828"/>
                  </a:cubicBezTo>
                  <a:cubicBezTo>
                    <a:pt x="12440" y="178481"/>
                    <a:pt x="12440" y="178481"/>
                    <a:pt x="9736" y="186594"/>
                  </a:cubicBezTo>
                  <a:cubicBezTo>
                    <a:pt x="7031" y="195248"/>
                    <a:pt x="7572" y="195248"/>
                    <a:pt x="5409" y="203901"/>
                  </a:cubicBezTo>
                  <a:cubicBezTo>
                    <a:pt x="2704" y="212555"/>
                    <a:pt x="2704" y="212555"/>
                    <a:pt x="0" y="22066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2B3C2E1B-382C-3079-6A21-EB73047945A3}"/>
                </a:ext>
              </a:extLst>
            </p:cNvPr>
            <p:cNvSpPr/>
            <p:nvPr/>
          </p:nvSpPr>
          <p:spPr>
            <a:xfrm>
              <a:off x="9818742" y="2752394"/>
              <a:ext cx="83832" cy="84372"/>
            </a:xfrm>
            <a:custGeom>
              <a:avLst/>
              <a:gdLst>
                <a:gd name="connsiteX0" fmla="*/ 83832 w 83832"/>
                <a:gd name="connsiteY0" fmla="*/ 0 h 84372"/>
                <a:gd name="connsiteX1" fmla="*/ 81128 w 83832"/>
                <a:gd name="connsiteY1" fmla="*/ 18389 h 84372"/>
                <a:gd name="connsiteX2" fmla="*/ 75179 w 83832"/>
                <a:gd name="connsiteY2" fmla="*/ 36237 h 84372"/>
                <a:gd name="connsiteX3" fmla="*/ 65443 w 83832"/>
                <a:gd name="connsiteY3" fmla="*/ 52463 h 84372"/>
                <a:gd name="connsiteX4" fmla="*/ 53004 w 83832"/>
                <a:gd name="connsiteY4" fmla="*/ 66525 h 84372"/>
                <a:gd name="connsiteX5" fmla="*/ 36778 w 83832"/>
                <a:gd name="connsiteY5" fmla="*/ 76260 h 84372"/>
                <a:gd name="connsiteX6" fmla="*/ 18389 w 83832"/>
                <a:gd name="connsiteY6" fmla="*/ 81128 h 84372"/>
                <a:gd name="connsiteX7" fmla="*/ 0 w 83832"/>
                <a:gd name="connsiteY7" fmla="*/ 84373 h 8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832" h="84372">
                  <a:moveTo>
                    <a:pt x="83832" y="0"/>
                  </a:moveTo>
                  <a:cubicBezTo>
                    <a:pt x="83832" y="6490"/>
                    <a:pt x="82210" y="12440"/>
                    <a:pt x="81128" y="18389"/>
                  </a:cubicBezTo>
                  <a:cubicBezTo>
                    <a:pt x="79506" y="24338"/>
                    <a:pt x="77883" y="30288"/>
                    <a:pt x="75179" y="36237"/>
                  </a:cubicBezTo>
                  <a:cubicBezTo>
                    <a:pt x="72474" y="41645"/>
                    <a:pt x="69770" y="47595"/>
                    <a:pt x="65443" y="52463"/>
                  </a:cubicBezTo>
                  <a:cubicBezTo>
                    <a:pt x="61657" y="57330"/>
                    <a:pt x="57872" y="62739"/>
                    <a:pt x="53004" y="66525"/>
                  </a:cubicBezTo>
                  <a:cubicBezTo>
                    <a:pt x="48136" y="70311"/>
                    <a:pt x="42187" y="73556"/>
                    <a:pt x="36778" y="76260"/>
                  </a:cubicBezTo>
                  <a:cubicBezTo>
                    <a:pt x="31370" y="78964"/>
                    <a:pt x="24879" y="80046"/>
                    <a:pt x="18389" y="81128"/>
                  </a:cubicBezTo>
                  <a:cubicBezTo>
                    <a:pt x="12440" y="82750"/>
                    <a:pt x="6491" y="84373"/>
                    <a:pt x="0" y="8437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734C65C6-7699-AF88-DBBE-055EBDFCA3D0}"/>
                </a:ext>
              </a:extLst>
            </p:cNvPr>
            <p:cNvSpPr/>
            <p:nvPr/>
          </p:nvSpPr>
          <p:spPr>
            <a:xfrm>
              <a:off x="9864714" y="2701013"/>
              <a:ext cx="103302" cy="51380"/>
            </a:xfrm>
            <a:custGeom>
              <a:avLst/>
              <a:gdLst>
                <a:gd name="connsiteX0" fmla="*/ 103303 w 103302"/>
                <a:gd name="connsiteY0" fmla="*/ 0 h 51380"/>
                <a:gd name="connsiteX1" fmla="*/ 99517 w 103302"/>
                <a:gd name="connsiteY1" fmla="*/ 15685 h 51380"/>
                <a:gd name="connsiteX2" fmla="*/ 91404 w 103302"/>
                <a:gd name="connsiteY2" fmla="*/ 29206 h 51380"/>
                <a:gd name="connsiteX3" fmla="*/ 81668 w 103302"/>
                <a:gd name="connsiteY3" fmla="*/ 42187 h 51380"/>
                <a:gd name="connsiteX4" fmla="*/ 67066 w 103302"/>
                <a:gd name="connsiteY4" fmla="*/ 49218 h 51380"/>
                <a:gd name="connsiteX5" fmla="*/ 50840 w 103302"/>
                <a:gd name="connsiteY5" fmla="*/ 51381 h 51380"/>
                <a:gd name="connsiteX6" fmla="*/ 34615 w 103302"/>
                <a:gd name="connsiteY6" fmla="*/ 48677 h 51380"/>
                <a:gd name="connsiteX7" fmla="*/ 19471 w 103302"/>
                <a:gd name="connsiteY7" fmla="*/ 42187 h 51380"/>
                <a:gd name="connsiteX8" fmla="*/ 9195 w 103302"/>
                <a:gd name="connsiteY8" fmla="*/ 29747 h 51380"/>
                <a:gd name="connsiteX9" fmla="*/ 1623 w 103302"/>
                <a:gd name="connsiteY9" fmla="*/ 15685 h 51380"/>
                <a:gd name="connsiteX10" fmla="*/ 0 w 103302"/>
                <a:gd name="connsiteY10" fmla="*/ 0 h 5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02" h="51380">
                  <a:moveTo>
                    <a:pt x="103303" y="0"/>
                  </a:moveTo>
                  <a:cubicBezTo>
                    <a:pt x="103303" y="5409"/>
                    <a:pt x="101140" y="10817"/>
                    <a:pt x="99517" y="15685"/>
                  </a:cubicBezTo>
                  <a:cubicBezTo>
                    <a:pt x="97894" y="21093"/>
                    <a:pt x="94649" y="24879"/>
                    <a:pt x="91404" y="29206"/>
                  </a:cubicBezTo>
                  <a:cubicBezTo>
                    <a:pt x="88159" y="33533"/>
                    <a:pt x="85996" y="38941"/>
                    <a:pt x="81668" y="42187"/>
                  </a:cubicBezTo>
                  <a:cubicBezTo>
                    <a:pt x="77342" y="45432"/>
                    <a:pt x="71934" y="47595"/>
                    <a:pt x="67066" y="49218"/>
                  </a:cubicBezTo>
                  <a:cubicBezTo>
                    <a:pt x="62198" y="50840"/>
                    <a:pt x="56789" y="51381"/>
                    <a:pt x="50840" y="51381"/>
                  </a:cubicBezTo>
                  <a:cubicBezTo>
                    <a:pt x="45432" y="51381"/>
                    <a:pt x="40023" y="50299"/>
                    <a:pt x="34615" y="48677"/>
                  </a:cubicBezTo>
                  <a:cubicBezTo>
                    <a:pt x="29206" y="47054"/>
                    <a:pt x="23798" y="45432"/>
                    <a:pt x="19471" y="42187"/>
                  </a:cubicBezTo>
                  <a:cubicBezTo>
                    <a:pt x="15144" y="38941"/>
                    <a:pt x="12440" y="34074"/>
                    <a:pt x="9195" y="29747"/>
                  </a:cubicBezTo>
                  <a:cubicBezTo>
                    <a:pt x="5949" y="25420"/>
                    <a:pt x="3245" y="21093"/>
                    <a:pt x="1623" y="15685"/>
                  </a:cubicBezTo>
                  <a:cubicBezTo>
                    <a:pt x="0" y="10817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76ABD865-58CA-D01F-6E45-580056018E41}"/>
                </a:ext>
              </a:extLst>
            </p:cNvPr>
            <p:cNvSpPr/>
            <p:nvPr/>
          </p:nvSpPr>
          <p:spPr>
            <a:xfrm>
              <a:off x="9966395" y="2762670"/>
              <a:ext cx="62738" cy="30828"/>
            </a:xfrm>
            <a:custGeom>
              <a:avLst/>
              <a:gdLst>
                <a:gd name="connsiteX0" fmla="*/ 62739 w 62738"/>
                <a:gd name="connsiteY0" fmla="*/ 0 h 30828"/>
                <a:gd name="connsiteX1" fmla="*/ 59494 w 62738"/>
                <a:gd name="connsiteY1" fmla="*/ 15685 h 30828"/>
                <a:gd name="connsiteX2" fmla="*/ 48136 w 62738"/>
                <a:gd name="connsiteY2" fmla="*/ 27584 h 30828"/>
                <a:gd name="connsiteX3" fmla="*/ 31910 w 62738"/>
                <a:gd name="connsiteY3" fmla="*/ 30829 h 30828"/>
                <a:gd name="connsiteX4" fmla="*/ 16226 w 62738"/>
                <a:gd name="connsiteY4" fmla="*/ 27043 h 30828"/>
                <a:gd name="connsiteX5" fmla="*/ 3245 w 62738"/>
                <a:gd name="connsiteY5" fmla="*/ 16226 h 30828"/>
                <a:gd name="connsiteX6" fmla="*/ 0 w 62738"/>
                <a:gd name="connsiteY6" fmla="*/ 0 h 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738" h="30828">
                  <a:moveTo>
                    <a:pt x="62739" y="0"/>
                  </a:moveTo>
                  <a:cubicBezTo>
                    <a:pt x="62739" y="5949"/>
                    <a:pt x="62198" y="10817"/>
                    <a:pt x="59494" y="15685"/>
                  </a:cubicBezTo>
                  <a:cubicBezTo>
                    <a:pt x="56789" y="20552"/>
                    <a:pt x="53003" y="24879"/>
                    <a:pt x="48136" y="27584"/>
                  </a:cubicBezTo>
                  <a:cubicBezTo>
                    <a:pt x="43268" y="30288"/>
                    <a:pt x="37860" y="30829"/>
                    <a:pt x="31910" y="30829"/>
                  </a:cubicBezTo>
                  <a:cubicBezTo>
                    <a:pt x="25960" y="30829"/>
                    <a:pt x="21093" y="29747"/>
                    <a:pt x="16226" y="27043"/>
                  </a:cubicBezTo>
                  <a:cubicBezTo>
                    <a:pt x="11358" y="24338"/>
                    <a:pt x="5949" y="21093"/>
                    <a:pt x="3245" y="16226"/>
                  </a:cubicBezTo>
                  <a:cubicBezTo>
                    <a:pt x="541" y="11358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da-DK">
                <a:solidFill>
                  <a:srgbClr val="000000"/>
                </a:solidFill>
                <a:latin typeface="DM Sans 14pt"/>
              </a:endParaRPr>
            </a:p>
          </p:txBody>
        </p:sp>
      </p:grpSp>
      <p:sp>
        <p:nvSpPr>
          <p:cNvPr id="2" name="Freeform: Shape 152">
            <a:extLst>
              <a:ext uri="{FF2B5EF4-FFF2-40B4-BE49-F238E27FC236}">
                <a16:creationId xmlns:a16="http://schemas.microsoft.com/office/drawing/2014/main" id="{024CD68D-CC63-5837-A553-49BAFC9F2E24}"/>
              </a:ext>
            </a:extLst>
          </p:cNvPr>
          <p:cNvSpPr/>
          <p:nvPr/>
        </p:nvSpPr>
        <p:spPr>
          <a:xfrm rot="645858">
            <a:off x="5468947" y="1763018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sp>
        <p:nvSpPr>
          <p:cNvPr id="4" name="Freeform: Shape 152">
            <a:extLst>
              <a:ext uri="{FF2B5EF4-FFF2-40B4-BE49-F238E27FC236}">
                <a16:creationId xmlns:a16="http://schemas.microsoft.com/office/drawing/2014/main" id="{79897807-ADB5-F14B-DE1C-FA4E803232BA}"/>
              </a:ext>
            </a:extLst>
          </p:cNvPr>
          <p:cNvSpPr/>
          <p:nvPr/>
        </p:nvSpPr>
        <p:spPr>
          <a:xfrm rot="645858">
            <a:off x="9747275" y="1725150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sp>
        <p:nvSpPr>
          <p:cNvPr id="5" name="Freeform: Shape 152">
            <a:extLst>
              <a:ext uri="{FF2B5EF4-FFF2-40B4-BE49-F238E27FC236}">
                <a16:creationId xmlns:a16="http://schemas.microsoft.com/office/drawing/2014/main" id="{2EF1C6D4-28FF-6191-3FB4-8E9DA7615D46}"/>
              </a:ext>
            </a:extLst>
          </p:cNvPr>
          <p:cNvSpPr/>
          <p:nvPr/>
        </p:nvSpPr>
        <p:spPr>
          <a:xfrm rot="5595269">
            <a:off x="11685992" y="3147359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sp>
        <p:nvSpPr>
          <p:cNvPr id="7" name="Freeform: Shape 152">
            <a:extLst>
              <a:ext uri="{FF2B5EF4-FFF2-40B4-BE49-F238E27FC236}">
                <a16:creationId xmlns:a16="http://schemas.microsoft.com/office/drawing/2014/main" id="{492ADC1A-01B2-D401-9F87-0F9682C6F47A}"/>
              </a:ext>
            </a:extLst>
          </p:cNvPr>
          <p:cNvSpPr/>
          <p:nvPr/>
        </p:nvSpPr>
        <p:spPr>
          <a:xfrm rot="11732108">
            <a:off x="9277277" y="4519380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sp>
        <p:nvSpPr>
          <p:cNvPr id="17" name="Freeform: Shape 152">
            <a:extLst>
              <a:ext uri="{FF2B5EF4-FFF2-40B4-BE49-F238E27FC236}">
                <a16:creationId xmlns:a16="http://schemas.microsoft.com/office/drawing/2014/main" id="{B393DB63-8C24-B9C3-1168-39FA70653399}"/>
              </a:ext>
            </a:extLst>
          </p:cNvPr>
          <p:cNvSpPr/>
          <p:nvPr/>
        </p:nvSpPr>
        <p:spPr>
          <a:xfrm rot="11732108">
            <a:off x="3294339" y="4501530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sp>
        <p:nvSpPr>
          <p:cNvPr id="40" name="Freeform: Shape 152">
            <a:extLst>
              <a:ext uri="{FF2B5EF4-FFF2-40B4-BE49-F238E27FC236}">
                <a16:creationId xmlns:a16="http://schemas.microsoft.com/office/drawing/2014/main" id="{3F8595CB-A1FE-5EFC-8E9B-F2AF1E0287FF}"/>
              </a:ext>
            </a:extLst>
          </p:cNvPr>
          <p:cNvSpPr/>
          <p:nvPr/>
        </p:nvSpPr>
        <p:spPr>
          <a:xfrm rot="11732108">
            <a:off x="437352" y="4501530"/>
            <a:ext cx="91314" cy="160679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914309">
              <a:defRPr/>
            </a:pPr>
            <a:endParaRPr lang="da-DK">
              <a:solidFill>
                <a:srgbClr val="000000"/>
              </a:solidFill>
              <a:highlight>
                <a:srgbClr val="F2F6F6"/>
              </a:highlight>
              <a:latin typeface="DM Sans 14pt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7CB9F9C-7289-6367-CA41-75FDFCEA5907}"/>
              </a:ext>
            </a:extLst>
          </p:cNvPr>
          <p:cNvCxnSpPr>
            <a:cxnSpLocks/>
          </p:cNvCxnSpPr>
          <p:nvPr/>
        </p:nvCxnSpPr>
        <p:spPr>
          <a:xfrm>
            <a:off x="1540552" y="4638675"/>
            <a:ext cx="0" cy="1634755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C0D04CF-4688-8DFA-2B62-BFE0597866B1}"/>
              </a:ext>
            </a:extLst>
          </p:cNvPr>
          <p:cNvGrpSpPr/>
          <p:nvPr/>
        </p:nvGrpSpPr>
        <p:grpSpPr>
          <a:xfrm rot="10800000">
            <a:off x="1330405" y="4152353"/>
            <a:ext cx="424589" cy="514669"/>
            <a:chOff x="352424" y="3433220"/>
            <a:chExt cx="1582577" cy="1918336"/>
          </a:xfrm>
          <a:solidFill>
            <a:schemeClr val="accent6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E825F3A-8A7E-91E6-8D21-C2371B5141B8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0B978A5-4802-0ABA-65B5-CDE2A8BCBBA2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grp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91AF681-BAC7-EB4F-931D-6B8FC4CC0ADE}"/>
              </a:ext>
            </a:extLst>
          </p:cNvPr>
          <p:cNvGrpSpPr/>
          <p:nvPr/>
        </p:nvGrpSpPr>
        <p:grpSpPr>
          <a:xfrm rot="10800000">
            <a:off x="4386657" y="4152353"/>
            <a:ext cx="424589" cy="514669"/>
            <a:chOff x="352424" y="3433220"/>
            <a:chExt cx="1582577" cy="1918336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70991F7-A80A-26E1-D25F-3B734C3E193E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5FE1978-F4CB-9C16-E133-0AF4A14B6EC5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da-DK" sz="1400">
                <a:solidFill>
                  <a:srgbClr val="FFFFFF"/>
                </a:solidFill>
                <a:latin typeface="DM Sans 14pt"/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E80A7E9-D098-4FE5-1CAC-D13EF53E5797}"/>
              </a:ext>
            </a:extLst>
          </p:cNvPr>
          <p:cNvCxnSpPr>
            <a:cxnSpLocks/>
          </p:cNvCxnSpPr>
          <p:nvPr/>
        </p:nvCxnSpPr>
        <p:spPr>
          <a:xfrm>
            <a:off x="4603861" y="4638675"/>
            <a:ext cx="0" cy="1634755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39834879-64F6-D458-7E1F-DE8099DD2453}"/>
              </a:ext>
            </a:extLst>
          </p:cNvPr>
          <p:cNvSpPr/>
          <p:nvPr/>
        </p:nvSpPr>
        <p:spPr>
          <a:xfrm>
            <a:off x="4893811" y="4597744"/>
            <a:ext cx="3240718" cy="365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valificering af indikatorer for prioriterede målepunkter </a:t>
            </a:r>
            <a:r>
              <a:rPr lang="da-DK" sz="10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efterår 2024)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kspert- og aktørkvalificering samt data-</a:t>
            </a:r>
            <a:r>
              <a:rPr lang="da-DK" sz="1200" err="1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p</a:t>
            </a: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nalyse for prioriterede målepunkter</a:t>
            </a:r>
          </a:p>
          <a:p>
            <a:pPr defTabSz="914309">
              <a:defRPr/>
            </a:pPr>
            <a:endParaRPr lang="da-DK" sz="1200">
              <a:solidFill>
                <a:srgbClr val="0059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ntagende feedback var, at der er behov for overblikket over den fulde standard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1F880C2-263E-339F-AD57-8E79C6CBFC6F}"/>
              </a:ext>
            </a:extLst>
          </p:cNvPr>
          <p:cNvSpPr/>
          <p:nvPr/>
        </p:nvSpPr>
        <p:spPr>
          <a:xfrm>
            <a:off x="1637084" y="4597744"/>
            <a:ext cx="2780063" cy="365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309">
              <a:defRPr/>
            </a:pPr>
            <a:r>
              <a:rPr lang="da-DK" sz="1400" b="1">
                <a:solidFill>
                  <a:srgbClr val="000000"/>
                </a:solidFill>
                <a:latin typeface="Verdana"/>
                <a:ea typeface="Verdana"/>
              </a:rPr>
              <a:t>ESG-standard på vej </a:t>
            </a:r>
            <a:r>
              <a:rPr lang="da-DK" sz="1000" b="1">
                <a:solidFill>
                  <a:srgbClr val="000000"/>
                </a:solidFill>
                <a:latin typeface="Verdana"/>
                <a:ea typeface="Verdana"/>
              </a:rPr>
              <a:t>(forår 2025) 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r>
              <a:rPr lang="da-DK" sz="1200">
                <a:solidFill>
                  <a:srgbClr val="005950"/>
                </a:solidFill>
                <a:latin typeface="Verdana"/>
                <a:ea typeface="Verdana"/>
              </a:rPr>
              <a:t>Den samlede liste af ESG- målepunkter i vores standard vises her; den er fortsat under udvikling, herunder indikatorer, samt løbende dataunderstøttelse og metoder</a:t>
            </a:r>
          </a:p>
          <a:p>
            <a:pPr defTabSz="914309">
              <a:defRPr/>
            </a:pPr>
            <a:endParaRPr lang="da-DK" sz="1400" b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383CB350-F865-7293-8256-946B0EF4E800}"/>
              </a:ext>
            </a:extLst>
          </p:cNvPr>
          <p:cNvSpPr txBox="1"/>
          <p:nvPr/>
        </p:nvSpPr>
        <p:spPr>
          <a:xfrm>
            <a:off x="51062" y="4525278"/>
            <a:ext cx="1468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>
                <a:solidFill>
                  <a:srgbClr val="FF0000"/>
                </a:solidFill>
              </a:rPr>
              <a:t>Her er vi n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4273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052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ESG standardens målepunkter (under udvikling!)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3F1B1F-2073-8BDB-32DF-DA0498B9FF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8</a:t>
            </a:fld>
            <a:endParaRPr lang="da-DK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C3A2614-AF0D-274A-8F60-1EE6C95512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48C5E06-3697-B62B-261C-0C320FA0B7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Dækker ESG bredt og er en god start på et datagrundlag for alle boligorganisationer</a:t>
            </a:r>
          </a:p>
        </p:txBody>
      </p:sp>
      <p:sp>
        <p:nvSpPr>
          <p:cNvPr id="19" name="Rectangle: Rounded Corners 44">
            <a:extLst>
              <a:ext uri="{FF2B5EF4-FFF2-40B4-BE49-F238E27FC236}">
                <a16:creationId xmlns:a16="http://schemas.microsoft.com/office/drawing/2014/main" id="{6905630B-0E76-606F-BFB7-2692620A0247}"/>
              </a:ext>
            </a:extLst>
          </p:cNvPr>
          <p:cNvSpPr/>
          <p:nvPr/>
        </p:nvSpPr>
        <p:spPr>
          <a:xfrm>
            <a:off x="10378559" y="1959765"/>
            <a:ext cx="119584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32" name="Flowchart: Alternate Process 31">
            <a:extLst>
              <a:ext uri="{FF2B5EF4-FFF2-40B4-BE49-F238E27FC236}">
                <a16:creationId xmlns:a16="http://schemas.microsoft.com/office/drawing/2014/main" id="{30DB0126-7CA0-D89B-DD7D-AFC9960E856A}"/>
              </a:ext>
            </a:extLst>
          </p:cNvPr>
          <p:cNvSpPr/>
          <p:nvPr/>
        </p:nvSpPr>
        <p:spPr>
          <a:xfrm>
            <a:off x="4076700" y="32783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104" name="Flowchart: Alternate Process 103">
            <a:extLst>
              <a:ext uri="{FF2B5EF4-FFF2-40B4-BE49-F238E27FC236}">
                <a16:creationId xmlns:a16="http://schemas.microsoft.com/office/drawing/2014/main" id="{6EA6700F-8172-60EA-61A4-76C65FF8DA2D}"/>
              </a:ext>
            </a:extLst>
          </p:cNvPr>
          <p:cNvSpPr/>
          <p:nvPr/>
        </p:nvSpPr>
        <p:spPr>
          <a:xfrm>
            <a:off x="9366297" y="2832164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B42EB16-C005-6047-97F3-2CDC7462C3EF}"/>
              </a:ext>
            </a:extLst>
          </p:cNvPr>
          <p:cNvCxnSpPr>
            <a:cxnSpLocks/>
          </p:cNvCxnSpPr>
          <p:nvPr/>
        </p:nvCxnSpPr>
        <p:spPr>
          <a:xfrm>
            <a:off x="6599212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62">
            <a:extLst>
              <a:ext uri="{FF2B5EF4-FFF2-40B4-BE49-F238E27FC236}">
                <a16:creationId xmlns:a16="http://schemas.microsoft.com/office/drawing/2014/main" id="{B470B511-8C1D-B719-67A7-B4E573F4599C}"/>
              </a:ext>
            </a:extLst>
          </p:cNvPr>
          <p:cNvSpPr/>
          <p:nvPr/>
        </p:nvSpPr>
        <p:spPr>
          <a:xfrm>
            <a:off x="5108942" y="1959765"/>
            <a:ext cx="4873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60" name="Rectangle: Rounded Corners 85">
            <a:extLst>
              <a:ext uri="{FF2B5EF4-FFF2-40B4-BE49-F238E27FC236}">
                <a16:creationId xmlns:a16="http://schemas.microsoft.com/office/drawing/2014/main" id="{A9111995-338C-F9AA-177B-F1C38BC72041}"/>
              </a:ext>
            </a:extLst>
          </p:cNvPr>
          <p:cNvSpPr/>
          <p:nvPr/>
        </p:nvSpPr>
        <p:spPr>
          <a:xfrm>
            <a:off x="7767784" y="1967662"/>
            <a:ext cx="59952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B19B256-9A44-464F-52C9-E25F88578113}"/>
              </a:ext>
            </a:extLst>
          </p:cNvPr>
          <p:cNvSpPr/>
          <p:nvPr/>
        </p:nvSpPr>
        <p:spPr>
          <a:xfrm>
            <a:off x="4076700" y="2607219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1" name="Flowchart: Alternate Process 30">
            <a:extLst>
              <a:ext uri="{FF2B5EF4-FFF2-40B4-BE49-F238E27FC236}">
                <a16:creationId xmlns:a16="http://schemas.microsoft.com/office/drawing/2014/main" id="{F3D2687B-51D5-ECE2-A39E-2B34CE0A38D5}"/>
              </a:ext>
            </a:extLst>
          </p:cNvPr>
          <p:cNvSpPr/>
          <p:nvPr/>
        </p:nvSpPr>
        <p:spPr>
          <a:xfrm>
            <a:off x="4076700" y="282937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3" name="Flowchart: Alternate Process 32">
            <a:extLst>
              <a:ext uri="{FF2B5EF4-FFF2-40B4-BE49-F238E27FC236}">
                <a16:creationId xmlns:a16="http://schemas.microsoft.com/office/drawing/2014/main" id="{65A4AF7B-BC13-47A2-658C-A097AA41C7AE}"/>
              </a:ext>
            </a:extLst>
          </p:cNvPr>
          <p:cNvSpPr/>
          <p:nvPr/>
        </p:nvSpPr>
        <p:spPr>
          <a:xfrm>
            <a:off x="4076700" y="372725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id="{18592D85-8D52-C158-0D61-4F0E40FE21C3}"/>
              </a:ext>
            </a:extLst>
          </p:cNvPr>
          <p:cNvSpPr/>
          <p:nvPr/>
        </p:nvSpPr>
        <p:spPr>
          <a:xfrm>
            <a:off x="4076700" y="4440513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9826505-8433-36C9-50AD-43E36B959965}"/>
              </a:ext>
            </a:extLst>
          </p:cNvPr>
          <p:cNvSpPr/>
          <p:nvPr/>
        </p:nvSpPr>
        <p:spPr>
          <a:xfrm>
            <a:off x="4076700" y="4218356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TILPASNING</a:t>
            </a:r>
          </a:p>
        </p:txBody>
      </p:sp>
      <p:sp>
        <p:nvSpPr>
          <p:cNvPr id="35" name="Flowchart: Alternate Process 34">
            <a:extLst>
              <a:ext uri="{FF2B5EF4-FFF2-40B4-BE49-F238E27FC236}">
                <a16:creationId xmlns:a16="http://schemas.microsoft.com/office/drawing/2014/main" id="{14643FF5-C0F1-F79A-0623-9858A3750EDC}"/>
              </a:ext>
            </a:extLst>
          </p:cNvPr>
          <p:cNvSpPr/>
          <p:nvPr/>
        </p:nvSpPr>
        <p:spPr>
          <a:xfrm>
            <a:off x="4076700" y="515376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0CEE09C-7717-92A7-AE76-5578C4FFA7BF}"/>
              </a:ext>
            </a:extLst>
          </p:cNvPr>
          <p:cNvSpPr/>
          <p:nvPr/>
        </p:nvSpPr>
        <p:spPr>
          <a:xfrm>
            <a:off x="4076700" y="4931611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96EF0CE6-DDD8-B3A5-078C-44DE0E010821}"/>
              </a:ext>
            </a:extLst>
          </p:cNvPr>
          <p:cNvSpPr/>
          <p:nvPr/>
        </p:nvSpPr>
        <p:spPr>
          <a:xfrm>
            <a:off x="4076700" y="5644865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IRKULARITET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326E508B-80F1-45B9-0015-86165E0C1EFF}"/>
              </a:ext>
            </a:extLst>
          </p:cNvPr>
          <p:cNvSpPr/>
          <p:nvPr/>
        </p:nvSpPr>
        <p:spPr>
          <a:xfrm>
            <a:off x="6721498" y="260721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E</a:t>
            </a:r>
          </a:p>
        </p:txBody>
      </p:sp>
      <p:sp>
        <p:nvSpPr>
          <p:cNvPr id="77" name="Flowchart: Alternate Process 76">
            <a:extLst>
              <a:ext uri="{FF2B5EF4-FFF2-40B4-BE49-F238E27FC236}">
                <a16:creationId xmlns:a16="http://schemas.microsoft.com/office/drawing/2014/main" id="{D4EA1571-D65B-F242-61D3-EA22ADF36BA0}"/>
              </a:ext>
            </a:extLst>
          </p:cNvPr>
          <p:cNvSpPr/>
          <p:nvPr/>
        </p:nvSpPr>
        <p:spPr>
          <a:xfrm>
            <a:off x="6721498" y="283176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sammen-sætning</a:t>
            </a:r>
          </a:p>
        </p:txBody>
      </p:sp>
      <p:sp>
        <p:nvSpPr>
          <p:cNvPr id="78" name="Flowchart: Alternate Process 77">
            <a:extLst>
              <a:ext uri="{FF2B5EF4-FFF2-40B4-BE49-F238E27FC236}">
                <a16:creationId xmlns:a16="http://schemas.microsoft.com/office/drawing/2014/main" id="{A963FCD3-5AE4-DE54-5C7D-A7821ABEB74E}"/>
              </a:ext>
            </a:extLst>
          </p:cNvPr>
          <p:cNvSpPr/>
          <p:nvPr/>
        </p:nvSpPr>
        <p:spPr>
          <a:xfrm>
            <a:off x="6721498" y="320031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68471CE-52FD-E776-CFA5-4FBDFA0AAE3F}"/>
              </a:ext>
            </a:extLst>
          </p:cNvPr>
          <p:cNvSpPr/>
          <p:nvPr/>
        </p:nvSpPr>
        <p:spPr>
          <a:xfrm>
            <a:off x="6721498" y="3613411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OMRÅDE</a:t>
            </a:r>
          </a:p>
        </p:txBody>
      </p:sp>
      <p:sp>
        <p:nvSpPr>
          <p:cNvPr id="95" name="Flowchart: Alternate Process 94">
            <a:extLst>
              <a:ext uri="{FF2B5EF4-FFF2-40B4-BE49-F238E27FC236}">
                <a16:creationId xmlns:a16="http://schemas.microsoft.com/office/drawing/2014/main" id="{E5C45DE2-9DBB-FD42-42CA-4EAD14A4C199}"/>
              </a:ext>
            </a:extLst>
          </p:cNvPr>
          <p:cNvSpPr/>
          <p:nvPr/>
        </p:nvSpPr>
        <p:spPr>
          <a:xfrm>
            <a:off x="6721498" y="420650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96" name="Flowchart: Alternate Process 95">
            <a:extLst>
              <a:ext uri="{FF2B5EF4-FFF2-40B4-BE49-F238E27FC236}">
                <a16:creationId xmlns:a16="http://schemas.microsoft.com/office/drawing/2014/main" id="{36028A7F-7BC5-8568-2CE7-B75BD778767A}"/>
              </a:ext>
            </a:extLst>
          </p:cNvPr>
          <p:cNvSpPr/>
          <p:nvPr/>
        </p:nvSpPr>
        <p:spPr>
          <a:xfrm>
            <a:off x="6721498" y="558124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7ECCF5BD-2A9B-ED75-64B9-610586873086}"/>
              </a:ext>
            </a:extLst>
          </p:cNvPr>
          <p:cNvSpPr/>
          <p:nvPr/>
        </p:nvSpPr>
        <p:spPr>
          <a:xfrm>
            <a:off x="6721498" y="535669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E</a:t>
            </a:r>
          </a:p>
        </p:txBody>
      </p:sp>
      <p:sp>
        <p:nvSpPr>
          <p:cNvPr id="99" name="Flowchart: Alternate Process 98">
            <a:extLst>
              <a:ext uri="{FF2B5EF4-FFF2-40B4-BE49-F238E27FC236}">
                <a16:creationId xmlns:a16="http://schemas.microsoft.com/office/drawing/2014/main" id="{CBA8D963-A6C0-D35A-AA19-09885CAB61BF}"/>
              </a:ext>
            </a:extLst>
          </p:cNvPr>
          <p:cNvSpPr/>
          <p:nvPr/>
        </p:nvSpPr>
        <p:spPr>
          <a:xfrm>
            <a:off x="6721498" y="5949800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34ADB68F-0C41-AA45-3F30-BEE047533BB6}"/>
              </a:ext>
            </a:extLst>
          </p:cNvPr>
          <p:cNvSpPr/>
          <p:nvPr/>
        </p:nvSpPr>
        <p:spPr>
          <a:xfrm>
            <a:off x="9366297" y="260721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KTIV DELTAGELSE</a:t>
            </a:r>
          </a:p>
        </p:txBody>
      </p:sp>
      <p:sp>
        <p:nvSpPr>
          <p:cNvPr id="105" name="Flowchart: Alternate Process 104">
            <a:extLst>
              <a:ext uri="{FF2B5EF4-FFF2-40B4-BE49-F238E27FC236}">
                <a16:creationId xmlns:a16="http://schemas.microsoft.com/office/drawing/2014/main" id="{A0E2FCAA-2B18-FA7D-9F50-93595F87B3B6}"/>
              </a:ext>
            </a:extLst>
          </p:cNvPr>
          <p:cNvSpPr/>
          <p:nvPr/>
        </p:nvSpPr>
        <p:spPr>
          <a:xfrm>
            <a:off x="9366297" y="3323297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FF58BA9C-FAEE-BF36-4881-A808A3FE0BB9}"/>
              </a:ext>
            </a:extLst>
          </p:cNvPr>
          <p:cNvSpPr/>
          <p:nvPr/>
        </p:nvSpPr>
        <p:spPr>
          <a:xfrm>
            <a:off x="9366297" y="3859375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YRING</a:t>
            </a:r>
          </a:p>
        </p:txBody>
      </p:sp>
      <p:sp>
        <p:nvSpPr>
          <p:cNvPr id="109" name="Flowchart: Alternate Process 108">
            <a:extLst>
              <a:ext uri="{FF2B5EF4-FFF2-40B4-BE49-F238E27FC236}">
                <a16:creationId xmlns:a16="http://schemas.microsoft.com/office/drawing/2014/main" id="{ECCAFC80-CF36-09CE-CDB4-183B895066BA}"/>
              </a:ext>
            </a:extLst>
          </p:cNvPr>
          <p:cNvSpPr/>
          <p:nvPr/>
        </p:nvSpPr>
        <p:spPr>
          <a:xfrm>
            <a:off x="9366297" y="4084320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4BD36DCE-0707-65AB-31E6-208748255B5A}"/>
              </a:ext>
            </a:extLst>
          </p:cNvPr>
          <p:cNvSpPr/>
          <p:nvPr/>
        </p:nvSpPr>
        <p:spPr>
          <a:xfrm>
            <a:off x="9366297" y="5111531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SVARLIGHED</a:t>
            </a:r>
          </a:p>
        </p:txBody>
      </p:sp>
      <p:sp>
        <p:nvSpPr>
          <p:cNvPr id="113" name="Flowchart: Alternate Process 112">
            <a:extLst>
              <a:ext uri="{FF2B5EF4-FFF2-40B4-BE49-F238E27FC236}">
                <a16:creationId xmlns:a16="http://schemas.microsoft.com/office/drawing/2014/main" id="{3ADCA112-47E0-F8CB-EDA4-2AF860025545}"/>
              </a:ext>
            </a:extLst>
          </p:cNvPr>
          <p:cNvSpPr/>
          <p:nvPr/>
        </p:nvSpPr>
        <p:spPr>
          <a:xfrm>
            <a:off x="9366297" y="5336476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94" name="Flowchart: Alternate Process 93">
            <a:extLst>
              <a:ext uri="{FF2B5EF4-FFF2-40B4-BE49-F238E27FC236}">
                <a16:creationId xmlns:a16="http://schemas.microsoft.com/office/drawing/2014/main" id="{43250670-E463-AE7F-9531-EC2C46F29266}"/>
              </a:ext>
            </a:extLst>
          </p:cNvPr>
          <p:cNvSpPr/>
          <p:nvPr/>
        </p:nvSpPr>
        <p:spPr>
          <a:xfrm>
            <a:off x="6721498" y="3837959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4" name="Flowchart: Alternate Process 3">
            <a:extLst>
              <a:ext uri="{FF2B5EF4-FFF2-40B4-BE49-F238E27FC236}">
                <a16:creationId xmlns:a16="http://schemas.microsoft.com/office/drawing/2014/main" id="{10D502F5-62F0-40CD-9814-58E2D7BBCBBC}"/>
              </a:ext>
            </a:extLst>
          </p:cNvPr>
          <p:cNvSpPr/>
          <p:nvPr/>
        </p:nvSpPr>
        <p:spPr>
          <a:xfrm>
            <a:off x="6721498" y="457505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1000" b="1">
                <a:solidFill>
                  <a:srgbClr val="EF3E50"/>
                </a:solidFill>
                <a:latin typeface="Verdana"/>
                <a:ea typeface="Verdana"/>
              </a:rPr>
              <a:t>Funktioner i området</a:t>
            </a:r>
            <a:endParaRPr lang="da-DK" sz="10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2270510E-DC78-512E-2C56-7945DFA4FAF4}"/>
              </a:ext>
            </a:extLst>
          </p:cNvPr>
          <p:cNvSpPr/>
          <p:nvPr/>
        </p:nvSpPr>
        <p:spPr>
          <a:xfrm>
            <a:off x="9366297" y="582761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916DA46B-70FD-BA3E-52C5-AFA1D1B1C5FB}"/>
              </a:ext>
            </a:extLst>
          </p:cNvPr>
          <p:cNvSpPr/>
          <p:nvPr/>
        </p:nvSpPr>
        <p:spPr>
          <a:xfrm>
            <a:off x="6721498" y="494360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Flowchart: Alternate Process 109">
            <a:extLst>
              <a:ext uri="{FF2B5EF4-FFF2-40B4-BE49-F238E27FC236}">
                <a16:creationId xmlns:a16="http://schemas.microsoft.com/office/drawing/2014/main" id="{042A3B00-9F5C-D681-4706-D61F5F0D1535}"/>
              </a:ext>
            </a:extLst>
          </p:cNvPr>
          <p:cNvSpPr/>
          <p:nvPr/>
        </p:nvSpPr>
        <p:spPr>
          <a:xfrm>
            <a:off x="9366297" y="457545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sp>
        <p:nvSpPr>
          <p:cNvPr id="2" name="Flowchart: Alternate Process 34">
            <a:extLst>
              <a:ext uri="{FF2B5EF4-FFF2-40B4-BE49-F238E27FC236}">
                <a16:creationId xmlns:a16="http://schemas.microsoft.com/office/drawing/2014/main" id="{FE224FF6-5C2B-1312-A2C0-F8C01DA92F6C}"/>
              </a:ext>
            </a:extLst>
          </p:cNvPr>
          <p:cNvSpPr/>
          <p:nvPr/>
        </p:nvSpPr>
        <p:spPr>
          <a:xfrm>
            <a:off x="4076700" y="58670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grpSp>
        <p:nvGrpSpPr>
          <p:cNvPr id="9" name="Group 330">
            <a:extLst>
              <a:ext uri="{FF2B5EF4-FFF2-40B4-BE49-F238E27FC236}">
                <a16:creationId xmlns:a16="http://schemas.microsoft.com/office/drawing/2014/main" id="{5085CBFB-5394-F042-2416-7D399F52EDC1}"/>
              </a:ext>
            </a:extLst>
          </p:cNvPr>
          <p:cNvGrpSpPr/>
          <p:nvPr/>
        </p:nvGrpSpPr>
        <p:grpSpPr>
          <a:xfrm>
            <a:off x="4076700" y="1593684"/>
            <a:ext cx="958810" cy="966280"/>
            <a:chOff x="4156082" y="-3024236"/>
            <a:chExt cx="2183420" cy="2200431"/>
          </a:xfrm>
        </p:grpSpPr>
        <p:sp>
          <p:nvSpPr>
            <p:cNvPr id="17" name="Freeform: Shape 328">
              <a:extLst>
                <a:ext uri="{FF2B5EF4-FFF2-40B4-BE49-F238E27FC236}">
                  <a16:creationId xmlns:a16="http://schemas.microsoft.com/office/drawing/2014/main" id="{D74925BC-D806-6DC3-2949-E14DFBE54D5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2" name="Freeform: Shape 329">
              <a:extLst>
                <a:ext uri="{FF2B5EF4-FFF2-40B4-BE49-F238E27FC236}">
                  <a16:creationId xmlns:a16="http://schemas.microsoft.com/office/drawing/2014/main" id="{DBB64142-13BC-55F4-95A8-AAF3F340BB74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" name="Group 331">
            <a:extLst>
              <a:ext uri="{FF2B5EF4-FFF2-40B4-BE49-F238E27FC236}">
                <a16:creationId xmlns:a16="http://schemas.microsoft.com/office/drawing/2014/main" id="{E2747BDF-9C85-CFEF-EEA0-05CEDA578DE0}"/>
              </a:ext>
            </a:extLst>
          </p:cNvPr>
          <p:cNvGrpSpPr/>
          <p:nvPr/>
        </p:nvGrpSpPr>
        <p:grpSpPr>
          <a:xfrm>
            <a:off x="6721498" y="1593684"/>
            <a:ext cx="962976" cy="963400"/>
            <a:chOff x="3092692" y="-1631033"/>
            <a:chExt cx="2192906" cy="2193874"/>
          </a:xfrm>
        </p:grpSpPr>
        <p:sp>
          <p:nvSpPr>
            <p:cNvPr id="27" name="Freeform: Shape 326">
              <a:extLst>
                <a:ext uri="{FF2B5EF4-FFF2-40B4-BE49-F238E27FC236}">
                  <a16:creationId xmlns:a16="http://schemas.microsoft.com/office/drawing/2014/main" id="{3C46E6CC-53BF-F96F-4770-8B607CD3D46E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Freeform: Shape 327">
              <a:extLst>
                <a:ext uri="{FF2B5EF4-FFF2-40B4-BE49-F238E27FC236}">
                  <a16:creationId xmlns:a16="http://schemas.microsoft.com/office/drawing/2014/main" id="{EC06BEF3-4FCE-1B45-B8AB-A9B4248963DD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9" name="Group 332">
            <a:extLst>
              <a:ext uri="{FF2B5EF4-FFF2-40B4-BE49-F238E27FC236}">
                <a16:creationId xmlns:a16="http://schemas.microsoft.com/office/drawing/2014/main" id="{3BC33D9C-8DF5-C642-98D6-8433FD176983}"/>
              </a:ext>
            </a:extLst>
          </p:cNvPr>
          <p:cNvGrpSpPr/>
          <p:nvPr/>
        </p:nvGrpSpPr>
        <p:grpSpPr>
          <a:xfrm rot="21410080">
            <a:off x="9374513" y="1603171"/>
            <a:ext cx="905270" cy="898990"/>
            <a:chOff x="8336051" y="3610471"/>
            <a:chExt cx="2227633" cy="2212181"/>
          </a:xfrm>
        </p:grpSpPr>
        <p:sp>
          <p:nvSpPr>
            <p:cNvPr id="36" name="Freeform: Shape 333">
              <a:extLst>
                <a:ext uri="{FF2B5EF4-FFF2-40B4-BE49-F238E27FC236}">
                  <a16:creationId xmlns:a16="http://schemas.microsoft.com/office/drawing/2014/main" id="{D5924AE8-AA80-C6BF-618D-019C9ACC896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38" name="Freeform: Shape 334">
              <a:extLst>
                <a:ext uri="{FF2B5EF4-FFF2-40B4-BE49-F238E27FC236}">
                  <a16:creationId xmlns:a16="http://schemas.microsoft.com/office/drawing/2014/main" id="{031205D3-37D4-96C4-A0B5-CB416EEE1B87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54C5CA5-53ED-A9B4-C353-887AE969E44F}"/>
              </a:ext>
            </a:extLst>
          </p:cNvPr>
          <p:cNvGrpSpPr/>
          <p:nvPr/>
        </p:nvGrpSpPr>
        <p:grpSpPr>
          <a:xfrm>
            <a:off x="-2259" y="1590997"/>
            <a:ext cx="3907438" cy="4673799"/>
            <a:chOff x="-2260" y="1464913"/>
            <a:chExt cx="3965333" cy="4743050"/>
          </a:xfrm>
        </p:grpSpPr>
        <p:sp>
          <p:nvSpPr>
            <p:cNvPr id="39" name="Freeform: Shape 436">
              <a:extLst>
                <a:ext uri="{FF2B5EF4-FFF2-40B4-BE49-F238E27FC236}">
                  <a16:creationId xmlns:a16="http://schemas.microsoft.com/office/drawing/2014/main" id="{5C7281B2-1BDC-F2DD-62F3-2BB42D718648}"/>
                </a:ext>
              </a:extLst>
            </p:cNvPr>
            <p:cNvSpPr/>
            <p:nvPr/>
          </p:nvSpPr>
          <p:spPr>
            <a:xfrm>
              <a:off x="4090" y="1789557"/>
              <a:ext cx="3958983" cy="2592595"/>
            </a:xfrm>
            <a:custGeom>
              <a:avLst/>
              <a:gdLst>
                <a:gd name="connsiteX0" fmla="*/ 0 w 5278343"/>
                <a:gd name="connsiteY0" fmla="*/ 0 h 2746919"/>
                <a:gd name="connsiteX1" fmla="*/ 4465467 w 5278343"/>
                <a:gd name="connsiteY1" fmla="*/ 0 h 2746919"/>
                <a:gd name="connsiteX2" fmla="*/ 5278343 w 5278343"/>
                <a:gd name="connsiteY2" fmla="*/ 2341564 h 2746919"/>
                <a:gd name="connsiteX3" fmla="*/ 5137624 w 5278343"/>
                <a:gd name="connsiteY3" fmla="*/ 2746919 h 2746919"/>
                <a:gd name="connsiteX4" fmla="*/ 0 w 5278343"/>
                <a:gd name="connsiteY4" fmla="*/ 2746919 h 27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78343" h="2746919">
                  <a:moveTo>
                    <a:pt x="0" y="0"/>
                  </a:moveTo>
                  <a:lnTo>
                    <a:pt x="4465467" y="0"/>
                  </a:lnTo>
                  <a:lnTo>
                    <a:pt x="5278343" y="2341564"/>
                  </a:lnTo>
                  <a:lnTo>
                    <a:pt x="5137624" y="2746919"/>
                  </a:lnTo>
                  <a:lnTo>
                    <a:pt x="0" y="27469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0" name="Freeform: Shape 438">
              <a:extLst>
                <a:ext uri="{FF2B5EF4-FFF2-40B4-BE49-F238E27FC236}">
                  <a16:creationId xmlns:a16="http://schemas.microsoft.com/office/drawing/2014/main" id="{2172FC4C-8A83-374A-28E4-8AA21DEEB36F}"/>
                </a:ext>
              </a:extLst>
            </p:cNvPr>
            <p:cNvSpPr/>
            <p:nvPr/>
          </p:nvSpPr>
          <p:spPr>
            <a:xfrm>
              <a:off x="7827" y="4343552"/>
              <a:ext cx="3826775" cy="1864411"/>
            </a:xfrm>
            <a:custGeom>
              <a:avLst/>
              <a:gdLst>
                <a:gd name="connsiteX0" fmla="*/ 0 w 5089667"/>
                <a:gd name="connsiteY0" fmla="*/ 0 h 1809038"/>
                <a:gd name="connsiteX1" fmla="*/ 5089667 w 5089667"/>
                <a:gd name="connsiteY1" fmla="*/ 0 h 1809038"/>
                <a:gd name="connsiteX2" fmla="*/ 4461657 w 5089667"/>
                <a:gd name="connsiteY2" fmla="*/ 1809038 h 1809038"/>
                <a:gd name="connsiteX3" fmla="*/ 0 w 5089667"/>
                <a:gd name="connsiteY3" fmla="*/ 1809038 h 18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9667" h="1809038">
                  <a:moveTo>
                    <a:pt x="0" y="0"/>
                  </a:moveTo>
                  <a:lnTo>
                    <a:pt x="5089667" y="0"/>
                  </a:lnTo>
                  <a:lnTo>
                    <a:pt x="4461657" y="1809038"/>
                  </a:lnTo>
                  <a:lnTo>
                    <a:pt x="0" y="18090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Aft>
                  <a:spcPts val="300"/>
                </a:spcAft>
              </a:pPr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3" name="TextBox 35">
              <a:extLst>
                <a:ext uri="{FF2B5EF4-FFF2-40B4-BE49-F238E27FC236}">
                  <a16:creationId xmlns:a16="http://schemas.microsoft.com/office/drawing/2014/main" id="{A3396AC8-3EE7-E180-8EFB-8F23ED1BAE03}"/>
                </a:ext>
              </a:extLst>
            </p:cNvPr>
            <p:cNvSpPr txBox="1"/>
            <p:nvPr/>
          </p:nvSpPr>
          <p:spPr>
            <a:xfrm>
              <a:off x="355968" y="4495198"/>
              <a:ext cx="3262721" cy="56220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>
                  <a:latin typeface="Verdana" panose="020B0604030504040204" pitchFamily="34" charset="0"/>
                  <a:ea typeface="Verdana" panose="020B0604030504040204" pitchFamily="34" charset="0"/>
                </a:rPr>
                <a:t>Dækker de mest relevante ESG-områder ud fra dobbeltvæsentlighed, lovkrav og andre initiativer</a:t>
              </a:r>
            </a:p>
          </p:txBody>
        </p:sp>
        <p:sp>
          <p:nvSpPr>
            <p:cNvPr id="44" name="TextBox 37">
              <a:extLst>
                <a:ext uri="{FF2B5EF4-FFF2-40B4-BE49-F238E27FC236}">
                  <a16:creationId xmlns:a16="http://schemas.microsoft.com/office/drawing/2014/main" id="{1EA52345-4FD6-F669-506A-CCC458FE7BA4}"/>
                </a:ext>
              </a:extLst>
            </p:cNvPr>
            <p:cNvSpPr txBox="1"/>
            <p:nvPr/>
          </p:nvSpPr>
          <p:spPr>
            <a:xfrm>
              <a:off x="361803" y="5145387"/>
              <a:ext cx="3110972" cy="3748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>
                  <a:latin typeface="Verdana" panose="020B0604030504040204" pitchFamily="34" charset="0"/>
                  <a:ea typeface="Verdana" panose="020B0604030504040204" pitchFamily="34" charset="0"/>
                </a:rPr>
                <a:t>Data kan indsamles og omsættes til handling</a:t>
              </a:r>
            </a:p>
          </p:txBody>
        </p:sp>
        <p:sp>
          <p:nvSpPr>
            <p:cNvPr id="45" name="TextBox 38">
              <a:extLst>
                <a:ext uri="{FF2B5EF4-FFF2-40B4-BE49-F238E27FC236}">
                  <a16:creationId xmlns:a16="http://schemas.microsoft.com/office/drawing/2014/main" id="{53BD4F5E-63A0-E24A-3580-609BF1E4D2FC}"/>
                </a:ext>
              </a:extLst>
            </p:cNvPr>
            <p:cNvSpPr txBox="1"/>
            <p:nvPr/>
          </p:nvSpPr>
          <p:spPr>
            <a:xfrm>
              <a:off x="355969" y="5653964"/>
              <a:ext cx="2983120" cy="3748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>
                  <a:latin typeface="Verdana" panose="020B0604030504040204" pitchFamily="34" charset="0"/>
                  <a:ea typeface="Verdana" panose="020B0604030504040204" pitchFamily="34" charset="0"/>
                </a:rPr>
                <a:t>Efterspørges af boligorganisationer og/eller interessenter</a:t>
              </a:r>
            </a:p>
          </p:txBody>
        </p:sp>
        <p:sp>
          <p:nvSpPr>
            <p:cNvPr id="46" name="Freeform: Shape 9">
              <a:extLst>
                <a:ext uri="{FF2B5EF4-FFF2-40B4-BE49-F238E27FC236}">
                  <a16:creationId xmlns:a16="http://schemas.microsoft.com/office/drawing/2014/main" id="{0FA125FC-F061-3534-43DD-82B8A0D407BF}"/>
                </a:ext>
              </a:extLst>
            </p:cNvPr>
            <p:cNvSpPr/>
            <p:nvPr/>
          </p:nvSpPr>
          <p:spPr>
            <a:xfrm>
              <a:off x="3378773" y="1899970"/>
              <a:ext cx="583946" cy="2482182"/>
            </a:xfrm>
            <a:custGeom>
              <a:avLst/>
              <a:gdLst>
                <a:gd name="connsiteX0" fmla="*/ 0 w 787400"/>
                <a:gd name="connsiteY0" fmla="*/ 0 h 2559050"/>
                <a:gd name="connsiteX1" fmla="*/ 787400 w 787400"/>
                <a:gd name="connsiteY1" fmla="*/ 2241550 h 2559050"/>
                <a:gd name="connsiteX2" fmla="*/ 673100 w 787400"/>
                <a:gd name="connsiteY2" fmla="*/ 2559050 h 255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400" h="2559050">
                  <a:moveTo>
                    <a:pt x="0" y="0"/>
                  </a:moveTo>
                  <a:lnTo>
                    <a:pt x="787400" y="2241550"/>
                  </a:lnTo>
                  <a:lnTo>
                    <a:pt x="673100" y="2559050"/>
                  </a:lnTo>
                </a:path>
              </a:pathLst>
            </a:custGeom>
            <a:noFill/>
            <a:ln w="15875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7" name="Freeform: Shape 11">
              <a:extLst>
                <a:ext uri="{FF2B5EF4-FFF2-40B4-BE49-F238E27FC236}">
                  <a16:creationId xmlns:a16="http://schemas.microsoft.com/office/drawing/2014/main" id="{27EA67A2-37D9-7905-688A-C98D8C0E4537}"/>
                </a:ext>
              </a:extLst>
            </p:cNvPr>
            <p:cNvSpPr/>
            <p:nvPr/>
          </p:nvSpPr>
          <p:spPr>
            <a:xfrm>
              <a:off x="4089" y="4382152"/>
              <a:ext cx="3854999" cy="1825809"/>
            </a:xfrm>
            <a:custGeom>
              <a:avLst/>
              <a:gdLst>
                <a:gd name="connsiteX0" fmla="*/ 4997450 w 4997450"/>
                <a:gd name="connsiteY0" fmla="*/ 0 h 1657350"/>
                <a:gd name="connsiteX1" fmla="*/ 4419600 w 4997450"/>
                <a:gd name="connsiteY1" fmla="*/ 1657350 h 1657350"/>
                <a:gd name="connsiteX2" fmla="*/ 0 w 4997450"/>
                <a:gd name="connsiteY2" fmla="*/ 1657350 h 165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97450" h="1657350">
                  <a:moveTo>
                    <a:pt x="4997450" y="0"/>
                  </a:moveTo>
                  <a:lnTo>
                    <a:pt x="4419600" y="1657350"/>
                  </a:lnTo>
                  <a:lnTo>
                    <a:pt x="0" y="1657350"/>
                  </a:lnTo>
                </a:path>
              </a:pathLst>
            </a:custGeom>
            <a:noFill/>
            <a:ln w="15875">
              <a:solidFill>
                <a:schemeClr val="accent1">
                  <a:lumMod val="90000"/>
                  <a:lumOff val="1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8" name="Freeform: Shape 3">
              <a:extLst>
                <a:ext uri="{FF2B5EF4-FFF2-40B4-BE49-F238E27FC236}">
                  <a16:creationId xmlns:a16="http://schemas.microsoft.com/office/drawing/2014/main" id="{06562EF2-558C-C572-6E48-0C8BA9A00E14}"/>
                </a:ext>
              </a:extLst>
            </p:cNvPr>
            <p:cNvSpPr/>
            <p:nvPr/>
          </p:nvSpPr>
          <p:spPr>
            <a:xfrm>
              <a:off x="2365822" y="3100259"/>
              <a:ext cx="145979" cy="219030"/>
            </a:xfrm>
            <a:custGeom>
              <a:avLst/>
              <a:gdLst>
                <a:gd name="connsiteX0" fmla="*/ 69056 w 140538"/>
                <a:gd name="connsiteY0" fmla="*/ 45 h 181020"/>
                <a:gd name="connsiteX1" fmla="*/ 54768 w 140538"/>
                <a:gd name="connsiteY1" fmla="*/ 38145 h 181020"/>
                <a:gd name="connsiteX2" fmla="*/ 47625 w 140538"/>
                <a:gd name="connsiteY2" fmla="*/ 45289 h 181020"/>
                <a:gd name="connsiteX3" fmla="*/ 40481 w 140538"/>
                <a:gd name="connsiteY3" fmla="*/ 61958 h 181020"/>
                <a:gd name="connsiteX4" fmla="*/ 35718 w 140538"/>
                <a:gd name="connsiteY4" fmla="*/ 69101 h 181020"/>
                <a:gd name="connsiteX5" fmla="*/ 30956 w 140538"/>
                <a:gd name="connsiteY5" fmla="*/ 85770 h 181020"/>
                <a:gd name="connsiteX6" fmla="*/ 26193 w 140538"/>
                <a:gd name="connsiteY6" fmla="*/ 92914 h 181020"/>
                <a:gd name="connsiteX7" fmla="*/ 11906 w 140538"/>
                <a:gd name="connsiteY7" fmla="*/ 131014 h 181020"/>
                <a:gd name="connsiteX8" fmla="*/ 0 w 140538"/>
                <a:gd name="connsiteY8" fmla="*/ 152445 h 181020"/>
                <a:gd name="connsiteX9" fmla="*/ 2381 w 140538"/>
                <a:gd name="connsiteY9" fmla="*/ 161970 h 181020"/>
                <a:gd name="connsiteX10" fmla="*/ 11906 w 140538"/>
                <a:gd name="connsiteY10" fmla="*/ 166733 h 181020"/>
                <a:gd name="connsiteX11" fmla="*/ 50006 w 140538"/>
                <a:gd name="connsiteY11" fmla="*/ 173876 h 181020"/>
                <a:gd name="connsiteX12" fmla="*/ 69056 w 140538"/>
                <a:gd name="connsiteY12" fmla="*/ 176258 h 181020"/>
                <a:gd name="connsiteX13" fmla="*/ 138112 w 140538"/>
                <a:gd name="connsiteY13" fmla="*/ 181020 h 181020"/>
                <a:gd name="connsiteX14" fmla="*/ 140493 w 140538"/>
                <a:gd name="connsiteY14" fmla="*/ 169114 h 181020"/>
                <a:gd name="connsiteX15" fmla="*/ 135731 w 140538"/>
                <a:gd name="connsiteY15" fmla="*/ 154826 h 181020"/>
                <a:gd name="connsiteX16" fmla="*/ 130968 w 140538"/>
                <a:gd name="connsiteY16" fmla="*/ 133395 h 181020"/>
                <a:gd name="connsiteX17" fmla="*/ 126206 w 140538"/>
                <a:gd name="connsiteY17" fmla="*/ 123870 h 181020"/>
                <a:gd name="connsiteX18" fmla="*/ 121443 w 140538"/>
                <a:gd name="connsiteY18" fmla="*/ 109583 h 181020"/>
                <a:gd name="connsiteX19" fmla="*/ 119062 w 140538"/>
                <a:gd name="connsiteY19" fmla="*/ 97676 h 181020"/>
                <a:gd name="connsiteX20" fmla="*/ 111918 w 140538"/>
                <a:gd name="connsiteY20" fmla="*/ 88151 h 181020"/>
                <a:gd name="connsiteX21" fmla="*/ 104775 w 140538"/>
                <a:gd name="connsiteY21" fmla="*/ 73864 h 181020"/>
                <a:gd name="connsiteX22" fmla="*/ 102393 w 140538"/>
                <a:gd name="connsiteY22" fmla="*/ 64339 h 181020"/>
                <a:gd name="connsiteX23" fmla="*/ 95250 w 140538"/>
                <a:gd name="connsiteY23" fmla="*/ 54814 h 181020"/>
                <a:gd name="connsiteX24" fmla="*/ 78581 w 140538"/>
                <a:gd name="connsiteY24" fmla="*/ 31001 h 181020"/>
                <a:gd name="connsiteX25" fmla="*/ 69056 w 140538"/>
                <a:gd name="connsiteY25" fmla="*/ 45 h 18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538" h="181020">
                  <a:moveTo>
                    <a:pt x="69056" y="45"/>
                  </a:moveTo>
                  <a:cubicBezTo>
                    <a:pt x="65087" y="1236"/>
                    <a:pt x="64358" y="28553"/>
                    <a:pt x="54768" y="38145"/>
                  </a:cubicBezTo>
                  <a:cubicBezTo>
                    <a:pt x="52387" y="40526"/>
                    <a:pt x="49582" y="42549"/>
                    <a:pt x="47625" y="45289"/>
                  </a:cubicBezTo>
                  <a:cubicBezTo>
                    <a:pt x="39359" y="56861"/>
                    <a:pt x="45667" y="51586"/>
                    <a:pt x="40481" y="61958"/>
                  </a:cubicBezTo>
                  <a:cubicBezTo>
                    <a:pt x="39201" y="64518"/>
                    <a:pt x="37306" y="66720"/>
                    <a:pt x="35718" y="69101"/>
                  </a:cubicBezTo>
                  <a:cubicBezTo>
                    <a:pt x="34955" y="72151"/>
                    <a:pt x="32664" y="82355"/>
                    <a:pt x="30956" y="85770"/>
                  </a:cubicBezTo>
                  <a:cubicBezTo>
                    <a:pt x="29676" y="88330"/>
                    <a:pt x="27781" y="90533"/>
                    <a:pt x="26193" y="92914"/>
                  </a:cubicBezTo>
                  <a:cubicBezTo>
                    <a:pt x="21261" y="122507"/>
                    <a:pt x="27978" y="90838"/>
                    <a:pt x="11906" y="131014"/>
                  </a:cubicBezTo>
                  <a:cubicBezTo>
                    <a:pt x="5669" y="146605"/>
                    <a:pt x="9708" y="139500"/>
                    <a:pt x="0" y="152445"/>
                  </a:cubicBezTo>
                  <a:cubicBezTo>
                    <a:pt x="794" y="155620"/>
                    <a:pt x="286" y="159456"/>
                    <a:pt x="2381" y="161970"/>
                  </a:cubicBezTo>
                  <a:cubicBezTo>
                    <a:pt x="4653" y="164697"/>
                    <a:pt x="8610" y="165415"/>
                    <a:pt x="11906" y="166733"/>
                  </a:cubicBezTo>
                  <a:cubicBezTo>
                    <a:pt x="29414" y="173736"/>
                    <a:pt x="28106" y="171442"/>
                    <a:pt x="50006" y="173876"/>
                  </a:cubicBezTo>
                  <a:cubicBezTo>
                    <a:pt x="56366" y="174583"/>
                    <a:pt x="62677" y="175741"/>
                    <a:pt x="69056" y="176258"/>
                  </a:cubicBezTo>
                  <a:cubicBezTo>
                    <a:pt x="92054" y="178123"/>
                    <a:pt x="115093" y="179433"/>
                    <a:pt x="138112" y="181020"/>
                  </a:cubicBezTo>
                  <a:cubicBezTo>
                    <a:pt x="138906" y="177051"/>
                    <a:pt x="140859" y="173145"/>
                    <a:pt x="140493" y="169114"/>
                  </a:cubicBezTo>
                  <a:cubicBezTo>
                    <a:pt x="140039" y="164114"/>
                    <a:pt x="136556" y="159778"/>
                    <a:pt x="135731" y="154826"/>
                  </a:cubicBezTo>
                  <a:cubicBezTo>
                    <a:pt x="134303" y="146255"/>
                    <a:pt x="134167" y="140860"/>
                    <a:pt x="130968" y="133395"/>
                  </a:cubicBezTo>
                  <a:cubicBezTo>
                    <a:pt x="129570" y="130132"/>
                    <a:pt x="127524" y="127166"/>
                    <a:pt x="126206" y="123870"/>
                  </a:cubicBezTo>
                  <a:cubicBezTo>
                    <a:pt x="124342" y="119209"/>
                    <a:pt x="122764" y="114426"/>
                    <a:pt x="121443" y="109583"/>
                  </a:cubicBezTo>
                  <a:cubicBezTo>
                    <a:pt x="120378" y="105678"/>
                    <a:pt x="120706" y="101375"/>
                    <a:pt x="119062" y="97676"/>
                  </a:cubicBezTo>
                  <a:cubicBezTo>
                    <a:pt x="117450" y="94049"/>
                    <a:pt x="114299" y="91326"/>
                    <a:pt x="111918" y="88151"/>
                  </a:cubicBezTo>
                  <a:cubicBezTo>
                    <a:pt x="101888" y="58062"/>
                    <a:pt x="118619" y="106165"/>
                    <a:pt x="104775" y="73864"/>
                  </a:cubicBezTo>
                  <a:cubicBezTo>
                    <a:pt x="103486" y="70856"/>
                    <a:pt x="103857" y="67266"/>
                    <a:pt x="102393" y="64339"/>
                  </a:cubicBezTo>
                  <a:cubicBezTo>
                    <a:pt x="100618" y="60789"/>
                    <a:pt x="97177" y="58283"/>
                    <a:pt x="95250" y="54814"/>
                  </a:cubicBezTo>
                  <a:cubicBezTo>
                    <a:pt x="82413" y="31707"/>
                    <a:pt x="101374" y="53796"/>
                    <a:pt x="78581" y="31001"/>
                  </a:cubicBezTo>
                  <a:cubicBezTo>
                    <a:pt x="75295" y="21143"/>
                    <a:pt x="73025" y="-1146"/>
                    <a:pt x="69056" y="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49" name="Group 191">
              <a:extLst>
                <a:ext uri="{FF2B5EF4-FFF2-40B4-BE49-F238E27FC236}">
                  <a16:creationId xmlns:a16="http://schemas.microsoft.com/office/drawing/2014/main" id="{471A72A8-5A74-0FEF-838C-A2AA098DBFD0}"/>
                </a:ext>
              </a:extLst>
            </p:cNvPr>
            <p:cNvGrpSpPr/>
            <p:nvPr/>
          </p:nvGrpSpPr>
          <p:grpSpPr>
            <a:xfrm>
              <a:off x="-2260" y="1687355"/>
              <a:ext cx="3381034" cy="129823"/>
              <a:chOff x="96386" y="1275535"/>
              <a:chExt cx="4310514" cy="73776"/>
            </a:xfrm>
          </p:grpSpPr>
          <p:sp>
            <p:nvSpPr>
              <p:cNvPr id="51" name="Freeform: Shape 6">
                <a:extLst>
                  <a:ext uri="{FF2B5EF4-FFF2-40B4-BE49-F238E27FC236}">
                    <a16:creationId xmlns:a16="http://schemas.microsoft.com/office/drawing/2014/main" id="{44DE5E10-5E82-9D84-0E3C-DB643C4D5B5E}"/>
                  </a:ext>
                </a:extLst>
              </p:cNvPr>
              <p:cNvSpPr/>
              <p:nvPr/>
            </p:nvSpPr>
            <p:spPr>
              <a:xfrm rot="10800000">
                <a:off x="98105" y="1284771"/>
                <a:ext cx="4308794" cy="64539"/>
              </a:xfrm>
              <a:custGeom>
                <a:avLst/>
                <a:gdLst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964642 w 11867103"/>
                  <a:gd name="connsiteY6" fmla="*/ 70339 h 2964609"/>
                  <a:gd name="connsiteX7" fmla="*/ 994787 w 11867103"/>
                  <a:gd name="connsiteY7" fmla="*/ 80387 h 2964609"/>
                  <a:gd name="connsiteX8" fmla="*/ 1356528 w 11867103"/>
                  <a:gd name="connsiteY8" fmla="*/ 80387 h 2964609"/>
                  <a:gd name="connsiteX9" fmla="*/ 1758462 w 11867103"/>
                  <a:gd name="connsiteY9" fmla="*/ 40193 h 2964609"/>
                  <a:gd name="connsiteX10" fmla="*/ 1889090 w 11867103"/>
                  <a:gd name="connsiteY10" fmla="*/ 20097 h 2964609"/>
                  <a:gd name="connsiteX11" fmla="*/ 2140299 w 11867103"/>
                  <a:gd name="connsiteY11" fmla="*/ 40193 h 2964609"/>
                  <a:gd name="connsiteX12" fmla="*/ 2200589 w 11867103"/>
                  <a:gd name="connsiteY12" fmla="*/ 50242 h 2964609"/>
                  <a:gd name="connsiteX13" fmla="*/ 4652387 w 11867103"/>
                  <a:gd name="connsiteY13" fmla="*/ 60290 h 2964609"/>
                  <a:gd name="connsiteX14" fmla="*/ 4692580 w 11867103"/>
                  <a:gd name="connsiteY14" fmla="*/ 70339 h 2964609"/>
                  <a:gd name="connsiteX15" fmla="*/ 4843306 w 11867103"/>
                  <a:gd name="connsiteY15" fmla="*/ 90435 h 2964609"/>
                  <a:gd name="connsiteX16" fmla="*/ 5677319 w 11867103"/>
                  <a:gd name="connsiteY16" fmla="*/ 80387 h 2964609"/>
                  <a:gd name="connsiteX17" fmla="*/ 6169688 w 11867103"/>
                  <a:gd name="connsiteY17" fmla="*/ 110532 h 2964609"/>
                  <a:gd name="connsiteX18" fmla="*/ 6420897 w 11867103"/>
                  <a:gd name="connsiteY18" fmla="*/ 90435 h 2964609"/>
                  <a:gd name="connsiteX19" fmla="*/ 6511332 w 11867103"/>
                  <a:gd name="connsiteY19" fmla="*/ 30145 h 2964609"/>
                  <a:gd name="connsiteX20" fmla="*/ 6571622 w 11867103"/>
                  <a:gd name="connsiteY20" fmla="*/ 20097 h 2964609"/>
                  <a:gd name="connsiteX21" fmla="*/ 6641961 w 11867103"/>
                  <a:gd name="connsiteY21" fmla="*/ 0 h 2964609"/>
                  <a:gd name="connsiteX22" fmla="*/ 7204668 w 11867103"/>
                  <a:gd name="connsiteY22" fmla="*/ 10048 h 2964609"/>
                  <a:gd name="connsiteX23" fmla="*/ 7285055 w 11867103"/>
                  <a:gd name="connsiteY23" fmla="*/ 30145 h 2964609"/>
                  <a:gd name="connsiteX24" fmla="*/ 7375490 w 11867103"/>
                  <a:gd name="connsiteY24" fmla="*/ 40193 h 2964609"/>
                  <a:gd name="connsiteX25" fmla="*/ 7928150 w 11867103"/>
                  <a:gd name="connsiteY25" fmla="*/ 60290 h 2964609"/>
                  <a:gd name="connsiteX26" fmla="*/ 8109020 w 11867103"/>
                  <a:gd name="connsiteY26" fmla="*/ 80387 h 2964609"/>
                  <a:gd name="connsiteX27" fmla="*/ 8219552 w 11867103"/>
                  <a:gd name="connsiteY27" fmla="*/ 90435 h 2964609"/>
                  <a:gd name="connsiteX28" fmla="*/ 8299939 w 11867103"/>
                  <a:gd name="connsiteY28" fmla="*/ 100484 h 2964609"/>
                  <a:gd name="connsiteX29" fmla="*/ 8521002 w 11867103"/>
                  <a:gd name="connsiteY29" fmla="*/ 110532 h 2964609"/>
                  <a:gd name="connsiteX30" fmla="*/ 9515789 w 11867103"/>
                  <a:gd name="connsiteY30" fmla="*/ 100484 h 2964609"/>
                  <a:gd name="connsiteX31" fmla="*/ 9606224 w 11867103"/>
                  <a:gd name="connsiteY31" fmla="*/ 90435 h 2964609"/>
                  <a:gd name="connsiteX32" fmla="*/ 9716756 w 11867103"/>
                  <a:gd name="connsiteY32" fmla="*/ 80387 h 2964609"/>
                  <a:gd name="connsiteX33" fmla="*/ 9797143 w 11867103"/>
                  <a:gd name="connsiteY33" fmla="*/ 70339 h 2964609"/>
                  <a:gd name="connsiteX34" fmla="*/ 9947868 w 11867103"/>
                  <a:gd name="connsiteY34" fmla="*/ 60290 h 2964609"/>
                  <a:gd name="connsiteX35" fmla="*/ 10791930 w 11867103"/>
                  <a:gd name="connsiteY35" fmla="*/ 30145 h 2964609"/>
                  <a:gd name="connsiteX36" fmla="*/ 11736475 w 11867103"/>
                  <a:gd name="connsiteY36" fmla="*/ 50242 h 2964609"/>
                  <a:gd name="connsiteX37" fmla="*/ 11766620 w 11867103"/>
                  <a:gd name="connsiteY37" fmla="*/ 80387 h 2964609"/>
                  <a:gd name="connsiteX38" fmla="*/ 11786717 w 11867103"/>
                  <a:gd name="connsiteY38" fmla="*/ 120580 h 2964609"/>
                  <a:gd name="connsiteX39" fmla="*/ 11806813 w 11867103"/>
                  <a:gd name="connsiteY39" fmla="*/ 211015 h 2964609"/>
                  <a:gd name="connsiteX40" fmla="*/ 11816862 w 11867103"/>
                  <a:gd name="connsiteY40" fmla="*/ 251209 h 2964609"/>
                  <a:gd name="connsiteX41" fmla="*/ 11826910 w 11867103"/>
                  <a:gd name="connsiteY41" fmla="*/ 341644 h 2964609"/>
                  <a:gd name="connsiteX42" fmla="*/ 11836958 w 11867103"/>
                  <a:gd name="connsiteY42" fmla="*/ 422031 h 2964609"/>
                  <a:gd name="connsiteX43" fmla="*/ 11826910 w 11867103"/>
                  <a:gd name="connsiteY43" fmla="*/ 733530 h 2964609"/>
                  <a:gd name="connsiteX44" fmla="*/ 11816862 w 11867103"/>
                  <a:gd name="connsiteY44" fmla="*/ 793820 h 2964609"/>
                  <a:gd name="connsiteX45" fmla="*/ 11806813 w 11867103"/>
                  <a:gd name="connsiteY45" fmla="*/ 864158 h 2964609"/>
                  <a:gd name="connsiteX46" fmla="*/ 11816862 w 11867103"/>
                  <a:gd name="connsiteY46" fmla="*/ 2331218 h 2964609"/>
                  <a:gd name="connsiteX47" fmla="*/ 11826910 w 11867103"/>
                  <a:gd name="connsiteY47" fmla="*/ 2401556 h 2964609"/>
                  <a:gd name="connsiteX48" fmla="*/ 11836958 w 11867103"/>
                  <a:gd name="connsiteY48" fmla="*/ 2431701 h 2964609"/>
                  <a:gd name="connsiteX49" fmla="*/ 11857055 w 11867103"/>
                  <a:gd name="connsiteY49" fmla="*/ 2562330 h 2964609"/>
                  <a:gd name="connsiteX50" fmla="*/ 11867103 w 11867103"/>
                  <a:gd name="connsiteY50" fmla="*/ 2602523 h 2964609"/>
                  <a:gd name="connsiteX51" fmla="*/ 11857055 w 11867103"/>
                  <a:gd name="connsiteY51" fmla="*/ 2833635 h 2964609"/>
                  <a:gd name="connsiteX52" fmla="*/ 11836958 w 11867103"/>
                  <a:gd name="connsiteY52" fmla="*/ 2863780 h 2964609"/>
                  <a:gd name="connsiteX53" fmla="*/ 11033090 w 11867103"/>
                  <a:gd name="connsiteY53" fmla="*/ 2853732 h 2964609"/>
                  <a:gd name="connsiteX54" fmla="*/ 10621108 w 11867103"/>
                  <a:gd name="connsiteY54" fmla="*/ 2843684 h 2964609"/>
                  <a:gd name="connsiteX55" fmla="*/ 10128739 w 11867103"/>
                  <a:gd name="connsiteY55" fmla="*/ 2853732 h 2964609"/>
                  <a:gd name="connsiteX56" fmla="*/ 10048352 w 11867103"/>
                  <a:gd name="connsiteY56" fmla="*/ 2863780 h 2964609"/>
                  <a:gd name="connsiteX57" fmla="*/ 9555982 w 11867103"/>
                  <a:gd name="connsiteY57" fmla="*/ 2853732 h 2964609"/>
                  <a:gd name="connsiteX58" fmla="*/ 9445451 w 11867103"/>
                  <a:gd name="connsiteY58" fmla="*/ 2843684 h 2964609"/>
                  <a:gd name="connsiteX59" fmla="*/ 9415306 w 11867103"/>
                  <a:gd name="connsiteY59" fmla="*/ 2823587 h 2964609"/>
                  <a:gd name="connsiteX60" fmla="*/ 9204290 w 11867103"/>
                  <a:gd name="connsiteY60" fmla="*/ 2803490 h 2964609"/>
                  <a:gd name="connsiteX61" fmla="*/ 9073662 w 11867103"/>
                  <a:gd name="connsiteY61" fmla="*/ 2783393 h 2964609"/>
                  <a:gd name="connsiteX62" fmla="*/ 8812404 w 11867103"/>
                  <a:gd name="connsiteY62" fmla="*/ 2773345 h 2964609"/>
                  <a:gd name="connsiteX63" fmla="*/ 8400422 w 11867103"/>
                  <a:gd name="connsiteY63" fmla="*/ 2763297 h 2964609"/>
                  <a:gd name="connsiteX64" fmla="*/ 8269793 w 11867103"/>
                  <a:gd name="connsiteY64" fmla="*/ 2753248 h 2964609"/>
                  <a:gd name="connsiteX65" fmla="*/ 7797521 w 11867103"/>
                  <a:gd name="connsiteY65" fmla="*/ 2773345 h 2964609"/>
                  <a:gd name="connsiteX66" fmla="*/ 7717134 w 11867103"/>
                  <a:gd name="connsiteY66" fmla="*/ 2783393 h 2964609"/>
                  <a:gd name="connsiteX67" fmla="*/ 7486022 w 11867103"/>
                  <a:gd name="connsiteY67" fmla="*/ 2813539 h 2964609"/>
                  <a:gd name="connsiteX68" fmla="*/ 7395587 w 11867103"/>
                  <a:gd name="connsiteY68" fmla="*/ 2833635 h 2964609"/>
                  <a:gd name="connsiteX69" fmla="*/ 7325248 w 11867103"/>
                  <a:gd name="connsiteY69" fmla="*/ 2843684 h 2964609"/>
                  <a:gd name="connsiteX70" fmla="*/ 6863024 w 11867103"/>
                  <a:gd name="connsiteY70" fmla="*/ 2833635 h 2964609"/>
                  <a:gd name="connsiteX71" fmla="*/ 6722347 w 11867103"/>
                  <a:gd name="connsiteY71" fmla="*/ 2823587 h 2964609"/>
                  <a:gd name="connsiteX72" fmla="*/ 4903596 w 11867103"/>
                  <a:gd name="connsiteY72" fmla="*/ 2873829 h 2964609"/>
                  <a:gd name="connsiteX73" fmla="*/ 4722725 w 11867103"/>
                  <a:gd name="connsiteY73" fmla="*/ 2914022 h 2964609"/>
                  <a:gd name="connsiteX74" fmla="*/ 4300695 w 11867103"/>
                  <a:gd name="connsiteY74" fmla="*/ 2893925 h 2964609"/>
                  <a:gd name="connsiteX75" fmla="*/ 4059534 w 11867103"/>
                  <a:gd name="connsiteY75" fmla="*/ 2853732 h 2964609"/>
                  <a:gd name="connsiteX76" fmla="*/ 3768132 w 11867103"/>
                  <a:gd name="connsiteY76" fmla="*/ 2823587 h 2964609"/>
                  <a:gd name="connsiteX77" fmla="*/ 3627455 w 11867103"/>
                  <a:gd name="connsiteY77" fmla="*/ 2813539 h 2964609"/>
                  <a:gd name="connsiteX78" fmla="*/ 3125037 w 11867103"/>
                  <a:gd name="connsiteY78" fmla="*/ 2823587 h 2964609"/>
                  <a:gd name="connsiteX79" fmla="*/ 3064747 w 11867103"/>
                  <a:gd name="connsiteY79" fmla="*/ 2833635 h 2964609"/>
                  <a:gd name="connsiteX80" fmla="*/ 2009670 w 11867103"/>
                  <a:gd name="connsiteY80" fmla="*/ 2843684 h 2964609"/>
                  <a:gd name="connsiteX81" fmla="*/ 1678075 w 11867103"/>
                  <a:gd name="connsiteY81" fmla="*/ 2934119 h 2964609"/>
                  <a:gd name="connsiteX82" fmla="*/ 1607736 w 11867103"/>
                  <a:gd name="connsiteY82" fmla="*/ 2964264 h 2964609"/>
                  <a:gd name="connsiteX83" fmla="*/ 1135464 w 11867103"/>
                  <a:gd name="connsiteY83" fmla="*/ 2944167 h 2964609"/>
                  <a:gd name="connsiteX84" fmla="*/ 944545 w 11867103"/>
                  <a:gd name="connsiteY84" fmla="*/ 2914022 h 2964609"/>
                  <a:gd name="connsiteX85" fmla="*/ 723481 w 11867103"/>
                  <a:gd name="connsiteY85" fmla="*/ 2873829 h 2964609"/>
                  <a:gd name="connsiteX86" fmla="*/ 643095 w 11867103"/>
                  <a:gd name="connsiteY86" fmla="*/ 2863780 h 2964609"/>
                  <a:gd name="connsiteX87" fmla="*/ 371789 w 11867103"/>
                  <a:gd name="connsiteY87" fmla="*/ 2823587 h 2964609"/>
                  <a:gd name="connsiteX88" fmla="*/ 0 w 11867103"/>
                  <a:gd name="connsiteY88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964642 w 11867103"/>
                  <a:gd name="connsiteY6" fmla="*/ 70339 h 2964609"/>
                  <a:gd name="connsiteX7" fmla="*/ 1356528 w 11867103"/>
                  <a:gd name="connsiteY7" fmla="*/ 80387 h 2964609"/>
                  <a:gd name="connsiteX8" fmla="*/ 1758462 w 11867103"/>
                  <a:gd name="connsiteY8" fmla="*/ 40193 h 2964609"/>
                  <a:gd name="connsiteX9" fmla="*/ 1889090 w 11867103"/>
                  <a:gd name="connsiteY9" fmla="*/ 20097 h 2964609"/>
                  <a:gd name="connsiteX10" fmla="*/ 2140299 w 11867103"/>
                  <a:gd name="connsiteY10" fmla="*/ 40193 h 2964609"/>
                  <a:gd name="connsiteX11" fmla="*/ 2200589 w 11867103"/>
                  <a:gd name="connsiteY11" fmla="*/ 50242 h 2964609"/>
                  <a:gd name="connsiteX12" fmla="*/ 4652387 w 11867103"/>
                  <a:gd name="connsiteY12" fmla="*/ 60290 h 2964609"/>
                  <a:gd name="connsiteX13" fmla="*/ 4692580 w 11867103"/>
                  <a:gd name="connsiteY13" fmla="*/ 70339 h 2964609"/>
                  <a:gd name="connsiteX14" fmla="*/ 4843306 w 11867103"/>
                  <a:gd name="connsiteY14" fmla="*/ 90435 h 2964609"/>
                  <a:gd name="connsiteX15" fmla="*/ 5677319 w 11867103"/>
                  <a:gd name="connsiteY15" fmla="*/ 80387 h 2964609"/>
                  <a:gd name="connsiteX16" fmla="*/ 6169688 w 11867103"/>
                  <a:gd name="connsiteY16" fmla="*/ 110532 h 2964609"/>
                  <a:gd name="connsiteX17" fmla="*/ 6420897 w 11867103"/>
                  <a:gd name="connsiteY17" fmla="*/ 90435 h 2964609"/>
                  <a:gd name="connsiteX18" fmla="*/ 6511332 w 11867103"/>
                  <a:gd name="connsiteY18" fmla="*/ 30145 h 2964609"/>
                  <a:gd name="connsiteX19" fmla="*/ 6571622 w 11867103"/>
                  <a:gd name="connsiteY19" fmla="*/ 20097 h 2964609"/>
                  <a:gd name="connsiteX20" fmla="*/ 6641961 w 11867103"/>
                  <a:gd name="connsiteY20" fmla="*/ 0 h 2964609"/>
                  <a:gd name="connsiteX21" fmla="*/ 7204668 w 11867103"/>
                  <a:gd name="connsiteY21" fmla="*/ 10048 h 2964609"/>
                  <a:gd name="connsiteX22" fmla="*/ 7285055 w 11867103"/>
                  <a:gd name="connsiteY22" fmla="*/ 30145 h 2964609"/>
                  <a:gd name="connsiteX23" fmla="*/ 7375490 w 11867103"/>
                  <a:gd name="connsiteY23" fmla="*/ 40193 h 2964609"/>
                  <a:gd name="connsiteX24" fmla="*/ 7928150 w 11867103"/>
                  <a:gd name="connsiteY24" fmla="*/ 60290 h 2964609"/>
                  <a:gd name="connsiteX25" fmla="*/ 8109020 w 11867103"/>
                  <a:gd name="connsiteY25" fmla="*/ 80387 h 2964609"/>
                  <a:gd name="connsiteX26" fmla="*/ 8219552 w 11867103"/>
                  <a:gd name="connsiteY26" fmla="*/ 90435 h 2964609"/>
                  <a:gd name="connsiteX27" fmla="*/ 8299939 w 11867103"/>
                  <a:gd name="connsiteY27" fmla="*/ 100484 h 2964609"/>
                  <a:gd name="connsiteX28" fmla="*/ 8521002 w 11867103"/>
                  <a:gd name="connsiteY28" fmla="*/ 110532 h 2964609"/>
                  <a:gd name="connsiteX29" fmla="*/ 9515789 w 11867103"/>
                  <a:gd name="connsiteY29" fmla="*/ 100484 h 2964609"/>
                  <a:gd name="connsiteX30" fmla="*/ 9606224 w 11867103"/>
                  <a:gd name="connsiteY30" fmla="*/ 90435 h 2964609"/>
                  <a:gd name="connsiteX31" fmla="*/ 9716756 w 11867103"/>
                  <a:gd name="connsiteY31" fmla="*/ 80387 h 2964609"/>
                  <a:gd name="connsiteX32" fmla="*/ 9797143 w 11867103"/>
                  <a:gd name="connsiteY32" fmla="*/ 70339 h 2964609"/>
                  <a:gd name="connsiteX33" fmla="*/ 9947868 w 11867103"/>
                  <a:gd name="connsiteY33" fmla="*/ 60290 h 2964609"/>
                  <a:gd name="connsiteX34" fmla="*/ 10791930 w 11867103"/>
                  <a:gd name="connsiteY34" fmla="*/ 30145 h 2964609"/>
                  <a:gd name="connsiteX35" fmla="*/ 11736475 w 11867103"/>
                  <a:gd name="connsiteY35" fmla="*/ 50242 h 2964609"/>
                  <a:gd name="connsiteX36" fmla="*/ 11766620 w 11867103"/>
                  <a:gd name="connsiteY36" fmla="*/ 80387 h 2964609"/>
                  <a:gd name="connsiteX37" fmla="*/ 11786717 w 11867103"/>
                  <a:gd name="connsiteY37" fmla="*/ 120580 h 2964609"/>
                  <a:gd name="connsiteX38" fmla="*/ 11806813 w 11867103"/>
                  <a:gd name="connsiteY38" fmla="*/ 211015 h 2964609"/>
                  <a:gd name="connsiteX39" fmla="*/ 11816862 w 11867103"/>
                  <a:gd name="connsiteY39" fmla="*/ 251209 h 2964609"/>
                  <a:gd name="connsiteX40" fmla="*/ 11826910 w 11867103"/>
                  <a:gd name="connsiteY40" fmla="*/ 341644 h 2964609"/>
                  <a:gd name="connsiteX41" fmla="*/ 11836958 w 11867103"/>
                  <a:gd name="connsiteY41" fmla="*/ 422031 h 2964609"/>
                  <a:gd name="connsiteX42" fmla="*/ 11826910 w 11867103"/>
                  <a:gd name="connsiteY42" fmla="*/ 733530 h 2964609"/>
                  <a:gd name="connsiteX43" fmla="*/ 11816862 w 11867103"/>
                  <a:gd name="connsiteY43" fmla="*/ 793820 h 2964609"/>
                  <a:gd name="connsiteX44" fmla="*/ 11806813 w 11867103"/>
                  <a:gd name="connsiteY44" fmla="*/ 864158 h 2964609"/>
                  <a:gd name="connsiteX45" fmla="*/ 11816862 w 11867103"/>
                  <a:gd name="connsiteY45" fmla="*/ 2331218 h 2964609"/>
                  <a:gd name="connsiteX46" fmla="*/ 11826910 w 11867103"/>
                  <a:gd name="connsiteY46" fmla="*/ 2401556 h 2964609"/>
                  <a:gd name="connsiteX47" fmla="*/ 11836958 w 11867103"/>
                  <a:gd name="connsiteY47" fmla="*/ 2431701 h 2964609"/>
                  <a:gd name="connsiteX48" fmla="*/ 11857055 w 11867103"/>
                  <a:gd name="connsiteY48" fmla="*/ 2562330 h 2964609"/>
                  <a:gd name="connsiteX49" fmla="*/ 11867103 w 11867103"/>
                  <a:gd name="connsiteY49" fmla="*/ 2602523 h 2964609"/>
                  <a:gd name="connsiteX50" fmla="*/ 11857055 w 11867103"/>
                  <a:gd name="connsiteY50" fmla="*/ 2833635 h 2964609"/>
                  <a:gd name="connsiteX51" fmla="*/ 11836958 w 11867103"/>
                  <a:gd name="connsiteY51" fmla="*/ 2863780 h 2964609"/>
                  <a:gd name="connsiteX52" fmla="*/ 11033090 w 11867103"/>
                  <a:gd name="connsiteY52" fmla="*/ 2853732 h 2964609"/>
                  <a:gd name="connsiteX53" fmla="*/ 10621108 w 11867103"/>
                  <a:gd name="connsiteY53" fmla="*/ 2843684 h 2964609"/>
                  <a:gd name="connsiteX54" fmla="*/ 10128739 w 11867103"/>
                  <a:gd name="connsiteY54" fmla="*/ 2853732 h 2964609"/>
                  <a:gd name="connsiteX55" fmla="*/ 10048352 w 11867103"/>
                  <a:gd name="connsiteY55" fmla="*/ 2863780 h 2964609"/>
                  <a:gd name="connsiteX56" fmla="*/ 9555982 w 11867103"/>
                  <a:gd name="connsiteY56" fmla="*/ 2853732 h 2964609"/>
                  <a:gd name="connsiteX57" fmla="*/ 9445451 w 11867103"/>
                  <a:gd name="connsiteY57" fmla="*/ 2843684 h 2964609"/>
                  <a:gd name="connsiteX58" fmla="*/ 9415306 w 11867103"/>
                  <a:gd name="connsiteY58" fmla="*/ 2823587 h 2964609"/>
                  <a:gd name="connsiteX59" fmla="*/ 9204290 w 11867103"/>
                  <a:gd name="connsiteY59" fmla="*/ 2803490 h 2964609"/>
                  <a:gd name="connsiteX60" fmla="*/ 9073662 w 11867103"/>
                  <a:gd name="connsiteY60" fmla="*/ 2783393 h 2964609"/>
                  <a:gd name="connsiteX61" fmla="*/ 8812404 w 11867103"/>
                  <a:gd name="connsiteY61" fmla="*/ 2773345 h 2964609"/>
                  <a:gd name="connsiteX62" fmla="*/ 8400422 w 11867103"/>
                  <a:gd name="connsiteY62" fmla="*/ 2763297 h 2964609"/>
                  <a:gd name="connsiteX63" fmla="*/ 8269793 w 11867103"/>
                  <a:gd name="connsiteY63" fmla="*/ 2753248 h 2964609"/>
                  <a:gd name="connsiteX64" fmla="*/ 7797521 w 11867103"/>
                  <a:gd name="connsiteY64" fmla="*/ 2773345 h 2964609"/>
                  <a:gd name="connsiteX65" fmla="*/ 7717134 w 11867103"/>
                  <a:gd name="connsiteY65" fmla="*/ 2783393 h 2964609"/>
                  <a:gd name="connsiteX66" fmla="*/ 7486022 w 11867103"/>
                  <a:gd name="connsiteY66" fmla="*/ 2813539 h 2964609"/>
                  <a:gd name="connsiteX67" fmla="*/ 7395587 w 11867103"/>
                  <a:gd name="connsiteY67" fmla="*/ 2833635 h 2964609"/>
                  <a:gd name="connsiteX68" fmla="*/ 7325248 w 11867103"/>
                  <a:gd name="connsiteY68" fmla="*/ 2843684 h 2964609"/>
                  <a:gd name="connsiteX69" fmla="*/ 6863024 w 11867103"/>
                  <a:gd name="connsiteY69" fmla="*/ 2833635 h 2964609"/>
                  <a:gd name="connsiteX70" fmla="*/ 6722347 w 11867103"/>
                  <a:gd name="connsiteY70" fmla="*/ 2823587 h 2964609"/>
                  <a:gd name="connsiteX71" fmla="*/ 4903596 w 11867103"/>
                  <a:gd name="connsiteY71" fmla="*/ 2873829 h 2964609"/>
                  <a:gd name="connsiteX72" fmla="*/ 4722725 w 11867103"/>
                  <a:gd name="connsiteY72" fmla="*/ 2914022 h 2964609"/>
                  <a:gd name="connsiteX73" fmla="*/ 4300695 w 11867103"/>
                  <a:gd name="connsiteY73" fmla="*/ 2893925 h 2964609"/>
                  <a:gd name="connsiteX74" fmla="*/ 4059534 w 11867103"/>
                  <a:gd name="connsiteY74" fmla="*/ 2853732 h 2964609"/>
                  <a:gd name="connsiteX75" fmla="*/ 3768132 w 11867103"/>
                  <a:gd name="connsiteY75" fmla="*/ 2823587 h 2964609"/>
                  <a:gd name="connsiteX76" fmla="*/ 3627455 w 11867103"/>
                  <a:gd name="connsiteY76" fmla="*/ 2813539 h 2964609"/>
                  <a:gd name="connsiteX77" fmla="*/ 3125037 w 11867103"/>
                  <a:gd name="connsiteY77" fmla="*/ 2823587 h 2964609"/>
                  <a:gd name="connsiteX78" fmla="*/ 3064747 w 11867103"/>
                  <a:gd name="connsiteY78" fmla="*/ 2833635 h 2964609"/>
                  <a:gd name="connsiteX79" fmla="*/ 2009670 w 11867103"/>
                  <a:gd name="connsiteY79" fmla="*/ 2843684 h 2964609"/>
                  <a:gd name="connsiteX80" fmla="*/ 1678075 w 11867103"/>
                  <a:gd name="connsiteY80" fmla="*/ 2934119 h 2964609"/>
                  <a:gd name="connsiteX81" fmla="*/ 1607736 w 11867103"/>
                  <a:gd name="connsiteY81" fmla="*/ 2964264 h 2964609"/>
                  <a:gd name="connsiteX82" fmla="*/ 1135464 w 11867103"/>
                  <a:gd name="connsiteY82" fmla="*/ 2944167 h 2964609"/>
                  <a:gd name="connsiteX83" fmla="*/ 944545 w 11867103"/>
                  <a:gd name="connsiteY83" fmla="*/ 2914022 h 2964609"/>
                  <a:gd name="connsiteX84" fmla="*/ 723481 w 11867103"/>
                  <a:gd name="connsiteY84" fmla="*/ 2873829 h 2964609"/>
                  <a:gd name="connsiteX85" fmla="*/ 643095 w 11867103"/>
                  <a:gd name="connsiteY85" fmla="*/ 2863780 h 2964609"/>
                  <a:gd name="connsiteX86" fmla="*/ 371789 w 11867103"/>
                  <a:gd name="connsiteY86" fmla="*/ 2823587 h 2964609"/>
                  <a:gd name="connsiteX87" fmla="*/ 0 w 11867103"/>
                  <a:gd name="connsiteY87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1356528 w 11867103"/>
                  <a:gd name="connsiteY6" fmla="*/ 80387 h 2964609"/>
                  <a:gd name="connsiteX7" fmla="*/ 1758462 w 11867103"/>
                  <a:gd name="connsiteY7" fmla="*/ 40193 h 2964609"/>
                  <a:gd name="connsiteX8" fmla="*/ 1889090 w 11867103"/>
                  <a:gd name="connsiteY8" fmla="*/ 20097 h 2964609"/>
                  <a:gd name="connsiteX9" fmla="*/ 2140299 w 11867103"/>
                  <a:gd name="connsiteY9" fmla="*/ 40193 h 2964609"/>
                  <a:gd name="connsiteX10" fmla="*/ 2200589 w 11867103"/>
                  <a:gd name="connsiteY10" fmla="*/ 50242 h 2964609"/>
                  <a:gd name="connsiteX11" fmla="*/ 4652387 w 11867103"/>
                  <a:gd name="connsiteY11" fmla="*/ 60290 h 2964609"/>
                  <a:gd name="connsiteX12" fmla="*/ 4692580 w 11867103"/>
                  <a:gd name="connsiteY12" fmla="*/ 70339 h 2964609"/>
                  <a:gd name="connsiteX13" fmla="*/ 4843306 w 11867103"/>
                  <a:gd name="connsiteY13" fmla="*/ 90435 h 2964609"/>
                  <a:gd name="connsiteX14" fmla="*/ 5677319 w 11867103"/>
                  <a:gd name="connsiteY14" fmla="*/ 80387 h 2964609"/>
                  <a:gd name="connsiteX15" fmla="*/ 6169688 w 11867103"/>
                  <a:gd name="connsiteY15" fmla="*/ 110532 h 2964609"/>
                  <a:gd name="connsiteX16" fmla="*/ 6420897 w 11867103"/>
                  <a:gd name="connsiteY16" fmla="*/ 90435 h 2964609"/>
                  <a:gd name="connsiteX17" fmla="*/ 6511332 w 11867103"/>
                  <a:gd name="connsiteY17" fmla="*/ 30145 h 2964609"/>
                  <a:gd name="connsiteX18" fmla="*/ 6571622 w 11867103"/>
                  <a:gd name="connsiteY18" fmla="*/ 20097 h 2964609"/>
                  <a:gd name="connsiteX19" fmla="*/ 6641961 w 11867103"/>
                  <a:gd name="connsiteY19" fmla="*/ 0 h 2964609"/>
                  <a:gd name="connsiteX20" fmla="*/ 7204668 w 11867103"/>
                  <a:gd name="connsiteY20" fmla="*/ 10048 h 2964609"/>
                  <a:gd name="connsiteX21" fmla="*/ 7285055 w 11867103"/>
                  <a:gd name="connsiteY21" fmla="*/ 30145 h 2964609"/>
                  <a:gd name="connsiteX22" fmla="*/ 7375490 w 11867103"/>
                  <a:gd name="connsiteY22" fmla="*/ 40193 h 2964609"/>
                  <a:gd name="connsiteX23" fmla="*/ 7928150 w 11867103"/>
                  <a:gd name="connsiteY23" fmla="*/ 60290 h 2964609"/>
                  <a:gd name="connsiteX24" fmla="*/ 8109020 w 11867103"/>
                  <a:gd name="connsiteY24" fmla="*/ 80387 h 2964609"/>
                  <a:gd name="connsiteX25" fmla="*/ 8219552 w 11867103"/>
                  <a:gd name="connsiteY25" fmla="*/ 90435 h 2964609"/>
                  <a:gd name="connsiteX26" fmla="*/ 8299939 w 11867103"/>
                  <a:gd name="connsiteY26" fmla="*/ 100484 h 2964609"/>
                  <a:gd name="connsiteX27" fmla="*/ 8521002 w 11867103"/>
                  <a:gd name="connsiteY27" fmla="*/ 110532 h 2964609"/>
                  <a:gd name="connsiteX28" fmla="*/ 9515789 w 11867103"/>
                  <a:gd name="connsiteY28" fmla="*/ 100484 h 2964609"/>
                  <a:gd name="connsiteX29" fmla="*/ 9606224 w 11867103"/>
                  <a:gd name="connsiteY29" fmla="*/ 90435 h 2964609"/>
                  <a:gd name="connsiteX30" fmla="*/ 9716756 w 11867103"/>
                  <a:gd name="connsiteY30" fmla="*/ 80387 h 2964609"/>
                  <a:gd name="connsiteX31" fmla="*/ 9797143 w 11867103"/>
                  <a:gd name="connsiteY31" fmla="*/ 70339 h 2964609"/>
                  <a:gd name="connsiteX32" fmla="*/ 9947868 w 11867103"/>
                  <a:gd name="connsiteY32" fmla="*/ 60290 h 2964609"/>
                  <a:gd name="connsiteX33" fmla="*/ 10791930 w 11867103"/>
                  <a:gd name="connsiteY33" fmla="*/ 30145 h 2964609"/>
                  <a:gd name="connsiteX34" fmla="*/ 11736475 w 11867103"/>
                  <a:gd name="connsiteY34" fmla="*/ 50242 h 2964609"/>
                  <a:gd name="connsiteX35" fmla="*/ 11766620 w 11867103"/>
                  <a:gd name="connsiteY35" fmla="*/ 80387 h 2964609"/>
                  <a:gd name="connsiteX36" fmla="*/ 11786717 w 11867103"/>
                  <a:gd name="connsiteY36" fmla="*/ 120580 h 2964609"/>
                  <a:gd name="connsiteX37" fmla="*/ 11806813 w 11867103"/>
                  <a:gd name="connsiteY37" fmla="*/ 211015 h 2964609"/>
                  <a:gd name="connsiteX38" fmla="*/ 11816862 w 11867103"/>
                  <a:gd name="connsiteY38" fmla="*/ 251209 h 2964609"/>
                  <a:gd name="connsiteX39" fmla="*/ 11826910 w 11867103"/>
                  <a:gd name="connsiteY39" fmla="*/ 341644 h 2964609"/>
                  <a:gd name="connsiteX40" fmla="*/ 11836958 w 11867103"/>
                  <a:gd name="connsiteY40" fmla="*/ 422031 h 2964609"/>
                  <a:gd name="connsiteX41" fmla="*/ 11826910 w 11867103"/>
                  <a:gd name="connsiteY41" fmla="*/ 733530 h 2964609"/>
                  <a:gd name="connsiteX42" fmla="*/ 11816862 w 11867103"/>
                  <a:gd name="connsiteY42" fmla="*/ 793820 h 2964609"/>
                  <a:gd name="connsiteX43" fmla="*/ 11806813 w 11867103"/>
                  <a:gd name="connsiteY43" fmla="*/ 864158 h 2964609"/>
                  <a:gd name="connsiteX44" fmla="*/ 11816862 w 11867103"/>
                  <a:gd name="connsiteY44" fmla="*/ 2331218 h 2964609"/>
                  <a:gd name="connsiteX45" fmla="*/ 11826910 w 11867103"/>
                  <a:gd name="connsiteY45" fmla="*/ 2401556 h 2964609"/>
                  <a:gd name="connsiteX46" fmla="*/ 11836958 w 11867103"/>
                  <a:gd name="connsiteY46" fmla="*/ 2431701 h 2964609"/>
                  <a:gd name="connsiteX47" fmla="*/ 11857055 w 11867103"/>
                  <a:gd name="connsiteY47" fmla="*/ 2562330 h 2964609"/>
                  <a:gd name="connsiteX48" fmla="*/ 11867103 w 11867103"/>
                  <a:gd name="connsiteY48" fmla="*/ 2602523 h 2964609"/>
                  <a:gd name="connsiteX49" fmla="*/ 11857055 w 11867103"/>
                  <a:gd name="connsiteY49" fmla="*/ 2833635 h 2964609"/>
                  <a:gd name="connsiteX50" fmla="*/ 11836958 w 11867103"/>
                  <a:gd name="connsiteY50" fmla="*/ 2863780 h 2964609"/>
                  <a:gd name="connsiteX51" fmla="*/ 11033090 w 11867103"/>
                  <a:gd name="connsiteY51" fmla="*/ 2853732 h 2964609"/>
                  <a:gd name="connsiteX52" fmla="*/ 10621108 w 11867103"/>
                  <a:gd name="connsiteY52" fmla="*/ 2843684 h 2964609"/>
                  <a:gd name="connsiteX53" fmla="*/ 10128739 w 11867103"/>
                  <a:gd name="connsiteY53" fmla="*/ 2853732 h 2964609"/>
                  <a:gd name="connsiteX54" fmla="*/ 10048352 w 11867103"/>
                  <a:gd name="connsiteY54" fmla="*/ 2863780 h 2964609"/>
                  <a:gd name="connsiteX55" fmla="*/ 9555982 w 11867103"/>
                  <a:gd name="connsiteY55" fmla="*/ 2853732 h 2964609"/>
                  <a:gd name="connsiteX56" fmla="*/ 9445451 w 11867103"/>
                  <a:gd name="connsiteY56" fmla="*/ 2843684 h 2964609"/>
                  <a:gd name="connsiteX57" fmla="*/ 9415306 w 11867103"/>
                  <a:gd name="connsiteY57" fmla="*/ 2823587 h 2964609"/>
                  <a:gd name="connsiteX58" fmla="*/ 9204290 w 11867103"/>
                  <a:gd name="connsiteY58" fmla="*/ 2803490 h 2964609"/>
                  <a:gd name="connsiteX59" fmla="*/ 9073662 w 11867103"/>
                  <a:gd name="connsiteY59" fmla="*/ 2783393 h 2964609"/>
                  <a:gd name="connsiteX60" fmla="*/ 8812404 w 11867103"/>
                  <a:gd name="connsiteY60" fmla="*/ 2773345 h 2964609"/>
                  <a:gd name="connsiteX61" fmla="*/ 8400422 w 11867103"/>
                  <a:gd name="connsiteY61" fmla="*/ 2763297 h 2964609"/>
                  <a:gd name="connsiteX62" fmla="*/ 8269793 w 11867103"/>
                  <a:gd name="connsiteY62" fmla="*/ 2753248 h 2964609"/>
                  <a:gd name="connsiteX63" fmla="*/ 7797521 w 11867103"/>
                  <a:gd name="connsiteY63" fmla="*/ 2773345 h 2964609"/>
                  <a:gd name="connsiteX64" fmla="*/ 7717134 w 11867103"/>
                  <a:gd name="connsiteY64" fmla="*/ 2783393 h 2964609"/>
                  <a:gd name="connsiteX65" fmla="*/ 7486022 w 11867103"/>
                  <a:gd name="connsiteY65" fmla="*/ 2813539 h 2964609"/>
                  <a:gd name="connsiteX66" fmla="*/ 7395587 w 11867103"/>
                  <a:gd name="connsiteY66" fmla="*/ 2833635 h 2964609"/>
                  <a:gd name="connsiteX67" fmla="*/ 7325248 w 11867103"/>
                  <a:gd name="connsiteY67" fmla="*/ 2843684 h 2964609"/>
                  <a:gd name="connsiteX68" fmla="*/ 6863024 w 11867103"/>
                  <a:gd name="connsiteY68" fmla="*/ 2833635 h 2964609"/>
                  <a:gd name="connsiteX69" fmla="*/ 6722347 w 11867103"/>
                  <a:gd name="connsiteY69" fmla="*/ 2823587 h 2964609"/>
                  <a:gd name="connsiteX70" fmla="*/ 4903596 w 11867103"/>
                  <a:gd name="connsiteY70" fmla="*/ 2873829 h 2964609"/>
                  <a:gd name="connsiteX71" fmla="*/ 4722725 w 11867103"/>
                  <a:gd name="connsiteY71" fmla="*/ 2914022 h 2964609"/>
                  <a:gd name="connsiteX72" fmla="*/ 4300695 w 11867103"/>
                  <a:gd name="connsiteY72" fmla="*/ 2893925 h 2964609"/>
                  <a:gd name="connsiteX73" fmla="*/ 4059534 w 11867103"/>
                  <a:gd name="connsiteY73" fmla="*/ 2853732 h 2964609"/>
                  <a:gd name="connsiteX74" fmla="*/ 3768132 w 11867103"/>
                  <a:gd name="connsiteY74" fmla="*/ 2823587 h 2964609"/>
                  <a:gd name="connsiteX75" fmla="*/ 3627455 w 11867103"/>
                  <a:gd name="connsiteY75" fmla="*/ 2813539 h 2964609"/>
                  <a:gd name="connsiteX76" fmla="*/ 3125037 w 11867103"/>
                  <a:gd name="connsiteY76" fmla="*/ 2823587 h 2964609"/>
                  <a:gd name="connsiteX77" fmla="*/ 3064747 w 11867103"/>
                  <a:gd name="connsiteY77" fmla="*/ 2833635 h 2964609"/>
                  <a:gd name="connsiteX78" fmla="*/ 2009670 w 11867103"/>
                  <a:gd name="connsiteY78" fmla="*/ 2843684 h 2964609"/>
                  <a:gd name="connsiteX79" fmla="*/ 1678075 w 11867103"/>
                  <a:gd name="connsiteY79" fmla="*/ 2934119 h 2964609"/>
                  <a:gd name="connsiteX80" fmla="*/ 1607736 w 11867103"/>
                  <a:gd name="connsiteY80" fmla="*/ 2964264 h 2964609"/>
                  <a:gd name="connsiteX81" fmla="*/ 1135464 w 11867103"/>
                  <a:gd name="connsiteY81" fmla="*/ 2944167 h 2964609"/>
                  <a:gd name="connsiteX82" fmla="*/ 944545 w 11867103"/>
                  <a:gd name="connsiteY82" fmla="*/ 2914022 h 2964609"/>
                  <a:gd name="connsiteX83" fmla="*/ 723481 w 11867103"/>
                  <a:gd name="connsiteY83" fmla="*/ 2873829 h 2964609"/>
                  <a:gd name="connsiteX84" fmla="*/ 643095 w 11867103"/>
                  <a:gd name="connsiteY84" fmla="*/ 2863780 h 2964609"/>
                  <a:gd name="connsiteX85" fmla="*/ 371789 w 11867103"/>
                  <a:gd name="connsiteY85" fmla="*/ 2823587 h 2964609"/>
                  <a:gd name="connsiteX86" fmla="*/ 0 w 11867103"/>
                  <a:gd name="connsiteY86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1356528 w 11867103"/>
                  <a:gd name="connsiteY5" fmla="*/ 80387 h 2964609"/>
                  <a:gd name="connsiteX6" fmla="*/ 1758462 w 11867103"/>
                  <a:gd name="connsiteY6" fmla="*/ 40193 h 2964609"/>
                  <a:gd name="connsiteX7" fmla="*/ 1889090 w 11867103"/>
                  <a:gd name="connsiteY7" fmla="*/ 20097 h 2964609"/>
                  <a:gd name="connsiteX8" fmla="*/ 2140299 w 11867103"/>
                  <a:gd name="connsiteY8" fmla="*/ 40193 h 2964609"/>
                  <a:gd name="connsiteX9" fmla="*/ 2200589 w 11867103"/>
                  <a:gd name="connsiteY9" fmla="*/ 50242 h 2964609"/>
                  <a:gd name="connsiteX10" fmla="*/ 4652387 w 11867103"/>
                  <a:gd name="connsiteY10" fmla="*/ 60290 h 2964609"/>
                  <a:gd name="connsiteX11" fmla="*/ 4692580 w 11867103"/>
                  <a:gd name="connsiteY11" fmla="*/ 70339 h 2964609"/>
                  <a:gd name="connsiteX12" fmla="*/ 4843306 w 11867103"/>
                  <a:gd name="connsiteY12" fmla="*/ 90435 h 2964609"/>
                  <a:gd name="connsiteX13" fmla="*/ 5677319 w 11867103"/>
                  <a:gd name="connsiteY13" fmla="*/ 80387 h 2964609"/>
                  <a:gd name="connsiteX14" fmla="*/ 6169688 w 11867103"/>
                  <a:gd name="connsiteY14" fmla="*/ 110532 h 2964609"/>
                  <a:gd name="connsiteX15" fmla="*/ 6420897 w 11867103"/>
                  <a:gd name="connsiteY15" fmla="*/ 90435 h 2964609"/>
                  <a:gd name="connsiteX16" fmla="*/ 6511332 w 11867103"/>
                  <a:gd name="connsiteY16" fmla="*/ 30145 h 2964609"/>
                  <a:gd name="connsiteX17" fmla="*/ 6571622 w 11867103"/>
                  <a:gd name="connsiteY17" fmla="*/ 20097 h 2964609"/>
                  <a:gd name="connsiteX18" fmla="*/ 6641961 w 11867103"/>
                  <a:gd name="connsiteY18" fmla="*/ 0 h 2964609"/>
                  <a:gd name="connsiteX19" fmla="*/ 7204668 w 11867103"/>
                  <a:gd name="connsiteY19" fmla="*/ 10048 h 2964609"/>
                  <a:gd name="connsiteX20" fmla="*/ 7285055 w 11867103"/>
                  <a:gd name="connsiteY20" fmla="*/ 30145 h 2964609"/>
                  <a:gd name="connsiteX21" fmla="*/ 7375490 w 11867103"/>
                  <a:gd name="connsiteY21" fmla="*/ 40193 h 2964609"/>
                  <a:gd name="connsiteX22" fmla="*/ 7928150 w 11867103"/>
                  <a:gd name="connsiteY22" fmla="*/ 60290 h 2964609"/>
                  <a:gd name="connsiteX23" fmla="*/ 8109020 w 11867103"/>
                  <a:gd name="connsiteY23" fmla="*/ 80387 h 2964609"/>
                  <a:gd name="connsiteX24" fmla="*/ 8219552 w 11867103"/>
                  <a:gd name="connsiteY24" fmla="*/ 90435 h 2964609"/>
                  <a:gd name="connsiteX25" fmla="*/ 8299939 w 11867103"/>
                  <a:gd name="connsiteY25" fmla="*/ 100484 h 2964609"/>
                  <a:gd name="connsiteX26" fmla="*/ 8521002 w 11867103"/>
                  <a:gd name="connsiteY26" fmla="*/ 110532 h 2964609"/>
                  <a:gd name="connsiteX27" fmla="*/ 9515789 w 11867103"/>
                  <a:gd name="connsiteY27" fmla="*/ 100484 h 2964609"/>
                  <a:gd name="connsiteX28" fmla="*/ 9606224 w 11867103"/>
                  <a:gd name="connsiteY28" fmla="*/ 90435 h 2964609"/>
                  <a:gd name="connsiteX29" fmla="*/ 9716756 w 11867103"/>
                  <a:gd name="connsiteY29" fmla="*/ 80387 h 2964609"/>
                  <a:gd name="connsiteX30" fmla="*/ 9797143 w 11867103"/>
                  <a:gd name="connsiteY30" fmla="*/ 70339 h 2964609"/>
                  <a:gd name="connsiteX31" fmla="*/ 9947868 w 11867103"/>
                  <a:gd name="connsiteY31" fmla="*/ 60290 h 2964609"/>
                  <a:gd name="connsiteX32" fmla="*/ 10791930 w 11867103"/>
                  <a:gd name="connsiteY32" fmla="*/ 30145 h 2964609"/>
                  <a:gd name="connsiteX33" fmla="*/ 11736475 w 11867103"/>
                  <a:gd name="connsiteY33" fmla="*/ 50242 h 2964609"/>
                  <a:gd name="connsiteX34" fmla="*/ 11766620 w 11867103"/>
                  <a:gd name="connsiteY34" fmla="*/ 80387 h 2964609"/>
                  <a:gd name="connsiteX35" fmla="*/ 11786717 w 11867103"/>
                  <a:gd name="connsiteY35" fmla="*/ 120580 h 2964609"/>
                  <a:gd name="connsiteX36" fmla="*/ 11806813 w 11867103"/>
                  <a:gd name="connsiteY36" fmla="*/ 211015 h 2964609"/>
                  <a:gd name="connsiteX37" fmla="*/ 11816862 w 11867103"/>
                  <a:gd name="connsiteY37" fmla="*/ 251209 h 2964609"/>
                  <a:gd name="connsiteX38" fmla="*/ 11826910 w 11867103"/>
                  <a:gd name="connsiteY38" fmla="*/ 341644 h 2964609"/>
                  <a:gd name="connsiteX39" fmla="*/ 11836958 w 11867103"/>
                  <a:gd name="connsiteY39" fmla="*/ 422031 h 2964609"/>
                  <a:gd name="connsiteX40" fmla="*/ 11826910 w 11867103"/>
                  <a:gd name="connsiteY40" fmla="*/ 733530 h 2964609"/>
                  <a:gd name="connsiteX41" fmla="*/ 11816862 w 11867103"/>
                  <a:gd name="connsiteY41" fmla="*/ 793820 h 2964609"/>
                  <a:gd name="connsiteX42" fmla="*/ 11806813 w 11867103"/>
                  <a:gd name="connsiteY42" fmla="*/ 864158 h 2964609"/>
                  <a:gd name="connsiteX43" fmla="*/ 11816862 w 11867103"/>
                  <a:gd name="connsiteY43" fmla="*/ 2331218 h 2964609"/>
                  <a:gd name="connsiteX44" fmla="*/ 11826910 w 11867103"/>
                  <a:gd name="connsiteY44" fmla="*/ 2401556 h 2964609"/>
                  <a:gd name="connsiteX45" fmla="*/ 11836958 w 11867103"/>
                  <a:gd name="connsiteY45" fmla="*/ 2431701 h 2964609"/>
                  <a:gd name="connsiteX46" fmla="*/ 11857055 w 11867103"/>
                  <a:gd name="connsiteY46" fmla="*/ 2562330 h 2964609"/>
                  <a:gd name="connsiteX47" fmla="*/ 11867103 w 11867103"/>
                  <a:gd name="connsiteY47" fmla="*/ 2602523 h 2964609"/>
                  <a:gd name="connsiteX48" fmla="*/ 11857055 w 11867103"/>
                  <a:gd name="connsiteY48" fmla="*/ 2833635 h 2964609"/>
                  <a:gd name="connsiteX49" fmla="*/ 11836958 w 11867103"/>
                  <a:gd name="connsiteY49" fmla="*/ 2863780 h 2964609"/>
                  <a:gd name="connsiteX50" fmla="*/ 11033090 w 11867103"/>
                  <a:gd name="connsiteY50" fmla="*/ 2853732 h 2964609"/>
                  <a:gd name="connsiteX51" fmla="*/ 10621108 w 11867103"/>
                  <a:gd name="connsiteY51" fmla="*/ 2843684 h 2964609"/>
                  <a:gd name="connsiteX52" fmla="*/ 10128739 w 11867103"/>
                  <a:gd name="connsiteY52" fmla="*/ 2853732 h 2964609"/>
                  <a:gd name="connsiteX53" fmla="*/ 10048352 w 11867103"/>
                  <a:gd name="connsiteY53" fmla="*/ 2863780 h 2964609"/>
                  <a:gd name="connsiteX54" fmla="*/ 9555982 w 11867103"/>
                  <a:gd name="connsiteY54" fmla="*/ 2853732 h 2964609"/>
                  <a:gd name="connsiteX55" fmla="*/ 9445451 w 11867103"/>
                  <a:gd name="connsiteY55" fmla="*/ 2843684 h 2964609"/>
                  <a:gd name="connsiteX56" fmla="*/ 9415306 w 11867103"/>
                  <a:gd name="connsiteY56" fmla="*/ 2823587 h 2964609"/>
                  <a:gd name="connsiteX57" fmla="*/ 9204290 w 11867103"/>
                  <a:gd name="connsiteY57" fmla="*/ 2803490 h 2964609"/>
                  <a:gd name="connsiteX58" fmla="*/ 9073662 w 11867103"/>
                  <a:gd name="connsiteY58" fmla="*/ 2783393 h 2964609"/>
                  <a:gd name="connsiteX59" fmla="*/ 8812404 w 11867103"/>
                  <a:gd name="connsiteY59" fmla="*/ 2773345 h 2964609"/>
                  <a:gd name="connsiteX60" fmla="*/ 8400422 w 11867103"/>
                  <a:gd name="connsiteY60" fmla="*/ 2763297 h 2964609"/>
                  <a:gd name="connsiteX61" fmla="*/ 8269793 w 11867103"/>
                  <a:gd name="connsiteY61" fmla="*/ 2753248 h 2964609"/>
                  <a:gd name="connsiteX62" fmla="*/ 7797521 w 11867103"/>
                  <a:gd name="connsiteY62" fmla="*/ 2773345 h 2964609"/>
                  <a:gd name="connsiteX63" fmla="*/ 7717134 w 11867103"/>
                  <a:gd name="connsiteY63" fmla="*/ 2783393 h 2964609"/>
                  <a:gd name="connsiteX64" fmla="*/ 7486022 w 11867103"/>
                  <a:gd name="connsiteY64" fmla="*/ 2813539 h 2964609"/>
                  <a:gd name="connsiteX65" fmla="*/ 7395587 w 11867103"/>
                  <a:gd name="connsiteY65" fmla="*/ 2833635 h 2964609"/>
                  <a:gd name="connsiteX66" fmla="*/ 7325248 w 11867103"/>
                  <a:gd name="connsiteY66" fmla="*/ 2843684 h 2964609"/>
                  <a:gd name="connsiteX67" fmla="*/ 6863024 w 11867103"/>
                  <a:gd name="connsiteY67" fmla="*/ 2833635 h 2964609"/>
                  <a:gd name="connsiteX68" fmla="*/ 6722347 w 11867103"/>
                  <a:gd name="connsiteY68" fmla="*/ 2823587 h 2964609"/>
                  <a:gd name="connsiteX69" fmla="*/ 4903596 w 11867103"/>
                  <a:gd name="connsiteY69" fmla="*/ 2873829 h 2964609"/>
                  <a:gd name="connsiteX70" fmla="*/ 4722725 w 11867103"/>
                  <a:gd name="connsiteY70" fmla="*/ 2914022 h 2964609"/>
                  <a:gd name="connsiteX71" fmla="*/ 4300695 w 11867103"/>
                  <a:gd name="connsiteY71" fmla="*/ 2893925 h 2964609"/>
                  <a:gd name="connsiteX72" fmla="*/ 4059534 w 11867103"/>
                  <a:gd name="connsiteY72" fmla="*/ 2853732 h 2964609"/>
                  <a:gd name="connsiteX73" fmla="*/ 3768132 w 11867103"/>
                  <a:gd name="connsiteY73" fmla="*/ 2823587 h 2964609"/>
                  <a:gd name="connsiteX74" fmla="*/ 3627455 w 11867103"/>
                  <a:gd name="connsiteY74" fmla="*/ 2813539 h 2964609"/>
                  <a:gd name="connsiteX75" fmla="*/ 3125037 w 11867103"/>
                  <a:gd name="connsiteY75" fmla="*/ 2823587 h 2964609"/>
                  <a:gd name="connsiteX76" fmla="*/ 3064747 w 11867103"/>
                  <a:gd name="connsiteY76" fmla="*/ 2833635 h 2964609"/>
                  <a:gd name="connsiteX77" fmla="*/ 2009670 w 11867103"/>
                  <a:gd name="connsiteY77" fmla="*/ 2843684 h 2964609"/>
                  <a:gd name="connsiteX78" fmla="*/ 1678075 w 11867103"/>
                  <a:gd name="connsiteY78" fmla="*/ 2934119 h 2964609"/>
                  <a:gd name="connsiteX79" fmla="*/ 1607736 w 11867103"/>
                  <a:gd name="connsiteY79" fmla="*/ 2964264 h 2964609"/>
                  <a:gd name="connsiteX80" fmla="*/ 1135464 w 11867103"/>
                  <a:gd name="connsiteY80" fmla="*/ 2944167 h 2964609"/>
                  <a:gd name="connsiteX81" fmla="*/ 944545 w 11867103"/>
                  <a:gd name="connsiteY81" fmla="*/ 2914022 h 2964609"/>
                  <a:gd name="connsiteX82" fmla="*/ 723481 w 11867103"/>
                  <a:gd name="connsiteY82" fmla="*/ 2873829 h 2964609"/>
                  <a:gd name="connsiteX83" fmla="*/ 643095 w 11867103"/>
                  <a:gd name="connsiteY83" fmla="*/ 2863780 h 2964609"/>
                  <a:gd name="connsiteX84" fmla="*/ 371789 w 11867103"/>
                  <a:gd name="connsiteY84" fmla="*/ 2823587 h 2964609"/>
                  <a:gd name="connsiteX85" fmla="*/ 0 w 11867103"/>
                  <a:gd name="connsiteY85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1356528 w 11867103"/>
                  <a:gd name="connsiteY4" fmla="*/ 80387 h 2964609"/>
                  <a:gd name="connsiteX5" fmla="*/ 1758462 w 11867103"/>
                  <a:gd name="connsiteY5" fmla="*/ 40193 h 2964609"/>
                  <a:gd name="connsiteX6" fmla="*/ 1889090 w 11867103"/>
                  <a:gd name="connsiteY6" fmla="*/ 20097 h 2964609"/>
                  <a:gd name="connsiteX7" fmla="*/ 2140299 w 11867103"/>
                  <a:gd name="connsiteY7" fmla="*/ 40193 h 2964609"/>
                  <a:gd name="connsiteX8" fmla="*/ 2200589 w 11867103"/>
                  <a:gd name="connsiteY8" fmla="*/ 50242 h 2964609"/>
                  <a:gd name="connsiteX9" fmla="*/ 4652387 w 11867103"/>
                  <a:gd name="connsiteY9" fmla="*/ 60290 h 2964609"/>
                  <a:gd name="connsiteX10" fmla="*/ 4692580 w 11867103"/>
                  <a:gd name="connsiteY10" fmla="*/ 70339 h 2964609"/>
                  <a:gd name="connsiteX11" fmla="*/ 4843306 w 11867103"/>
                  <a:gd name="connsiteY11" fmla="*/ 90435 h 2964609"/>
                  <a:gd name="connsiteX12" fmla="*/ 5677319 w 11867103"/>
                  <a:gd name="connsiteY12" fmla="*/ 80387 h 2964609"/>
                  <a:gd name="connsiteX13" fmla="*/ 6169688 w 11867103"/>
                  <a:gd name="connsiteY13" fmla="*/ 110532 h 2964609"/>
                  <a:gd name="connsiteX14" fmla="*/ 6420897 w 11867103"/>
                  <a:gd name="connsiteY14" fmla="*/ 90435 h 2964609"/>
                  <a:gd name="connsiteX15" fmla="*/ 6511332 w 11867103"/>
                  <a:gd name="connsiteY15" fmla="*/ 30145 h 2964609"/>
                  <a:gd name="connsiteX16" fmla="*/ 6571622 w 11867103"/>
                  <a:gd name="connsiteY16" fmla="*/ 20097 h 2964609"/>
                  <a:gd name="connsiteX17" fmla="*/ 6641961 w 11867103"/>
                  <a:gd name="connsiteY17" fmla="*/ 0 h 2964609"/>
                  <a:gd name="connsiteX18" fmla="*/ 7204668 w 11867103"/>
                  <a:gd name="connsiteY18" fmla="*/ 10048 h 2964609"/>
                  <a:gd name="connsiteX19" fmla="*/ 7285055 w 11867103"/>
                  <a:gd name="connsiteY19" fmla="*/ 30145 h 2964609"/>
                  <a:gd name="connsiteX20" fmla="*/ 7375490 w 11867103"/>
                  <a:gd name="connsiteY20" fmla="*/ 40193 h 2964609"/>
                  <a:gd name="connsiteX21" fmla="*/ 7928150 w 11867103"/>
                  <a:gd name="connsiteY21" fmla="*/ 60290 h 2964609"/>
                  <a:gd name="connsiteX22" fmla="*/ 8109020 w 11867103"/>
                  <a:gd name="connsiteY22" fmla="*/ 80387 h 2964609"/>
                  <a:gd name="connsiteX23" fmla="*/ 8219552 w 11867103"/>
                  <a:gd name="connsiteY23" fmla="*/ 90435 h 2964609"/>
                  <a:gd name="connsiteX24" fmla="*/ 8299939 w 11867103"/>
                  <a:gd name="connsiteY24" fmla="*/ 100484 h 2964609"/>
                  <a:gd name="connsiteX25" fmla="*/ 8521002 w 11867103"/>
                  <a:gd name="connsiteY25" fmla="*/ 110532 h 2964609"/>
                  <a:gd name="connsiteX26" fmla="*/ 9515789 w 11867103"/>
                  <a:gd name="connsiteY26" fmla="*/ 100484 h 2964609"/>
                  <a:gd name="connsiteX27" fmla="*/ 9606224 w 11867103"/>
                  <a:gd name="connsiteY27" fmla="*/ 90435 h 2964609"/>
                  <a:gd name="connsiteX28" fmla="*/ 9716756 w 11867103"/>
                  <a:gd name="connsiteY28" fmla="*/ 80387 h 2964609"/>
                  <a:gd name="connsiteX29" fmla="*/ 9797143 w 11867103"/>
                  <a:gd name="connsiteY29" fmla="*/ 70339 h 2964609"/>
                  <a:gd name="connsiteX30" fmla="*/ 9947868 w 11867103"/>
                  <a:gd name="connsiteY30" fmla="*/ 60290 h 2964609"/>
                  <a:gd name="connsiteX31" fmla="*/ 10791930 w 11867103"/>
                  <a:gd name="connsiteY31" fmla="*/ 30145 h 2964609"/>
                  <a:gd name="connsiteX32" fmla="*/ 11736475 w 11867103"/>
                  <a:gd name="connsiteY32" fmla="*/ 50242 h 2964609"/>
                  <a:gd name="connsiteX33" fmla="*/ 11766620 w 11867103"/>
                  <a:gd name="connsiteY33" fmla="*/ 80387 h 2964609"/>
                  <a:gd name="connsiteX34" fmla="*/ 11786717 w 11867103"/>
                  <a:gd name="connsiteY34" fmla="*/ 120580 h 2964609"/>
                  <a:gd name="connsiteX35" fmla="*/ 11806813 w 11867103"/>
                  <a:gd name="connsiteY35" fmla="*/ 211015 h 2964609"/>
                  <a:gd name="connsiteX36" fmla="*/ 11816862 w 11867103"/>
                  <a:gd name="connsiteY36" fmla="*/ 251209 h 2964609"/>
                  <a:gd name="connsiteX37" fmla="*/ 11826910 w 11867103"/>
                  <a:gd name="connsiteY37" fmla="*/ 341644 h 2964609"/>
                  <a:gd name="connsiteX38" fmla="*/ 11836958 w 11867103"/>
                  <a:gd name="connsiteY38" fmla="*/ 422031 h 2964609"/>
                  <a:gd name="connsiteX39" fmla="*/ 11826910 w 11867103"/>
                  <a:gd name="connsiteY39" fmla="*/ 733530 h 2964609"/>
                  <a:gd name="connsiteX40" fmla="*/ 11816862 w 11867103"/>
                  <a:gd name="connsiteY40" fmla="*/ 793820 h 2964609"/>
                  <a:gd name="connsiteX41" fmla="*/ 11806813 w 11867103"/>
                  <a:gd name="connsiteY41" fmla="*/ 864158 h 2964609"/>
                  <a:gd name="connsiteX42" fmla="*/ 11816862 w 11867103"/>
                  <a:gd name="connsiteY42" fmla="*/ 2331218 h 2964609"/>
                  <a:gd name="connsiteX43" fmla="*/ 11826910 w 11867103"/>
                  <a:gd name="connsiteY43" fmla="*/ 2401556 h 2964609"/>
                  <a:gd name="connsiteX44" fmla="*/ 11836958 w 11867103"/>
                  <a:gd name="connsiteY44" fmla="*/ 2431701 h 2964609"/>
                  <a:gd name="connsiteX45" fmla="*/ 11857055 w 11867103"/>
                  <a:gd name="connsiteY45" fmla="*/ 2562330 h 2964609"/>
                  <a:gd name="connsiteX46" fmla="*/ 11867103 w 11867103"/>
                  <a:gd name="connsiteY46" fmla="*/ 2602523 h 2964609"/>
                  <a:gd name="connsiteX47" fmla="*/ 11857055 w 11867103"/>
                  <a:gd name="connsiteY47" fmla="*/ 2833635 h 2964609"/>
                  <a:gd name="connsiteX48" fmla="*/ 11836958 w 11867103"/>
                  <a:gd name="connsiteY48" fmla="*/ 2863780 h 2964609"/>
                  <a:gd name="connsiteX49" fmla="*/ 11033090 w 11867103"/>
                  <a:gd name="connsiteY49" fmla="*/ 2853732 h 2964609"/>
                  <a:gd name="connsiteX50" fmla="*/ 10621108 w 11867103"/>
                  <a:gd name="connsiteY50" fmla="*/ 2843684 h 2964609"/>
                  <a:gd name="connsiteX51" fmla="*/ 10128739 w 11867103"/>
                  <a:gd name="connsiteY51" fmla="*/ 2853732 h 2964609"/>
                  <a:gd name="connsiteX52" fmla="*/ 10048352 w 11867103"/>
                  <a:gd name="connsiteY52" fmla="*/ 2863780 h 2964609"/>
                  <a:gd name="connsiteX53" fmla="*/ 9555982 w 11867103"/>
                  <a:gd name="connsiteY53" fmla="*/ 2853732 h 2964609"/>
                  <a:gd name="connsiteX54" fmla="*/ 9445451 w 11867103"/>
                  <a:gd name="connsiteY54" fmla="*/ 2843684 h 2964609"/>
                  <a:gd name="connsiteX55" fmla="*/ 9415306 w 11867103"/>
                  <a:gd name="connsiteY55" fmla="*/ 2823587 h 2964609"/>
                  <a:gd name="connsiteX56" fmla="*/ 9204290 w 11867103"/>
                  <a:gd name="connsiteY56" fmla="*/ 2803490 h 2964609"/>
                  <a:gd name="connsiteX57" fmla="*/ 9073662 w 11867103"/>
                  <a:gd name="connsiteY57" fmla="*/ 2783393 h 2964609"/>
                  <a:gd name="connsiteX58" fmla="*/ 8812404 w 11867103"/>
                  <a:gd name="connsiteY58" fmla="*/ 2773345 h 2964609"/>
                  <a:gd name="connsiteX59" fmla="*/ 8400422 w 11867103"/>
                  <a:gd name="connsiteY59" fmla="*/ 2763297 h 2964609"/>
                  <a:gd name="connsiteX60" fmla="*/ 8269793 w 11867103"/>
                  <a:gd name="connsiteY60" fmla="*/ 2753248 h 2964609"/>
                  <a:gd name="connsiteX61" fmla="*/ 7797521 w 11867103"/>
                  <a:gd name="connsiteY61" fmla="*/ 2773345 h 2964609"/>
                  <a:gd name="connsiteX62" fmla="*/ 7717134 w 11867103"/>
                  <a:gd name="connsiteY62" fmla="*/ 2783393 h 2964609"/>
                  <a:gd name="connsiteX63" fmla="*/ 7486022 w 11867103"/>
                  <a:gd name="connsiteY63" fmla="*/ 2813539 h 2964609"/>
                  <a:gd name="connsiteX64" fmla="*/ 7395587 w 11867103"/>
                  <a:gd name="connsiteY64" fmla="*/ 2833635 h 2964609"/>
                  <a:gd name="connsiteX65" fmla="*/ 7325248 w 11867103"/>
                  <a:gd name="connsiteY65" fmla="*/ 2843684 h 2964609"/>
                  <a:gd name="connsiteX66" fmla="*/ 6863024 w 11867103"/>
                  <a:gd name="connsiteY66" fmla="*/ 2833635 h 2964609"/>
                  <a:gd name="connsiteX67" fmla="*/ 6722347 w 11867103"/>
                  <a:gd name="connsiteY67" fmla="*/ 2823587 h 2964609"/>
                  <a:gd name="connsiteX68" fmla="*/ 4903596 w 11867103"/>
                  <a:gd name="connsiteY68" fmla="*/ 2873829 h 2964609"/>
                  <a:gd name="connsiteX69" fmla="*/ 4722725 w 11867103"/>
                  <a:gd name="connsiteY69" fmla="*/ 2914022 h 2964609"/>
                  <a:gd name="connsiteX70" fmla="*/ 4300695 w 11867103"/>
                  <a:gd name="connsiteY70" fmla="*/ 2893925 h 2964609"/>
                  <a:gd name="connsiteX71" fmla="*/ 4059534 w 11867103"/>
                  <a:gd name="connsiteY71" fmla="*/ 2853732 h 2964609"/>
                  <a:gd name="connsiteX72" fmla="*/ 3768132 w 11867103"/>
                  <a:gd name="connsiteY72" fmla="*/ 2823587 h 2964609"/>
                  <a:gd name="connsiteX73" fmla="*/ 3627455 w 11867103"/>
                  <a:gd name="connsiteY73" fmla="*/ 2813539 h 2964609"/>
                  <a:gd name="connsiteX74" fmla="*/ 3125037 w 11867103"/>
                  <a:gd name="connsiteY74" fmla="*/ 2823587 h 2964609"/>
                  <a:gd name="connsiteX75" fmla="*/ 3064747 w 11867103"/>
                  <a:gd name="connsiteY75" fmla="*/ 2833635 h 2964609"/>
                  <a:gd name="connsiteX76" fmla="*/ 2009670 w 11867103"/>
                  <a:gd name="connsiteY76" fmla="*/ 2843684 h 2964609"/>
                  <a:gd name="connsiteX77" fmla="*/ 1678075 w 11867103"/>
                  <a:gd name="connsiteY77" fmla="*/ 2934119 h 2964609"/>
                  <a:gd name="connsiteX78" fmla="*/ 1607736 w 11867103"/>
                  <a:gd name="connsiteY78" fmla="*/ 2964264 h 2964609"/>
                  <a:gd name="connsiteX79" fmla="*/ 1135464 w 11867103"/>
                  <a:gd name="connsiteY79" fmla="*/ 2944167 h 2964609"/>
                  <a:gd name="connsiteX80" fmla="*/ 944545 w 11867103"/>
                  <a:gd name="connsiteY80" fmla="*/ 2914022 h 2964609"/>
                  <a:gd name="connsiteX81" fmla="*/ 723481 w 11867103"/>
                  <a:gd name="connsiteY81" fmla="*/ 2873829 h 2964609"/>
                  <a:gd name="connsiteX82" fmla="*/ 643095 w 11867103"/>
                  <a:gd name="connsiteY82" fmla="*/ 2863780 h 2964609"/>
                  <a:gd name="connsiteX83" fmla="*/ 371789 w 11867103"/>
                  <a:gd name="connsiteY83" fmla="*/ 2823587 h 2964609"/>
                  <a:gd name="connsiteX84" fmla="*/ 0 w 11867103"/>
                  <a:gd name="connsiteY84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1889090 w 11867103"/>
                  <a:gd name="connsiteY5" fmla="*/ 20097 h 2964609"/>
                  <a:gd name="connsiteX6" fmla="*/ 2140299 w 11867103"/>
                  <a:gd name="connsiteY6" fmla="*/ 40193 h 2964609"/>
                  <a:gd name="connsiteX7" fmla="*/ 2200589 w 11867103"/>
                  <a:gd name="connsiteY7" fmla="*/ 50242 h 2964609"/>
                  <a:gd name="connsiteX8" fmla="*/ 4652387 w 11867103"/>
                  <a:gd name="connsiteY8" fmla="*/ 60290 h 2964609"/>
                  <a:gd name="connsiteX9" fmla="*/ 4692580 w 11867103"/>
                  <a:gd name="connsiteY9" fmla="*/ 70339 h 2964609"/>
                  <a:gd name="connsiteX10" fmla="*/ 4843306 w 11867103"/>
                  <a:gd name="connsiteY10" fmla="*/ 90435 h 2964609"/>
                  <a:gd name="connsiteX11" fmla="*/ 5677319 w 11867103"/>
                  <a:gd name="connsiteY11" fmla="*/ 80387 h 2964609"/>
                  <a:gd name="connsiteX12" fmla="*/ 6169688 w 11867103"/>
                  <a:gd name="connsiteY12" fmla="*/ 110532 h 2964609"/>
                  <a:gd name="connsiteX13" fmla="*/ 6420897 w 11867103"/>
                  <a:gd name="connsiteY13" fmla="*/ 90435 h 2964609"/>
                  <a:gd name="connsiteX14" fmla="*/ 6511332 w 11867103"/>
                  <a:gd name="connsiteY14" fmla="*/ 30145 h 2964609"/>
                  <a:gd name="connsiteX15" fmla="*/ 6571622 w 11867103"/>
                  <a:gd name="connsiteY15" fmla="*/ 20097 h 2964609"/>
                  <a:gd name="connsiteX16" fmla="*/ 6641961 w 11867103"/>
                  <a:gd name="connsiteY16" fmla="*/ 0 h 2964609"/>
                  <a:gd name="connsiteX17" fmla="*/ 7204668 w 11867103"/>
                  <a:gd name="connsiteY17" fmla="*/ 10048 h 2964609"/>
                  <a:gd name="connsiteX18" fmla="*/ 7285055 w 11867103"/>
                  <a:gd name="connsiteY18" fmla="*/ 30145 h 2964609"/>
                  <a:gd name="connsiteX19" fmla="*/ 7375490 w 11867103"/>
                  <a:gd name="connsiteY19" fmla="*/ 40193 h 2964609"/>
                  <a:gd name="connsiteX20" fmla="*/ 7928150 w 11867103"/>
                  <a:gd name="connsiteY20" fmla="*/ 60290 h 2964609"/>
                  <a:gd name="connsiteX21" fmla="*/ 8109020 w 11867103"/>
                  <a:gd name="connsiteY21" fmla="*/ 80387 h 2964609"/>
                  <a:gd name="connsiteX22" fmla="*/ 8219552 w 11867103"/>
                  <a:gd name="connsiteY22" fmla="*/ 90435 h 2964609"/>
                  <a:gd name="connsiteX23" fmla="*/ 8299939 w 11867103"/>
                  <a:gd name="connsiteY23" fmla="*/ 100484 h 2964609"/>
                  <a:gd name="connsiteX24" fmla="*/ 8521002 w 11867103"/>
                  <a:gd name="connsiteY24" fmla="*/ 110532 h 2964609"/>
                  <a:gd name="connsiteX25" fmla="*/ 9515789 w 11867103"/>
                  <a:gd name="connsiteY25" fmla="*/ 100484 h 2964609"/>
                  <a:gd name="connsiteX26" fmla="*/ 9606224 w 11867103"/>
                  <a:gd name="connsiteY26" fmla="*/ 90435 h 2964609"/>
                  <a:gd name="connsiteX27" fmla="*/ 9716756 w 11867103"/>
                  <a:gd name="connsiteY27" fmla="*/ 80387 h 2964609"/>
                  <a:gd name="connsiteX28" fmla="*/ 9797143 w 11867103"/>
                  <a:gd name="connsiteY28" fmla="*/ 70339 h 2964609"/>
                  <a:gd name="connsiteX29" fmla="*/ 9947868 w 11867103"/>
                  <a:gd name="connsiteY29" fmla="*/ 60290 h 2964609"/>
                  <a:gd name="connsiteX30" fmla="*/ 10791930 w 11867103"/>
                  <a:gd name="connsiteY30" fmla="*/ 30145 h 2964609"/>
                  <a:gd name="connsiteX31" fmla="*/ 11736475 w 11867103"/>
                  <a:gd name="connsiteY31" fmla="*/ 50242 h 2964609"/>
                  <a:gd name="connsiteX32" fmla="*/ 11766620 w 11867103"/>
                  <a:gd name="connsiteY32" fmla="*/ 80387 h 2964609"/>
                  <a:gd name="connsiteX33" fmla="*/ 11786717 w 11867103"/>
                  <a:gd name="connsiteY33" fmla="*/ 120580 h 2964609"/>
                  <a:gd name="connsiteX34" fmla="*/ 11806813 w 11867103"/>
                  <a:gd name="connsiteY34" fmla="*/ 211015 h 2964609"/>
                  <a:gd name="connsiteX35" fmla="*/ 11816862 w 11867103"/>
                  <a:gd name="connsiteY35" fmla="*/ 251209 h 2964609"/>
                  <a:gd name="connsiteX36" fmla="*/ 11826910 w 11867103"/>
                  <a:gd name="connsiteY36" fmla="*/ 341644 h 2964609"/>
                  <a:gd name="connsiteX37" fmla="*/ 11836958 w 11867103"/>
                  <a:gd name="connsiteY37" fmla="*/ 422031 h 2964609"/>
                  <a:gd name="connsiteX38" fmla="*/ 11826910 w 11867103"/>
                  <a:gd name="connsiteY38" fmla="*/ 733530 h 2964609"/>
                  <a:gd name="connsiteX39" fmla="*/ 11816862 w 11867103"/>
                  <a:gd name="connsiteY39" fmla="*/ 793820 h 2964609"/>
                  <a:gd name="connsiteX40" fmla="*/ 11806813 w 11867103"/>
                  <a:gd name="connsiteY40" fmla="*/ 864158 h 2964609"/>
                  <a:gd name="connsiteX41" fmla="*/ 11816862 w 11867103"/>
                  <a:gd name="connsiteY41" fmla="*/ 2331218 h 2964609"/>
                  <a:gd name="connsiteX42" fmla="*/ 11826910 w 11867103"/>
                  <a:gd name="connsiteY42" fmla="*/ 2401556 h 2964609"/>
                  <a:gd name="connsiteX43" fmla="*/ 11836958 w 11867103"/>
                  <a:gd name="connsiteY43" fmla="*/ 2431701 h 2964609"/>
                  <a:gd name="connsiteX44" fmla="*/ 11857055 w 11867103"/>
                  <a:gd name="connsiteY44" fmla="*/ 2562330 h 2964609"/>
                  <a:gd name="connsiteX45" fmla="*/ 11867103 w 11867103"/>
                  <a:gd name="connsiteY45" fmla="*/ 2602523 h 2964609"/>
                  <a:gd name="connsiteX46" fmla="*/ 11857055 w 11867103"/>
                  <a:gd name="connsiteY46" fmla="*/ 2833635 h 2964609"/>
                  <a:gd name="connsiteX47" fmla="*/ 11836958 w 11867103"/>
                  <a:gd name="connsiteY47" fmla="*/ 2863780 h 2964609"/>
                  <a:gd name="connsiteX48" fmla="*/ 11033090 w 11867103"/>
                  <a:gd name="connsiteY48" fmla="*/ 2853732 h 2964609"/>
                  <a:gd name="connsiteX49" fmla="*/ 10621108 w 11867103"/>
                  <a:gd name="connsiteY49" fmla="*/ 2843684 h 2964609"/>
                  <a:gd name="connsiteX50" fmla="*/ 10128739 w 11867103"/>
                  <a:gd name="connsiteY50" fmla="*/ 2853732 h 2964609"/>
                  <a:gd name="connsiteX51" fmla="*/ 10048352 w 11867103"/>
                  <a:gd name="connsiteY51" fmla="*/ 2863780 h 2964609"/>
                  <a:gd name="connsiteX52" fmla="*/ 9555982 w 11867103"/>
                  <a:gd name="connsiteY52" fmla="*/ 2853732 h 2964609"/>
                  <a:gd name="connsiteX53" fmla="*/ 9445451 w 11867103"/>
                  <a:gd name="connsiteY53" fmla="*/ 2843684 h 2964609"/>
                  <a:gd name="connsiteX54" fmla="*/ 9415306 w 11867103"/>
                  <a:gd name="connsiteY54" fmla="*/ 2823587 h 2964609"/>
                  <a:gd name="connsiteX55" fmla="*/ 9204290 w 11867103"/>
                  <a:gd name="connsiteY55" fmla="*/ 2803490 h 2964609"/>
                  <a:gd name="connsiteX56" fmla="*/ 9073662 w 11867103"/>
                  <a:gd name="connsiteY56" fmla="*/ 2783393 h 2964609"/>
                  <a:gd name="connsiteX57" fmla="*/ 8812404 w 11867103"/>
                  <a:gd name="connsiteY57" fmla="*/ 2773345 h 2964609"/>
                  <a:gd name="connsiteX58" fmla="*/ 8400422 w 11867103"/>
                  <a:gd name="connsiteY58" fmla="*/ 2763297 h 2964609"/>
                  <a:gd name="connsiteX59" fmla="*/ 8269793 w 11867103"/>
                  <a:gd name="connsiteY59" fmla="*/ 2753248 h 2964609"/>
                  <a:gd name="connsiteX60" fmla="*/ 7797521 w 11867103"/>
                  <a:gd name="connsiteY60" fmla="*/ 2773345 h 2964609"/>
                  <a:gd name="connsiteX61" fmla="*/ 7717134 w 11867103"/>
                  <a:gd name="connsiteY61" fmla="*/ 2783393 h 2964609"/>
                  <a:gd name="connsiteX62" fmla="*/ 7486022 w 11867103"/>
                  <a:gd name="connsiteY62" fmla="*/ 2813539 h 2964609"/>
                  <a:gd name="connsiteX63" fmla="*/ 7395587 w 11867103"/>
                  <a:gd name="connsiteY63" fmla="*/ 2833635 h 2964609"/>
                  <a:gd name="connsiteX64" fmla="*/ 7325248 w 11867103"/>
                  <a:gd name="connsiteY64" fmla="*/ 2843684 h 2964609"/>
                  <a:gd name="connsiteX65" fmla="*/ 6863024 w 11867103"/>
                  <a:gd name="connsiteY65" fmla="*/ 2833635 h 2964609"/>
                  <a:gd name="connsiteX66" fmla="*/ 6722347 w 11867103"/>
                  <a:gd name="connsiteY66" fmla="*/ 2823587 h 2964609"/>
                  <a:gd name="connsiteX67" fmla="*/ 4903596 w 11867103"/>
                  <a:gd name="connsiteY67" fmla="*/ 2873829 h 2964609"/>
                  <a:gd name="connsiteX68" fmla="*/ 4722725 w 11867103"/>
                  <a:gd name="connsiteY68" fmla="*/ 2914022 h 2964609"/>
                  <a:gd name="connsiteX69" fmla="*/ 4300695 w 11867103"/>
                  <a:gd name="connsiteY69" fmla="*/ 2893925 h 2964609"/>
                  <a:gd name="connsiteX70" fmla="*/ 4059534 w 11867103"/>
                  <a:gd name="connsiteY70" fmla="*/ 2853732 h 2964609"/>
                  <a:gd name="connsiteX71" fmla="*/ 3768132 w 11867103"/>
                  <a:gd name="connsiteY71" fmla="*/ 2823587 h 2964609"/>
                  <a:gd name="connsiteX72" fmla="*/ 3627455 w 11867103"/>
                  <a:gd name="connsiteY72" fmla="*/ 2813539 h 2964609"/>
                  <a:gd name="connsiteX73" fmla="*/ 3125037 w 11867103"/>
                  <a:gd name="connsiteY73" fmla="*/ 2823587 h 2964609"/>
                  <a:gd name="connsiteX74" fmla="*/ 3064747 w 11867103"/>
                  <a:gd name="connsiteY74" fmla="*/ 2833635 h 2964609"/>
                  <a:gd name="connsiteX75" fmla="*/ 2009670 w 11867103"/>
                  <a:gd name="connsiteY75" fmla="*/ 2843684 h 2964609"/>
                  <a:gd name="connsiteX76" fmla="*/ 1678075 w 11867103"/>
                  <a:gd name="connsiteY76" fmla="*/ 2934119 h 2964609"/>
                  <a:gd name="connsiteX77" fmla="*/ 1607736 w 11867103"/>
                  <a:gd name="connsiteY77" fmla="*/ 2964264 h 2964609"/>
                  <a:gd name="connsiteX78" fmla="*/ 1135464 w 11867103"/>
                  <a:gd name="connsiteY78" fmla="*/ 2944167 h 2964609"/>
                  <a:gd name="connsiteX79" fmla="*/ 944545 w 11867103"/>
                  <a:gd name="connsiteY79" fmla="*/ 2914022 h 2964609"/>
                  <a:gd name="connsiteX80" fmla="*/ 723481 w 11867103"/>
                  <a:gd name="connsiteY80" fmla="*/ 2873829 h 2964609"/>
                  <a:gd name="connsiteX81" fmla="*/ 643095 w 11867103"/>
                  <a:gd name="connsiteY81" fmla="*/ 2863780 h 2964609"/>
                  <a:gd name="connsiteX82" fmla="*/ 371789 w 11867103"/>
                  <a:gd name="connsiteY82" fmla="*/ 2823587 h 2964609"/>
                  <a:gd name="connsiteX83" fmla="*/ 0 w 11867103"/>
                  <a:gd name="connsiteY83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2200589 w 11867103"/>
                  <a:gd name="connsiteY6" fmla="*/ 50242 h 2964609"/>
                  <a:gd name="connsiteX7" fmla="*/ 4652387 w 11867103"/>
                  <a:gd name="connsiteY7" fmla="*/ 60290 h 2964609"/>
                  <a:gd name="connsiteX8" fmla="*/ 4692580 w 11867103"/>
                  <a:gd name="connsiteY8" fmla="*/ 70339 h 2964609"/>
                  <a:gd name="connsiteX9" fmla="*/ 4843306 w 11867103"/>
                  <a:gd name="connsiteY9" fmla="*/ 90435 h 2964609"/>
                  <a:gd name="connsiteX10" fmla="*/ 5677319 w 11867103"/>
                  <a:gd name="connsiteY10" fmla="*/ 80387 h 2964609"/>
                  <a:gd name="connsiteX11" fmla="*/ 6169688 w 11867103"/>
                  <a:gd name="connsiteY11" fmla="*/ 110532 h 2964609"/>
                  <a:gd name="connsiteX12" fmla="*/ 6420897 w 11867103"/>
                  <a:gd name="connsiteY12" fmla="*/ 90435 h 2964609"/>
                  <a:gd name="connsiteX13" fmla="*/ 6511332 w 11867103"/>
                  <a:gd name="connsiteY13" fmla="*/ 30145 h 2964609"/>
                  <a:gd name="connsiteX14" fmla="*/ 6571622 w 11867103"/>
                  <a:gd name="connsiteY14" fmla="*/ 20097 h 2964609"/>
                  <a:gd name="connsiteX15" fmla="*/ 6641961 w 11867103"/>
                  <a:gd name="connsiteY15" fmla="*/ 0 h 2964609"/>
                  <a:gd name="connsiteX16" fmla="*/ 7204668 w 11867103"/>
                  <a:gd name="connsiteY16" fmla="*/ 10048 h 2964609"/>
                  <a:gd name="connsiteX17" fmla="*/ 7285055 w 11867103"/>
                  <a:gd name="connsiteY17" fmla="*/ 30145 h 2964609"/>
                  <a:gd name="connsiteX18" fmla="*/ 7375490 w 11867103"/>
                  <a:gd name="connsiteY18" fmla="*/ 40193 h 2964609"/>
                  <a:gd name="connsiteX19" fmla="*/ 7928150 w 11867103"/>
                  <a:gd name="connsiteY19" fmla="*/ 60290 h 2964609"/>
                  <a:gd name="connsiteX20" fmla="*/ 8109020 w 11867103"/>
                  <a:gd name="connsiteY20" fmla="*/ 80387 h 2964609"/>
                  <a:gd name="connsiteX21" fmla="*/ 8219552 w 11867103"/>
                  <a:gd name="connsiteY21" fmla="*/ 90435 h 2964609"/>
                  <a:gd name="connsiteX22" fmla="*/ 8299939 w 11867103"/>
                  <a:gd name="connsiteY22" fmla="*/ 100484 h 2964609"/>
                  <a:gd name="connsiteX23" fmla="*/ 8521002 w 11867103"/>
                  <a:gd name="connsiteY23" fmla="*/ 110532 h 2964609"/>
                  <a:gd name="connsiteX24" fmla="*/ 9515789 w 11867103"/>
                  <a:gd name="connsiteY24" fmla="*/ 100484 h 2964609"/>
                  <a:gd name="connsiteX25" fmla="*/ 9606224 w 11867103"/>
                  <a:gd name="connsiteY25" fmla="*/ 90435 h 2964609"/>
                  <a:gd name="connsiteX26" fmla="*/ 9716756 w 11867103"/>
                  <a:gd name="connsiteY26" fmla="*/ 80387 h 2964609"/>
                  <a:gd name="connsiteX27" fmla="*/ 9797143 w 11867103"/>
                  <a:gd name="connsiteY27" fmla="*/ 70339 h 2964609"/>
                  <a:gd name="connsiteX28" fmla="*/ 9947868 w 11867103"/>
                  <a:gd name="connsiteY28" fmla="*/ 60290 h 2964609"/>
                  <a:gd name="connsiteX29" fmla="*/ 10791930 w 11867103"/>
                  <a:gd name="connsiteY29" fmla="*/ 30145 h 2964609"/>
                  <a:gd name="connsiteX30" fmla="*/ 11736475 w 11867103"/>
                  <a:gd name="connsiteY30" fmla="*/ 50242 h 2964609"/>
                  <a:gd name="connsiteX31" fmla="*/ 11766620 w 11867103"/>
                  <a:gd name="connsiteY31" fmla="*/ 80387 h 2964609"/>
                  <a:gd name="connsiteX32" fmla="*/ 11786717 w 11867103"/>
                  <a:gd name="connsiteY32" fmla="*/ 120580 h 2964609"/>
                  <a:gd name="connsiteX33" fmla="*/ 11806813 w 11867103"/>
                  <a:gd name="connsiteY33" fmla="*/ 211015 h 2964609"/>
                  <a:gd name="connsiteX34" fmla="*/ 11816862 w 11867103"/>
                  <a:gd name="connsiteY34" fmla="*/ 251209 h 2964609"/>
                  <a:gd name="connsiteX35" fmla="*/ 11826910 w 11867103"/>
                  <a:gd name="connsiteY35" fmla="*/ 341644 h 2964609"/>
                  <a:gd name="connsiteX36" fmla="*/ 11836958 w 11867103"/>
                  <a:gd name="connsiteY36" fmla="*/ 422031 h 2964609"/>
                  <a:gd name="connsiteX37" fmla="*/ 11826910 w 11867103"/>
                  <a:gd name="connsiteY37" fmla="*/ 733530 h 2964609"/>
                  <a:gd name="connsiteX38" fmla="*/ 11816862 w 11867103"/>
                  <a:gd name="connsiteY38" fmla="*/ 793820 h 2964609"/>
                  <a:gd name="connsiteX39" fmla="*/ 11806813 w 11867103"/>
                  <a:gd name="connsiteY39" fmla="*/ 864158 h 2964609"/>
                  <a:gd name="connsiteX40" fmla="*/ 11816862 w 11867103"/>
                  <a:gd name="connsiteY40" fmla="*/ 2331218 h 2964609"/>
                  <a:gd name="connsiteX41" fmla="*/ 11826910 w 11867103"/>
                  <a:gd name="connsiteY41" fmla="*/ 2401556 h 2964609"/>
                  <a:gd name="connsiteX42" fmla="*/ 11836958 w 11867103"/>
                  <a:gd name="connsiteY42" fmla="*/ 2431701 h 2964609"/>
                  <a:gd name="connsiteX43" fmla="*/ 11857055 w 11867103"/>
                  <a:gd name="connsiteY43" fmla="*/ 2562330 h 2964609"/>
                  <a:gd name="connsiteX44" fmla="*/ 11867103 w 11867103"/>
                  <a:gd name="connsiteY44" fmla="*/ 2602523 h 2964609"/>
                  <a:gd name="connsiteX45" fmla="*/ 11857055 w 11867103"/>
                  <a:gd name="connsiteY45" fmla="*/ 2833635 h 2964609"/>
                  <a:gd name="connsiteX46" fmla="*/ 11836958 w 11867103"/>
                  <a:gd name="connsiteY46" fmla="*/ 2863780 h 2964609"/>
                  <a:gd name="connsiteX47" fmla="*/ 11033090 w 11867103"/>
                  <a:gd name="connsiteY47" fmla="*/ 2853732 h 2964609"/>
                  <a:gd name="connsiteX48" fmla="*/ 10621108 w 11867103"/>
                  <a:gd name="connsiteY48" fmla="*/ 2843684 h 2964609"/>
                  <a:gd name="connsiteX49" fmla="*/ 10128739 w 11867103"/>
                  <a:gd name="connsiteY49" fmla="*/ 2853732 h 2964609"/>
                  <a:gd name="connsiteX50" fmla="*/ 10048352 w 11867103"/>
                  <a:gd name="connsiteY50" fmla="*/ 2863780 h 2964609"/>
                  <a:gd name="connsiteX51" fmla="*/ 9555982 w 11867103"/>
                  <a:gd name="connsiteY51" fmla="*/ 2853732 h 2964609"/>
                  <a:gd name="connsiteX52" fmla="*/ 9445451 w 11867103"/>
                  <a:gd name="connsiteY52" fmla="*/ 2843684 h 2964609"/>
                  <a:gd name="connsiteX53" fmla="*/ 9415306 w 11867103"/>
                  <a:gd name="connsiteY53" fmla="*/ 2823587 h 2964609"/>
                  <a:gd name="connsiteX54" fmla="*/ 9204290 w 11867103"/>
                  <a:gd name="connsiteY54" fmla="*/ 2803490 h 2964609"/>
                  <a:gd name="connsiteX55" fmla="*/ 9073662 w 11867103"/>
                  <a:gd name="connsiteY55" fmla="*/ 2783393 h 2964609"/>
                  <a:gd name="connsiteX56" fmla="*/ 8812404 w 11867103"/>
                  <a:gd name="connsiteY56" fmla="*/ 2773345 h 2964609"/>
                  <a:gd name="connsiteX57" fmla="*/ 8400422 w 11867103"/>
                  <a:gd name="connsiteY57" fmla="*/ 2763297 h 2964609"/>
                  <a:gd name="connsiteX58" fmla="*/ 8269793 w 11867103"/>
                  <a:gd name="connsiteY58" fmla="*/ 2753248 h 2964609"/>
                  <a:gd name="connsiteX59" fmla="*/ 7797521 w 11867103"/>
                  <a:gd name="connsiteY59" fmla="*/ 2773345 h 2964609"/>
                  <a:gd name="connsiteX60" fmla="*/ 7717134 w 11867103"/>
                  <a:gd name="connsiteY60" fmla="*/ 2783393 h 2964609"/>
                  <a:gd name="connsiteX61" fmla="*/ 7486022 w 11867103"/>
                  <a:gd name="connsiteY61" fmla="*/ 2813539 h 2964609"/>
                  <a:gd name="connsiteX62" fmla="*/ 7395587 w 11867103"/>
                  <a:gd name="connsiteY62" fmla="*/ 2833635 h 2964609"/>
                  <a:gd name="connsiteX63" fmla="*/ 7325248 w 11867103"/>
                  <a:gd name="connsiteY63" fmla="*/ 2843684 h 2964609"/>
                  <a:gd name="connsiteX64" fmla="*/ 6863024 w 11867103"/>
                  <a:gd name="connsiteY64" fmla="*/ 2833635 h 2964609"/>
                  <a:gd name="connsiteX65" fmla="*/ 6722347 w 11867103"/>
                  <a:gd name="connsiteY65" fmla="*/ 2823587 h 2964609"/>
                  <a:gd name="connsiteX66" fmla="*/ 4903596 w 11867103"/>
                  <a:gd name="connsiteY66" fmla="*/ 2873829 h 2964609"/>
                  <a:gd name="connsiteX67" fmla="*/ 4722725 w 11867103"/>
                  <a:gd name="connsiteY67" fmla="*/ 2914022 h 2964609"/>
                  <a:gd name="connsiteX68" fmla="*/ 4300695 w 11867103"/>
                  <a:gd name="connsiteY68" fmla="*/ 2893925 h 2964609"/>
                  <a:gd name="connsiteX69" fmla="*/ 4059534 w 11867103"/>
                  <a:gd name="connsiteY69" fmla="*/ 2853732 h 2964609"/>
                  <a:gd name="connsiteX70" fmla="*/ 3768132 w 11867103"/>
                  <a:gd name="connsiteY70" fmla="*/ 2823587 h 2964609"/>
                  <a:gd name="connsiteX71" fmla="*/ 3627455 w 11867103"/>
                  <a:gd name="connsiteY71" fmla="*/ 2813539 h 2964609"/>
                  <a:gd name="connsiteX72" fmla="*/ 3125037 w 11867103"/>
                  <a:gd name="connsiteY72" fmla="*/ 2823587 h 2964609"/>
                  <a:gd name="connsiteX73" fmla="*/ 3064747 w 11867103"/>
                  <a:gd name="connsiteY73" fmla="*/ 2833635 h 2964609"/>
                  <a:gd name="connsiteX74" fmla="*/ 2009670 w 11867103"/>
                  <a:gd name="connsiteY74" fmla="*/ 2843684 h 2964609"/>
                  <a:gd name="connsiteX75" fmla="*/ 1678075 w 11867103"/>
                  <a:gd name="connsiteY75" fmla="*/ 2934119 h 2964609"/>
                  <a:gd name="connsiteX76" fmla="*/ 1607736 w 11867103"/>
                  <a:gd name="connsiteY76" fmla="*/ 2964264 h 2964609"/>
                  <a:gd name="connsiteX77" fmla="*/ 1135464 w 11867103"/>
                  <a:gd name="connsiteY77" fmla="*/ 2944167 h 2964609"/>
                  <a:gd name="connsiteX78" fmla="*/ 944545 w 11867103"/>
                  <a:gd name="connsiteY78" fmla="*/ 2914022 h 2964609"/>
                  <a:gd name="connsiteX79" fmla="*/ 723481 w 11867103"/>
                  <a:gd name="connsiteY79" fmla="*/ 2873829 h 2964609"/>
                  <a:gd name="connsiteX80" fmla="*/ 643095 w 11867103"/>
                  <a:gd name="connsiteY80" fmla="*/ 2863780 h 2964609"/>
                  <a:gd name="connsiteX81" fmla="*/ 371789 w 11867103"/>
                  <a:gd name="connsiteY81" fmla="*/ 2823587 h 2964609"/>
                  <a:gd name="connsiteX82" fmla="*/ 0 w 11867103"/>
                  <a:gd name="connsiteY82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4843306 w 11867103"/>
                  <a:gd name="connsiteY8" fmla="*/ 90435 h 2964609"/>
                  <a:gd name="connsiteX9" fmla="*/ 5677319 w 11867103"/>
                  <a:gd name="connsiteY9" fmla="*/ 80387 h 2964609"/>
                  <a:gd name="connsiteX10" fmla="*/ 6169688 w 11867103"/>
                  <a:gd name="connsiteY10" fmla="*/ 110532 h 2964609"/>
                  <a:gd name="connsiteX11" fmla="*/ 6420897 w 11867103"/>
                  <a:gd name="connsiteY11" fmla="*/ 90435 h 2964609"/>
                  <a:gd name="connsiteX12" fmla="*/ 6511332 w 11867103"/>
                  <a:gd name="connsiteY12" fmla="*/ 30145 h 2964609"/>
                  <a:gd name="connsiteX13" fmla="*/ 6571622 w 11867103"/>
                  <a:gd name="connsiteY13" fmla="*/ 20097 h 2964609"/>
                  <a:gd name="connsiteX14" fmla="*/ 6641961 w 11867103"/>
                  <a:gd name="connsiteY14" fmla="*/ 0 h 2964609"/>
                  <a:gd name="connsiteX15" fmla="*/ 7204668 w 11867103"/>
                  <a:gd name="connsiteY15" fmla="*/ 10048 h 2964609"/>
                  <a:gd name="connsiteX16" fmla="*/ 7285055 w 11867103"/>
                  <a:gd name="connsiteY16" fmla="*/ 30145 h 2964609"/>
                  <a:gd name="connsiteX17" fmla="*/ 7375490 w 11867103"/>
                  <a:gd name="connsiteY17" fmla="*/ 40193 h 2964609"/>
                  <a:gd name="connsiteX18" fmla="*/ 7928150 w 11867103"/>
                  <a:gd name="connsiteY18" fmla="*/ 60290 h 2964609"/>
                  <a:gd name="connsiteX19" fmla="*/ 8109020 w 11867103"/>
                  <a:gd name="connsiteY19" fmla="*/ 80387 h 2964609"/>
                  <a:gd name="connsiteX20" fmla="*/ 8219552 w 11867103"/>
                  <a:gd name="connsiteY20" fmla="*/ 90435 h 2964609"/>
                  <a:gd name="connsiteX21" fmla="*/ 8299939 w 11867103"/>
                  <a:gd name="connsiteY21" fmla="*/ 100484 h 2964609"/>
                  <a:gd name="connsiteX22" fmla="*/ 8521002 w 11867103"/>
                  <a:gd name="connsiteY22" fmla="*/ 110532 h 2964609"/>
                  <a:gd name="connsiteX23" fmla="*/ 9515789 w 11867103"/>
                  <a:gd name="connsiteY23" fmla="*/ 100484 h 2964609"/>
                  <a:gd name="connsiteX24" fmla="*/ 9606224 w 11867103"/>
                  <a:gd name="connsiteY24" fmla="*/ 90435 h 2964609"/>
                  <a:gd name="connsiteX25" fmla="*/ 9716756 w 11867103"/>
                  <a:gd name="connsiteY25" fmla="*/ 80387 h 2964609"/>
                  <a:gd name="connsiteX26" fmla="*/ 9797143 w 11867103"/>
                  <a:gd name="connsiteY26" fmla="*/ 70339 h 2964609"/>
                  <a:gd name="connsiteX27" fmla="*/ 9947868 w 11867103"/>
                  <a:gd name="connsiteY27" fmla="*/ 60290 h 2964609"/>
                  <a:gd name="connsiteX28" fmla="*/ 10791930 w 11867103"/>
                  <a:gd name="connsiteY28" fmla="*/ 30145 h 2964609"/>
                  <a:gd name="connsiteX29" fmla="*/ 11736475 w 11867103"/>
                  <a:gd name="connsiteY29" fmla="*/ 50242 h 2964609"/>
                  <a:gd name="connsiteX30" fmla="*/ 11766620 w 11867103"/>
                  <a:gd name="connsiteY30" fmla="*/ 80387 h 2964609"/>
                  <a:gd name="connsiteX31" fmla="*/ 11786717 w 11867103"/>
                  <a:gd name="connsiteY31" fmla="*/ 120580 h 2964609"/>
                  <a:gd name="connsiteX32" fmla="*/ 11806813 w 11867103"/>
                  <a:gd name="connsiteY32" fmla="*/ 211015 h 2964609"/>
                  <a:gd name="connsiteX33" fmla="*/ 11816862 w 11867103"/>
                  <a:gd name="connsiteY33" fmla="*/ 251209 h 2964609"/>
                  <a:gd name="connsiteX34" fmla="*/ 11826910 w 11867103"/>
                  <a:gd name="connsiteY34" fmla="*/ 341644 h 2964609"/>
                  <a:gd name="connsiteX35" fmla="*/ 11836958 w 11867103"/>
                  <a:gd name="connsiteY35" fmla="*/ 422031 h 2964609"/>
                  <a:gd name="connsiteX36" fmla="*/ 11826910 w 11867103"/>
                  <a:gd name="connsiteY36" fmla="*/ 733530 h 2964609"/>
                  <a:gd name="connsiteX37" fmla="*/ 11816862 w 11867103"/>
                  <a:gd name="connsiteY37" fmla="*/ 793820 h 2964609"/>
                  <a:gd name="connsiteX38" fmla="*/ 11806813 w 11867103"/>
                  <a:gd name="connsiteY38" fmla="*/ 864158 h 2964609"/>
                  <a:gd name="connsiteX39" fmla="*/ 11816862 w 11867103"/>
                  <a:gd name="connsiteY39" fmla="*/ 2331218 h 2964609"/>
                  <a:gd name="connsiteX40" fmla="*/ 11826910 w 11867103"/>
                  <a:gd name="connsiteY40" fmla="*/ 2401556 h 2964609"/>
                  <a:gd name="connsiteX41" fmla="*/ 11836958 w 11867103"/>
                  <a:gd name="connsiteY41" fmla="*/ 2431701 h 2964609"/>
                  <a:gd name="connsiteX42" fmla="*/ 11857055 w 11867103"/>
                  <a:gd name="connsiteY42" fmla="*/ 2562330 h 2964609"/>
                  <a:gd name="connsiteX43" fmla="*/ 11867103 w 11867103"/>
                  <a:gd name="connsiteY43" fmla="*/ 2602523 h 2964609"/>
                  <a:gd name="connsiteX44" fmla="*/ 11857055 w 11867103"/>
                  <a:gd name="connsiteY44" fmla="*/ 2833635 h 2964609"/>
                  <a:gd name="connsiteX45" fmla="*/ 11836958 w 11867103"/>
                  <a:gd name="connsiteY45" fmla="*/ 2863780 h 2964609"/>
                  <a:gd name="connsiteX46" fmla="*/ 11033090 w 11867103"/>
                  <a:gd name="connsiteY46" fmla="*/ 2853732 h 2964609"/>
                  <a:gd name="connsiteX47" fmla="*/ 10621108 w 11867103"/>
                  <a:gd name="connsiteY47" fmla="*/ 2843684 h 2964609"/>
                  <a:gd name="connsiteX48" fmla="*/ 10128739 w 11867103"/>
                  <a:gd name="connsiteY48" fmla="*/ 2853732 h 2964609"/>
                  <a:gd name="connsiteX49" fmla="*/ 10048352 w 11867103"/>
                  <a:gd name="connsiteY49" fmla="*/ 2863780 h 2964609"/>
                  <a:gd name="connsiteX50" fmla="*/ 9555982 w 11867103"/>
                  <a:gd name="connsiteY50" fmla="*/ 2853732 h 2964609"/>
                  <a:gd name="connsiteX51" fmla="*/ 9445451 w 11867103"/>
                  <a:gd name="connsiteY51" fmla="*/ 2843684 h 2964609"/>
                  <a:gd name="connsiteX52" fmla="*/ 9415306 w 11867103"/>
                  <a:gd name="connsiteY52" fmla="*/ 2823587 h 2964609"/>
                  <a:gd name="connsiteX53" fmla="*/ 9204290 w 11867103"/>
                  <a:gd name="connsiteY53" fmla="*/ 2803490 h 2964609"/>
                  <a:gd name="connsiteX54" fmla="*/ 9073662 w 11867103"/>
                  <a:gd name="connsiteY54" fmla="*/ 2783393 h 2964609"/>
                  <a:gd name="connsiteX55" fmla="*/ 8812404 w 11867103"/>
                  <a:gd name="connsiteY55" fmla="*/ 2773345 h 2964609"/>
                  <a:gd name="connsiteX56" fmla="*/ 8400422 w 11867103"/>
                  <a:gd name="connsiteY56" fmla="*/ 2763297 h 2964609"/>
                  <a:gd name="connsiteX57" fmla="*/ 8269793 w 11867103"/>
                  <a:gd name="connsiteY57" fmla="*/ 2753248 h 2964609"/>
                  <a:gd name="connsiteX58" fmla="*/ 7797521 w 11867103"/>
                  <a:gd name="connsiteY58" fmla="*/ 2773345 h 2964609"/>
                  <a:gd name="connsiteX59" fmla="*/ 7717134 w 11867103"/>
                  <a:gd name="connsiteY59" fmla="*/ 2783393 h 2964609"/>
                  <a:gd name="connsiteX60" fmla="*/ 7486022 w 11867103"/>
                  <a:gd name="connsiteY60" fmla="*/ 2813539 h 2964609"/>
                  <a:gd name="connsiteX61" fmla="*/ 7395587 w 11867103"/>
                  <a:gd name="connsiteY61" fmla="*/ 2833635 h 2964609"/>
                  <a:gd name="connsiteX62" fmla="*/ 7325248 w 11867103"/>
                  <a:gd name="connsiteY62" fmla="*/ 2843684 h 2964609"/>
                  <a:gd name="connsiteX63" fmla="*/ 6863024 w 11867103"/>
                  <a:gd name="connsiteY63" fmla="*/ 2833635 h 2964609"/>
                  <a:gd name="connsiteX64" fmla="*/ 6722347 w 11867103"/>
                  <a:gd name="connsiteY64" fmla="*/ 2823587 h 2964609"/>
                  <a:gd name="connsiteX65" fmla="*/ 4903596 w 11867103"/>
                  <a:gd name="connsiteY65" fmla="*/ 2873829 h 2964609"/>
                  <a:gd name="connsiteX66" fmla="*/ 4722725 w 11867103"/>
                  <a:gd name="connsiteY66" fmla="*/ 2914022 h 2964609"/>
                  <a:gd name="connsiteX67" fmla="*/ 4300695 w 11867103"/>
                  <a:gd name="connsiteY67" fmla="*/ 2893925 h 2964609"/>
                  <a:gd name="connsiteX68" fmla="*/ 4059534 w 11867103"/>
                  <a:gd name="connsiteY68" fmla="*/ 2853732 h 2964609"/>
                  <a:gd name="connsiteX69" fmla="*/ 3768132 w 11867103"/>
                  <a:gd name="connsiteY69" fmla="*/ 2823587 h 2964609"/>
                  <a:gd name="connsiteX70" fmla="*/ 3627455 w 11867103"/>
                  <a:gd name="connsiteY70" fmla="*/ 2813539 h 2964609"/>
                  <a:gd name="connsiteX71" fmla="*/ 3125037 w 11867103"/>
                  <a:gd name="connsiteY71" fmla="*/ 2823587 h 2964609"/>
                  <a:gd name="connsiteX72" fmla="*/ 3064747 w 11867103"/>
                  <a:gd name="connsiteY72" fmla="*/ 2833635 h 2964609"/>
                  <a:gd name="connsiteX73" fmla="*/ 2009670 w 11867103"/>
                  <a:gd name="connsiteY73" fmla="*/ 2843684 h 2964609"/>
                  <a:gd name="connsiteX74" fmla="*/ 1678075 w 11867103"/>
                  <a:gd name="connsiteY74" fmla="*/ 2934119 h 2964609"/>
                  <a:gd name="connsiteX75" fmla="*/ 1607736 w 11867103"/>
                  <a:gd name="connsiteY75" fmla="*/ 2964264 h 2964609"/>
                  <a:gd name="connsiteX76" fmla="*/ 1135464 w 11867103"/>
                  <a:gd name="connsiteY76" fmla="*/ 2944167 h 2964609"/>
                  <a:gd name="connsiteX77" fmla="*/ 944545 w 11867103"/>
                  <a:gd name="connsiteY77" fmla="*/ 2914022 h 2964609"/>
                  <a:gd name="connsiteX78" fmla="*/ 723481 w 11867103"/>
                  <a:gd name="connsiteY78" fmla="*/ 2873829 h 2964609"/>
                  <a:gd name="connsiteX79" fmla="*/ 643095 w 11867103"/>
                  <a:gd name="connsiteY79" fmla="*/ 2863780 h 2964609"/>
                  <a:gd name="connsiteX80" fmla="*/ 371789 w 11867103"/>
                  <a:gd name="connsiteY80" fmla="*/ 2823587 h 2964609"/>
                  <a:gd name="connsiteX81" fmla="*/ 0 w 11867103"/>
                  <a:gd name="connsiteY81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5677319 w 11867103"/>
                  <a:gd name="connsiteY8" fmla="*/ 80387 h 2964609"/>
                  <a:gd name="connsiteX9" fmla="*/ 6169688 w 11867103"/>
                  <a:gd name="connsiteY9" fmla="*/ 110532 h 2964609"/>
                  <a:gd name="connsiteX10" fmla="*/ 6420897 w 11867103"/>
                  <a:gd name="connsiteY10" fmla="*/ 90435 h 2964609"/>
                  <a:gd name="connsiteX11" fmla="*/ 6511332 w 11867103"/>
                  <a:gd name="connsiteY11" fmla="*/ 30145 h 2964609"/>
                  <a:gd name="connsiteX12" fmla="*/ 6571622 w 11867103"/>
                  <a:gd name="connsiteY12" fmla="*/ 20097 h 2964609"/>
                  <a:gd name="connsiteX13" fmla="*/ 6641961 w 11867103"/>
                  <a:gd name="connsiteY13" fmla="*/ 0 h 2964609"/>
                  <a:gd name="connsiteX14" fmla="*/ 7204668 w 11867103"/>
                  <a:gd name="connsiteY14" fmla="*/ 10048 h 2964609"/>
                  <a:gd name="connsiteX15" fmla="*/ 7285055 w 11867103"/>
                  <a:gd name="connsiteY15" fmla="*/ 30145 h 2964609"/>
                  <a:gd name="connsiteX16" fmla="*/ 7375490 w 11867103"/>
                  <a:gd name="connsiteY16" fmla="*/ 40193 h 2964609"/>
                  <a:gd name="connsiteX17" fmla="*/ 7928150 w 11867103"/>
                  <a:gd name="connsiteY17" fmla="*/ 60290 h 2964609"/>
                  <a:gd name="connsiteX18" fmla="*/ 8109020 w 11867103"/>
                  <a:gd name="connsiteY18" fmla="*/ 80387 h 2964609"/>
                  <a:gd name="connsiteX19" fmla="*/ 8219552 w 11867103"/>
                  <a:gd name="connsiteY19" fmla="*/ 90435 h 2964609"/>
                  <a:gd name="connsiteX20" fmla="*/ 8299939 w 11867103"/>
                  <a:gd name="connsiteY20" fmla="*/ 100484 h 2964609"/>
                  <a:gd name="connsiteX21" fmla="*/ 8521002 w 11867103"/>
                  <a:gd name="connsiteY21" fmla="*/ 110532 h 2964609"/>
                  <a:gd name="connsiteX22" fmla="*/ 9515789 w 11867103"/>
                  <a:gd name="connsiteY22" fmla="*/ 100484 h 2964609"/>
                  <a:gd name="connsiteX23" fmla="*/ 9606224 w 11867103"/>
                  <a:gd name="connsiteY23" fmla="*/ 90435 h 2964609"/>
                  <a:gd name="connsiteX24" fmla="*/ 9716756 w 11867103"/>
                  <a:gd name="connsiteY24" fmla="*/ 80387 h 2964609"/>
                  <a:gd name="connsiteX25" fmla="*/ 9797143 w 11867103"/>
                  <a:gd name="connsiteY25" fmla="*/ 70339 h 2964609"/>
                  <a:gd name="connsiteX26" fmla="*/ 9947868 w 11867103"/>
                  <a:gd name="connsiteY26" fmla="*/ 60290 h 2964609"/>
                  <a:gd name="connsiteX27" fmla="*/ 10791930 w 11867103"/>
                  <a:gd name="connsiteY27" fmla="*/ 30145 h 2964609"/>
                  <a:gd name="connsiteX28" fmla="*/ 11736475 w 11867103"/>
                  <a:gd name="connsiteY28" fmla="*/ 50242 h 2964609"/>
                  <a:gd name="connsiteX29" fmla="*/ 11766620 w 11867103"/>
                  <a:gd name="connsiteY29" fmla="*/ 80387 h 2964609"/>
                  <a:gd name="connsiteX30" fmla="*/ 11786717 w 11867103"/>
                  <a:gd name="connsiteY30" fmla="*/ 120580 h 2964609"/>
                  <a:gd name="connsiteX31" fmla="*/ 11806813 w 11867103"/>
                  <a:gd name="connsiteY31" fmla="*/ 211015 h 2964609"/>
                  <a:gd name="connsiteX32" fmla="*/ 11816862 w 11867103"/>
                  <a:gd name="connsiteY32" fmla="*/ 251209 h 2964609"/>
                  <a:gd name="connsiteX33" fmla="*/ 11826910 w 11867103"/>
                  <a:gd name="connsiteY33" fmla="*/ 341644 h 2964609"/>
                  <a:gd name="connsiteX34" fmla="*/ 11836958 w 11867103"/>
                  <a:gd name="connsiteY34" fmla="*/ 422031 h 2964609"/>
                  <a:gd name="connsiteX35" fmla="*/ 11826910 w 11867103"/>
                  <a:gd name="connsiteY35" fmla="*/ 733530 h 2964609"/>
                  <a:gd name="connsiteX36" fmla="*/ 11816862 w 11867103"/>
                  <a:gd name="connsiteY36" fmla="*/ 793820 h 2964609"/>
                  <a:gd name="connsiteX37" fmla="*/ 11806813 w 11867103"/>
                  <a:gd name="connsiteY37" fmla="*/ 864158 h 2964609"/>
                  <a:gd name="connsiteX38" fmla="*/ 11816862 w 11867103"/>
                  <a:gd name="connsiteY38" fmla="*/ 2331218 h 2964609"/>
                  <a:gd name="connsiteX39" fmla="*/ 11826910 w 11867103"/>
                  <a:gd name="connsiteY39" fmla="*/ 2401556 h 2964609"/>
                  <a:gd name="connsiteX40" fmla="*/ 11836958 w 11867103"/>
                  <a:gd name="connsiteY40" fmla="*/ 2431701 h 2964609"/>
                  <a:gd name="connsiteX41" fmla="*/ 11857055 w 11867103"/>
                  <a:gd name="connsiteY41" fmla="*/ 2562330 h 2964609"/>
                  <a:gd name="connsiteX42" fmla="*/ 11867103 w 11867103"/>
                  <a:gd name="connsiteY42" fmla="*/ 2602523 h 2964609"/>
                  <a:gd name="connsiteX43" fmla="*/ 11857055 w 11867103"/>
                  <a:gd name="connsiteY43" fmla="*/ 2833635 h 2964609"/>
                  <a:gd name="connsiteX44" fmla="*/ 11836958 w 11867103"/>
                  <a:gd name="connsiteY44" fmla="*/ 2863780 h 2964609"/>
                  <a:gd name="connsiteX45" fmla="*/ 11033090 w 11867103"/>
                  <a:gd name="connsiteY45" fmla="*/ 2853732 h 2964609"/>
                  <a:gd name="connsiteX46" fmla="*/ 10621108 w 11867103"/>
                  <a:gd name="connsiteY46" fmla="*/ 2843684 h 2964609"/>
                  <a:gd name="connsiteX47" fmla="*/ 10128739 w 11867103"/>
                  <a:gd name="connsiteY47" fmla="*/ 2853732 h 2964609"/>
                  <a:gd name="connsiteX48" fmla="*/ 10048352 w 11867103"/>
                  <a:gd name="connsiteY48" fmla="*/ 2863780 h 2964609"/>
                  <a:gd name="connsiteX49" fmla="*/ 9555982 w 11867103"/>
                  <a:gd name="connsiteY49" fmla="*/ 2853732 h 2964609"/>
                  <a:gd name="connsiteX50" fmla="*/ 9445451 w 11867103"/>
                  <a:gd name="connsiteY50" fmla="*/ 2843684 h 2964609"/>
                  <a:gd name="connsiteX51" fmla="*/ 9415306 w 11867103"/>
                  <a:gd name="connsiteY51" fmla="*/ 2823587 h 2964609"/>
                  <a:gd name="connsiteX52" fmla="*/ 9204290 w 11867103"/>
                  <a:gd name="connsiteY52" fmla="*/ 2803490 h 2964609"/>
                  <a:gd name="connsiteX53" fmla="*/ 9073662 w 11867103"/>
                  <a:gd name="connsiteY53" fmla="*/ 2783393 h 2964609"/>
                  <a:gd name="connsiteX54" fmla="*/ 8812404 w 11867103"/>
                  <a:gd name="connsiteY54" fmla="*/ 2773345 h 2964609"/>
                  <a:gd name="connsiteX55" fmla="*/ 8400422 w 11867103"/>
                  <a:gd name="connsiteY55" fmla="*/ 2763297 h 2964609"/>
                  <a:gd name="connsiteX56" fmla="*/ 8269793 w 11867103"/>
                  <a:gd name="connsiteY56" fmla="*/ 2753248 h 2964609"/>
                  <a:gd name="connsiteX57" fmla="*/ 7797521 w 11867103"/>
                  <a:gd name="connsiteY57" fmla="*/ 2773345 h 2964609"/>
                  <a:gd name="connsiteX58" fmla="*/ 7717134 w 11867103"/>
                  <a:gd name="connsiteY58" fmla="*/ 2783393 h 2964609"/>
                  <a:gd name="connsiteX59" fmla="*/ 7486022 w 11867103"/>
                  <a:gd name="connsiteY59" fmla="*/ 2813539 h 2964609"/>
                  <a:gd name="connsiteX60" fmla="*/ 7395587 w 11867103"/>
                  <a:gd name="connsiteY60" fmla="*/ 2833635 h 2964609"/>
                  <a:gd name="connsiteX61" fmla="*/ 7325248 w 11867103"/>
                  <a:gd name="connsiteY61" fmla="*/ 2843684 h 2964609"/>
                  <a:gd name="connsiteX62" fmla="*/ 6863024 w 11867103"/>
                  <a:gd name="connsiteY62" fmla="*/ 2833635 h 2964609"/>
                  <a:gd name="connsiteX63" fmla="*/ 6722347 w 11867103"/>
                  <a:gd name="connsiteY63" fmla="*/ 2823587 h 2964609"/>
                  <a:gd name="connsiteX64" fmla="*/ 4903596 w 11867103"/>
                  <a:gd name="connsiteY64" fmla="*/ 2873829 h 2964609"/>
                  <a:gd name="connsiteX65" fmla="*/ 4722725 w 11867103"/>
                  <a:gd name="connsiteY65" fmla="*/ 2914022 h 2964609"/>
                  <a:gd name="connsiteX66" fmla="*/ 4300695 w 11867103"/>
                  <a:gd name="connsiteY66" fmla="*/ 2893925 h 2964609"/>
                  <a:gd name="connsiteX67" fmla="*/ 4059534 w 11867103"/>
                  <a:gd name="connsiteY67" fmla="*/ 2853732 h 2964609"/>
                  <a:gd name="connsiteX68" fmla="*/ 3768132 w 11867103"/>
                  <a:gd name="connsiteY68" fmla="*/ 2823587 h 2964609"/>
                  <a:gd name="connsiteX69" fmla="*/ 3627455 w 11867103"/>
                  <a:gd name="connsiteY69" fmla="*/ 2813539 h 2964609"/>
                  <a:gd name="connsiteX70" fmla="*/ 3125037 w 11867103"/>
                  <a:gd name="connsiteY70" fmla="*/ 2823587 h 2964609"/>
                  <a:gd name="connsiteX71" fmla="*/ 3064747 w 11867103"/>
                  <a:gd name="connsiteY71" fmla="*/ 2833635 h 2964609"/>
                  <a:gd name="connsiteX72" fmla="*/ 2009670 w 11867103"/>
                  <a:gd name="connsiteY72" fmla="*/ 2843684 h 2964609"/>
                  <a:gd name="connsiteX73" fmla="*/ 1678075 w 11867103"/>
                  <a:gd name="connsiteY73" fmla="*/ 2934119 h 2964609"/>
                  <a:gd name="connsiteX74" fmla="*/ 1607736 w 11867103"/>
                  <a:gd name="connsiteY74" fmla="*/ 2964264 h 2964609"/>
                  <a:gd name="connsiteX75" fmla="*/ 1135464 w 11867103"/>
                  <a:gd name="connsiteY75" fmla="*/ 2944167 h 2964609"/>
                  <a:gd name="connsiteX76" fmla="*/ 944545 w 11867103"/>
                  <a:gd name="connsiteY76" fmla="*/ 2914022 h 2964609"/>
                  <a:gd name="connsiteX77" fmla="*/ 723481 w 11867103"/>
                  <a:gd name="connsiteY77" fmla="*/ 2873829 h 2964609"/>
                  <a:gd name="connsiteX78" fmla="*/ 643095 w 11867103"/>
                  <a:gd name="connsiteY78" fmla="*/ 2863780 h 2964609"/>
                  <a:gd name="connsiteX79" fmla="*/ 371789 w 11867103"/>
                  <a:gd name="connsiteY79" fmla="*/ 2823587 h 2964609"/>
                  <a:gd name="connsiteX80" fmla="*/ 0 w 11867103"/>
                  <a:gd name="connsiteY80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6169688 w 11867103"/>
                  <a:gd name="connsiteY8" fmla="*/ 110532 h 2964609"/>
                  <a:gd name="connsiteX9" fmla="*/ 6420897 w 11867103"/>
                  <a:gd name="connsiteY9" fmla="*/ 90435 h 2964609"/>
                  <a:gd name="connsiteX10" fmla="*/ 6511332 w 11867103"/>
                  <a:gd name="connsiteY10" fmla="*/ 30145 h 2964609"/>
                  <a:gd name="connsiteX11" fmla="*/ 6571622 w 11867103"/>
                  <a:gd name="connsiteY11" fmla="*/ 20097 h 2964609"/>
                  <a:gd name="connsiteX12" fmla="*/ 6641961 w 11867103"/>
                  <a:gd name="connsiteY12" fmla="*/ 0 h 2964609"/>
                  <a:gd name="connsiteX13" fmla="*/ 7204668 w 11867103"/>
                  <a:gd name="connsiteY13" fmla="*/ 10048 h 2964609"/>
                  <a:gd name="connsiteX14" fmla="*/ 7285055 w 11867103"/>
                  <a:gd name="connsiteY14" fmla="*/ 30145 h 2964609"/>
                  <a:gd name="connsiteX15" fmla="*/ 7375490 w 11867103"/>
                  <a:gd name="connsiteY15" fmla="*/ 40193 h 2964609"/>
                  <a:gd name="connsiteX16" fmla="*/ 7928150 w 11867103"/>
                  <a:gd name="connsiteY16" fmla="*/ 60290 h 2964609"/>
                  <a:gd name="connsiteX17" fmla="*/ 8109020 w 11867103"/>
                  <a:gd name="connsiteY17" fmla="*/ 80387 h 2964609"/>
                  <a:gd name="connsiteX18" fmla="*/ 8219552 w 11867103"/>
                  <a:gd name="connsiteY18" fmla="*/ 90435 h 2964609"/>
                  <a:gd name="connsiteX19" fmla="*/ 8299939 w 11867103"/>
                  <a:gd name="connsiteY19" fmla="*/ 100484 h 2964609"/>
                  <a:gd name="connsiteX20" fmla="*/ 8521002 w 11867103"/>
                  <a:gd name="connsiteY20" fmla="*/ 110532 h 2964609"/>
                  <a:gd name="connsiteX21" fmla="*/ 9515789 w 11867103"/>
                  <a:gd name="connsiteY21" fmla="*/ 100484 h 2964609"/>
                  <a:gd name="connsiteX22" fmla="*/ 9606224 w 11867103"/>
                  <a:gd name="connsiteY22" fmla="*/ 90435 h 2964609"/>
                  <a:gd name="connsiteX23" fmla="*/ 9716756 w 11867103"/>
                  <a:gd name="connsiteY23" fmla="*/ 80387 h 2964609"/>
                  <a:gd name="connsiteX24" fmla="*/ 9797143 w 11867103"/>
                  <a:gd name="connsiteY24" fmla="*/ 70339 h 2964609"/>
                  <a:gd name="connsiteX25" fmla="*/ 9947868 w 11867103"/>
                  <a:gd name="connsiteY25" fmla="*/ 60290 h 2964609"/>
                  <a:gd name="connsiteX26" fmla="*/ 10791930 w 11867103"/>
                  <a:gd name="connsiteY26" fmla="*/ 30145 h 2964609"/>
                  <a:gd name="connsiteX27" fmla="*/ 11736475 w 11867103"/>
                  <a:gd name="connsiteY27" fmla="*/ 50242 h 2964609"/>
                  <a:gd name="connsiteX28" fmla="*/ 11766620 w 11867103"/>
                  <a:gd name="connsiteY28" fmla="*/ 80387 h 2964609"/>
                  <a:gd name="connsiteX29" fmla="*/ 11786717 w 11867103"/>
                  <a:gd name="connsiteY29" fmla="*/ 120580 h 2964609"/>
                  <a:gd name="connsiteX30" fmla="*/ 11806813 w 11867103"/>
                  <a:gd name="connsiteY30" fmla="*/ 211015 h 2964609"/>
                  <a:gd name="connsiteX31" fmla="*/ 11816862 w 11867103"/>
                  <a:gd name="connsiteY31" fmla="*/ 251209 h 2964609"/>
                  <a:gd name="connsiteX32" fmla="*/ 11826910 w 11867103"/>
                  <a:gd name="connsiteY32" fmla="*/ 341644 h 2964609"/>
                  <a:gd name="connsiteX33" fmla="*/ 11836958 w 11867103"/>
                  <a:gd name="connsiteY33" fmla="*/ 422031 h 2964609"/>
                  <a:gd name="connsiteX34" fmla="*/ 11826910 w 11867103"/>
                  <a:gd name="connsiteY34" fmla="*/ 733530 h 2964609"/>
                  <a:gd name="connsiteX35" fmla="*/ 11816862 w 11867103"/>
                  <a:gd name="connsiteY35" fmla="*/ 793820 h 2964609"/>
                  <a:gd name="connsiteX36" fmla="*/ 11806813 w 11867103"/>
                  <a:gd name="connsiteY36" fmla="*/ 864158 h 2964609"/>
                  <a:gd name="connsiteX37" fmla="*/ 11816862 w 11867103"/>
                  <a:gd name="connsiteY37" fmla="*/ 2331218 h 2964609"/>
                  <a:gd name="connsiteX38" fmla="*/ 11826910 w 11867103"/>
                  <a:gd name="connsiteY38" fmla="*/ 2401556 h 2964609"/>
                  <a:gd name="connsiteX39" fmla="*/ 11836958 w 11867103"/>
                  <a:gd name="connsiteY39" fmla="*/ 2431701 h 2964609"/>
                  <a:gd name="connsiteX40" fmla="*/ 11857055 w 11867103"/>
                  <a:gd name="connsiteY40" fmla="*/ 2562330 h 2964609"/>
                  <a:gd name="connsiteX41" fmla="*/ 11867103 w 11867103"/>
                  <a:gd name="connsiteY41" fmla="*/ 2602523 h 2964609"/>
                  <a:gd name="connsiteX42" fmla="*/ 11857055 w 11867103"/>
                  <a:gd name="connsiteY42" fmla="*/ 2833635 h 2964609"/>
                  <a:gd name="connsiteX43" fmla="*/ 11836958 w 11867103"/>
                  <a:gd name="connsiteY43" fmla="*/ 2863780 h 2964609"/>
                  <a:gd name="connsiteX44" fmla="*/ 11033090 w 11867103"/>
                  <a:gd name="connsiteY44" fmla="*/ 2853732 h 2964609"/>
                  <a:gd name="connsiteX45" fmla="*/ 10621108 w 11867103"/>
                  <a:gd name="connsiteY45" fmla="*/ 2843684 h 2964609"/>
                  <a:gd name="connsiteX46" fmla="*/ 10128739 w 11867103"/>
                  <a:gd name="connsiteY46" fmla="*/ 2853732 h 2964609"/>
                  <a:gd name="connsiteX47" fmla="*/ 10048352 w 11867103"/>
                  <a:gd name="connsiteY47" fmla="*/ 2863780 h 2964609"/>
                  <a:gd name="connsiteX48" fmla="*/ 9555982 w 11867103"/>
                  <a:gd name="connsiteY48" fmla="*/ 2853732 h 2964609"/>
                  <a:gd name="connsiteX49" fmla="*/ 9445451 w 11867103"/>
                  <a:gd name="connsiteY49" fmla="*/ 2843684 h 2964609"/>
                  <a:gd name="connsiteX50" fmla="*/ 9415306 w 11867103"/>
                  <a:gd name="connsiteY50" fmla="*/ 2823587 h 2964609"/>
                  <a:gd name="connsiteX51" fmla="*/ 9204290 w 11867103"/>
                  <a:gd name="connsiteY51" fmla="*/ 2803490 h 2964609"/>
                  <a:gd name="connsiteX52" fmla="*/ 9073662 w 11867103"/>
                  <a:gd name="connsiteY52" fmla="*/ 2783393 h 2964609"/>
                  <a:gd name="connsiteX53" fmla="*/ 8812404 w 11867103"/>
                  <a:gd name="connsiteY53" fmla="*/ 2773345 h 2964609"/>
                  <a:gd name="connsiteX54" fmla="*/ 8400422 w 11867103"/>
                  <a:gd name="connsiteY54" fmla="*/ 2763297 h 2964609"/>
                  <a:gd name="connsiteX55" fmla="*/ 8269793 w 11867103"/>
                  <a:gd name="connsiteY55" fmla="*/ 2753248 h 2964609"/>
                  <a:gd name="connsiteX56" fmla="*/ 7797521 w 11867103"/>
                  <a:gd name="connsiteY56" fmla="*/ 2773345 h 2964609"/>
                  <a:gd name="connsiteX57" fmla="*/ 7717134 w 11867103"/>
                  <a:gd name="connsiteY57" fmla="*/ 2783393 h 2964609"/>
                  <a:gd name="connsiteX58" fmla="*/ 7486022 w 11867103"/>
                  <a:gd name="connsiteY58" fmla="*/ 2813539 h 2964609"/>
                  <a:gd name="connsiteX59" fmla="*/ 7395587 w 11867103"/>
                  <a:gd name="connsiteY59" fmla="*/ 2833635 h 2964609"/>
                  <a:gd name="connsiteX60" fmla="*/ 7325248 w 11867103"/>
                  <a:gd name="connsiteY60" fmla="*/ 2843684 h 2964609"/>
                  <a:gd name="connsiteX61" fmla="*/ 6863024 w 11867103"/>
                  <a:gd name="connsiteY61" fmla="*/ 2833635 h 2964609"/>
                  <a:gd name="connsiteX62" fmla="*/ 6722347 w 11867103"/>
                  <a:gd name="connsiteY62" fmla="*/ 2823587 h 2964609"/>
                  <a:gd name="connsiteX63" fmla="*/ 4903596 w 11867103"/>
                  <a:gd name="connsiteY63" fmla="*/ 2873829 h 2964609"/>
                  <a:gd name="connsiteX64" fmla="*/ 4722725 w 11867103"/>
                  <a:gd name="connsiteY64" fmla="*/ 2914022 h 2964609"/>
                  <a:gd name="connsiteX65" fmla="*/ 4300695 w 11867103"/>
                  <a:gd name="connsiteY65" fmla="*/ 2893925 h 2964609"/>
                  <a:gd name="connsiteX66" fmla="*/ 4059534 w 11867103"/>
                  <a:gd name="connsiteY66" fmla="*/ 2853732 h 2964609"/>
                  <a:gd name="connsiteX67" fmla="*/ 3768132 w 11867103"/>
                  <a:gd name="connsiteY67" fmla="*/ 2823587 h 2964609"/>
                  <a:gd name="connsiteX68" fmla="*/ 3627455 w 11867103"/>
                  <a:gd name="connsiteY68" fmla="*/ 2813539 h 2964609"/>
                  <a:gd name="connsiteX69" fmla="*/ 3125037 w 11867103"/>
                  <a:gd name="connsiteY69" fmla="*/ 2823587 h 2964609"/>
                  <a:gd name="connsiteX70" fmla="*/ 3064747 w 11867103"/>
                  <a:gd name="connsiteY70" fmla="*/ 2833635 h 2964609"/>
                  <a:gd name="connsiteX71" fmla="*/ 2009670 w 11867103"/>
                  <a:gd name="connsiteY71" fmla="*/ 2843684 h 2964609"/>
                  <a:gd name="connsiteX72" fmla="*/ 1678075 w 11867103"/>
                  <a:gd name="connsiteY72" fmla="*/ 2934119 h 2964609"/>
                  <a:gd name="connsiteX73" fmla="*/ 1607736 w 11867103"/>
                  <a:gd name="connsiteY73" fmla="*/ 2964264 h 2964609"/>
                  <a:gd name="connsiteX74" fmla="*/ 1135464 w 11867103"/>
                  <a:gd name="connsiteY74" fmla="*/ 2944167 h 2964609"/>
                  <a:gd name="connsiteX75" fmla="*/ 944545 w 11867103"/>
                  <a:gd name="connsiteY75" fmla="*/ 2914022 h 2964609"/>
                  <a:gd name="connsiteX76" fmla="*/ 723481 w 11867103"/>
                  <a:gd name="connsiteY76" fmla="*/ 2873829 h 2964609"/>
                  <a:gd name="connsiteX77" fmla="*/ 643095 w 11867103"/>
                  <a:gd name="connsiteY77" fmla="*/ 2863780 h 2964609"/>
                  <a:gd name="connsiteX78" fmla="*/ 371789 w 11867103"/>
                  <a:gd name="connsiteY78" fmla="*/ 2823587 h 2964609"/>
                  <a:gd name="connsiteX79" fmla="*/ 0 w 11867103"/>
                  <a:gd name="connsiteY79" fmla="*/ 2813539 h 2964609"/>
                  <a:gd name="connsiteX0" fmla="*/ 120580 w 11867103"/>
                  <a:gd name="connsiteY0" fmla="*/ 51336 h 2965703"/>
                  <a:gd name="connsiteX1" fmla="*/ 281354 w 11867103"/>
                  <a:gd name="connsiteY1" fmla="*/ 41287 h 2965703"/>
                  <a:gd name="connsiteX2" fmla="*/ 673240 w 11867103"/>
                  <a:gd name="connsiteY2" fmla="*/ 31239 h 2965703"/>
                  <a:gd name="connsiteX3" fmla="*/ 1356528 w 11867103"/>
                  <a:gd name="connsiteY3" fmla="*/ 81481 h 2965703"/>
                  <a:gd name="connsiteX4" fmla="*/ 1758462 w 11867103"/>
                  <a:gd name="connsiteY4" fmla="*/ 41287 h 2965703"/>
                  <a:gd name="connsiteX5" fmla="*/ 2140299 w 11867103"/>
                  <a:gd name="connsiteY5" fmla="*/ 41287 h 2965703"/>
                  <a:gd name="connsiteX6" fmla="*/ 4652387 w 11867103"/>
                  <a:gd name="connsiteY6" fmla="*/ 61384 h 2965703"/>
                  <a:gd name="connsiteX7" fmla="*/ 4692580 w 11867103"/>
                  <a:gd name="connsiteY7" fmla="*/ 71433 h 2965703"/>
                  <a:gd name="connsiteX8" fmla="*/ 6169688 w 11867103"/>
                  <a:gd name="connsiteY8" fmla="*/ 111626 h 2965703"/>
                  <a:gd name="connsiteX9" fmla="*/ 6420897 w 11867103"/>
                  <a:gd name="connsiteY9" fmla="*/ 91529 h 2965703"/>
                  <a:gd name="connsiteX10" fmla="*/ 6511332 w 11867103"/>
                  <a:gd name="connsiteY10" fmla="*/ 31239 h 2965703"/>
                  <a:gd name="connsiteX11" fmla="*/ 6641961 w 11867103"/>
                  <a:gd name="connsiteY11" fmla="*/ 1094 h 2965703"/>
                  <a:gd name="connsiteX12" fmla="*/ 7204668 w 11867103"/>
                  <a:gd name="connsiteY12" fmla="*/ 11142 h 2965703"/>
                  <a:gd name="connsiteX13" fmla="*/ 7285055 w 11867103"/>
                  <a:gd name="connsiteY13" fmla="*/ 31239 h 2965703"/>
                  <a:gd name="connsiteX14" fmla="*/ 7375490 w 11867103"/>
                  <a:gd name="connsiteY14" fmla="*/ 41287 h 2965703"/>
                  <a:gd name="connsiteX15" fmla="*/ 7928150 w 11867103"/>
                  <a:gd name="connsiteY15" fmla="*/ 61384 h 2965703"/>
                  <a:gd name="connsiteX16" fmla="*/ 8109020 w 11867103"/>
                  <a:gd name="connsiteY16" fmla="*/ 81481 h 2965703"/>
                  <a:gd name="connsiteX17" fmla="*/ 8219552 w 11867103"/>
                  <a:gd name="connsiteY17" fmla="*/ 91529 h 2965703"/>
                  <a:gd name="connsiteX18" fmla="*/ 8299939 w 11867103"/>
                  <a:gd name="connsiteY18" fmla="*/ 101578 h 2965703"/>
                  <a:gd name="connsiteX19" fmla="*/ 8521002 w 11867103"/>
                  <a:gd name="connsiteY19" fmla="*/ 111626 h 2965703"/>
                  <a:gd name="connsiteX20" fmla="*/ 9515789 w 11867103"/>
                  <a:gd name="connsiteY20" fmla="*/ 101578 h 2965703"/>
                  <a:gd name="connsiteX21" fmla="*/ 9606224 w 11867103"/>
                  <a:gd name="connsiteY21" fmla="*/ 91529 h 2965703"/>
                  <a:gd name="connsiteX22" fmla="*/ 9716756 w 11867103"/>
                  <a:gd name="connsiteY22" fmla="*/ 81481 h 2965703"/>
                  <a:gd name="connsiteX23" fmla="*/ 9797143 w 11867103"/>
                  <a:gd name="connsiteY23" fmla="*/ 71433 h 2965703"/>
                  <a:gd name="connsiteX24" fmla="*/ 9947868 w 11867103"/>
                  <a:gd name="connsiteY24" fmla="*/ 61384 h 2965703"/>
                  <a:gd name="connsiteX25" fmla="*/ 10791930 w 11867103"/>
                  <a:gd name="connsiteY25" fmla="*/ 31239 h 2965703"/>
                  <a:gd name="connsiteX26" fmla="*/ 11736475 w 11867103"/>
                  <a:gd name="connsiteY26" fmla="*/ 51336 h 2965703"/>
                  <a:gd name="connsiteX27" fmla="*/ 11766620 w 11867103"/>
                  <a:gd name="connsiteY27" fmla="*/ 81481 h 2965703"/>
                  <a:gd name="connsiteX28" fmla="*/ 11786717 w 11867103"/>
                  <a:gd name="connsiteY28" fmla="*/ 121674 h 2965703"/>
                  <a:gd name="connsiteX29" fmla="*/ 11806813 w 11867103"/>
                  <a:gd name="connsiteY29" fmla="*/ 212109 h 2965703"/>
                  <a:gd name="connsiteX30" fmla="*/ 11816862 w 11867103"/>
                  <a:gd name="connsiteY30" fmla="*/ 252303 h 2965703"/>
                  <a:gd name="connsiteX31" fmla="*/ 11826910 w 11867103"/>
                  <a:gd name="connsiteY31" fmla="*/ 342738 h 2965703"/>
                  <a:gd name="connsiteX32" fmla="*/ 11836958 w 11867103"/>
                  <a:gd name="connsiteY32" fmla="*/ 423125 h 2965703"/>
                  <a:gd name="connsiteX33" fmla="*/ 11826910 w 11867103"/>
                  <a:gd name="connsiteY33" fmla="*/ 734624 h 2965703"/>
                  <a:gd name="connsiteX34" fmla="*/ 11816862 w 11867103"/>
                  <a:gd name="connsiteY34" fmla="*/ 794914 h 2965703"/>
                  <a:gd name="connsiteX35" fmla="*/ 11806813 w 11867103"/>
                  <a:gd name="connsiteY35" fmla="*/ 865252 h 2965703"/>
                  <a:gd name="connsiteX36" fmla="*/ 11816862 w 11867103"/>
                  <a:gd name="connsiteY36" fmla="*/ 2332312 h 2965703"/>
                  <a:gd name="connsiteX37" fmla="*/ 11826910 w 11867103"/>
                  <a:gd name="connsiteY37" fmla="*/ 2402650 h 2965703"/>
                  <a:gd name="connsiteX38" fmla="*/ 11836958 w 11867103"/>
                  <a:gd name="connsiteY38" fmla="*/ 2432795 h 2965703"/>
                  <a:gd name="connsiteX39" fmla="*/ 11857055 w 11867103"/>
                  <a:gd name="connsiteY39" fmla="*/ 2563424 h 2965703"/>
                  <a:gd name="connsiteX40" fmla="*/ 11867103 w 11867103"/>
                  <a:gd name="connsiteY40" fmla="*/ 2603617 h 2965703"/>
                  <a:gd name="connsiteX41" fmla="*/ 11857055 w 11867103"/>
                  <a:gd name="connsiteY41" fmla="*/ 2834729 h 2965703"/>
                  <a:gd name="connsiteX42" fmla="*/ 11836958 w 11867103"/>
                  <a:gd name="connsiteY42" fmla="*/ 2864874 h 2965703"/>
                  <a:gd name="connsiteX43" fmla="*/ 11033090 w 11867103"/>
                  <a:gd name="connsiteY43" fmla="*/ 2854826 h 2965703"/>
                  <a:gd name="connsiteX44" fmla="*/ 10621108 w 11867103"/>
                  <a:gd name="connsiteY44" fmla="*/ 2844778 h 2965703"/>
                  <a:gd name="connsiteX45" fmla="*/ 10128739 w 11867103"/>
                  <a:gd name="connsiteY45" fmla="*/ 2854826 h 2965703"/>
                  <a:gd name="connsiteX46" fmla="*/ 10048352 w 11867103"/>
                  <a:gd name="connsiteY46" fmla="*/ 2864874 h 2965703"/>
                  <a:gd name="connsiteX47" fmla="*/ 9555982 w 11867103"/>
                  <a:gd name="connsiteY47" fmla="*/ 2854826 h 2965703"/>
                  <a:gd name="connsiteX48" fmla="*/ 9445451 w 11867103"/>
                  <a:gd name="connsiteY48" fmla="*/ 2844778 h 2965703"/>
                  <a:gd name="connsiteX49" fmla="*/ 9415306 w 11867103"/>
                  <a:gd name="connsiteY49" fmla="*/ 2824681 h 2965703"/>
                  <a:gd name="connsiteX50" fmla="*/ 9204290 w 11867103"/>
                  <a:gd name="connsiteY50" fmla="*/ 2804584 h 2965703"/>
                  <a:gd name="connsiteX51" fmla="*/ 9073662 w 11867103"/>
                  <a:gd name="connsiteY51" fmla="*/ 2784487 h 2965703"/>
                  <a:gd name="connsiteX52" fmla="*/ 8812404 w 11867103"/>
                  <a:gd name="connsiteY52" fmla="*/ 2774439 h 2965703"/>
                  <a:gd name="connsiteX53" fmla="*/ 8400422 w 11867103"/>
                  <a:gd name="connsiteY53" fmla="*/ 2764391 h 2965703"/>
                  <a:gd name="connsiteX54" fmla="*/ 8269793 w 11867103"/>
                  <a:gd name="connsiteY54" fmla="*/ 2754342 h 2965703"/>
                  <a:gd name="connsiteX55" fmla="*/ 7797521 w 11867103"/>
                  <a:gd name="connsiteY55" fmla="*/ 2774439 h 2965703"/>
                  <a:gd name="connsiteX56" fmla="*/ 7717134 w 11867103"/>
                  <a:gd name="connsiteY56" fmla="*/ 2784487 h 2965703"/>
                  <a:gd name="connsiteX57" fmla="*/ 7486022 w 11867103"/>
                  <a:gd name="connsiteY57" fmla="*/ 2814633 h 2965703"/>
                  <a:gd name="connsiteX58" fmla="*/ 7395587 w 11867103"/>
                  <a:gd name="connsiteY58" fmla="*/ 2834729 h 2965703"/>
                  <a:gd name="connsiteX59" fmla="*/ 7325248 w 11867103"/>
                  <a:gd name="connsiteY59" fmla="*/ 2844778 h 2965703"/>
                  <a:gd name="connsiteX60" fmla="*/ 6863024 w 11867103"/>
                  <a:gd name="connsiteY60" fmla="*/ 2834729 h 2965703"/>
                  <a:gd name="connsiteX61" fmla="*/ 6722347 w 11867103"/>
                  <a:gd name="connsiteY61" fmla="*/ 2824681 h 2965703"/>
                  <a:gd name="connsiteX62" fmla="*/ 4903596 w 11867103"/>
                  <a:gd name="connsiteY62" fmla="*/ 2874923 h 2965703"/>
                  <a:gd name="connsiteX63" fmla="*/ 4722725 w 11867103"/>
                  <a:gd name="connsiteY63" fmla="*/ 2915116 h 2965703"/>
                  <a:gd name="connsiteX64" fmla="*/ 4300695 w 11867103"/>
                  <a:gd name="connsiteY64" fmla="*/ 2895019 h 2965703"/>
                  <a:gd name="connsiteX65" fmla="*/ 4059534 w 11867103"/>
                  <a:gd name="connsiteY65" fmla="*/ 2854826 h 2965703"/>
                  <a:gd name="connsiteX66" fmla="*/ 3768132 w 11867103"/>
                  <a:gd name="connsiteY66" fmla="*/ 2824681 h 2965703"/>
                  <a:gd name="connsiteX67" fmla="*/ 3627455 w 11867103"/>
                  <a:gd name="connsiteY67" fmla="*/ 2814633 h 2965703"/>
                  <a:gd name="connsiteX68" fmla="*/ 3125037 w 11867103"/>
                  <a:gd name="connsiteY68" fmla="*/ 2824681 h 2965703"/>
                  <a:gd name="connsiteX69" fmla="*/ 3064747 w 11867103"/>
                  <a:gd name="connsiteY69" fmla="*/ 2834729 h 2965703"/>
                  <a:gd name="connsiteX70" fmla="*/ 2009670 w 11867103"/>
                  <a:gd name="connsiteY70" fmla="*/ 2844778 h 2965703"/>
                  <a:gd name="connsiteX71" fmla="*/ 1678075 w 11867103"/>
                  <a:gd name="connsiteY71" fmla="*/ 2935213 h 2965703"/>
                  <a:gd name="connsiteX72" fmla="*/ 1607736 w 11867103"/>
                  <a:gd name="connsiteY72" fmla="*/ 2965358 h 2965703"/>
                  <a:gd name="connsiteX73" fmla="*/ 1135464 w 11867103"/>
                  <a:gd name="connsiteY73" fmla="*/ 2945261 h 2965703"/>
                  <a:gd name="connsiteX74" fmla="*/ 944545 w 11867103"/>
                  <a:gd name="connsiteY74" fmla="*/ 2915116 h 2965703"/>
                  <a:gd name="connsiteX75" fmla="*/ 723481 w 11867103"/>
                  <a:gd name="connsiteY75" fmla="*/ 2874923 h 2965703"/>
                  <a:gd name="connsiteX76" fmla="*/ 643095 w 11867103"/>
                  <a:gd name="connsiteY76" fmla="*/ 2864874 h 2965703"/>
                  <a:gd name="connsiteX77" fmla="*/ 371789 w 11867103"/>
                  <a:gd name="connsiteY77" fmla="*/ 2824681 h 2965703"/>
                  <a:gd name="connsiteX78" fmla="*/ 0 w 11867103"/>
                  <a:gd name="connsiteY78" fmla="*/ 2814633 h 2965703"/>
                  <a:gd name="connsiteX0" fmla="*/ 120580 w 11867103"/>
                  <a:gd name="connsiteY0" fmla="*/ 40194 h 2954561"/>
                  <a:gd name="connsiteX1" fmla="*/ 281354 w 11867103"/>
                  <a:gd name="connsiteY1" fmla="*/ 30145 h 2954561"/>
                  <a:gd name="connsiteX2" fmla="*/ 673240 w 11867103"/>
                  <a:gd name="connsiteY2" fmla="*/ 20097 h 2954561"/>
                  <a:gd name="connsiteX3" fmla="*/ 1356528 w 11867103"/>
                  <a:gd name="connsiteY3" fmla="*/ 70339 h 2954561"/>
                  <a:gd name="connsiteX4" fmla="*/ 1758462 w 11867103"/>
                  <a:gd name="connsiteY4" fmla="*/ 30145 h 2954561"/>
                  <a:gd name="connsiteX5" fmla="*/ 2140299 w 11867103"/>
                  <a:gd name="connsiteY5" fmla="*/ 30145 h 2954561"/>
                  <a:gd name="connsiteX6" fmla="*/ 4652387 w 11867103"/>
                  <a:gd name="connsiteY6" fmla="*/ 50242 h 2954561"/>
                  <a:gd name="connsiteX7" fmla="*/ 4692580 w 11867103"/>
                  <a:gd name="connsiteY7" fmla="*/ 60291 h 2954561"/>
                  <a:gd name="connsiteX8" fmla="*/ 6169688 w 11867103"/>
                  <a:gd name="connsiteY8" fmla="*/ 100484 h 2954561"/>
                  <a:gd name="connsiteX9" fmla="*/ 6420897 w 11867103"/>
                  <a:gd name="connsiteY9" fmla="*/ 80387 h 2954561"/>
                  <a:gd name="connsiteX10" fmla="*/ 6511332 w 11867103"/>
                  <a:gd name="connsiteY10" fmla="*/ 20097 h 2954561"/>
                  <a:gd name="connsiteX11" fmla="*/ 7204668 w 11867103"/>
                  <a:gd name="connsiteY11" fmla="*/ 0 h 2954561"/>
                  <a:gd name="connsiteX12" fmla="*/ 7285055 w 11867103"/>
                  <a:gd name="connsiteY12" fmla="*/ 20097 h 2954561"/>
                  <a:gd name="connsiteX13" fmla="*/ 7375490 w 11867103"/>
                  <a:gd name="connsiteY13" fmla="*/ 30145 h 2954561"/>
                  <a:gd name="connsiteX14" fmla="*/ 7928150 w 11867103"/>
                  <a:gd name="connsiteY14" fmla="*/ 50242 h 2954561"/>
                  <a:gd name="connsiteX15" fmla="*/ 8109020 w 11867103"/>
                  <a:gd name="connsiteY15" fmla="*/ 70339 h 2954561"/>
                  <a:gd name="connsiteX16" fmla="*/ 8219552 w 11867103"/>
                  <a:gd name="connsiteY16" fmla="*/ 80387 h 2954561"/>
                  <a:gd name="connsiteX17" fmla="*/ 8299939 w 11867103"/>
                  <a:gd name="connsiteY17" fmla="*/ 90436 h 2954561"/>
                  <a:gd name="connsiteX18" fmla="*/ 8521002 w 11867103"/>
                  <a:gd name="connsiteY18" fmla="*/ 100484 h 2954561"/>
                  <a:gd name="connsiteX19" fmla="*/ 9515789 w 11867103"/>
                  <a:gd name="connsiteY19" fmla="*/ 90436 h 2954561"/>
                  <a:gd name="connsiteX20" fmla="*/ 9606224 w 11867103"/>
                  <a:gd name="connsiteY20" fmla="*/ 80387 h 2954561"/>
                  <a:gd name="connsiteX21" fmla="*/ 9716756 w 11867103"/>
                  <a:gd name="connsiteY21" fmla="*/ 70339 h 2954561"/>
                  <a:gd name="connsiteX22" fmla="*/ 9797143 w 11867103"/>
                  <a:gd name="connsiteY22" fmla="*/ 60291 h 2954561"/>
                  <a:gd name="connsiteX23" fmla="*/ 9947868 w 11867103"/>
                  <a:gd name="connsiteY23" fmla="*/ 50242 h 2954561"/>
                  <a:gd name="connsiteX24" fmla="*/ 10791930 w 11867103"/>
                  <a:gd name="connsiteY24" fmla="*/ 20097 h 2954561"/>
                  <a:gd name="connsiteX25" fmla="*/ 11736475 w 11867103"/>
                  <a:gd name="connsiteY25" fmla="*/ 40194 h 2954561"/>
                  <a:gd name="connsiteX26" fmla="*/ 11766620 w 11867103"/>
                  <a:gd name="connsiteY26" fmla="*/ 70339 h 2954561"/>
                  <a:gd name="connsiteX27" fmla="*/ 11786717 w 11867103"/>
                  <a:gd name="connsiteY27" fmla="*/ 110532 h 2954561"/>
                  <a:gd name="connsiteX28" fmla="*/ 11806813 w 11867103"/>
                  <a:gd name="connsiteY28" fmla="*/ 200967 h 2954561"/>
                  <a:gd name="connsiteX29" fmla="*/ 11816862 w 11867103"/>
                  <a:gd name="connsiteY29" fmla="*/ 241161 h 2954561"/>
                  <a:gd name="connsiteX30" fmla="*/ 11826910 w 11867103"/>
                  <a:gd name="connsiteY30" fmla="*/ 331596 h 2954561"/>
                  <a:gd name="connsiteX31" fmla="*/ 11836958 w 11867103"/>
                  <a:gd name="connsiteY31" fmla="*/ 411983 h 2954561"/>
                  <a:gd name="connsiteX32" fmla="*/ 11826910 w 11867103"/>
                  <a:gd name="connsiteY32" fmla="*/ 723482 h 2954561"/>
                  <a:gd name="connsiteX33" fmla="*/ 11816862 w 11867103"/>
                  <a:gd name="connsiteY33" fmla="*/ 783772 h 2954561"/>
                  <a:gd name="connsiteX34" fmla="*/ 11806813 w 11867103"/>
                  <a:gd name="connsiteY34" fmla="*/ 854110 h 2954561"/>
                  <a:gd name="connsiteX35" fmla="*/ 11816862 w 11867103"/>
                  <a:gd name="connsiteY35" fmla="*/ 2321170 h 2954561"/>
                  <a:gd name="connsiteX36" fmla="*/ 11826910 w 11867103"/>
                  <a:gd name="connsiteY36" fmla="*/ 2391508 h 2954561"/>
                  <a:gd name="connsiteX37" fmla="*/ 11836958 w 11867103"/>
                  <a:gd name="connsiteY37" fmla="*/ 2421653 h 2954561"/>
                  <a:gd name="connsiteX38" fmla="*/ 11857055 w 11867103"/>
                  <a:gd name="connsiteY38" fmla="*/ 2552282 h 2954561"/>
                  <a:gd name="connsiteX39" fmla="*/ 11867103 w 11867103"/>
                  <a:gd name="connsiteY39" fmla="*/ 2592475 h 2954561"/>
                  <a:gd name="connsiteX40" fmla="*/ 11857055 w 11867103"/>
                  <a:gd name="connsiteY40" fmla="*/ 2823587 h 2954561"/>
                  <a:gd name="connsiteX41" fmla="*/ 11836958 w 11867103"/>
                  <a:gd name="connsiteY41" fmla="*/ 2853732 h 2954561"/>
                  <a:gd name="connsiteX42" fmla="*/ 11033090 w 11867103"/>
                  <a:gd name="connsiteY42" fmla="*/ 2843684 h 2954561"/>
                  <a:gd name="connsiteX43" fmla="*/ 10621108 w 11867103"/>
                  <a:gd name="connsiteY43" fmla="*/ 2833636 h 2954561"/>
                  <a:gd name="connsiteX44" fmla="*/ 10128739 w 11867103"/>
                  <a:gd name="connsiteY44" fmla="*/ 2843684 h 2954561"/>
                  <a:gd name="connsiteX45" fmla="*/ 10048352 w 11867103"/>
                  <a:gd name="connsiteY45" fmla="*/ 2853732 h 2954561"/>
                  <a:gd name="connsiteX46" fmla="*/ 9555982 w 11867103"/>
                  <a:gd name="connsiteY46" fmla="*/ 2843684 h 2954561"/>
                  <a:gd name="connsiteX47" fmla="*/ 9445451 w 11867103"/>
                  <a:gd name="connsiteY47" fmla="*/ 2833636 h 2954561"/>
                  <a:gd name="connsiteX48" fmla="*/ 9415306 w 11867103"/>
                  <a:gd name="connsiteY48" fmla="*/ 2813539 h 2954561"/>
                  <a:gd name="connsiteX49" fmla="*/ 9204290 w 11867103"/>
                  <a:gd name="connsiteY49" fmla="*/ 2793442 h 2954561"/>
                  <a:gd name="connsiteX50" fmla="*/ 9073662 w 11867103"/>
                  <a:gd name="connsiteY50" fmla="*/ 2773345 h 2954561"/>
                  <a:gd name="connsiteX51" fmla="*/ 8812404 w 11867103"/>
                  <a:gd name="connsiteY51" fmla="*/ 2763297 h 2954561"/>
                  <a:gd name="connsiteX52" fmla="*/ 8400422 w 11867103"/>
                  <a:gd name="connsiteY52" fmla="*/ 2753249 h 2954561"/>
                  <a:gd name="connsiteX53" fmla="*/ 8269793 w 11867103"/>
                  <a:gd name="connsiteY53" fmla="*/ 2743200 h 2954561"/>
                  <a:gd name="connsiteX54" fmla="*/ 7797521 w 11867103"/>
                  <a:gd name="connsiteY54" fmla="*/ 2763297 h 2954561"/>
                  <a:gd name="connsiteX55" fmla="*/ 7717134 w 11867103"/>
                  <a:gd name="connsiteY55" fmla="*/ 2773345 h 2954561"/>
                  <a:gd name="connsiteX56" fmla="*/ 7486022 w 11867103"/>
                  <a:gd name="connsiteY56" fmla="*/ 2803491 h 2954561"/>
                  <a:gd name="connsiteX57" fmla="*/ 7395587 w 11867103"/>
                  <a:gd name="connsiteY57" fmla="*/ 2823587 h 2954561"/>
                  <a:gd name="connsiteX58" fmla="*/ 7325248 w 11867103"/>
                  <a:gd name="connsiteY58" fmla="*/ 2833636 h 2954561"/>
                  <a:gd name="connsiteX59" fmla="*/ 6863024 w 11867103"/>
                  <a:gd name="connsiteY59" fmla="*/ 2823587 h 2954561"/>
                  <a:gd name="connsiteX60" fmla="*/ 6722347 w 11867103"/>
                  <a:gd name="connsiteY60" fmla="*/ 2813539 h 2954561"/>
                  <a:gd name="connsiteX61" fmla="*/ 4903596 w 11867103"/>
                  <a:gd name="connsiteY61" fmla="*/ 2863781 h 2954561"/>
                  <a:gd name="connsiteX62" fmla="*/ 4722725 w 11867103"/>
                  <a:gd name="connsiteY62" fmla="*/ 2903974 h 2954561"/>
                  <a:gd name="connsiteX63" fmla="*/ 4300695 w 11867103"/>
                  <a:gd name="connsiteY63" fmla="*/ 2883877 h 2954561"/>
                  <a:gd name="connsiteX64" fmla="*/ 4059534 w 11867103"/>
                  <a:gd name="connsiteY64" fmla="*/ 2843684 h 2954561"/>
                  <a:gd name="connsiteX65" fmla="*/ 3768132 w 11867103"/>
                  <a:gd name="connsiteY65" fmla="*/ 2813539 h 2954561"/>
                  <a:gd name="connsiteX66" fmla="*/ 3627455 w 11867103"/>
                  <a:gd name="connsiteY66" fmla="*/ 2803491 h 2954561"/>
                  <a:gd name="connsiteX67" fmla="*/ 3125037 w 11867103"/>
                  <a:gd name="connsiteY67" fmla="*/ 2813539 h 2954561"/>
                  <a:gd name="connsiteX68" fmla="*/ 3064747 w 11867103"/>
                  <a:gd name="connsiteY68" fmla="*/ 2823587 h 2954561"/>
                  <a:gd name="connsiteX69" fmla="*/ 2009670 w 11867103"/>
                  <a:gd name="connsiteY69" fmla="*/ 2833636 h 2954561"/>
                  <a:gd name="connsiteX70" fmla="*/ 1678075 w 11867103"/>
                  <a:gd name="connsiteY70" fmla="*/ 2924071 h 2954561"/>
                  <a:gd name="connsiteX71" fmla="*/ 1607736 w 11867103"/>
                  <a:gd name="connsiteY71" fmla="*/ 2954216 h 2954561"/>
                  <a:gd name="connsiteX72" fmla="*/ 1135464 w 11867103"/>
                  <a:gd name="connsiteY72" fmla="*/ 2934119 h 2954561"/>
                  <a:gd name="connsiteX73" fmla="*/ 944545 w 11867103"/>
                  <a:gd name="connsiteY73" fmla="*/ 2903974 h 2954561"/>
                  <a:gd name="connsiteX74" fmla="*/ 723481 w 11867103"/>
                  <a:gd name="connsiteY74" fmla="*/ 2863781 h 2954561"/>
                  <a:gd name="connsiteX75" fmla="*/ 643095 w 11867103"/>
                  <a:gd name="connsiteY75" fmla="*/ 2853732 h 2954561"/>
                  <a:gd name="connsiteX76" fmla="*/ 371789 w 11867103"/>
                  <a:gd name="connsiteY76" fmla="*/ 2813539 h 2954561"/>
                  <a:gd name="connsiteX77" fmla="*/ 0 w 11867103"/>
                  <a:gd name="connsiteY77" fmla="*/ 2803491 h 2954561"/>
                  <a:gd name="connsiteX0" fmla="*/ 120580 w 11867103"/>
                  <a:gd name="connsiteY0" fmla="*/ 42528 h 2956895"/>
                  <a:gd name="connsiteX1" fmla="*/ 281354 w 11867103"/>
                  <a:gd name="connsiteY1" fmla="*/ 32479 h 2956895"/>
                  <a:gd name="connsiteX2" fmla="*/ 673240 w 11867103"/>
                  <a:gd name="connsiteY2" fmla="*/ 22431 h 2956895"/>
                  <a:gd name="connsiteX3" fmla="*/ 1356528 w 11867103"/>
                  <a:gd name="connsiteY3" fmla="*/ 72673 h 2956895"/>
                  <a:gd name="connsiteX4" fmla="*/ 1758462 w 11867103"/>
                  <a:gd name="connsiteY4" fmla="*/ 32479 h 2956895"/>
                  <a:gd name="connsiteX5" fmla="*/ 2140299 w 11867103"/>
                  <a:gd name="connsiteY5" fmla="*/ 32479 h 2956895"/>
                  <a:gd name="connsiteX6" fmla="*/ 4652387 w 11867103"/>
                  <a:gd name="connsiteY6" fmla="*/ 52576 h 2956895"/>
                  <a:gd name="connsiteX7" fmla="*/ 4692580 w 11867103"/>
                  <a:gd name="connsiteY7" fmla="*/ 62625 h 2956895"/>
                  <a:gd name="connsiteX8" fmla="*/ 6169688 w 11867103"/>
                  <a:gd name="connsiteY8" fmla="*/ 102818 h 2956895"/>
                  <a:gd name="connsiteX9" fmla="*/ 6420897 w 11867103"/>
                  <a:gd name="connsiteY9" fmla="*/ 82721 h 2956895"/>
                  <a:gd name="connsiteX10" fmla="*/ 7204668 w 11867103"/>
                  <a:gd name="connsiteY10" fmla="*/ 2334 h 2956895"/>
                  <a:gd name="connsiteX11" fmla="*/ 7285055 w 11867103"/>
                  <a:gd name="connsiteY11" fmla="*/ 22431 h 2956895"/>
                  <a:gd name="connsiteX12" fmla="*/ 7375490 w 11867103"/>
                  <a:gd name="connsiteY12" fmla="*/ 32479 h 2956895"/>
                  <a:gd name="connsiteX13" fmla="*/ 7928150 w 11867103"/>
                  <a:gd name="connsiteY13" fmla="*/ 52576 h 2956895"/>
                  <a:gd name="connsiteX14" fmla="*/ 8109020 w 11867103"/>
                  <a:gd name="connsiteY14" fmla="*/ 72673 h 2956895"/>
                  <a:gd name="connsiteX15" fmla="*/ 8219552 w 11867103"/>
                  <a:gd name="connsiteY15" fmla="*/ 82721 h 2956895"/>
                  <a:gd name="connsiteX16" fmla="*/ 8299939 w 11867103"/>
                  <a:gd name="connsiteY16" fmla="*/ 92770 h 2956895"/>
                  <a:gd name="connsiteX17" fmla="*/ 8521002 w 11867103"/>
                  <a:gd name="connsiteY17" fmla="*/ 102818 h 2956895"/>
                  <a:gd name="connsiteX18" fmla="*/ 9515789 w 11867103"/>
                  <a:gd name="connsiteY18" fmla="*/ 92770 h 2956895"/>
                  <a:gd name="connsiteX19" fmla="*/ 9606224 w 11867103"/>
                  <a:gd name="connsiteY19" fmla="*/ 82721 h 2956895"/>
                  <a:gd name="connsiteX20" fmla="*/ 9716756 w 11867103"/>
                  <a:gd name="connsiteY20" fmla="*/ 72673 h 2956895"/>
                  <a:gd name="connsiteX21" fmla="*/ 9797143 w 11867103"/>
                  <a:gd name="connsiteY21" fmla="*/ 62625 h 2956895"/>
                  <a:gd name="connsiteX22" fmla="*/ 9947868 w 11867103"/>
                  <a:gd name="connsiteY22" fmla="*/ 52576 h 2956895"/>
                  <a:gd name="connsiteX23" fmla="*/ 10791930 w 11867103"/>
                  <a:gd name="connsiteY23" fmla="*/ 22431 h 2956895"/>
                  <a:gd name="connsiteX24" fmla="*/ 11736475 w 11867103"/>
                  <a:gd name="connsiteY24" fmla="*/ 42528 h 2956895"/>
                  <a:gd name="connsiteX25" fmla="*/ 11766620 w 11867103"/>
                  <a:gd name="connsiteY25" fmla="*/ 72673 h 2956895"/>
                  <a:gd name="connsiteX26" fmla="*/ 11786717 w 11867103"/>
                  <a:gd name="connsiteY26" fmla="*/ 112866 h 2956895"/>
                  <a:gd name="connsiteX27" fmla="*/ 11806813 w 11867103"/>
                  <a:gd name="connsiteY27" fmla="*/ 203301 h 2956895"/>
                  <a:gd name="connsiteX28" fmla="*/ 11816862 w 11867103"/>
                  <a:gd name="connsiteY28" fmla="*/ 243495 h 2956895"/>
                  <a:gd name="connsiteX29" fmla="*/ 11826910 w 11867103"/>
                  <a:gd name="connsiteY29" fmla="*/ 333930 h 2956895"/>
                  <a:gd name="connsiteX30" fmla="*/ 11836958 w 11867103"/>
                  <a:gd name="connsiteY30" fmla="*/ 414317 h 2956895"/>
                  <a:gd name="connsiteX31" fmla="*/ 11826910 w 11867103"/>
                  <a:gd name="connsiteY31" fmla="*/ 725816 h 2956895"/>
                  <a:gd name="connsiteX32" fmla="*/ 11816862 w 11867103"/>
                  <a:gd name="connsiteY32" fmla="*/ 786106 h 2956895"/>
                  <a:gd name="connsiteX33" fmla="*/ 11806813 w 11867103"/>
                  <a:gd name="connsiteY33" fmla="*/ 856444 h 2956895"/>
                  <a:gd name="connsiteX34" fmla="*/ 11816862 w 11867103"/>
                  <a:gd name="connsiteY34" fmla="*/ 2323504 h 2956895"/>
                  <a:gd name="connsiteX35" fmla="*/ 11826910 w 11867103"/>
                  <a:gd name="connsiteY35" fmla="*/ 2393842 h 2956895"/>
                  <a:gd name="connsiteX36" fmla="*/ 11836958 w 11867103"/>
                  <a:gd name="connsiteY36" fmla="*/ 2423987 h 2956895"/>
                  <a:gd name="connsiteX37" fmla="*/ 11857055 w 11867103"/>
                  <a:gd name="connsiteY37" fmla="*/ 2554616 h 2956895"/>
                  <a:gd name="connsiteX38" fmla="*/ 11867103 w 11867103"/>
                  <a:gd name="connsiteY38" fmla="*/ 2594809 h 2956895"/>
                  <a:gd name="connsiteX39" fmla="*/ 11857055 w 11867103"/>
                  <a:gd name="connsiteY39" fmla="*/ 2825921 h 2956895"/>
                  <a:gd name="connsiteX40" fmla="*/ 11836958 w 11867103"/>
                  <a:gd name="connsiteY40" fmla="*/ 2856066 h 2956895"/>
                  <a:gd name="connsiteX41" fmla="*/ 11033090 w 11867103"/>
                  <a:gd name="connsiteY41" fmla="*/ 2846018 h 2956895"/>
                  <a:gd name="connsiteX42" fmla="*/ 10621108 w 11867103"/>
                  <a:gd name="connsiteY42" fmla="*/ 2835970 h 2956895"/>
                  <a:gd name="connsiteX43" fmla="*/ 10128739 w 11867103"/>
                  <a:gd name="connsiteY43" fmla="*/ 2846018 h 2956895"/>
                  <a:gd name="connsiteX44" fmla="*/ 10048352 w 11867103"/>
                  <a:gd name="connsiteY44" fmla="*/ 2856066 h 2956895"/>
                  <a:gd name="connsiteX45" fmla="*/ 9555982 w 11867103"/>
                  <a:gd name="connsiteY45" fmla="*/ 2846018 h 2956895"/>
                  <a:gd name="connsiteX46" fmla="*/ 9445451 w 11867103"/>
                  <a:gd name="connsiteY46" fmla="*/ 2835970 h 2956895"/>
                  <a:gd name="connsiteX47" fmla="*/ 9415306 w 11867103"/>
                  <a:gd name="connsiteY47" fmla="*/ 2815873 h 2956895"/>
                  <a:gd name="connsiteX48" fmla="*/ 9204290 w 11867103"/>
                  <a:gd name="connsiteY48" fmla="*/ 2795776 h 2956895"/>
                  <a:gd name="connsiteX49" fmla="*/ 9073662 w 11867103"/>
                  <a:gd name="connsiteY49" fmla="*/ 2775679 h 2956895"/>
                  <a:gd name="connsiteX50" fmla="*/ 8812404 w 11867103"/>
                  <a:gd name="connsiteY50" fmla="*/ 2765631 h 2956895"/>
                  <a:gd name="connsiteX51" fmla="*/ 8400422 w 11867103"/>
                  <a:gd name="connsiteY51" fmla="*/ 2755583 h 2956895"/>
                  <a:gd name="connsiteX52" fmla="*/ 8269793 w 11867103"/>
                  <a:gd name="connsiteY52" fmla="*/ 2745534 h 2956895"/>
                  <a:gd name="connsiteX53" fmla="*/ 7797521 w 11867103"/>
                  <a:gd name="connsiteY53" fmla="*/ 2765631 h 2956895"/>
                  <a:gd name="connsiteX54" fmla="*/ 7717134 w 11867103"/>
                  <a:gd name="connsiteY54" fmla="*/ 2775679 h 2956895"/>
                  <a:gd name="connsiteX55" fmla="*/ 7486022 w 11867103"/>
                  <a:gd name="connsiteY55" fmla="*/ 2805825 h 2956895"/>
                  <a:gd name="connsiteX56" fmla="*/ 7395587 w 11867103"/>
                  <a:gd name="connsiteY56" fmla="*/ 2825921 h 2956895"/>
                  <a:gd name="connsiteX57" fmla="*/ 7325248 w 11867103"/>
                  <a:gd name="connsiteY57" fmla="*/ 2835970 h 2956895"/>
                  <a:gd name="connsiteX58" fmla="*/ 6863024 w 11867103"/>
                  <a:gd name="connsiteY58" fmla="*/ 2825921 h 2956895"/>
                  <a:gd name="connsiteX59" fmla="*/ 6722347 w 11867103"/>
                  <a:gd name="connsiteY59" fmla="*/ 2815873 h 2956895"/>
                  <a:gd name="connsiteX60" fmla="*/ 4903596 w 11867103"/>
                  <a:gd name="connsiteY60" fmla="*/ 2866115 h 2956895"/>
                  <a:gd name="connsiteX61" fmla="*/ 4722725 w 11867103"/>
                  <a:gd name="connsiteY61" fmla="*/ 2906308 h 2956895"/>
                  <a:gd name="connsiteX62" fmla="*/ 4300695 w 11867103"/>
                  <a:gd name="connsiteY62" fmla="*/ 2886211 h 2956895"/>
                  <a:gd name="connsiteX63" fmla="*/ 4059534 w 11867103"/>
                  <a:gd name="connsiteY63" fmla="*/ 2846018 h 2956895"/>
                  <a:gd name="connsiteX64" fmla="*/ 3768132 w 11867103"/>
                  <a:gd name="connsiteY64" fmla="*/ 2815873 h 2956895"/>
                  <a:gd name="connsiteX65" fmla="*/ 3627455 w 11867103"/>
                  <a:gd name="connsiteY65" fmla="*/ 2805825 h 2956895"/>
                  <a:gd name="connsiteX66" fmla="*/ 3125037 w 11867103"/>
                  <a:gd name="connsiteY66" fmla="*/ 2815873 h 2956895"/>
                  <a:gd name="connsiteX67" fmla="*/ 3064747 w 11867103"/>
                  <a:gd name="connsiteY67" fmla="*/ 2825921 h 2956895"/>
                  <a:gd name="connsiteX68" fmla="*/ 2009670 w 11867103"/>
                  <a:gd name="connsiteY68" fmla="*/ 2835970 h 2956895"/>
                  <a:gd name="connsiteX69" fmla="*/ 1678075 w 11867103"/>
                  <a:gd name="connsiteY69" fmla="*/ 2926405 h 2956895"/>
                  <a:gd name="connsiteX70" fmla="*/ 1607736 w 11867103"/>
                  <a:gd name="connsiteY70" fmla="*/ 2956550 h 2956895"/>
                  <a:gd name="connsiteX71" fmla="*/ 1135464 w 11867103"/>
                  <a:gd name="connsiteY71" fmla="*/ 2936453 h 2956895"/>
                  <a:gd name="connsiteX72" fmla="*/ 944545 w 11867103"/>
                  <a:gd name="connsiteY72" fmla="*/ 2906308 h 2956895"/>
                  <a:gd name="connsiteX73" fmla="*/ 723481 w 11867103"/>
                  <a:gd name="connsiteY73" fmla="*/ 2866115 h 2956895"/>
                  <a:gd name="connsiteX74" fmla="*/ 643095 w 11867103"/>
                  <a:gd name="connsiteY74" fmla="*/ 2856066 h 2956895"/>
                  <a:gd name="connsiteX75" fmla="*/ 371789 w 11867103"/>
                  <a:gd name="connsiteY75" fmla="*/ 2815873 h 2956895"/>
                  <a:gd name="connsiteX76" fmla="*/ 0 w 11867103"/>
                  <a:gd name="connsiteY76" fmla="*/ 2805825 h 2956895"/>
                  <a:gd name="connsiteX0" fmla="*/ 120580 w 11867103"/>
                  <a:gd name="connsiteY0" fmla="*/ 42528 h 2956895"/>
                  <a:gd name="connsiteX1" fmla="*/ 281354 w 11867103"/>
                  <a:gd name="connsiteY1" fmla="*/ 32479 h 2956895"/>
                  <a:gd name="connsiteX2" fmla="*/ 673240 w 11867103"/>
                  <a:gd name="connsiteY2" fmla="*/ 22431 h 2956895"/>
                  <a:gd name="connsiteX3" fmla="*/ 1356528 w 11867103"/>
                  <a:gd name="connsiteY3" fmla="*/ 72673 h 2956895"/>
                  <a:gd name="connsiteX4" fmla="*/ 1758462 w 11867103"/>
                  <a:gd name="connsiteY4" fmla="*/ 32479 h 2956895"/>
                  <a:gd name="connsiteX5" fmla="*/ 2140299 w 11867103"/>
                  <a:gd name="connsiteY5" fmla="*/ 32479 h 2956895"/>
                  <a:gd name="connsiteX6" fmla="*/ 4652387 w 11867103"/>
                  <a:gd name="connsiteY6" fmla="*/ 52576 h 2956895"/>
                  <a:gd name="connsiteX7" fmla="*/ 4692580 w 11867103"/>
                  <a:gd name="connsiteY7" fmla="*/ 62625 h 2956895"/>
                  <a:gd name="connsiteX8" fmla="*/ 6420897 w 11867103"/>
                  <a:gd name="connsiteY8" fmla="*/ 82721 h 2956895"/>
                  <a:gd name="connsiteX9" fmla="*/ 7204668 w 11867103"/>
                  <a:gd name="connsiteY9" fmla="*/ 2334 h 2956895"/>
                  <a:gd name="connsiteX10" fmla="*/ 7285055 w 11867103"/>
                  <a:gd name="connsiteY10" fmla="*/ 22431 h 2956895"/>
                  <a:gd name="connsiteX11" fmla="*/ 7375490 w 11867103"/>
                  <a:gd name="connsiteY11" fmla="*/ 32479 h 2956895"/>
                  <a:gd name="connsiteX12" fmla="*/ 7928150 w 11867103"/>
                  <a:gd name="connsiteY12" fmla="*/ 52576 h 2956895"/>
                  <a:gd name="connsiteX13" fmla="*/ 8109020 w 11867103"/>
                  <a:gd name="connsiteY13" fmla="*/ 72673 h 2956895"/>
                  <a:gd name="connsiteX14" fmla="*/ 8219552 w 11867103"/>
                  <a:gd name="connsiteY14" fmla="*/ 82721 h 2956895"/>
                  <a:gd name="connsiteX15" fmla="*/ 8299939 w 11867103"/>
                  <a:gd name="connsiteY15" fmla="*/ 92770 h 2956895"/>
                  <a:gd name="connsiteX16" fmla="*/ 8521002 w 11867103"/>
                  <a:gd name="connsiteY16" fmla="*/ 102818 h 2956895"/>
                  <a:gd name="connsiteX17" fmla="*/ 9515789 w 11867103"/>
                  <a:gd name="connsiteY17" fmla="*/ 92770 h 2956895"/>
                  <a:gd name="connsiteX18" fmla="*/ 9606224 w 11867103"/>
                  <a:gd name="connsiteY18" fmla="*/ 82721 h 2956895"/>
                  <a:gd name="connsiteX19" fmla="*/ 9716756 w 11867103"/>
                  <a:gd name="connsiteY19" fmla="*/ 72673 h 2956895"/>
                  <a:gd name="connsiteX20" fmla="*/ 9797143 w 11867103"/>
                  <a:gd name="connsiteY20" fmla="*/ 62625 h 2956895"/>
                  <a:gd name="connsiteX21" fmla="*/ 9947868 w 11867103"/>
                  <a:gd name="connsiteY21" fmla="*/ 52576 h 2956895"/>
                  <a:gd name="connsiteX22" fmla="*/ 10791930 w 11867103"/>
                  <a:gd name="connsiteY22" fmla="*/ 22431 h 2956895"/>
                  <a:gd name="connsiteX23" fmla="*/ 11736475 w 11867103"/>
                  <a:gd name="connsiteY23" fmla="*/ 42528 h 2956895"/>
                  <a:gd name="connsiteX24" fmla="*/ 11766620 w 11867103"/>
                  <a:gd name="connsiteY24" fmla="*/ 72673 h 2956895"/>
                  <a:gd name="connsiteX25" fmla="*/ 11786717 w 11867103"/>
                  <a:gd name="connsiteY25" fmla="*/ 112866 h 2956895"/>
                  <a:gd name="connsiteX26" fmla="*/ 11806813 w 11867103"/>
                  <a:gd name="connsiteY26" fmla="*/ 203301 h 2956895"/>
                  <a:gd name="connsiteX27" fmla="*/ 11816862 w 11867103"/>
                  <a:gd name="connsiteY27" fmla="*/ 243495 h 2956895"/>
                  <a:gd name="connsiteX28" fmla="*/ 11826910 w 11867103"/>
                  <a:gd name="connsiteY28" fmla="*/ 333930 h 2956895"/>
                  <a:gd name="connsiteX29" fmla="*/ 11836958 w 11867103"/>
                  <a:gd name="connsiteY29" fmla="*/ 414317 h 2956895"/>
                  <a:gd name="connsiteX30" fmla="*/ 11826910 w 11867103"/>
                  <a:gd name="connsiteY30" fmla="*/ 725816 h 2956895"/>
                  <a:gd name="connsiteX31" fmla="*/ 11816862 w 11867103"/>
                  <a:gd name="connsiteY31" fmla="*/ 786106 h 2956895"/>
                  <a:gd name="connsiteX32" fmla="*/ 11806813 w 11867103"/>
                  <a:gd name="connsiteY32" fmla="*/ 856444 h 2956895"/>
                  <a:gd name="connsiteX33" fmla="*/ 11816862 w 11867103"/>
                  <a:gd name="connsiteY33" fmla="*/ 2323504 h 2956895"/>
                  <a:gd name="connsiteX34" fmla="*/ 11826910 w 11867103"/>
                  <a:gd name="connsiteY34" fmla="*/ 2393842 h 2956895"/>
                  <a:gd name="connsiteX35" fmla="*/ 11836958 w 11867103"/>
                  <a:gd name="connsiteY35" fmla="*/ 2423987 h 2956895"/>
                  <a:gd name="connsiteX36" fmla="*/ 11857055 w 11867103"/>
                  <a:gd name="connsiteY36" fmla="*/ 2554616 h 2956895"/>
                  <a:gd name="connsiteX37" fmla="*/ 11867103 w 11867103"/>
                  <a:gd name="connsiteY37" fmla="*/ 2594809 h 2956895"/>
                  <a:gd name="connsiteX38" fmla="*/ 11857055 w 11867103"/>
                  <a:gd name="connsiteY38" fmla="*/ 2825921 h 2956895"/>
                  <a:gd name="connsiteX39" fmla="*/ 11836958 w 11867103"/>
                  <a:gd name="connsiteY39" fmla="*/ 2856066 h 2956895"/>
                  <a:gd name="connsiteX40" fmla="*/ 11033090 w 11867103"/>
                  <a:gd name="connsiteY40" fmla="*/ 2846018 h 2956895"/>
                  <a:gd name="connsiteX41" fmla="*/ 10621108 w 11867103"/>
                  <a:gd name="connsiteY41" fmla="*/ 2835970 h 2956895"/>
                  <a:gd name="connsiteX42" fmla="*/ 10128739 w 11867103"/>
                  <a:gd name="connsiteY42" fmla="*/ 2846018 h 2956895"/>
                  <a:gd name="connsiteX43" fmla="*/ 10048352 w 11867103"/>
                  <a:gd name="connsiteY43" fmla="*/ 2856066 h 2956895"/>
                  <a:gd name="connsiteX44" fmla="*/ 9555982 w 11867103"/>
                  <a:gd name="connsiteY44" fmla="*/ 2846018 h 2956895"/>
                  <a:gd name="connsiteX45" fmla="*/ 9445451 w 11867103"/>
                  <a:gd name="connsiteY45" fmla="*/ 2835970 h 2956895"/>
                  <a:gd name="connsiteX46" fmla="*/ 9415306 w 11867103"/>
                  <a:gd name="connsiteY46" fmla="*/ 2815873 h 2956895"/>
                  <a:gd name="connsiteX47" fmla="*/ 9204290 w 11867103"/>
                  <a:gd name="connsiteY47" fmla="*/ 2795776 h 2956895"/>
                  <a:gd name="connsiteX48" fmla="*/ 9073662 w 11867103"/>
                  <a:gd name="connsiteY48" fmla="*/ 2775679 h 2956895"/>
                  <a:gd name="connsiteX49" fmla="*/ 8812404 w 11867103"/>
                  <a:gd name="connsiteY49" fmla="*/ 2765631 h 2956895"/>
                  <a:gd name="connsiteX50" fmla="*/ 8400422 w 11867103"/>
                  <a:gd name="connsiteY50" fmla="*/ 2755583 h 2956895"/>
                  <a:gd name="connsiteX51" fmla="*/ 8269793 w 11867103"/>
                  <a:gd name="connsiteY51" fmla="*/ 2745534 h 2956895"/>
                  <a:gd name="connsiteX52" fmla="*/ 7797521 w 11867103"/>
                  <a:gd name="connsiteY52" fmla="*/ 2765631 h 2956895"/>
                  <a:gd name="connsiteX53" fmla="*/ 7717134 w 11867103"/>
                  <a:gd name="connsiteY53" fmla="*/ 2775679 h 2956895"/>
                  <a:gd name="connsiteX54" fmla="*/ 7486022 w 11867103"/>
                  <a:gd name="connsiteY54" fmla="*/ 2805825 h 2956895"/>
                  <a:gd name="connsiteX55" fmla="*/ 7395587 w 11867103"/>
                  <a:gd name="connsiteY55" fmla="*/ 2825921 h 2956895"/>
                  <a:gd name="connsiteX56" fmla="*/ 7325248 w 11867103"/>
                  <a:gd name="connsiteY56" fmla="*/ 2835970 h 2956895"/>
                  <a:gd name="connsiteX57" fmla="*/ 6863024 w 11867103"/>
                  <a:gd name="connsiteY57" fmla="*/ 2825921 h 2956895"/>
                  <a:gd name="connsiteX58" fmla="*/ 6722347 w 11867103"/>
                  <a:gd name="connsiteY58" fmla="*/ 2815873 h 2956895"/>
                  <a:gd name="connsiteX59" fmla="*/ 4903596 w 11867103"/>
                  <a:gd name="connsiteY59" fmla="*/ 2866115 h 2956895"/>
                  <a:gd name="connsiteX60" fmla="*/ 4722725 w 11867103"/>
                  <a:gd name="connsiteY60" fmla="*/ 2906308 h 2956895"/>
                  <a:gd name="connsiteX61" fmla="*/ 4300695 w 11867103"/>
                  <a:gd name="connsiteY61" fmla="*/ 2886211 h 2956895"/>
                  <a:gd name="connsiteX62" fmla="*/ 4059534 w 11867103"/>
                  <a:gd name="connsiteY62" fmla="*/ 2846018 h 2956895"/>
                  <a:gd name="connsiteX63" fmla="*/ 3768132 w 11867103"/>
                  <a:gd name="connsiteY63" fmla="*/ 2815873 h 2956895"/>
                  <a:gd name="connsiteX64" fmla="*/ 3627455 w 11867103"/>
                  <a:gd name="connsiteY64" fmla="*/ 2805825 h 2956895"/>
                  <a:gd name="connsiteX65" fmla="*/ 3125037 w 11867103"/>
                  <a:gd name="connsiteY65" fmla="*/ 2815873 h 2956895"/>
                  <a:gd name="connsiteX66" fmla="*/ 3064747 w 11867103"/>
                  <a:gd name="connsiteY66" fmla="*/ 2825921 h 2956895"/>
                  <a:gd name="connsiteX67" fmla="*/ 2009670 w 11867103"/>
                  <a:gd name="connsiteY67" fmla="*/ 2835970 h 2956895"/>
                  <a:gd name="connsiteX68" fmla="*/ 1678075 w 11867103"/>
                  <a:gd name="connsiteY68" fmla="*/ 2926405 h 2956895"/>
                  <a:gd name="connsiteX69" fmla="*/ 1607736 w 11867103"/>
                  <a:gd name="connsiteY69" fmla="*/ 2956550 h 2956895"/>
                  <a:gd name="connsiteX70" fmla="*/ 1135464 w 11867103"/>
                  <a:gd name="connsiteY70" fmla="*/ 2936453 h 2956895"/>
                  <a:gd name="connsiteX71" fmla="*/ 944545 w 11867103"/>
                  <a:gd name="connsiteY71" fmla="*/ 2906308 h 2956895"/>
                  <a:gd name="connsiteX72" fmla="*/ 723481 w 11867103"/>
                  <a:gd name="connsiteY72" fmla="*/ 2866115 h 2956895"/>
                  <a:gd name="connsiteX73" fmla="*/ 643095 w 11867103"/>
                  <a:gd name="connsiteY73" fmla="*/ 2856066 h 2956895"/>
                  <a:gd name="connsiteX74" fmla="*/ 371789 w 11867103"/>
                  <a:gd name="connsiteY74" fmla="*/ 2815873 h 2956895"/>
                  <a:gd name="connsiteX75" fmla="*/ 0 w 11867103"/>
                  <a:gd name="connsiteY75" fmla="*/ 2805825 h 2956895"/>
                  <a:gd name="connsiteX0" fmla="*/ 120580 w 11867103"/>
                  <a:gd name="connsiteY0" fmla="*/ 42790 h 2957157"/>
                  <a:gd name="connsiteX1" fmla="*/ 281354 w 11867103"/>
                  <a:gd name="connsiteY1" fmla="*/ 32741 h 2957157"/>
                  <a:gd name="connsiteX2" fmla="*/ 673240 w 11867103"/>
                  <a:gd name="connsiteY2" fmla="*/ 22693 h 2957157"/>
                  <a:gd name="connsiteX3" fmla="*/ 1356528 w 11867103"/>
                  <a:gd name="connsiteY3" fmla="*/ 72935 h 2957157"/>
                  <a:gd name="connsiteX4" fmla="*/ 1758462 w 11867103"/>
                  <a:gd name="connsiteY4" fmla="*/ 32741 h 2957157"/>
                  <a:gd name="connsiteX5" fmla="*/ 2140299 w 11867103"/>
                  <a:gd name="connsiteY5" fmla="*/ 32741 h 2957157"/>
                  <a:gd name="connsiteX6" fmla="*/ 4652387 w 11867103"/>
                  <a:gd name="connsiteY6" fmla="*/ 52838 h 2957157"/>
                  <a:gd name="connsiteX7" fmla="*/ 4692580 w 11867103"/>
                  <a:gd name="connsiteY7" fmla="*/ 62887 h 2957157"/>
                  <a:gd name="connsiteX8" fmla="*/ 6420897 w 11867103"/>
                  <a:gd name="connsiteY8" fmla="*/ 82983 h 2957157"/>
                  <a:gd name="connsiteX9" fmla="*/ 7204668 w 11867103"/>
                  <a:gd name="connsiteY9" fmla="*/ 2596 h 2957157"/>
                  <a:gd name="connsiteX10" fmla="*/ 7285055 w 11867103"/>
                  <a:gd name="connsiteY10" fmla="*/ 22693 h 2957157"/>
                  <a:gd name="connsiteX11" fmla="*/ 7928150 w 11867103"/>
                  <a:gd name="connsiteY11" fmla="*/ 52838 h 2957157"/>
                  <a:gd name="connsiteX12" fmla="*/ 8109020 w 11867103"/>
                  <a:gd name="connsiteY12" fmla="*/ 72935 h 2957157"/>
                  <a:gd name="connsiteX13" fmla="*/ 8219552 w 11867103"/>
                  <a:gd name="connsiteY13" fmla="*/ 82983 h 2957157"/>
                  <a:gd name="connsiteX14" fmla="*/ 8299939 w 11867103"/>
                  <a:gd name="connsiteY14" fmla="*/ 93032 h 2957157"/>
                  <a:gd name="connsiteX15" fmla="*/ 8521002 w 11867103"/>
                  <a:gd name="connsiteY15" fmla="*/ 103080 h 2957157"/>
                  <a:gd name="connsiteX16" fmla="*/ 9515789 w 11867103"/>
                  <a:gd name="connsiteY16" fmla="*/ 93032 h 2957157"/>
                  <a:gd name="connsiteX17" fmla="*/ 9606224 w 11867103"/>
                  <a:gd name="connsiteY17" fmla="*/ 82983 h 2957157"/>
                  <a:gd name="connsiteX18" fmla="*/ 9716756 w 11867103"/>
                  <a:gd name="connsiteY18" fmla="*/ 72935 h 2957157"/>
                  <a:gd name="connsiteX19" fmla="*/ 9797143 w 11867103"/>
                  <a:gd name="connsiteY19" fmla="*/ 62887 h 2957157"/>
                  <a:gd name="connsiteX20" fmla="*/ 9947868 w 11867103"/>
                  <a:gd name="connsiteY20" fmla="*/ 52838 h 2957157"/>
                  <a:gd name="connsiteX21" fmla="*/ 10791930 w 11867103"/>
                  <a:gd name="connsiteY21" fmla="*/ 22693 h 2957157"/>
                  <a:gd name="connsiteX22" fmla="*/ 11736475 w 11867103"/>
                  <a:gd name="connsiteY22" fmla="*/ 42790 h 2957157"/>
                  <a:gd name="connsiteX23" fmla="*/ 11766620 w 11867103"/>
                  <a:gd name="connsiteY23" fmla="*/ 72935 h 2957157"/>
                  <a:gd name="connsiteX24" fmla="*/ 11786717 w 11867103"/>
                  <a:gd name="connsiteY24" fmla="*/ 113128 h 2957157"/>
                  <a:gd name="connsiteX25" fmla="*/ 11806813 w 11867103"/>
                  <a:gd name="connsiteY25" fmla="*/ 203563 h 2957157"/>
                  <a:gd name="connsiteX26" fmla="*/ 11816862 w 11867103"/>
                  <a:gd name="connsiteY26" fmla="*/ 243757 h 2957157"/>
                  <a:gd name="connsiteX27" fmla="*/ 11826910 w 11867103"/>
                  <a:gd name="connsiteY27" fmla="*/ 334192 h 2957157"/>
                  <a:gd name="connsiteX28" fmla="*/ 11836958 w 11867103"/>
                  <a:gd name="connsiteY28" fmla="*/ 414579 h 2957157"/>
                  <a:gd name="connsiteX29" fmla="*/ 11826910 w 11867103"/>
                  <a:gd name="connsiteY29" fmla="*/ 726078 h 2957157"/>
                  <a:gd name="connsiteX30" fmla="*/ 11816862 w 11867103"/>
                  <a:gd name="connsiteY30" fmla="*/ 786368 h 2957157"/>
                  <a:gd name="connsiteX31" fmla="*/ 11806813 w 11867103"/>
                  <a:gd name="connsiteY31" fmla="*/ 856706 h 2957157"/>
                  <a:gd name="connsiteX32" fmla="*/ 11816862 w 11867103"/>
                  <a:gd name="connsiteY32" fmla="*/ 2323766 h 2957157"/>
                  <a:gd name="connsiteX33" fmla="*/ 11826910 w 11867103"/>
                  <a:gd name="connsiteY33" fmla="*/ 2394104 h 2957157"/>
                  <a:gd name="connsiteX34" fmla="*/ 11836958 w 11867103"/>
                  <a:gd name="connsiteY34" fmla="*/ 2424249 h 2957157"/>
                  <a:gd name="connsiteX35" fmla="*/ 11857055 w 11867103"/>
                  <a:gd name="connsiteY35" fmla="*/ 2554878 h 2957157"/>
                  <a:gd name="connsiteX36" fmla="*/ 11867103 w 11867103"/>
                  <a:gd name="connsiteY36" fmla="*/ 2595071 h 2957157"/>
                  <a:gd name="connsiteX37" fmla="*/ 11857055 w 11867103"/>
                  <a:gd name="connsiteY37" fmla="*/ 2826183 h 2957157"/>
                  <a:gd name="connsiteX38" fmla="*/ 11836958 w 11867103"/>
                  <a:gd name="connsiteY38" fmla="*/ 2856328 h 2957157"/>
                  <a:gd name="connsiteX39" fmla="*/ 11033090 w 11867103"/>
                  <a:gd name="connsiteY39" fmla="*/ 2846280 h 2957157"/>
                  <a:gd name="connsiteX40" fmla="*/ 10621108 w 11867103"/>
                  <a:gd name="connsiteY40" fmla="*/ 2836232 h 2957157"/>
                  <a:gd name="connsiteX41" fmla="*/ 10128739 w 11867103"/>
                  <a:gd name="connsiteY41" fmla="*/ 2846280 h 2957157"/>
                  <a:gd name="connsiteX42" fmla="*/ 10048352 w 11867103"/>
                  <a:gd name="connsiteY42" fmla="*/ 2856328 h 2957157"/>
                  <a:gd name="connsiteX43" fmla="*/ 9555982 w 11867103"/>
                  <a:gd name="connsiteY43" fmla="*/ 2846280 h 2957157"/>
                  <a:gd name="connsiteX44" fmla="*/ 9445451 w 11867103"/>
                  <a:gd name="connsiteY44" fmla="*/ 2836232 h 2957157"/>
                  <a:gd name="connsiteX45" fmla="*/ 9415306 w 11867103"/>
                  <a:gd name="connsiteY45" fmla="*/ 2816135 h 2957157"/>
                  <a:gd name="connsiteX46" fmla="*/ 9204290 w 11867103"/>
                  <a:gd name="connsiteY46" fmla="*/ 2796038 h 2957157"/>
                  <a:gd name="connsiteX47" fmla="*/ 9073662 w 11867103"/>
                  <a:gd name="connsiteY47" fmla="*/ 2775941 h 2957157"/>
                  <a:gd name="connsiteX48" fmla="*/ 8812404 w 11867103"/>
                  <a:gd name="connsiteY48" fmla="*/ 2765893 h 2957157"/>
                  <a:gd name="connsiteX49" fmla="*/ 8400422 w 11867103"/>
                  <a:gd name="connsiteY49" fmla="*/ 2755845 h 2957157"/>
                  <a:gd name="connsiteX50" fmla="*/ 8269793 w 11867103"/>
                  <a:gd name="connsiteY50" fmla="*/ 2745796 h 2957157"/>
                  <a:gd name="connsiteX51" fmla="*/ 7797521 w 11867103"/>
                  <a:gd name="connsiteY51" fmla="*/ 2765893 h 2957157"/>
                  <a:gd name="connsiteX52" fmla="*/ 7717134 w 11867103"/>
                  <a:gd name="connsiteY52" fmla="*/ 2775941 h 2957157"/>
                  <a:gd name="connsiteX53" fmla="*/ 7486022 w 11867103"/>
                  <a:gd name="connsiteY53" fmla="*/ 2806087 h 2957157"/>
                  <a:gd name="connsiteX54" fmla="*/ 7395587 w 11867103"/>
                  <a:gd name="connsiteY54" fmla="*/ 2826183 h 2957157"/>
                  <a:gd name="connsiteX55" fmla="*/ 7325248 w 11867103"/>
                  <a:gd name="connsiteY55" fmla="*/ 2836232 h 2957157"/>
                  <a:gd name="connsiteX56" fmla="*/ 6863024 w 11867103"/>
                  <a:gd name="connsiteY56" fmla="*/ 2826183 h 2957157"/>
                  <a:gd name="connsiteX57" fmla="*/ 6722347 w 11867103"/>
                  <a:gd name="connsiteY57" fmla="*/ 2816135 h 2957157"/>
                  <a:gd name="connsiteX58" fmla="*/ 4903596 w 11867103"/>
                  <a:gd name="connsiteY58" fmla="*/ 2866377 h 2957157"/>
                  <a:gd name="connsiteX59" fmla="*/ 4722725 w 11867103"/>
                  <a:gd name="connsiteY59" fmla="*/ 2906570 h 2957157"/>
                  <a:gd name="connsiteX60" fmla="*/ 4300695 w 11867103"/>
                  <a:gd name="connsiteY60" fmla="*/ 2886473 h 2957157"/>
                  <a:gd name="connsiteX61" fmla="*/ 4059534 w 11867103"/>
                  <a:gd name="connsiteY61" fmla="*/ 2846280 h 2957157"/>
                  <a:gd name="connsiteX62" fmla="*/ 3768132 w 11867103"/>
                  <a:gd name="connsiteY62" fmla="*/ 2816135 h 2957157"/>
                  <a:gd name="connsiteX63" fmla="*/ 3627455 w 11867103"/>
                  <a:gd name="connsiteY63" fmla="*/ 2806087 h 2957157"/>
                  <a:gd name="connsiteX64" fmla="*/ 3125037 w 11867103"/>
                  <a:gd name="connsiteY64" fmla="*/ 2816135 h 2957157"/>
                  <a:gd name="connsiteX65" fmla="*/ 3064747 w 11867103"/>
                  <a:gd name="connsiteY65" fmla="*/ 2826183 h 2957157"/>
                  <a:gd name="connsiteX66" fmla="*/ 2009670 w 11867103"/>
                  <a:gd name="connsiteY66" fmla="*/ 2836232 h 2957157"/>
                  <a:gd name="connsiteX67" fmla="*/ 1678075 w 11867103"/>
                  <a:gd name="connsiteY67" fmla="*/ 2926667 h 2957157"/>
                  <a:gd name="connsiteX68" fmla="*/ 1607736 w 11867103"/>
                  <a:gd name="connsiteY68" fmla="*/ 2956812 h 2957157"/>
                  <a:gd name="connsiteX69" fmla="*/ 1135464 w 11867103"/>
                  <a:gd name="connsiteY69" fmla="*/ 2936715 h 2957157"/>
                  <a:gd name="connsiteX70" fmla="*/ 944545 w 11867103"/>
                  <a:gd name="connsiteY70" fmla="*/ 2906570 h 2957157"/>
                  <a:gd name="connsiteX71" fmla="*/ 723481 w 11867103"/>
                  <a:gd name="connsiteY71" fmla="*/ 2866377 h 2957157"/>
                  <a:gd name="connsiteX72" fmla="*/ 643095 w 11867103"/>
                  <a:gd name="connsiteY72" fmla="*/ 2856328 h 2957157"/>
                  <a:gd name="connsiteX73" fmla="*/ 371789 w 11867103"/>
                  <a:gd name="connsiteY73" fmla="*/ 2816135 h 2957157"/>
                  <a:gd name="connsiteX74" fmla="*/ 0 w 11867103"/>
                  <a:gd name="connsiteY74" fmla="*/ 2806087 h 2957157"/>
                  <a:gd name="connsiteX0" fmla="*/ 120580 w 11867103"/>
                  <a:gd name="connsiteY0" fmla="*/ 40596 h 2954963"/>
                  <a:gd name="connsiteX1" fmla="*/ 281354 w 11867103"/>
                  <a:gd name="connsiteY1" fmla="*/ 30547 h 2954963"/>
                  <a:gd name="connsiteX2" fmla="*/ 673240 w 11867103"/>
                  <a:gd name="connsiteY2" fmla="*/ 20499 h 2954963"/>
                  <a:gd name="connsiteX3" fmla="*/ 1356528 w 11867103"/>
                  <a:gd name="connsiteY3" fmla="*/ 70741 h 2954963"/>
                  <a:gd name="connsiteX4" fmla="*/ 1758462 w 11867103"/>
                  <a:gd name="connsiteY4" fmla="*/ 30547 h 2954963"/>
                  <a:gd name="connsiteX5" fmla="*/ 2140299 w 11867103"/>
                  <a:gd name="connsiteY5" fmla="*/ 30547 h 2954963"/>
                  <a:gd name="connsiteX6" fmla="*/ 4652387 w 11867103"/>
                  <a:gd name="connsiteY6" fmla="*/ 50644 h 2954963"/>
                  <a:gd name="connsiteX7" fmla="*/ 4692580 w 11867103"/>
                  <a:gd name="connsiteY7" fmla="*/ 60693 h 2954963"/>
                  <a:gd name="connsiteX8" fmla="*/ 6420897 w 11867103"/>
                  <a:gd name="connsiteY8" fmla="*/ 80789 h 2954963"/>
                  <a:gd name="connsiteX9" fmla="*/ 7204668 w 11867103"/>
                  <a:gd name="connsiteY9" fmla="*/ 402 h 2954963"/>
                  <a:gd name="connsiteX10" fmla="*/ 7928150 w 11867103"/>
                  <a:gd name="connsiteY10" fmla="*/ 50644 h 2954963"/>
                  <a:gd name="connsiteX11" fmla="*/ 8109020 w 11867103"/>
                  <a:gd name="connsiteY11" fmla="*/ 70741 h 2954963"/>
                  <a:gd name="connsiteX12" fmla="*/ 8219552 w 11867103"/>
                  <a:gd name="connsiteY12" fmla="*/ 80789 h 2954963"/>
                  <a:gd name="connsiteX13" fmla="*/ 8299939 w 11867103"/>
                  <a:gd name="connsiteY13" fmla="*/ 90838 h 2954963"/>
                  <a:gd name="connsiteX14" fmla="*/ 8521002 w 11867103"/>
                  <a:gd name="connsiteY14" fmla="*/ 100886 h 2954963"/>
                  <a:gd name="connsiteX15" fmla="*/ 9515789 w 11867103"/>
                  <a:gd name="connsiteY15" fmla="*/ 90838 h 2954963"/>
                  <a:gd name="connsiteX16" fmla="*/ 9606224 w 11867103"/>
                  <a:gd name="connsiteY16" fmla="*/ 80789 h 2954963"/>
                  <a:gd name="connsiteX17" fmla="*/ 9716756 w 11867103"/>
                  <a:gd name="connsiteY17" fmla="*/ 70741 h 2954963"/>
                  <a:gd name="connsiteX18" fmla="*/ 9797143 w 11867103"/>
                  <a:gd name="connsiteY18" fmla="*/ 60693 h 2954963"/>
                  <a:gd name="connsiteX19" fmla="*/ 9947868 w 11867103"/>
                  <a:gd name="connsiteY19" fmla="*/ 50644 h 2954963"/>
                  <a:gd name="connsiteX20" fmla="*/ 10791930 w 11867103"/>
                  <a:gd name="connsiteY20" fmla="*/ 20499 h 2954963"/>
                  <a:gd name="connsiteX21" fmla="*/ 11736475 w 11867103"/>
                  <a:gd name="connsiteY21" fmla="*/ 40596 h 2954963"/>
                  <a:gd name="connsiteX22" fmla="*/ 11766620 w 11867103"/>
                  <a:gd name="connsiteY22" fmla="*/ 70741 h 2954963"/>
                  <a:gd name="connsiteX23" fmla="*/ 11786717 w 11867103"/>
                  <a:gd name="connsiteY23" fmla="*/ 110934 h 2954963"/>
                  <a:gd name="connsiteX24" fmla="*/ 11806813 w 11867103"/>
                  <a:gd name="connsiteY24" fmla="*/ 201369 h 2954963"/>
                  <a:gd name="connsiteX25" fmla="*/ 11816862 w 11867103"/>
                  <a:gd name="connsiteY25" fmla="*/ 241563 h 2954963"/>
                  <a:gd name="connsiteX26" fmla="*/ 11826910 w 11867103"/>
                  <a:gd name="connsiteY26" fmla="*/ 331998 h 2954963"/>
                  <a:gd name="connsiteX27" fmla="*/ 11836958 w 11867103"/>
                  <a:gd name="connsiteY27" fmla="*/ 412385 h 2954963"/>
                  <a:gd name="connsiteX28" fmla="*/ 11826910 w 11867103"/>
                  <a:gd name="connsiteY28" fmla="*/ 723884 h 2954963"/>
                  <a:gd name="connsiteX29" fmla="*/ 11816862 w 11867103"/>
                  <a:gd name="connsiteY29" fmla="*/ 784174 h 2954963"/>
                  <a:gd name="connsiteX30" fmla="*/ 11806813 w 11867103"/>
                  <a:gd name="connsiteY30" fmla="*/ 854512 h 2954963"/>
                  <a:gd name="connsiteX31" fmla="*/ 11816862 w 11867103"/>
                  <a:gd name="connsiteY31" fmla="*/ 2321572 h 2954963"/>
                  <a:gd name="connsiteX32" fmla="*/ 11826910 w 11867103"/>
                  <a:gd name="connsiteY32" fmla="*/ 2391910 h 2954963"/>
                  <a:gd name="connsiteX33" fmla="*/ 11836958 w 11867103"/>
                  <a:gd name="connsiteY33" fmla="*/ 2422055 h 2954963"/>
                  <a:gd name="connsiteX34" fmla="*/ 11857055 w 11867103"/>
                  <a:gd name="connsiteY34" fmla="*/ 2552684 h 2954963"/>
                  <a:gd name="connsiteX35" fmla="*/ 11867103 w 11867103"/>
                  <a:gd name="connsiteY35" fmla="*/ 2592877 h 2954963"/>
                  <a:gd name="connsiteX36" fmla="*/ 11857055 w 11867103"/>
                  <a:gd name="connsiteY36" fmla="*/ 2823989 h 2954963"/>
                  <a:gd name="connsiteX37" fmla="*/ 11836958 w 11867103"/>
                  <a:gd name="connsiteY37" fmla="*/ 2854134 h 2954963"/>
                  <a:gd name="connsiteX38" fmla="*/ 11033090 w 11867103"/>
                  <a:gd name="connsiteY38" fmla="*/ 2844086 h 2954963"/>
                  <a:gd name="connsiteX39" fmla="*/ 10621108 w 11867103"/>
                  <a:gd name="connsiteY39" fmla="*/ 2834038 h 2954963"/>
                  <a:gd name="connsiteX40" fmla="*/ 10128739 w 11867103"/>
                  <a:gd name="connsiteY40" fmla="*/ 2844086 h 2954963"/>
                  <a:gd name="connsiteX41" fmla="*/ 10048352 w 11867103"/>
                  <a:gd name="connsiteY41" fmla="*/ 2854134 h 2954963"/>
                  <a:gd name="connsiteX42" fmla="*/ 9555982 w 11867103"/>
                  <a:gd name="connsiteY42" fmla="*/ 2844086 h 2954963"/>
                  <a:gd name="connsiteX43" fmla="*/ 9445451 w 11867103"/>
                  <a:gd name="connsiteY43" fmla="*/ 2834038 h 2954963"/>
                  <a:gd name="connsiteX44" fmla="*/ 9415306 w 11867103"/>
                  <a:gd name="connsiteY44" fmla="*/ 2813941 h 2954963"/>
                  <a:gd name="connsiteX45" fmla="*/ 9204290 w 11867103"/>
                  <a:gd name="connsiteY45" fmla="*/ 2793844 h 2954963"/>
                  <a:gd name="connsiteX46" fmla="*/ 9073662 w 11867103"/>
                  <a:gd name="connsiteY46" fmla="*/ 2773747 h 2954963"/>
                  <a:gd name="connsiteX47" fmla="*/ 8812404 w 11867103"/>
                  <a:gd name="connsiteY47" fmla="*/ 2763699 h 2954963"/>
                  <a:gd name="connsiteX48" fmla="*/ 8400422 w 11867103"/>
                  <a:gd name="connsiteY48" fmla="*/ 2753651 h 2954963"/>
                  <a:gd name="connsiteX49" fmla="*/ 8269793 w 11867103"/>
                  <a:gd name="connsiteY49" fmla="*/ 2743602 h 2954963"/>
                  <a:gd name="connsiteX50" fmla="*/ 7797521 w 11867103"/>
                  <a:gd name="connsiteY50" fmla="*/ 2763699 h 2954963"/>
                  <a:gd name="connsiteX51" fmla="*/ 7717134 w 11867103"/>
                  <a:gd name="connsiteY51" fmla="*/ 2773747 h 2954963"/>
                  <a:gd name="connsiteX52" fmla="*/ 7486022 w 11867103"/>
                  <a:gd name="connsiteY52" fmla="*/ 2803893 h 2954963"/>
                  <a:gd name="connsiteX53" fmla="*/ 7395587 w 11867103"/>
                  <a:gd name="connsiteY53" fmla="*/ 2823989 h 2954963"/>
                  <a:gd name="connsiteX54" fmla="*/ 7325248 w 11867103"/>
                  <a:gd name="connsiteY54" fmla="*/ 2834038 h 2954963"/>
                  <a:gd name="connsiteX55" fmla="*/ 6863024 w 11867103"/>
                  <a:gd name="connsiteY55" fmla="*/ 2823989 h 2954963"/>
                  <a:gd name="connsiteX56" fmla="*/ 6722347 w 11867103"/>
                  <a:gd name="connsiteY56" fmla="*/ 2813941 h 2954963"/>
                  <a:gd name="connsiteX57" fmla="*/ 4903596 w 11867103"/>
                  <a:gd name="connsiteY57" fmla="*/ 2864183 h 2954963"/>
                  <a:gd name="connsiteX58" fmla="*/ 4722725 w 11867103"/>
                  <a:gd name="connsiteY58" fmla="*/ 2904376 h 2954963"/>
                  <a:gd name="connsiteX59" fmla="*/ 4300695 w 11867103"/>
                  <a:gd name="connsiteY59" fmla="*/ 2884279 h 2954963"/>
                  <a:gd name="connsiteX60" fmla="*/ 4059534 w 11867103"/>
                  <a:gd name="connsiteY60" fmla="*/ 2844086 h 2954963"/>
                  <a:gd name="connsiteX61" fmla="*/ 3768132 w 11867103"/>
                  <a:gd name="connsiteY61" fmla="*/ 2813941 h 2954963"/>
                  <a:gd name="connsiteX62" fmla="*/ 3627455 w 11867103"/>
                  <a:gd name="connsiteY62" fmla="*/ 2803893 h 2954963"/>
                  <a:gd name="connsiteX63" fmla="*/ 3125037 w 11867103"/>
                  <a:gd name="connsiteY63" fmla="*/ 2813941 h 2954963"/>
                  <a:gd name="connsiteX64" fmla="*/ 3064747 w 11867103"/>
                  <a:gd name="connsiteY64" fmla="*/ 2823989 h 2954963"/>
                  <a:gd name="connsiteX65" fmla="*/ 2009670 w 11867103"/>
                  <a:gd name="connsiteY65" fmla="*/ 2834038 h 2954963"/>
                  <a:gd name="connsiteX66" fmla="*/ 1678075 w 11867103"/>
                  <a:gd name="connsiteY66" fmla="*/ 2924473 h 2954963"/>
                  <a:gd name="connsiteX67" fmla="*/ 1607736 w 11867103"/>
                  <a:gd name="connsiteY67" fmla="*/ 2954618 h 2954963"/>
                  <a:gd name="connsiteX68" fmla="*/ 1135464 w 11867103"/>
                  <a:gd name="connsiteY68" fmla="*/ 2934521 h 2954963"/>
                  <a:gd name="connsiteX69" fmla="*/ 944545 w 11867103"/>
                  <a:gd name="connsiteY69" fmla="*/ 2904376 h 2954963"/>
                  <a:gd name="connsiteX70" fmla="*/ 723481 w 11867103"/>
                  <a:gd name="connsiteY70" fmla="*/ 2864183 h 2954963"/>
                  <a:gd name="connsiteX71" fmla="*/ 643095 w 11867103"/>
                  <a:gd name="connsiteY71" fmla="*/ 2854134 h 2954963"/>
                  <a:gd name="connsiteX72" fmla="*/ 371789 w 11867103"/>
                  <a:gd name="connsiteY72" fmla="*/ 2813941 h 2954963"/>
                  <a:gd name="connsiteX73" fmla="*/ 0 w 11867103"/>
                  <a:gd name="connsiteY73" fmla="*/ 2803893 h 2954963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109020 w 11867103"/>
                  <a:gd name="connsiteY11" fmla="*/ 52092 h 2936314"/>
                  <a:gd name="connsiteX12" fmla="*/ 8219552 w 11867103"/>
                  <a:gd name="connsiteY12" fmla="*/ 62140 h 2936314"/>
                  <a:gd name="connsiteX13" fmla="*/ 8299939 w 11867103"/>
                  <a:gd name="connsiteY13" fmla="*/ 72189 h 2936314"/>
                  <a:gd name="connsiteX14" fmla="*/ 8521002 w 11867103"/>
                  <a:gd name="connsiteY14" fmla="*/ 82237 h 2936314"/>
                  <a:gd name="connsiteX15" fmla="*/ 9515789 w 11867103"/>
                  <a:gd name="connsiteY15" fmla="*/ 72189 h 2936314"/>
                  <a:gd name="connsiteX16" fmla="*/ 9606224 w 11867103"/>
                  <a:gd name="connsiteY16" fmla="*/ 62140 h 2936314"/>
                  <a:gd name="connsiteX17" fmla="*/ 9716756 w 11867103"/>
                  <a:gd name="connsiteY17" fmla="*/ 52092 h 2936314"/>
                  <a:gd name="connsiteX18" fmla="*/ 9797143 w 11867103"/>
                  <a:gd name="connsiteY18" fmla="*/ 42044 h 2936314"/>
                  <a:gd name="connsiteX19" fmla="*/ 9947868 w 11867103"/>
                  <a:gd name="connsiteY19" fmla="*/ 31995 h 2936314"/>
                  <a:gd name="connsiteX20" fmla="*/ 10791930 w 11867103"/>
                  <a:gd name="connsiteY20" fmla="*/ 1850 h 2936314"/>
                  <a:gd name="connsiteX21" fmla="*/ 11736475 w 11867103"/>
                  <a:gd name="connsiteY21" fmla="*/ 21947 h 2936314"/>
                  <a:gd name="connsiteX22" fmla="*/ 11766620 w 11867103"/>
                  <a:gd name="connsiteY22" fmla="*/ 52092 h 2936314"/>
                  <a:gd name="connsiteX23" fmla="*/ 11786717 w 11867103"/>
                  <a:gd name="connsiteY23" fmla="*/ 92285 h 2936314"/>
                  <a:gd name="connsiteX24" fmla="*/ 11806813 w 11867103"/>
                  <a:gd name="connsiteY24" fmla="*/ 182720 h 2936314"/>
                  <a:gd name="connsiteX25" fmla="*/ 11816862 w 11867103"/>
                  <a:gd name="connsiteY25" fmla="*/ 222914 h 2936314"/>
                  <a:gd name="connsiteX26" fmla="*/ 11826910 w 11867103"/>
                  <a:gd name="connsiteY26" fmla="*/ 313349 h 2936314"/>
                  <a:gd name="connsiteX27" fmla="*/ 11836958 w 11867103"/>
                  <a:gd name="connsiteY27" fmla="*/ 393736 h 2936314"/>
                  <a:gd name="connsiteX28" fmla="*/ 11826910 w 11867103"/>
                  <a:gd name="connsiteY28" fmla="*/ 705235 h 2936314"/>
                  <a:gd name="connsiteX29" fmla="*/ 11816862 w 11867103"/>
                  <a:gd name="connsiteY29" fmla="*/ 765525 h 2936314"/>
                  <a:gd name="connsiteX30" fmla="*/ 11806813 w 11867103"/>
                  <a:gd name="connsiteY30" fmla="*/ 835863 h 2936314"/>
                  <a:gd name="connsiteX31" fmla="*/ 11816862 w 11867103"/>
                  <a:gd name="connsiteY31" fmla="*/ 2302923 h 2936314"/>
                  <a:gd name="connsiteX32" fmla="*/ 11826910 w 11867103"/>
                  <a:gd name="connsiteY32" fmla="*/ 2373261 h 2936314"/>
                  <a:gd name="connsiteX33" fmla="*/ 11836958 w 11867103"/>
                  <a:gd name="connsiteY33" fmla="*/ 2403406 h 2936314"/>
                  <a:gd name="connsiteX34" fmla="*/ 11857055 w 11867103"/>
                  <a:gd name="connsiteY34" fmla="*/ 2534035 h 2936314"/>
                  <a:gd name="connsiteX35" fmla="*/ 11867103 w 11867103"/>
                  <a:gd name="connsiteY35" fmla="*/ 2574228 h 2936314"/>
                  <a:gd name="connsiteX36" fmla="*/ 11857055 w 11867103"/>
                  <a:gd name="connsiteY36" fmla="*/ 2805340 h 2936314"/>
                  <a:gd name="connsiteX37" fmla="*/ 11836958 w 11867103"/>
                  <a:gd name="connsiteY37" fmla="*/ 2835485 h 2936314"/>
                  <a:gd name="connsiteX38" fmla="*/ 11033090 w 11867103"/>
                  <a:gd name="connsiteY38" fmla="*/ 2825437 h 2936314"/>
                  <a:gd name="connsiteX39" fmla="*/ 10621108 w 11867103"/>
                  <a:gd name="connsiteY39" fmla="*/ 2815389 h 2936314"/>
                  <a:gd name="connsiteX40" fmla="*/ 10128739 w 11867103"/>
                  <a:gd name="connsiteY40" fmla="*/ 2825437 h 2936314"/>
                  <a:gd name="connsiteX41" fmla="*/ 10048352 w 11867103"/>
                  <a:gd name="connsiteY41" fmla="*/ 2835485 h 2936314"/>
                  <a:gd name="connsiteX42" fmla="*/ 9555982 w 11867103"/>
                  <a:gd name="connsiteY42" fmla="*/ 2825437 h 2936314"/>
                  <a:gd name="connsiteX43" fmla="*/ 9445451 w 11867103"/>
                  <a:gd name="connsiteY43" fmla="*/ 2815389 h 2936314"/>
                  <a:gd name="connsiteX44" fmla="*/ 9415306 w 11867103"/>
                  <a:gd name="connsiteY44" fmla="*/ 2795292 h 2936314"/>
                  <a:gd name="connsiteX45" fmla="*/ 9204290 w 11867103"/>
                  <a:gd name="connsiteY45" fmla="*/ 2775195 h 2936314"/>
                  <a:gd name="connsiteX46" fmla="*/ 9073662 w 11867103"/>
                  <a:gd name="connsiteY46" fmla="*/ 2755098 h 2936314"/>
                  <a:gd name="connsiteX47" fmla="*/ 8812404 w 11867103"/>
                  <a:gd name="connsiteY47" fmla="*/ 2745050 h 2936314"/>
                  <a:gd name="connsiteX48" fmla="*/ 8400422 w 11867103"/>
                  <a:gd name="connsiteY48" fmla="*/ 2735002 h 2936314"/>
                  <a:gd name="connsiteX49" fmla="*/ 8269793 w 11867103"/>
                  <a:gd name="connsiteY49" fmla="*/ 2724953 h 2936314"/>
                  <a:gd name="connsiteX50" fmla="*/ 7797521 w 11867103"/>
                  <a:gd name="connsiteY50" fmla="*/ 2745050 h 2936314"/>
                  <a:gd name="connsiteX51" fmla="*/ 7717134 w 11867103"/>
                  <a:gd name="connsiteY51" fmla="*/ 2755098 h 2936314"/>
                  <a:gd name="connsiteX52" fmla="*/ 7486022 w 11867103"/>
                  <a:gd name="connsiteY52" fmla="*/ 2785244 h 2936314"/>
                  <a:gd name="connsiteX53" fmla="*/ 7395587 w 11867103"/>
                  <a:gd name="connsiteY53" fmla="*/ 2805340 h 2936314"/>
                  <a:gd name="connsiteX54" fmla="*/ 7325248 w 11867103"/>
                  <a:gd name="connsiteY54" fmla="*/ 2815389 h 2936314"/>
                  <a:gd name="connsiteX55" fmla="*/ 6863024 w 11867103"/>
                  <a:gd name="connsiteY55" fmla="*/ 2805340 h 2936314"/>
                  <a:gd name="connsiteX56" fmla="*/ 6722347 w 11867103"/>
                  <a:gd name="connsiteY56" fmla="*/ 2795292 h 2936314"/>
                  <a:gd name="connsiteX57" fmla="*/ 4903596 w 11867103"/>
                  <a:gd name="connsiteY57" fmla="*/ 2845534 h 2936314"/>
                  <a:gd name="connsiteX58" fmla="*/ 4722725 w 11867103"/>
                  <a:gd name="connsiteY58" fmla="*/ 2885727 h 2936314"/>
                  <a:gd name="connsiteX59" fmla="*/ 4300695 w 11867103"/>
                  <a:gd name="connsiteY59" fmla="*/ 2865630 h 2936314"/>
                  <a:gd name="connsiteX60" fmla="*/ 4059534 w 11867103"/>
                  <a:gd name="connsiteY60" fmla="*/ 2825437 h 2936314"/>
                  <a:gd name="connsiteX61" fmla="*/ 3768132 w 11867103"/>
                  <a:gd name="connsiteY61" fmla="*/ 2795292 h 2936314"/>
                  <a:gd name="connsiteX62" fmla="*/ 3627455 w 11867103"/>
                  <a:gd name="connsiteY62" fmla="*/ 2785244 h 2936314"/>
                  <a:gd name="connsiteX63" fmla="*/ 3125037 w 11867103"/>
                  <a:gd name="connsiteY63" fmla="*/ 2795292 h 2936314"/>
                  <a:gd name="connsiteX64" fmla="*/ 3064747 w 11867103"/>
                  <a:gd name="connsiteY64" fmla="*/ 2805340 h 2936314"/>
                  <a:gd name="connsiteX65" fmla="*/ 2009670 w 11867103"/>
                  <a:gd name="connsiteY65" fmla="*/ 2815389 h 2936314"/>
                  <a:gd name="connsiteX66" fmla="*/ 1678075 w 11867103"/>
                  <a:gd name="connsiteY66" fmla="*/ 2905824 h 2936314"/>
                  <a:gd name="connsiteX67" fmla="*/ 1607736 w 11867103"/>
                  <a:gd name="connsiteY67" fmla="*/ 2935969 h 2936314"/>
                  <a:gd name="connsiteX68" fmla="*/ 1135464 w 11867103"/>
                  <a:gd name="connsiteY68" fmla="*/ 2915872 h 2936314"/>
                  <a:gd name="connsiteX69" fmla="*/ 944545 w 11867103"/>
                  <a:gd name="connsiteY69" fmla="*/ 2885727 h 2936314"/>
                  <a:gd name="connsiteX70" fmla="*/ 723481 w 11867103"/>
                  <a:gd name="connsiteY70" fmla="*/ 2845534 h 2936314"/>
                  <a:gd name="connsiteX71" fmla="*/ 643095 w 11867103"/>
                  <a:gd name="connsiteY71" fmla="*/ 2835485 h 2936314"/>
                  <a:gd name="connsiteX72" fmla="*/ 371789 w 11867103"/>
                  <a:gd name="connsiteY72" fmla="*/ 2795292 h 2936314"/>
                  <a:gd name="connsiteX73" fmla="*/ 0 w 11867103"/>
                  <a:gd name="connsiteY73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8299939 w 11867103"/>
                  <a:gd name="connsiteY12" fmla="*/ 72189 h 2936314"/>
                  <a:gd name="connsiteX13" fmla="*/ 8521002 w 11867103"/>
                  <a:gd name="connsiteY13" fmla="*/ 82237 h 2936314"/>
                  <a:gd name="connsiteX14" fmla="*/ 9515789 w 11867103"/>
                  <a:gd name="connsiteY14" fmla="*/ 72189 h 2936314"/>
                  <a:gd name="connsiteX15" fmla="*/ 9606224 w 11867103"/>
                  <a:gd name="connsiteY15" fmla="*/ 62140 h 2936314"/>
                  <a:gd name="connsiteX16" fmla="*/ 9716756 w 11867103"/>
                  <a:gd name="connsiteY16" fmla="*/ 52092 h 2936314"/>
                  <a:gd name="connsiteX17" fmla="*/ 9797143 w 11867103"/>
                  <a:gd name="connsiteY17" fmla="*/ 42044 h 2936314"/>
                  <a:gd name="connsiteX18" fmla="*/ 9947868 w 11867103"/>
                  <a:gd name="connsiteY18" fmla="*/ 31995 h 2936314"/>
                  <a:gd name="connsiteX19" fmla="*/ 10791930 w 11867103"/>
                  <a:gd name="connsiteY19" fmla="*/ 1850 h 2936314"/>
                  <a:gd name="connsiteX20" fmla="*/ 11736475 w 11867103"/>
                  <a:gd name="connsiteY20" fmla="*/ 21947 h 2936314"/>
                  <a:gd name="connsiteX21" fmla="*/ 11766620 w 11867103"/>
                  <a:gd name="connsiteY21" fmla="*/ 52092 h 2936314"/>
                  <a:gd name="connsiteX22" fmla="*/ 11786717 w 11867103"/>
                  <a:gd name="connsiteY22" fmla="*/ 92285 h 2936314"/>
                  <a:gd name="connsiteX23" fmla="*/ 11806813 w 11867103"/>
                  <a:gd name="connsiteY23" fmla="*/ 182720 h 2936314"/>
                  <a:gd name="connsiteX24" fmla="*/ 11816862 w 11867103"/>
                  <a:gd name="connsiteY24" fmla="*/ 222914 h 2936314"/>
                  <a:gd name="connsiteX25" fmla="*/ 11826910 w 11867103"/>
                  <a:gd name="connsiteY25" fmla="*/ 313349 h 2936314"/>
                  <a:gd name="connsiteX26" fmla="*/ 11836958 w 11867103"/>
                  <a:gd name="connsiteY26" fmla="*/ 393736 h 2936314"/>
                  <a:gd name="connsiteX27" fmla="*/ 11826910 w 11867103"/>
                  <a:gd name="connsiteY27" fmla="*/ 705235 h 2936314"/>
                  <a:gd name="connsiteX28" fmla="*/ 11816862 w 11867103"/>
                  <a:gd name="connsiteY28" fmla="*/ 765525 h 2936314"/>
                  <a:gd name="connsiteX29" fmla="*/ 11806813 w 11867103"/>
                  <a:gd name="connsiteY29" fmla="*/ 835863 h 2936314"/>
                  <a:gd name="connsiteX30" fmla="*/ 11816862 w 11867103"/>
                  <a:gd name="connsiteY30" fmla="*/ 2302923 h 2936314"/>
                  <a:gd name="connsiteX31" fmla="*/ 11826910 w 11867103"/>
                  <a:gd name="connsiteY31" fmla="*/ 2373261 h 2936314"/>
                  <a:gd name="connsiteX32" fmla="*/ 11836958 w 11867103"/>
                  <a:gd name="connsiteY32" fmla="*/ 2403406 h 2936314"/>
                  <a:gd name="connsiteX33" fmla="*/ 11857055 w 11867103"/>
                  <a:gd name="connsiteY33" fmla="*/ 2534035 h 2936314"/>
                  <a:gd name="connsiteX34" fmla="*/ 11867103 w 11867103"/>
                  <a:gd name="connsiteY34" fmla="*/ 2574228 h 2936314"/>
                  <a:gd name="connsiteX35" fmla="*/ 11857055 w 11867103"/>
                  <a:gd name="connsiteY35" fmla="*/ 2805340 h 2936314"/>
                  <a:gd name="connsiteX36" fmla="*/ 11836958 w 11867103"/>
                  <a:gd name="connsiteY36" fmla="*/ 2835485 h 2936314"/>
                  <a:gd name="connsiteX37" fmla="*/ 11033090 w 11867103"/>
                  <a:gd name="connsiteY37" fmla="*/ 2825437 h 2936314"/>
                  <a:gd name="connsiteX38" fmla="*/ 10621108 w 11867103"/>
                  <a:gd name="connsiteY38" fmla="*/ 2815389 h 2936314"/>
                  <a:gd name="connsiteX39" fmla="*/ 10128739 w 11867103"/>
                  <a:gd name="connsiteY39" fmla="*/ 2825437 h 2936314"/>
                  <a:gd name="connsiteX40" fmla="*/ 10048352 w 11867103"/>
                  <a:gd name="connsiteY40" fmla="*/ 2835485 h 2936314"/>
                  <a:gd name="connsiteX41" fmla="*/ 9555982 w 11867103"/>
                  <a:gd name="connsiteY41" fmla="*/ 2825437 h 2936314"/>
                  <a:gd name="connsiteX42" fmla="*/ 9445451 w 11867103"/>
                  <a:gd name="connsiteY42" fmla="*/ 2815389 h 2936314"/>
                  <a:gd name="connsiteX43" fmla="*/ 9415306 w 11867103"/>
                  <a:gd name="connsiteY43" fmla="*/ 2795292 h 2936314"/>
                  <a:gd name="connsiteX44" fmla="*/ 9204290 w 11867103"/>
                  <a:gd name="connsiteY44" fmla="*/ 2775195 h 2936314"/>
                  <a:gd name="connsiteX45" fmla="*/ 9073662 w 11867103"/>
                  <a:gd name="connsiteY45" fmla="*/ 2755098 h 2936314"/>
                  <a:gd name="connsiteX46" fmla="*/ 8812404 w 11867103"/>
                  <a:gd name="connsiteY46" fmla="*/ 2745050 h 2936314"/>
                  <a:gd name="connsiteX47" fmla="*/ 8400422 w 11867103"/>
                  <a:gd name="connsiteY47" fmla="*/ 2735002 h 2936314"/>
                  <a:gd name="connsiteX48" fmla="*/ 8269793 w 11867103"/>
                  <a:gd name="connsiteY48" fmla="*/ 2724953 h 2936314"/>
                  <a:gd name="connsiteX49" fmla="*/ 7797521 w 11867103"/>
                  <a:gd name="connsiteY49" fmla="*/ 2745050 h 2936314"/>
                  <a:gd name="connsiteX50" fmla="*/ 7717134 w 11867103"/>
                  <a:gd name="connsiteY50" fmla="*/ 2755098 h 2936314"/>
                  <a:gd name="connsiteX51" fmla="*/ 7486022 w 11867103"/>
                  <a:gd name="connsiteY51" fmla="*/ 2785244 h 2936314"/>
                  <a:gd name="connsiteX52" fmla="*/ 7395587 w 11867103"/>
                  <a:gd name="connsiteY52" fmla="*/ 2805340 h 2936314"/>
                  <a:gd name="connsiteX53" fmla="*/ 7325248 w 11867103"/>
                  <a:gd name="connsiteY53" fmla="*/ 2815389 h 2936314"/>
                  <a:gd name="connsiteX54" fmla="*/ 6863024 w 11867103"/>
                  <a:gd name="connsiteY54" fmla="*/ 2805340 h 2936314"/>
                  <a:gd name="connsiteX55" fmla="*/ 6722347 w 11867103"/>
                  <a:gd name="connsiteY55" fmla="*/ 2795292 h 2936314"/>
                  <a:gd name="connsiteX56" fmla="*/ 4903596 w 11867103"/>
                  <a:gd name="connsiteY56" fmla="*/ 2845534 h 2936314"/>
                  <a:gd name="connsiteX57" fmla="*/ 4722725 w 11867103"/>
                  <a:gd name="connsiteY57" fmla="*/ 2885727 h 2936314"/>
                  <a:gd name="connsiteX58" fmla="*/ 4300695 w 11867103"/>
                  <a:gd name="connsiteY58" fmla="*/ 2865630 h 2936314"/>
                  <a:gd name="connsiteX59" fmla="*/ 4059534 w 11867103"/>
                  <a:gd name="connsiteY59" fmla="*/ 2825437 h 2936314"/>
                  <a:gd name="connsiteX60" fmla="*/ 3768132 w 11867103"/>
                  <a:gd name="connsiteY60" fmla="*/ 2795292 h 2936314"/>
                  <a:gd name="connsiteX61" fmla="*/ 3627455 w 11867103"/>
                  <a:gd name="connsiteY61" fmla="*/ 2785244 h 2936314"/>
                  <a:gd name="connsiteX62" fmla="*/ 3125037 w 11867103"/>
                  <a:gd name="connsiteY62" fmla="*/ 2795292 h 2936314"/>
                  <a:gd name="connsiteX63" fmla="*/ 3064747 w 11867103"/>
                  <a:gd name="connsiteY63" fmla="*/ 2805340 h 2936314"/>
                  <a:gd name="connsiteX64" fmla="*/ 2009670 w 11867103"/>
                  <a:gd name="connsiteY64" fmla="*/ 2815389 h 2936314"/>
                  <a:gd name="connsiteX65" fmla="*/ 1678075 w 11867103"/>
                  <a:gd name="connsiteY65" fmla="*/ 2905824 h 2936314"/>
                  <a:gd name="connsiteX66" fmla="*/ 1607736 w 11867103"/>
                  <a:gd name="connsiteY66" fmla="*/ 2935969 h 2936314"/>
                  <a:gd name="connsiteX67" fmla="*/ 1135464 w 11867103"/>
                  <a:gd name="connsiteY67" fmla="*/ 2915872 h 2936314"/>
                  <a:gd name="connsiteX68" fmla="*/ 944545 w 11867103"/>
                  <a:gd name="connsiteY68" fmla="*/ 2885727 h 2936314"/>
                  <a:gd name="connsiteX69" fmla="*/ 723481 w 11867103"/>
                  <a:gd name="connsiteY69" fmla="*/ 2845534 h 2936314"/>
                  <a:gd name="connsiteX70" fmla="*/ 643095 w 11867103"/>
                  <a:gd name="connsiteY70" fmla="*/ 2835485 h 2936314"/>
                  <a:gd name="connsiteX71" fmla="*/ 371789 w 11867103"/>
                  <a:gd name="connsiteY71" fmla="*/ 2795292 h 2936314"/>
                  <a:gd name="connsiteX72" fmla="*/ 0 w 11867103"/>
                  <a:gd name="connsiteY72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8521002 w 11867103"/>
                  <a:gd name="connsiteY12" fmla="*/ 82237 h 2936314"/>
                  <a:gd name="connsiteX13" fmla="*/ 9515789 w 11867103"/>
                  <a:gd name="connsiteY13" fmla="*/ 72189 h 2936314"/>
                  <a:gd name="connsiteX14" fmla="*/ 9606224 w 11867103"/>
                  <a:gd name="connsiteY14" fmla="*/ 62140 h 2936314"/>
                  <a:gd name="connsiteX15" fmla="*/ 9716756 w 11867103"/>
                  <a:gd name="connsiteY15" fmla="*/ 52092 h 2936314"/>
                  <a:gd name="connsiteX16" fmla="*/ 9797143 w 11867103"/>
                  <a:gd name="connsiteY16" fmla="*/ 42044 h 2936314"/>
                  <a:gd name="connsiteX17" fmla="*/ 9947868 w 11867103"/>
                  <a:gd name="connsiteY17" fmla="*/ 31995 h 2936314"/>
                  <a:gd name="connsiteX18" fmla="*/ 10791930 w 11867103"/>
                  <a:gd name="connsiteY18" fmla="*/ 1850 h 2936314"/>
                  <a:gd name="connsiteX19" fmla="*/ 11736475 w 11867103"/>
                  <a:gd name="connsiteY19" fmla="*/ 21947 h 2936314"/>
                  <a:gd name="connsiteX20" fmla="*/ 11766620 w 11867103"/>
                  <a:gd name="connsiteY20" fmla="*/ 52092 h 2936314"/>
                  <a:gd name="connsiteX21" fmla="*/ 11786717 w 11867103"/>
                  <a:gd name="connsiteY21" fmla="*/ 92285 h 2936314"/>
                  <a:gd name="connsiteX22" fmla="*/ 11806813 w 11867103"/>
                  <a:gd name="connsiteY22" fmla="*/ 182720 h 2936314"/>
                  <a:gd name="connsiteX23" fmla="*/ 11816862 w 11867103"/>
                  <a:gd name="connsiteY23" fmla="*/ 222914 h 2936314"/>
                  <a:gd name="connsiteX24" fmla="*/ 11826910 w 11867103"/>
                  <a:gd name="connsiteY24" fmla="*/ 313349 h 2936314"/>
                  <a:gd name="connsiteX25" fmla="*/ 11836958 w 11867103"/>
                  <a:gd name="connsiteY25" fmla="*/ 393736 h 2936314"/>
                  <a:gd name="connsiteX26" fmla="*/ 11826910 w 11867103"/>
                  <a:gd name="connsiteY26" fmla="*/ 705235 h 2936314"/>
                  <a:gd name="connsiteX27" fmla="*/ 11816862 w 11867103"/>
                  <a:gd name="connsiteY27" fmla="*/ 765525 h 2936314"/>
                  <a:gd name="connsiteX28" fmla="*/ 11806813 w 11867103"/>
                  <a:gd name="connsiteY28" fmla="*/ 835863 h 2936314"/>
                  <a:gd name="connsiteX29" fmla="*/ 11816862 w 11867103"/>
                  <a:gd name="connsiteY29" fmla="*/ 2302923 h 2936314"/>
                  <a:gd name="connsiteX30" fmla="*/ 11826910 w 11867103"/>
                  <a:gd name="connsiteY30" fmla="*/ 2373261 h 2936314"/>
                  <a:gd name="connsiteX31" fmla="*/ 11836958 w 11867103"/>
                  <a:gd name="connsiteY31" fmla="*/ 2403406 h 2936314"/>
                  <a:gd name="connsiteX32" fmla="*/ 11857055 w 11867103"/>
                  <a:gd name="connsiteY32" fmla="*/ 2534035 h 2936314"/>
                  <a:gd name="connsiteX33" fmla="*/ 11867103 w 11867103"/>
                  <a:gd name="connsiteY33" fmla="*/ 2574228 h 2936314"/>
                  <a:gd name="connsiteX34" fmla="*/ 11857055 w 11867103"/>
                  <a:gd name="connsiteY34" fmla="*/ 2805340 h 2936314"/>
                  <a:gd name="connsiteX35" fmla="*/ 11836958 w 11867103"/>
                  <a:gd name="connsiteY35" fmla="*/ 2835485 h 2936314"/>
                  <a:gd name="connsiteX36" fmla="*/ 11033090 w 11867103"/>
                  <a:gd name="connsiteY36" fmla="*/ 2825437 h 2936314"/>
                  <a:gd name="connsiteX37" fmla="*/ 10621108 w 11867103"/>
                  <a:gd name="connsiteY37" fmla="*/ 2815389 h 2936314"/>
                  <a:gd name="connsiteX38" fmla="*/ 10128739 w 11867103"/>
                  <a:gd name="connsiteY38" fmla="*/ 2825437 h 2936314"/>
                  <a:gd name="connsiteX39" fmla="*/ 10048352 w 11867103"/>
                  <a:gd name="connsiteY39" fmla="*/ 2835485 h 2936314"/>
                  <a:gd name="connsiteX40" fmla="*/ 9555982 w 11867103"/>
                  <a:gd name="connsiteY40" fmla="*/ 2825437 h 2936314"/>
                  <a:gd name="connsiteX41" fmla="*/ 9445451 w 11867103"/>
                  <a:gd name="connsiteY41" fmla="*/ 2815389 h 2936314"/>
                  <a:gd name="connsiteX42" fmla="*/ 9415306 w 11867103"/>
                  <a:gd name="connsiteY42" fmla="*/ 2795292 h 2936314"/>
                  <a:gd name="connsiteX43" fmla="*/ 9204290 w 11867103"/>
                  <a:gd name="connsiteY43" fmla="*/ 2775195 h 2936314"/>
                  <a:gd name="connsiteX44" fmla="*/ 9073662 w 11867103"/>
                  <a:gd name="connsiteY44" fmla="*/ 2755098 h 2936314"/>
                  <a:gd name="connsiteX45" fmla="*/ 8812404 w 11867103"/>
                  <a:gd name="connsiteY45" fmla="*/ 2745050 h 2936314"/>
                  <a:gd name="connsiteX46" fmla="*/ 8400422 w 11867103"/>
                  <a:gd name="connsiteY46" fmla="*/ 2735002 h 2936314"/>
                  <a:gd name="connsiteX47" fmla="*/ 8269793 w 11867103"/>
                  <a:gd name="connsiteY47" fmla="*/ 2724953 h 2936314"/>
                  <a:gd name="connsiteX48" fmla="*/ 7797521 w 11867103"/>
                  <a:gd name="connsiteY48" fmla="*/ 2745050 h 2936314"/>
                  <a:gd name="connsiteX49" fmla="*/ 7717134 w 11867103"/>
                  <a:gd name="connsiteY49" fmla="*/ 2755098 h 2936314"/>
                  <a:gd name="connsiteX50" fmla="*/ 7486022 w 11867103"/>
                  <a:gd name="connsiteY50" fmla="*/ 2785244 h 2936314"/>
                  <a:gd name="connsiteX51" fmla="*/ 7395587 w 11867103"/>
                  <a:gd name="connsiteY51" fmla="*/ 2805340 h 2936314"/>
                  <a:gd name="connsiteX52" fmla="*/ 7325248 w 11867103"/>
                  <a:gd name="connsiteY52" fmla="*/ 2815389 h 2936314"/>
                  <a:gd name="connsiteX53" fmla="*/ 6863024 w 11867103"/>
                  <a:gd name="connsiteY53" fmla="*/ 2805340 h 2936314"/>
                  <a:gd name="connsiteX54" fmla="*/ 6722347 w 11867103"/>
                  <a:gd name="connsiteY54" fmla="*/ 2795292 h 2936314"/>
                  <a:gd name="connsiteX55" fmla="*/ 4903596 w 11867103"/>
                  <a:gd name="connsiteY55" fmla="*/ 2845534 h 2936314"/>
                  <a:gd name="connsiteX56" fmla="*/ 4722725 w 11867103"/>
                  <a:gd name="connsiteY56" fmla="*/ 2885727 h 2936314"/>
                  <a:gd name="connsiteX57" fmla="*/ 4300695 w 11867103"/>
                  <a:gd name="connsiteY57" fmla="*/ 2865630 h 2936314"/>
                  <a:gd name="connsiteX58" fmla="*/ 4059534 w 11867103"/>
                  <a:gd name="connsiteY58" fmla="*/ 2825437 h 2936314"/>
                  <a:gd name="connsiteX59" fmla="*/ 3768132 w 11867103"/>
                  <a:gd name="connsiteY59" fmla="*/ 2795292 h 2936314"/>
                  <a:gd name="connsiteX60" fmla="*/ 3627455 w 11867103"/>
                  <a:gd name="connsiteY60" fmla="*/ 2785244 h 2936314"/>
                  <a:gd name="connsiteX61" fmla="*/ 3125037 w 11867103"/>
                  <a:gd name="connsiteY61" fmla="*/ 2795292 h 2936314"/>
                  <a:gd name="connsiteX62" fmla="*/ 3064747 w 11867103"/>
                  <a:gd name="connsiteY62" fmla="*/ 2805340 h 2936314"/>
                  <a:gd name="connsiteX63" fmla="*/ 2009670 w 11867103"/>
                  <a:gd name="connsiteY63" fmla="*/ 2815389 h 2936314"/>
                  <a:gd name="connsiteX64" fmla="*/ 1678075 w 11867103"/>
                  <a:gd name="connsiteY64" fmla="*/ 2905824 h 2936314"/>
                  <a:gd name="connsiteX65" fmla="*/ 1607736 w 11867103"/>
                  <a:gd name="connsiteY65" fmla="*/ 2935969 h 2936314"/>
                  <a:gd name="connsiteX66" fmla="*/ 1135464 w 11867103"/>
                  <a:gd name="connsiteY66" fmla="*/ 2915872 h 2936314"/>
                  <a:gd name="connsiteX67" fmla="*/ 944545 w 11867103"/>
                  <a:gd name="connsiteY67" fmla="*/ 2885727 h 2936314"/>
                  <a:gd name="connsiteX68" fmla="*/ 723481 w 11867103"/>
                  <a:gd name="connsiteY68" fmla="*/ 2845534 h 2936314"/>
                  <a:gd name="connsiteX69" fmla="*/ 643095 w 11867103"/>
                  <a:gd name="connsiteY69" fmla="*/ 2835485 h 2936314"/>
                  <a:gd name="connsiteX70" fmla="*/ 371789 w 11867103"/>
                  <a:gd name="connsiteY70" fmla="*/ 2795292 h 2936314"/>
                  <a:gd name="connsiteX71" fmla="*/ 0 w 11867103"/>
                  <a:gd name="connsiteY71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515789 w 11867103"/>
                  <a:gd name="connsiteY12" fmla="*/ 72189 h 2936314"/>
                  <a:gd name="connsiteX13" fmla="*/ 9606224 w 11867103"/>
                  <a:gd name="connsiteY13" fmla="*/ 62140 h 2936314"/>
                  <a:gd name="connsiteX14" fmla="*/ 9716756 w 11867103"/>
                  <a:gd name="connsiteY14" fmla="*/ 52092 h 2936314"/>
                  <a:gd name="connsiteX15" fmla="*/ 9797143 w 11867103"/>
                  <a:gd name="connsiteY15" fmla="*/ 42044 h 2936314"/>
                  <a:gd name="connsiteX16" fmla="*/ 9947868 w 11867103"/>
                  <a:gd name="connsiteY16" fmla="*/ 31995 h 2936314"/>
                  <a:gd name="connsiteX17" fmla="*/ 10791930 w 11867103"/>
                  <a:gd name="connsiteY17" fmla="*/ 1850 h 2936314"/>
                  <a:gd name="connsiteX18" fmla="*/ 11736475 w 11867103"/>
                  <a:gd name="connsiteY18" fmla="*/ 21947 h 2936314"/>
                  <a:gd name="connsiteX19" fmla="*/ 11766620 w 11867103"/>
                  <a:gd name="connsiteY19" fmla="*/ 52092 h 2936314"/>
                  <a:gd name="connsiteX20" fmla="*/ 11786717 w 11867103"/>
                  <a:gd name="connsiteY20" fmla="*/ 92285 h 2936314"/>
                  <a:gd name="connsiteX21" fmla="*/ 11806813 w 11867103"/>
                  <a:gd name="connsiteY21" fmla="*/ 182720 h 2936314"/>
                  <a:gd name="connsiteX22" fmla="*/ 11816862 w 11867103"/>
                  <a:gd name="connsiteY22" fmla="*/ 222914 h 2936314"/>
                  <a:gd name="connsiteX23" fmla="*/ 11826910 w 11867103"/>
                  <a:gd name="connsiteY23" fmla="*/ 313349 h 2936314"/>
                  <a:gd name="connsiteX24" fmla="*/ 11836958 w 11867103"/>
                  <a:gd name="connsiteY24" fmla="*/ 393736 h 2936314"/>
                  <a:gd name="connsiteX25" fmla="*/ 11826910 w 11867103"/>
                  <a:gd name="connsiteY25" fmla="*/ 705235 h 2936314"/>
                  <a:gd name="connsiteX26" fmla="*/ 11816862 w 11867103"/>
                  <a:gd name="connsiteY26" fmla="*/ 765525 h 2936314"/>
                  <a:gd name="connsiteX27" fmla="*/ 11806813 w 11867103"/>
                  <a:gd name="connsiteY27" fmla="*/ 835863 h 2936314"/>
                  <a:gd name="connsiteX28" fmla="*/ 11816862 w 11867103"/>
                  <a:gd name="connsiteY28" fmla="*/ 2302923 h 2936314"/>
                  <a:gd name="connsiteX29" fmla="*/ 11826910 w 11867103"/>
                  <a:gd name="connsiteY29" fmla="*/ 2373261 h 2936314"/>
                  <a:gd name="connsiteX30" fmla="*/ 11836958 w 11867103"/>
                  <a:gd name="connsiteY30" fmla="*/ 2403406 h 2936314"/>
                  <a:gd name="connsiteX31" fmla="*/ 11857055 w 11867103"/>
                  <a:gd name="connsiteY31" fmla="*/ 2534035 h 2936314"/>
                  <a:gd name="connsiteX32" fmla="*/ 11867103 w 11867103"/>
                  <a:gd name="connsiteY32" fmla="*/ 2574228 h 2936314"/>
                  <a:gd name="connsiteX33" fmla="*/ 11857055 w 11867103"/>
                  <a:gd name="connsiteY33" fmla="*/ 2805340 h 2936314"/>
                  <a:gd name="connsiteX34" fmla="*/ 11836958 w 11867103"/>
                  <a:gd name="connsiteY34" fmla="*/ 2835485 h 2936314"/>
                  <a:gd name="connsiteX35" fmla="*/ 11033090 w 11867103"/>
                  <a:gd name="connsiteY35" fmla="*/ 2825437 h 2936314"/>
                  <a:gd name="connsiteX36" fmla="*/ 10621108 w 11867103"/>
                  <a:gd name="connsiteY36" fmla="*/ 2815389 h 2936314"/>
                  <a:gd name="connsiteX37" fmla="*/ 10128739 w 11867103"/>
                  <a:gd name="connsiteY37" fmla="*/ 2825437 h 2936314"/>
                  <a:gd name="connsiteX38" fmla="*/ 10048352 w 11867103"/>
                  <a:gd name="connsiteY38" fmla="*/ 2835485 h 2936314"/>
                  <a:gd name="connsiteX39" fmla="*/ 9555982 w 11867103"/>
                  <a:gd name="connsiteY39" fmla="*/ 2825437 h 2936314"/>
                  <a:gd name="connsiteX40" fmla="*/ 9445451 w 11867103"/>
                  <a:gd name="connsiteY40" fmla="*/ 2815389 h 2936314"/>
                  <a:gd name="connsiteX41" fmla="*/ 9415306 w 11867103"/>
                  <a:gd name="connsiteY41" fmla="*/ 2795292 h 2936314"/>
                  <a:gd name="connsiteX42" fmla="*/ 9204290 w 11867103"/>
                  <a:gd name="connsiteY42" fmla="*/ 2775195 h 2936314"/>
                  <a:gd name="connsiteX43" fmla="*/ 9073662 w 11867103"/>
                  <a:gd name="connsiteY43" fmla="*/ 2755098 h 2936314"/>
                  <a:gd name="connsiteX44" fmla="*/ 8812404 w 11867103"/>
                  <a:gd name="connsiteY44" fmla="*/ 2745050 h 2936314"/>
                  <a:gd name="connsiteX45" fmla="*/ 8400422 w 11867103"/>
                  <a:gd name="connsiteY45" fmla="*/ 2735002 h 2936314"/>
                  <a:gd name="connsiteX46" fmla="*/ 8269793 w 11867103"/>
                  <a:gd name="connsiteY46" fmla="*/ 2724953 h 2936314"/>
                  <a:gd name="connsiteX47" fmla="*/ 7797521 w 11867103"/>
                  <a:gd name="connsiteY47" fmla="*/ 2745050 h 2936314"/>
                  <a:gd name="connsiteX48" fmla="*/ 7717134 w 11867103"/>
                  <a:gd name="connsiteY48" fmla="*/ 2755098 h 2936314"/>
                  <a:gd name="connsiteX49" fmla="*/ 7486022 w 11867103"/>
                  <a:gd name="connsiteY49" fmla="*/ 2785244 h 2936314"/>
                  <a:gd name="connsiteX50" fmla="*/ 7395587 w 11867103"/>
                  <a:gd name="connsiteY50" fmla="*/ 2805340 h 2936314"/>
                  <a:gd name="connsiteX51" fmla="*/ 7325248 w 11867103"/>
                  <a:gd name="connsiteY51" fmla="*/ 2815389 h 2936314"/>
                  <a:gd name="connsiteX52" fmla="*/ 6863024 w 11867103"/>
                  <a:gd name="connsiteY52" fmla="*/ 2805340 h 2936314"/>
                  <a:gd name="connsiteX53" fmla="*/ 6722347 w 11867103"/>
                  <a:gd name="connsiteY53" fmla="*/ 2795292 h 2936314"/>
                  <a:gd name="connsiteX54" fmla="*/ 4903596 w 11867103"/>
                  <a:gd name="connsiteY54" fmla="*/ 2845534 h 2936314"/>
                  <a:gd name="connsiteX55" fmla="*/ 4722725 w 11867103"/>
                  <a:gd name="connsiteY55" fmla="*/ 2885727 h 2936314"/>
                  <a:gd name="connsiteX56" fmla="*/ 4300695 w 11867103"/>
                  <a:gd name="connsiteY56" fmla="*/ 2865630 h 2936314"/>
                  <a:gd name="connsiteX57" fmla="*/ 4059534 w 11867103"/>
                  <a:gd name="connsiteY57" fmla="*/ 2825437 h 2936314"/>
                  <a:gd name="connsiteX58" fmla="*/ 3768132 w 11867103"/>
                  <a:gd name="connsiteY58" fmla="*/ 2795292 h 2936314"/>
                  <a:gd name="connsiteX59" fmla="*/ 3627455 w 11867103"/>
                  <a:gd name="connsiteY59" fmla="*/ 2785244 h 2936314"/>
                  <a:gd name="connsiteX60" fmla="*/ 3125037 w 11867103"/>
                  <a:gd name="connsiteY60" fmla="*/ 2795292 h 2936314"/>
                  <a:gd name="connsiteX61" fmla="*/ 3064747 w 11867103"/>
                  <a:gd name="connsiteY61" fmla="*/ 2805340 h 2936314"/>
                  <a:gd name="connsiteX62" fmla="*/ 2009670 w 11867103"/>
                  <a:gd name="connsiteY62" fmla="*/ 2815389 h 2936314"/>
                  <a:gd name="connsiteX63" fmla="*/ 1678075 w 11867103"/>
                  <a:gd name="connsiteY63" fmla="*/ 2905824 h 2936314"/>
                  <a:gd name="connsiteX64" fmla="*/ 1607736 w 11867103"/>
                  <a:gd name="connsiteY64" fmla="*/ 2935969 h 2936314"/>
                  <a:gd name="connsiteX65" fmla="*/ 1135464 w 11867103"/>
                  <a:gd name="connsiteY65" fmla="*/ 2915872 h 2936314"/>
                  <a:gd name="connsiteX66" fmla="*/ 944545 w 11867103"/>
                  <a:gd name="connsiteY66" fmla="*/ 2885727 h 2936314"/>
                  <a:gd name="connsiteX67" fmla="*/ 723481 w 11867103"/>
                  <a:gd name="connsiteY67" fmla="*/ 2845534 h 2936314"/>
                  <a:gd name="connsiteX68" fmla="*/ 643095 w 11867103"/>
                  <a:gd name="connsiteY68" fmla="*/ 2835485 h 2936314"/>
                  <a:gd name="connsiteX69" fmla="*/ 371789 w 11867103"/>
                  <a:gd name="connsiteY69" fmla="*/ 2795292 h 2936314"/>
                  <a:gd name="connsiteX70" fmla="*/ 0 w 11867103"/>
                  <a:gd name="connsiteY70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716756 w 11867103"/>
                  <a:gd name="connsiteY13" fmla="*/ 52092 h 2936314"/>
                  <a:gd name="connsiteX14" fmla="*/ 9797143 w 11867103"/>
                  <a:gd name="connsiteY14" fmla="*/ 42044 h 2936314"/>
                  <a:gd name="connsiteX15" fmla="*/ 9947868 w 11867103"/>
                  <a:gd name="connsiteY15" fmla="*/ 31995 h 2936314"/>
                  <a:gd name="connsiteX16" fmla="*/ 10791930 w 11867103"/>
                  <a:gd name="connsiteY16" fmla="*/ 1850 h 2936314"/>
                  <a:gd name="connsiteX17" fmla="*/ 11736475 w 11867103"/>
                  <a:gd name="connsiteY17" fmla="*/ 21947 h 2936314"/>
                  <a:gd name="connsiteX18" fmla="*/ 11766620 w 11867103"/>
                  <a:gd name="connsiteY18" fmla="*/ 52092 h 2936314"/>
                  <a:gd name="connsiteX19" fmla="*/ 11786717 w 11867103"/>
                  <a:gd name="connsiteY19" fmla="*/ 92285 h 2936314"/>
                  <a:gd name="connsiteX20" fmla="*/ 11806813 w 11867103"/>
                  <a:gd name="connsiteY20" fmla="*/ 182720 h 2936314"/>
                  <a:gd name="connsiteX21" fmla="*/ 11816862 w 11867103"/>
                  <a:gd name="connsiteY21" fmla="*/ 222914 h 2936314"/>
                  <a:gd name="connsiteX22" fmla="*/ 11826910 w 11867103"/>
                  <a:gd name="connsiteY22" fmla="*/ 313349 h 2936314"/>
                  <a:gd name="connsiteX23" fmla="*/ 11836958 w 11867103"/>
                  <a:gd name="connsiteY23" fmla="*/ 393736 h 2936314"/>
                  <a:gd name="connsiteX24" fmla="*/ 11826910 w 11867103"/>
                  <a:gd name="connsiteY24" fmla="*/ 705235 h 2936314"/>
                  <a:gd name="connsiteX25" fmla="*/ 11816862 w 11867103"/>
                  <a:gd name="connsiteY25" fmla="*/ 765525 h 2936314"/>
                  <a:gd name="connsiteX26" fmla="*/ 11806813 w 11867103"/>
                  <a:gd name="connsiteY26" fmla="*/ 835863 h 2936314"/>
                  <a:gd name="connsiteX27" fmla="*/ 11816862 w 11867103"/>
                  <a:gd name="connsiteY27" fmla="*/ 2302923 h 2936314"/>
                  <a:gd name="connsiteX28" fmla="*/ 11826910 w 11867103"/>
                  <a:gd name="connsiteY28" fmla="*/ 2373261 h 2936314"/>
                  <a:gd name="connsiteX29" fmla="*/ 11836958 w 11867103"/>
                  <a:gd name="connsiteY29" fmla="*/ 2403406 h 2936314"/>
                  <a:gd name="connsiteX30" fmla="*/ 11857055 w 11867103"/>
                  <a:gd name="connsiteY30" fmla="*/ 2534035 h 2936314"/>
                  <a:gd name="connsiteX31" fmla="*/ 11867103 w 11867103"/>
                  <a:gd name="connsiteY31" fmla="*/ 2574228 h 2936314"/>
                  <a:gd name="connsiteX32" fmla="*/ 11857055 w 11867103"/>
                  <a:gd name="connsiteY32" fmla="*/ 2805340 h 2936314"/>
                  <a:gd name="connsiteX33" fmla="*/ 11836958 w 11867103"/>
                  <a:gd name="connsiteY33" fmla="*/ 2835485 h 2936314"/>
                  <a:gd name="connsiteX34" fmla="*/ 11033090 w 11867103"/>
                  <a:gd name="connsiteY34" fmla="*/ 2825437 h 2936314"/>
                  <a:gd name="connsiteX35" fmla="*/ 10621108 w 11867103"/>
                  <a:gd name="connsiteY35" fmla="*/ 2815389 h 2936314"/>
                  <a:gd name="connsiteX36" fmla="*/ 10128739 w 11867103"/>
                  <a:gd name="connsiteY36" fmla="*/ 2825437 h 2936314"/>
                  <a:gd name="connsiteX37" fmla="*/ 10048352 w 11867103"/>
                  <a:gd name="connsiteY37" fmla="*/ 2835485 h 2936314"/>
                  <a:gd name="connsiteX38" fmla="*/ 9555982 w 11867103"/>
                  <a:gd name="connsiteY38" fmla="*/ 2825437 h 2936314"/>
                  <a:gd name="connsiteX39" fmla="*/ 9445451 w 11867103"/>
                  <a:gd name="connsiteY39" fmla="*/ 2815389 h 2936314"/>
                  <a:gd name="connsiteX40" fmla="*/ 9415306 w 11867103"/>
                  <a:gd name="connsiteY40" fmla="*/ 2795292 h 2936314"/>
                  <a:gd name="connsiteX41" fmla="*/ 9204290 w 11867103"/>
                  <a:gd name="connsiteY41" fmla="*/ 2775195 h 2936314"/>
                  <a:gd name="connsiteX42" fmla="*/ 9073662 w 11867103"/>
                  <a:gd name="connsiteY42" fmla="*/ 2755098 h 2936314"/>
                  <a:gd name="connsiteX43" fmla="*/ 8812404 w 11867103"/>
                  <a:gd name="connsiteY43" fmla="*/ 2745050 h 2936314"/>
                  <a:gd name="connsiteX44" fmla="*/ 8400422 w 11867103"/>
                  <a:gd name="connsiteY44" fmla="*/ 2735002 h 2936314"/>
                  <a:gd name="connsiteX45" fmla="*/ 8269793 w 11867103"/>
                  <a:gd name="connsiteY45" fmla="*/ 2724953 h 2936314"/>
                  <a:gd name="connsiteX46" fmla="*/ 7797521 w 11867103"/>
                  <a:gd name="connsiteY46" fmla="*/ 2745050 h 2936314"/>
                  <a:gd name="connsiteX47" fmla="*/ 7717134 w 11867103"/>
                  <a:gd name="connsiteY47" fmla="*/ 2755098 h 2936314"/>
                  <a:gd name="connsiteX48" fmla="*/ 7486022 w 11867103"/>
                  <a:gd name="connsiteY48" fmla="*/ 2785244 h 2936314"/>
                  <a:gd name="connsiteX49" fmla="*/ 7395587 w 11867103"/>
                  <a:gd name="connsiteY49" fmla="*/ 2805340 h 2936314"/>
                  <a:gd name="connsiteX50" fmla="*/ 7325248 w 11867103"/>
                  <a:gd name="connsiteY50" fmla="*/ 2815389 h 2936314"/>
                  <a:gd name="connsiteX51" fmla="*/ 6863024 w 11867103"/>
                  <a:gd name="connsiteY51" fmla="*/ 2805340 h 2936314"/>
                  <a:gd name="connsiteX52" fmla="*/ 6722347 w 11867103"/>
                  <a:gd name="connsiteY52" fmla="*/ 2795292 h 2936314"/>
                  <a:gd name="connsiteX53" fmla="*/ 4903596 w 11867103"/>
                  <a:gd name="connsiteY53" fmla="*/ 2845534 h 2936314"/>
                  <a:gd name="connsiteX54" fmla="*/ 4722725 w 11867103"/>
                  <a:gd name="connsiteY54" fmla="*/ 2885727 h 2936314"/>
                  <a:gd name="connsiteX55" fmla="*/ 4300695 w 11867103"/>
                  <a:gd name="connsiteY55" fmla="*/ 2865630 h 2936314"/>
                  <a:gd name="connsiteX56" fmla="*/ 4059534 w 11867103"/>
                  <a:gd name="connsiteY56" fmla="*/ 2825437 h 2936314"/>
                  <a:gd name="connsiteX57" fmla="*/ 3768132 w 11867103"/>
                  <a:gd name="connsiteY57" fmla="*/ 2795292 h 2936314"/>
                  <a:gd name="connsiteX58" fmla="*/ 3627455 w 11867103"/>
                  <a:gd name="connsiteY58" fmla="*/ 2785244 h 2936314"/>
                  <a:gd name="connsiteX59" fmla="*/ 3125037 w 11867103"/>
                  <a:gd name="connsiteY59" fmla="*/ 2795292 h 2936314"/>
                  <a:gd name="connsiteX60" fmla="*/ 3064747 w 11867103"/>
                  <a:gd name="connsiteY60" fmla="*/ 2805340 h 2936314"/>
                  <a:gd name="connsiteX61" fmla="*/ 2009670 w 11867103"/>
                  <a:gd name="connsiteY61" fmla="*/ 2815389 h 2936314"/>
                  <a:gd name="connsiteX62" fmla="*/ 1678075 w 11867103"/>
                  <a:gd name="connsiteY62" fmla="*/ 2905824 h 2936314"/>
                  <a:gd name="connsiteX63" fmla="*/ 1607736 w 11867103"/>
                  <a:gd name="connsiteY63" fmla="*/ 2935969 h 2936314"/>
                  <a:gd name="connsiteX64" fmla="*/ 1135464 w 11867103"/>
                  <a:gd name="connsiteY64" fmla="*/ 2915872 h 2936314"/>
                  <a:gd name="connsiteX65" fmla="*/ 944545 w 11867103"/>
                  <a:gd name="connsiteY65" fmla="*/ 2885727 h 2936314"/>
                  <a:gd name="connsiteX66" fmla="*/ 723481 w 11867103"/>
                  <a:gd name="connsiteY66" fmla="*/ 2845534 h 2936314"/>
                  <a:gd name="connsiteX67" fmla="*/ 643095 w 11867103"/>
                  <a:gd name="connsiteY67" fmla="*/ 2835485 h 2936314"/>
                  <a:gd name="connsiteX68" fmla="*/ 371789 w 11867103"/>
                  <a:gd name="connsiteY68" fmla="*/ 2795292 h 2936314"/>
                  <a:gd name="connsiteX69" fmla="*/ 0 w 11867103"/>
                  <a:gd name="connsiteY69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797143 w 11867103"/>
                  <a:gd name="connsiteY13" fmla="*/ 42044 h 2936314"/>
                  <a:gd name="connsiteX14" fmla="*/ 9947868 w 11867103"/>
                  <a:gd name="connsiteY14" fmla="*/ 31995 h 2936314"/>
                  <a:gd name="connsiteX15" fmla="*/ 10791930 w 11867103"/>
                  <a:gd name="connsiteY15" fmla="*/ 1850 h 2936314"/>
                  <a:gd name="connsiteX16" fmla="*/ 11736475 w 11867103"/>
                  <a:gd name="connsiteY16" fmla="*/ 21947 h 2936314"/>
                  <a:gd name="connsiteX17" fmla="*/ 11766620 w 11867103"/>
                  <a:gd name="connsiteY17" fmla="*/ 52092 h 2936314"/>
                  <a:gd name="connsiteX18" fmla="*/ 11786717 w 11867103"/>
                  <a:gd name="connsiteY18" fmla="*/ 92285 h 2936314"/>
                  <a:gd name="connsiteX19" fmla="*/ 11806813 w 11867103"/>
                  <a:gd name="connsiteY19" fmla="*/ 182720 h 2936314"/>
                  <a:gd name="connsiteX20" fmla="*/ 11816862 w 11867103"/>
                  <a:gd name="connsiteY20" fmla="*/ 222914 h 2936314"/>
                  <a:gd name="connsiteX21" fmla="*/ 11826910 w 11867103"/>
                  <a:gd name="connsiteY21" fmla="*/ 313349 h 2936314"/>
                  <a:gd name="connsiteX22" fmla="*/ 11836958 w 11867103"/>
                  <a:gd name="connsiteY22" fmla="*/ 393736 h 2936314"/>
                  <a:gd name="connsiteX23" fmla="*/ 11826910 w 11867103"/>
                  <a:gd name="connsiteY23" fmla="*/ 705235 h 2936314"/>
                  <a:gd name="connsiteX24" fmla="*/ 11816862 w 11867103"/>
                  <a:gd name="connsiteY24" fmla="*/ 765525 h 2936314"/>
                  <a:gd name="connsiteX25" fmla="*/ 11806813 w 11867103"/>
                  <a:gd name="connsiteY25" fmla="*/ 835863 h 2936314"/>
                  <a:gd name="connsiteX26" fmla="*/ 11816862 w 11867103"/>
                  <a:gd name="connsiteY26" fmla="*/ 2302923 h 2936314"/>
                  <a:gd name="connsiteX27" fmla="*/ 11826910 w 11867103"/>
                  <a:gd name="connsiteY27" fmla="*/ 2373261 h 2936314"/>
                  <a:gd name="connsiteX28" fmla="*/ 11836958 w 11867103"/>
                  <a:gd name="connsiteY28" fmla="*/ 2403406 h 2936314"/>
                  <a:gd name="connsiteX29" fmla="*/ 11857055 w 11867103"/>
                  <a:gd name="connsiteY29" fmla="*/ 2534035 h 2936314"/>
                  <a:gd name="connsiteX30" fmla="*/ 11867103 w 11867103"/>
                  <a:gd name="connsiteY30" fmla="*/ 2574228 h 2936314"/>
                  <a:gd name="connsiteX31" fmla="*/ 11857055 w 11867103"/>
                  <a:gd name="connsiteY31" fmla="*/ 2805340 h 2936314"/>
                  <a:gd name="connsiteX32" fmla="*/ 11836958 w 11867103"/>
                  <a:gd name="connsiteY32" fmla="*/ 2835485 h 2936314"/>
                  <a:gd name="connsiteX33" fmla="*/ 11033090 w 11867103"/>
                  <a:gd name="connsiteY33" fmla="*/ 2825437 h 2936314"/>
                  <a:gd name="connsiteX34" fmla="*/ 10621108 w 11867103"/>
                  <a:gd name="connsiteY34" fmla="*/ 2815389 h 2936314"/>
                  <a:gd name="connsiteX35" fmla="*/ 10128739 w 11867103"/>
                  <a:gd name="connsiteY35" fmla="*/ 2825437 h 2936314"/>
                  <a:gd name="connsiteX36" fmla="*/ 10048352 w 11867103"/>
                  <a:gd name="connsiteY36" fmla="*/ 2835485 h 2936314"/>
                  <a:gd name="connsiteX37" fmla="*/ 9555982 w 11867103"/>
                  <a:gd name="connsiteY37" fmla="*/ 2825437 h 2936314"/>
                  <a:gd name="connsiteX38" fmla="*/ 9445451 w 11867103"/>
                  <a:gd name="connsiteY38" fmla="*/ 2815389 h 2936314"/>
                  <a:gd name="connsiteX39" fmla="*/ 9415306 w 11867103"/>
                  <a:gd name="connsiteY39" fmla="*/ 2795292 h 2936314"/>
                  <a:gd name="connsiteX40" fmla="*/ 9204290 w 11867103"/>
                  <a:gd name="connsiteY40" fmla="*/ 2775195 h 2936314"/>
                  <a:gd name="connsiteX41" fmla="*/ 9073662 w 11867103"/>
                  <a:gd name="connsiteY41" fmla="*/ 2755098 h 2936314"/>
                  <a:gd name="connsiteX42" fmla="*/ 8812404 w 11867103"/>
                  <a:gd name="connsiteY42" fmla="*/ 2745050 h 2936314"/>
                  <a:gd name="connsiteX43" fmla="*/ 8400422 w 11867103"/>
                  <a:gd name="connsiteY43" fmla="*/ 2735002 h 2936314"/>
                  <a:gd name="connsiteX44" fmla="*/ 8269793 w 11867103"/>
                  <a:gd name="connsiteY44" fmla="*/ 2724953 h 2936314"/>
                  <a:gd name="connsiteX45" fmla="*/ 7797521 w 11867103"/>
                  <a:gd name="connsiteY45" fmla="*/ 2745050 h 2936314"/>
                  <a:gd name="connsiteX46" fmla="*/ 7717134 w 11867103"/>
                  <a:gd name="connsiteY46" fmla="*/ 2755098 h 2936314"/>
                  <a:gd name="connsiteX47" fmla="*/ 7486022 w 11867103"/>
                  <a:gd name="connsiteY47" fmla="*/ 2785244 h 2936314"/>
                  <a:gd name="connsiteX48" fmla="*/ 7395587 w 11867103"/>
                  <a:gd name="connsiteY48" fmla="*/ 2805340 h 2936314"/>
                  <a:gd name="connsiteX49" fmla="*/ 7325248 w 11867103"/>
                  <a:gd name="connsiteY49" fmla="*/ 2815389 h 2936314"/>
                  <a:gd name="connsiteX50" fmla="*/ 6863024 w 11867103"/>
                  <a:gd name="connsiteY50" fmla="*/ 2805340 h 2936314"/>
                  <a:gd name="connsiteX51" fmla="*/ 6722347 w 11867103"/>
                  <a:gd name="connsiteY51" fmla="*/ 2795292 h 2936314"/>
                  <a:gd name="connsiteX52" fmla="*/ 4903596 w 11867103"/>
                  <a:gd name="connsiteY52" fmla="*/ 2845534 h 2936314"/>
                  <a:gd name="connsiteX53" fmla="*/ 4722725 w 11867103"/>
                  <a:gd name="connsiteY53" fmla="*/ 2885727 h 2936314"/>
                  <a:gd name="connsiteX54" fmla="*/ 4300695 w 11867103"/>
                  <a:gd name="connsiteY54" fmla="*/ 2865630 h 2936314"/>
                  <a:gd name="connsiteX55" fmla="*/ 4059534 w 11867103"/>
                  <a:gd name="connsiteY55" fmla="*/ 2825437 h 2936314"/>
                  <a:gd name="connsiteX56" fmla="*/ 3768132 w 11867103"/>
                  <a:gd name="connsiteY56" fmla="*/ 2795292 h 2936314"/>
                  <a:gd name="connsiteX57" fmla="*/ 3627455 w 11867103"/>
                  <a:gd name="connsiteY57" fmla="*/ 2785244 h 2936314"/>
                  <a:gd name="connsiteX58" fmla="*/ 3125037 w 11867103"/>
                  <a:gd name="connsiteY58" fmla="*/ 2795292 h 2936314"/>
                  <a:gd name="connsiteX59" fmla="*/ 3064747 w 11867103"/>
                  <a:gd name="connsiteY59" fmla="*/ 2805340 h 2936314"/>
                  <a:gd name="connsiteX60" fmla="*/ 2009670 w 11867103"/>
                  <a:gd name="connsiteY60" fmla="*/ 2815389 h 2936314"/>
                  <a:gd name="connsiteX61" fmla="*/ 1678075 w 11867103"/>
                  <a:gd name="connsiteY61" fmla="*/ 2905824 h 2936314"/>
                  <a:gd name="connsiteX62" fmla="*/ 1607736 w 11867103"/>
                  <a:gd name="connsiteY62" fmla="*/ 2935969 h 2936314"/>
                  <a:gd name="connsiteX63" fmla="*/ 1135464 w 11867103"/>
                  <a:gd name="connsiteY63" fmla="*/ 2915872 h 2936314"/>
                  <a:gd name="connsiteX64" fmla="*/ 944545 w 11867103"/>
                  <a:gd name="connsiteY64" fmla="*/ 2885727 h 2936314"/>
                  <a:gd name="connsiteX65" fmla="*/ 723481 w 11867103"/>
                  <a:gd name="connsiteY65" fmla="*/ 2845534 h 2936314"/>
                  <a:gd name="connsiteX66" fmla="*/ 643095 w 11867103"/>
                  <a:gd name="connsiteY66" fmla="*/ 2835485 h 2936314"/>
                  <a:gd name="connsiteX67" fmla="*/ 371789 w 11867103"/>
                  <a:gd name="connsiteY67" fmla="*/ 2795292 h 2936314"/>
                  <a:gd name="connsiteX68" fmla="*/ 0 w 11867103"/>
                  <a:gd name="connsiteY68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16862 w 11867103"/>
                  <a:gd name="connsiteY19" fmla="*/ 222914 h 2936314"/>
                  <a:gd name="connsiteX20" fmla="*/ 11826910 w 11867103"/>
                  <a:gd name="connsiteY20" fmla="*/ 313349 h 2936314"/>
                  <a:gd name="connsiteX21" fmla="*/ 11836958 w 11867103"/>
                  <a:gd name="connsiteY21" fmla="*/ 393736 h 2936314"/>
                  <a:gd name="connsiteX22" fmla="*/ 11826910 w 11867103"/>
                  <a:gd name="connsiteY22" fmla="*/ 705235 h 2936314"/>
                  <a:gd name="connsiteX23" fmla="*/ 11816862 w 11867103"/>
                  <a:gd name="connsiteY23" fmla="*/ 765525 h 2936314"/>
                  <a:gd name="connsiteX24" fmla="*/ 11806813 w 11867103"/>
                  <a:gd name="connsiteY24" fmla="*/ 835863 h 2936314"/>
                  <a:gd name="connsiteX25" fmla="*/ 11816862 w 11867103"/>
                  <a:gd name="connsiteY25" fmla="*/ 2302923 h 2936314"/>
                  <a:gd name="connsiteX26" fmla="*/ 11826910 w 11867103"/>
                  <a:gd name="connsiteY26" fmla="*/ 2373261 h 2936314"/>
                  <a:gd name="connsiteX27" fmla="*/ 11836958 w 11867103"/>
                  <a:gd name="connsiteY27" fmla="*/ 2403406 h 2936314"/>
                  <a:gd name="connsiteX28" fmla="*/ 11857055 w 11867103"/>
                  <a:gd name="connsiteY28" fmla="*/ 2534035 h 2936314"/>
                  <a:gd name="connsiteX29" fmla="*/ 11867103 w 11867103"/>
                  <a:gd name="connsiteY29" fmla="*/ 2574228 h 2936314"/>
                  <a:gd name="connsiteX30" fmla="*/ 11857055 w 11867103"/>
                  <a:gd name="connsiteY30" fmla="*/ 2805340 h 2936314"/>
                  <a:gd name="connsiteX31" fmla="*/ 11836958 w 11867103"/>
                  <a:gd name="connsiteY31" fmla="*/ 2835485 h 2936314"/>
                  <a:gd name="connsiteX32" fmla="*/ 11033090 w 11867103"/>
                  <a:gd name="connsiteY32" fmla="*/ 2825437 h 2936314"/>
                  <a:gd name="connsiteX33" fmla="*/ 10621108 w 11867103"/>
                  <a:gd name="connsiteY33" fmla="*/ 2815389 h 2936314"/>
                  <a:gd name="connsiteX34" fmla="*/ 10128739 w 11867103"/>
                  <a:gd name="connsiteY34" fmla="*/ 2825437 h 2936314"/>
                  <a:gd name="connsiteX35" fmla="*/ 10048352 w 11867103"/>
                  <a:gd name="connsiteY35" fmla="*/ 2835485 h 2936314"/>
                  <a:gd name="connsiteX36" fmla="*/ 9555982 w 11867103"/>
                  <a:gd name="connsiteY36" fmla="*/ 2825437 h 2936314"/>
                  <a:gd name="connsiteX37" fmla="*/ 9445451 w 11867103"/>
                  <a:gd name="connsiteY37" fmla="*/ 2815389 h 2936314"/>
                  <a:gd name="connsiteX38" fmla="*/ 9415306 w 11867103"/>
                  <a:gd name="connsiteY38" fmla="*/ 2795292 h 2936314"/>
                  <a:gd name="connsiteX39" fmla="*/ 9204290 w 11867103"/>
                  <a:gd name="connsiteY39" fmla="*/ 2775195 h 2936314"/>
                  <a:gd name="connsiteX40" fmla="*/ 9073662 w 11867103"/>
                  <a:gd name="connsiteY40" fmla="*/ 2755098 h 2936314"/>
                  <a:gd name="connsiteX41" fmla="*/ 8812404 w 11867103"/>
                  <a:gd name="connsiteY41" fmla="*/ 2745050 h 2936314"/>
                  <a:gd name="connsiteX42" fmla="*/ 8400422 w 11867103"/>
                  <a:gd name="connsiteY42" fmla="*/ 2735002 h 2936314"/>
                  <a:gd name="connsiteX43" fmla="*/ 8269793 w 11867103"/>
                  <a:gd name="connsiteY43" fmla="*/ 2724953 h 2936314"/>
                  <a:gd name="connsiteX44" fmla="*/ 7797521 w 11867103"/>
                  <a:gd name="connsiteY44" fmla="*/ 2745050 h 2936314"/>
                  <a:gd name="connsiteX45" fmla="*/ 7717134 w 11867103"/>
                  <a:gd name="connsiteY45" fmla="*/ 2755098 h 2936314"/>
                  <a:gd name="connsiteX46" fmla="*/ 7486022 w 11867103"/>
                  <a:gd name="connsiteY46" fmla="*/ 2785244 h 2936314"/>
                  <a:gd name="connsiteX47" fmla="*/ 7395587 w 11867103"/>
                  <a:gd name="connsiteY47" fmla="*/ 2805340 h 2936314"/>
                  <a:gd name="connsiteX48" fmla="*/ 7325248 w 11867103"/>
                  <a:gd name="connsiteY48" fmla="*/ 2815389 h 2936314"/>
                  <a:gd name="connsiteX49" fmla="*/ 6863024 w 11867103"/>
                  <a:gd name="connsiteY49" fmla="*/ 2805340 h 2936314"/>
                  <a:gd name="connsiteX50" fmla="*/ 6722347 w 11867103"/>
                  <a:gd name="connsiteY50" fmla="*/ 2795292 h 2936314"/>
                  <a:gd name="connsiteX51" fmla="*/ 4903596 w 11867103"/>
                  <a:gd name="connsiteY51" fmla="*/ 2845534 h 2936314"/>
                  <a:gd name="connsiteX52" fmla="*/ 4722725 w 11867103"/>
                  <a:gd name="connsiteY52" fmla="*/ 2885727 h 2936314"/>
                  <a:gd name="connsiteX53" fmla="*/ 4300695 w 11867103"/>
                  <a:gd name="connsiteY53" fmla="*/ 2865630 h 2936314"/>
                  <a:gd name="connsiteX54" fmla="*/ 4059534 w 11867103"/>
                  <a:gd name="connsiteY54" fmla="*/ 2825437 h 2936314"/>
                  <a:gd name="connsiteX55" fmla="*/ 3768132 w 11867103"/>
                  <a:gd name="connsiteY55" fmla="*/ 2795292 h 2936314"/>
                  <a:gd name="connsiteX56" fmla="*/ 3627455 w 11867103"/>
                  <a:gd name="connsiteY56" fmla="*/ 2785244 h 2936314"/>
                  <a:gd name="connsiteX57" fmla="*/ 3125037 w 11867103"/>
                  <a:gd name="connsiteY57" fmla="*/ 2795292 h 2936314"/>
                  <a:gd name="connsiteX58" fmla="*/ 3064747 w 11867103"/>
                  <a:gd name="connsiteY58" fmla="*/ 2805340 h 2936314"/>
                  <a:gd name="connsiteX59" fmla="*/ 2009670 w 11867103"/>
                  <a:gd name="connsiteY59" fmla="*/ 2815389 h 2936314"/>
                  <a:gd name="connsiteX60" fmla="*/ 1678075 w 11867103"/>
                  <a:gd name="connsiteY60" fmla="*/ 2905824 h 2936314"/>
                  <a:gd name="connsiteX61" fmla="*/ 1607736 w 11867103"/>
                  <a:gd name="connsiteY61" fmla="*/ 2935969 h 2936314"/>
                  <a:gd name="connsiteX62" fmla="*/ 1135464 w 11867103"/>
                  <a:gd name="connsiteY62" fmla="*/ 2915872 h 2936314"/>
                  <a:gd name="connsiteX63" fmla="*/ 944545 w 11867103"/>
                  <a:gd name="connsiteY63" fmla="*/ 2885727 h 2936314"/>
                  <a:gd name="connsiteX64" fmla="*/ 723481 w 11867103"/>
                  <a:gd name="connsiteY64" fmla="*/ 2845534 h 2936314"/>
                  <a:gd name="connsiteX65" fmla="*/ 643095 w 11867103"/>
                  <a:gd name="connsiteY65" fmla="*/ 2835485 h 2936314"/>
                  <a:gd name="connsiteX66" fmla="*/ 371789 w 11867103"/>
                  <a:gd name="connsiteY66" fmla="*/ 2795292 h 2936314"/>
                  <a:gd name="connsiteX67" fmla="*/ 0 w 11867103"/>
                  <a:gd name="connsiteY67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313349 h 2936314"/>
                  <a:gd name="connsiteX20" fmla="*/ 11836958 w 11867103"/>
                  <a:gd name="connsiteY20" fmla="*/ 393736 h 2936314"/>
                  <a:gd name="connsiteX21" fmla="*/ 11826910 w 11867103"/>
                  <a:gd name="connsiteY21" fmla="*/ 705235 h 2936314"/>
                  <a:gd name="connsiteX22" fmla="*/ 11816862 w 11867103"/>
                  <a:gd name="connsiteY22" fmla="*/ 765525 h 2936314"/>
                  <a:gd name="connsiteX23" fmla="*/ 11806813 w 11867103"/>
                  <a:gd name="connsiteY23" fmla="*/ 835863 h 2936314"/>
                  <a:gd name="connsiteX24" fmla="*/ 11816862 w 11867103"/>
                  <a:gd name="connsiteY24" fmla="*/ 2302923 h 2936314"/>
                  <a:gd name="connsiteX25" fmla="*/ 11826910 w 11867103"/>
                  <a:gd name="connsiteY25" fmla="*/ 2373261 h 2936314"/>
                  <a:gd name="connsiteX26" fmla="*/ 11836958 w 11867103"/>
                  <a:gd name="connsiteY26" fmla="*/ 2403406 h 2936314"/>
                  <a:gd name="connsiteX27" fmla="*/ 11857055 w 11867103"/>
                  <a:gd name="connsiteY27" fmla="*/ 2534035 h 2936314"/>
                  <a:gd name="connsiteX28" fmla="*/ 11867103 w 11867103"/>
                  <a:gd name="connsiteY28" fmla="*/ 2574228 h 2936314"/>
                  <a:gd name="connsiteX29" fmla="*/ 11857055 w 11867103"/>
                  <a:gd name="connsiteY29" fmla="*/ 2805340 h 2936314"/>
                  <a:gd name="connsiteX30" fmla="*/ 11836958 w 11867103"/>
                  <a:gd name="connsiteY30" fmla="*/ 2835485 h 2936314"/>
                  <a:gd name="connsiteX31" fmla="*/ 11033090 w 11867103"/>
                  <a:gd name="connsiteY31" fmla="*/ 2825437 h 2936314"/>
                  <a:gd name="connsiteX32" fmla="*/ 10621108 w 11867103"/>
                  <a:gd name="connsiteY32" fmla="*/ 2815389 h 2936314"/>
                  <a:gd name="connsiteX33" fmla="*/ 10128739 w 11867103"/>
                  <a:gd name="connsiteY33" fmla="*/ 2825437 h 2936314"/>
                  <a:gd name="connsiteX34" fmla="*/ 10048352 w 11867103"/>
                  <a:gd name="connsiteY34" fmla="*/ 2835485 h 2936314"/>
                  <a:gd name="connsiteX35" fmla="*/ 9555982 w 11867103"/>
                  <a:gd name="connsiteY35" fmla="*/ 2825437 h 2936314"/>
                  <a:gd name="connsiteX36" fmla="*/ 9445451 w 11867103"/>
                  <a:gd name="connsiteY36" fmla="*/ 2815389 h 2936314"/>
                  <a:gd name="connsiteX37" fmla="*/ 9415306 w 11867103"/>
                  <a:gd name="connsiteY37" fmla="*/ 2795292 h 2936314"/>
                  <a:gd name="connsiteX38" fmla="*/ 9204290 w 11867103"/>
                  <a:gd name="connsiteY38" fmla="*/ 2775195 h 2936314"/>
                  <a:gd name="connsiteX39" fmla="*/ 9073662 w 11867103"/>
                  <a:gd name="connsiteY39" fmla="*/ 2755098 h 2936314"/>
                  <a:gd name="connsiteX40" fmla="*/ 8812404 w 11867103"/>
                  <a:gd name="connsiteY40" fmla="*/ 2745050 h 2936314"/>
                  <a:gd name="connsiteX41" fmla="*/ 8400422 w 11867103"/>
                  <a:gd name="connsiteY41" fmla="*/ 2735002 h 2936314"/>
                  <a:gd name="connsiteX42" fmla="*/ 8269793 w 11867103"/>
                  <a:gd name="connsiteY42" fmla="*/ 2724953 h 2936314"/>
                  <a:gd name="connsiteX43" fmla="*/ 7797521 w 11867103"/>
                  <a:gd name="connsiteY43" fmla="*/ 2745050 h 2936314"/>
                  <a:gd name="connsiteX44" fmla="*/ 7717134 w 11867103"/>
                  <a:gd name="connsiteY44" fmla="*/ 2755098 h 2936314"/>
                  <a:gd name="connsiteX45" fmla="*/ 7486022 w 11867103"/>
                  <a:gd name="connsiteY45" fmla="*/ 2785244 h 2936314"/>
                  <a:gd name="connsiteX46" fmla="*/ 7395587 w 11867103"/>
                  <a:gd name="connsiteY46" fmla="*/ 2805340 h 2936314"/>
                  <a:gd name="connsiteX47" fmla="*/ 7325248 w 11867103"/>
                  <a:gd name="connsiteY47" fmla="*/ 2815389 h 2936314"/>
                  <a:gd name="connsiteX48" fmla="*/ 6863024 w 11867103"/>
                  <a:gd name="connsiteY48" fmla="*/ 2805340 h 2936314"/>
                  <a:gd name="connsiteX49" fmla="*/ 6722347 w 11867103"/>
                  <a:gd name="connsiteY49" fmla="*/ 2795292 h 2936314"/>
                  <a:gd name="connsiteX50" fmla="*/ 4903596 w 11867103"/>
                  <a:gd name="connsiteY50" fmla="*/ 2845534 h 2936314"/>
                  <a:gd name="connsiteX51" fmla="*/ 4722725 w 11867103"/>
                  <a:gd name="connsiteY51" fmla="*/ 2885727 h 2936314"/>
                  <a:gd name="connsiteX52" fmla="*/ 4300695 w 11867103"/>
                  <a:gd name="connsiteY52" fmla="*/ 2865630 h 2936314"/>
                  <a:gd name="connsiteX53" fmla="*/ 4059534 w 11867103"/>
                  <a:gd name="connsiteY53" fmla="*/ 2825437 h 2936314"/>
                  <a:gd name="connsiteX54" fmla="*/ 3768132 w 11867103"/>
                  <a:gd name="connsiteY54" fmla="*/ 2795292 h 2936314"/>
                  <a:gd name="connsiteX55" fmla="*/ 3627455 w 11867103"/>
                  <a:gd name="connsiteY55" fmla="*/ 2785244 h 2936314"/>
                  <a:gd name="connsiteX56" fmla="*/ 3125037 w 11867103"/>
                  <a:gd name="connsiteY56" fmla="*/ 2795292 h 2936314"/>
                  <a:gd name="connsiteX57" fmla="*/ 3064747 w 11867103"/>
                  <a:gd name="connsiteY57" fmla="*/ 2805340 h 2936314"/>
                  <a:gd name="connsiteX58" fmla="*/ 2009670 w 11867103"/>
                  <a:gd name="connsiteY58" fmla="*/ 2815389 h 2936314"/>
                  <a:gd name="connsiteX59" fmla="*/ 1678075 w 11867103"/>
                  <a:gd name="connsiteY59" fmla="*/ 2905824 h 2936314"/>
                  <a:gd name="connsiteX60" fmla="*/ 1607736 w 11867103"/>
                  <a:gd name="connsiteY60" fmla="*/ 2935969 h 2936314"/>
                  <a:gd name="connsiteX61" fmla="*/ 1135464 w 11867103"/>
                  <a:gd name="connsiteY61" fmla="*/ 2915872 h 2936314"/>
                  <a:gd name="connsiteX62" fmla="*/ 944545 w 11867103"/>
                  <a:gd name="connsiteY62" fmla="*/ 2885727 h 2936314"/>
                  <a:gd name="connsiteX63" fmla="*/ 723481 w 11867103"/>
                  <a:gd name="connsiteY63" fmla="*/ 2845534 h 2936314"/>
                  <a:gd name="connsiteX64" fmla="*/ 643095 w 11867103"/>
                  <a:gd name="connsiteY64" fmla="*/ 2835485 h 2936314"/>
                  <a:gd name="connsiteX65" fmla="*/ 371789 w 11867103"/>
                  <a:gd name="connsiteY65" fmla="*/ 2795292 h 2936314"/>
                  <a:gd name="connsiteX66" fmla="*/ 0 w 11867103"/>
                  <a:gd name="connsiteY66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36958 w 11867103"/>
                  <a:gd name="connsiteY19" fmla="*/ 393736 h 2936314"/>
                  <a:gd name="connsiteX20" fmla="*/ 11826910 w 11867103"/>
                  <a:gd name="connsiteY20" fmla="*/ 705235 h 2936314"/>
                  <a:gd name="connsiteX21" fmla="*/ 11816862 w 11867103"/>
                  <a:gd name="connsiteY21" fmla="*/ 765525 h 2936314"/>
                  <a:gd name="connsiteX22" fmla="*/ 11806813 w 11867103"/>
                  <a:gd name="connsiteY22" fmla="*/ 835863 h 2936314"/>
                  <a:gd name="connsiteX23" fmla="*/ 11816862 w 11867103"/>
                  <a:gd name="connsiteY23" fmla="*/ 2302923 h 2936314"/>
                  <a:gd name="connsiteX24" fmla="*/ 11826910 w 11867103"/>
                  <a:gd name="connsiteY24" fmla="*/ 2373261 h 2936314"/>
                  <a:gd name="connsiteX25" fmla="*/ 11836958 w 11867103"/>
                  <a:gd name="connsiteY25" fmla="*/ 2403406 h 2936314"/>
                  <a:gd name="connsiteX26" fmla="*/ 11857055 w 11867103"/>
                  <a:gd name="connsiteY26" fmla="*/ 2534035 h 2936314"/>
                  <a:gd name="connsiteX27" fmla="*/ 11867103 w 11867103"/>
                  <a:gd name="connsiteY27" fmla="*/ 2574228 h 2936314"/>
                  <a:gd name="connsiteX28" fmla="*/ 11857055 w 11867103"/>
                  <a:gd name="connsiteY28" fmla="*/ 2805340 h 2936314"/>
                  <a:gd name="connsiteX29" fmla="*/ 11836958 w 11867103"/>
                  <a:gd name="connsiteY29" fmla="*/ 2835485 h 2936314"/>
                  <a:gd name="connsiteX30" fmla="*/ 11033090 w 11867103"/>
                  <a:gd name="connsiteY30" fmla="*/ 2825437 h 2936314"/>
                  <a:gd name="connsiteX31" fmla="*/ 10621108 w 11867103"/>
                  <a:gd name="connsiteY31" fmla="*/ 2815389 h 2936314"/>
                  <a:gd name="connsiteX32" fmla="*/ 10128739 w 11867103"/>
                  <a:gd name="connsiteY32" fmla="*/ 2825437 h 2936314"/>
                  <a:gd name="connsiteX33" fmla="*/ 10048352 w 11867103"/>
                  <a:gd name="connsiteY33" fmla="*/ 2835485 h 2936314"/>
                  <a:gd name="connsiteX34" fmla="*/ 9555982 w 11867103"/>
                  <a:gd name="connsiteY34" fmla="*/ 2825437 h 2936314"/>
                  <a:gd name="connsiteX35" fmla="*/ 9445451 w 11867103"/>
                  <a:gd name="connsiteY35" fmla="*/ 2815389 h 2936314"/>
                  <a:gd name="connsiteX36" fmla="*/ 9415306 w 11867103"/>
                  <a:gd name="connsiteY36" fmla="*/ 2795292 h 2936314"/>
                  <a:gd name="connsiteX37" fmla="*/ 9204290 w 11867103"/>
                  <a:gd name="connsiteY37" fmla="*/ 2775195 h 2936314"/>
                  <a:gd name="connsiteX38" fmla="*/ 9073662 w 11867103"/>
                  <a:gd name="connsiteY38" fmla="*/ 2755098 h 2936314"/>
                  <a:gd name="connsiteX39" fmla="*/ 8812404 w 11867103"/>
                  <a:gd name="connsiteY39" fmla="*/ 2745050 h 2936314"/>
                  <a:gd name="connsiteX40" fmla="*/ 8400422 w 11867103"/>
                  <a:gd name="connsiteY40" fmla="*/ 2735002 h 2936314"/>
                  <a:gd name="connsiteX41" fmla="*/ 8269793 w 11867103"/>
                  <a:gd name="connsiteY41" fmla="*/ 2724953 h 2936314"/>
                  <a:gd name="connsiteX42" fmla="*/ 7797521 w 11867103"/>
                  <a:gd name="connsiteY42" fmla="*/ 2745050 h 2936314"/>
                  <a:gd name="connsiteX43" fmla="*/ 7717134 w 11867103"/>
                  <a:gd name="connsiteY43" fmla="*/ 2755098 h 2936314"/>
                  <a:gd name="connsiteX44" fmla="*/ 7486022 w 11867103"/>
                  <a:gd name="connsiteY44" fmla="*/ 2785244 h 2936314"/>
                  <a:gd name="connsiteX45" fmla="*/ 7395587 w 11867103"/>
                  <a:gd name="connsiteY45" fmla="*/ 2805340 h 2936314"/>
                  <a:gd name="connsiteX46" fmla="*/ 7325248 w 11867103"/>
                  <a:gd name="connsiteY46" fmla="*/ 2815389 h 2936314"/>
                  <a:gd name="connsiteX47" fmla="*/ 6863024 w 11867103"/>
                  <a:gd name="connsiteY47" fmla="*/ 2805340 h 2936314"/>
                  <a:gd name="connsiteX48" fmla="*/ 6722347 w 11867103"/>
                  <a:gd name="connsiteY48" fmla="*/ 2795292 h 2936314"/>
                  <a:gd name="connsiteX49" fmla="*/ 4903596 w 11867103"/>
                  <a:gd name="connsiteY49" fmla="*/ 2845534 h 2936314"/>
                  <a:gd name="connsiteX50" fmla="*/ 4722725 w 11867103"/>
                  <a:gd name="connsiteY50" fmla="*/ 2885727 h 2936314"/>
                  <a:gd name="connsiteX51" fmla="*/ 4300695 w 11867103"/>
                  <a:gd name="connsiteY51" fmla="*/ 2865630 h 2936314"/>
                  <a:gd name="connsiteX52" fmla="*/ 4059534 w 11867103"/>
                  <a:gd name="connsiteY52" fmla="*/ 2825437 h 2936314"/>
                  <a:gd name="connsiteX53" fmla="*/ 3768132 w 11867103"/>
                  <a:gd name="connsiteY53" fmla="*/ 2795292 h 2936314"/>
                  <a:gd name="connsiteX54" fmla="*/ 3627455 w 11867103"/>
                  <a:gd name="connsiteY54" fmla="*/ 2785244 h 2936314"/>
                  <a:gd name="connsiteX55" fmla="*/ 3125037 w 11867103"/>
                  <a:gd name="connsiteY55" fmla="*/ 2795292 h 2936314"/>
                  <a:gd name="connsiteX56" fmla="*/ 3064747 w 11867103"/>
                  <a:gd name="connsiteY56" fmla="*/ 2805340 h 2936314"/>
                  <a:gd name="connsiteX57" fmla="*/ 2009670 w 11867103"/>
                  <a:gd name="connsiteY57" fmla="*/ 2815389 h 2936314"/>
                  <a:gd name="connsiteX58" fmla="*/ 1678075 w 11867103"/>
                  <a:gd name="connsiteY58" fmla="*/ 2905824 h 2936314"/>
                  <a:gd name="connsiteX59" fmla="*/ 1607736 w 11867103"/>
                  <a:gd name="connsiteY59" fmla="*/ 2935969 h 2936314"/>
                  <a:gd name="connsiteX60" fmla="*/ 1135464 w 11867103"/>
                  <a:gd name="connsiteY60" fmla="*/ 2915872 h 2936314"/>
                  <a:gd name="connsiteX61" fmla="*/ 944545 w 11867103"/>
                  <a:gd name="connsiteY61" fmla="*/ 2885727 h 2936314"/>
                  <a:gd name="connsiteX62" fmla="*/ 723481 w 11867103"/>
                  <a:gd name="connsiteY62" fmla="*/ 2845534 h 2936314"/>
                  <a:gd name="connsiteX63" fmla="*/ 643095 w 11867103"/>
                  <a:gd name="connsiteY63" fmla="*/ 2835485 h 2936314"/>
                  <a:gd name="connsiteX64" fmla="*/ 371789 w 11867103"/>
                  <a:gd name="connsiteY64" fmla="*/ 2795292 h 2936314"/>
                  <a:gd name="connsiteX65" fmla="*/ 0 w 11867103"/>
                  <a:gd name="connsiteY65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16862 w 11867103"/>
                  <a:gd name="connsiteY20" fmla="*/ 765525 h 2936314"/>
                  <a:gd name="connsiteX21" fmla="*/ 11806813 w 11867103"/>
                  <a:gd name="connsiteY21" fmla="*/ 835863 h 2936314"/>
                  <a:gd name="connsiteX22" fmla="*/ 11816862 w 11867103"/>
                  <a:gd name="connsiteY22" fmla="*/ 2302923 h 2936314"/>
                  <a:gd name="connsiteX23" fmla="*/ 11826910 w 11867103"/>
                  <a:gd name="connsiteY23" fmla="*/ 2373261 h 2936314"/>
                  <a:gd name="connsiteX24" fmla="*/ 11836958 w 11867103"/>
                  <a:gd name="connsiteY24" fmla="*/ 2403406 h 2936314"/>
                  <a:gd name="connsiteX25" fmla="*/ 11857055 w 11867103"/>
                  <a:gd name="connsiteY25" fmla="*/ 2534035 h 2936314"/>
                  <a:gd name="connsiteX26" fmla="*/ 11867103 w 11867103"/>
                  <a:gd name="connsiteY26" fmla="*/ 2574228 h 2936314"/>
                  <a:gd name="connsiteX27" fmla="*/ 11857055 w 11867103"/>
                  <a:gd name="connsiteY27" fmla="*/ 2805340 h 2936314"/>
                  <a:gd name="connsiteX28" fmla="*/ 11836958 w 11867103"/>
                  <a:gd name="connsiteY28" fmla="*/ 2835485 h 2936314"/>
                  <a:gd name="connsiteX29" fmla="*/ 11033090 w 11867103"/>
                  <a:gd name="connsiteY29" fmla="*/ 2825437 h 2936314"/>
                  <a:gd name="connsiteX30" fmla="*/ 10621108 w 11867103"/>
                  <a:gd name="connsiteY30" fmla="*/ 2815389 h 2936314"/>
                  <a:gd name="connsiteX31" fmla="*/ 10128739 w 11867103"/>
                  <a:gd name="connsiteY31" fmla="*/ 2825437 h 2936314"/>
                  <a:gd name="connsiteX32" fmla="*/ 10048352 w 11867103"/>
                  <a:gd name="connsiteY32" fmla="*/ 2835485 h 2936314"/>
                  <a:gd name="connsiteX33" fmla="*/ 9555982 w 11867103"/>
                  <a:gd name="connsiteY33" fmla="*/ 2825437 h 2936314"/>
                  <a:gd name="connsiteX34" fmla="*/ 9445451 w 11867103"/>
                  <a:gd name="connsiteY34" fmla="*/ 2815389 h 2936314"/>
                  <a:gd name="connsiteX35" fmla="*/ 9415306 w 11867103"/>
                  <a:gd name="connsiteY35" fmla="*/ 2795292 h 2936314"/>
                  <a:gd name="connsiteX36" fmla="*/ 9204290 w 11867103"/>
                  <a:gd name="connsiteY36" fmla="*/ 2775195 h 2936314"/>
                  <a:gd name="connsiteX37" fmla="*/ 9073662 w 11867103"/>
                  <a:gd name="connsiteY37" fmla="*/ 2755098 h 2936314"/>
                  <a:gd name="connsiteX38" fmla="*/ 8812404 w 11867103"/>
                  <a:gd name="connsiteY38" fmla="*/ 2745050 h 2936314"/>
                  <a:gd name="connsiteX39" fmla="*/ 8400422 w 11867103"/>
                  <a:gd name="connsiteY39" fmla="*/ 2735002 h 2936314"/>
                  <a:gd name="connsiteX40" fmla="*/ 8269793 w 11867103"/>
                  <a:gd name="connsiteY40" fmla="*/ 2724953 h 2936314"/>
                  <a:gd name="connsiteX41" fmla="*/ 7797521 w 11867103"/>
                  <a:gd name="connsiteY41" fmla="*/ 2745050 h 2936314"/>
                  <a:gd name="connsiteX42" fmla="*/ 7717134 w 11867103"/>
                  <a:gd name="connsiteY42" fmla="*/ 2755098 h 2936314"/>
                  <a:gd name="connsiteX43" fmla="*/ 7486022 w 11867103"/>
                  <a:gd name="connsiteY43" fmla="*/ 2785244 h 2936314"/>
                  <a:gd name="connsiteX44" fmla="*/ 7395587 w 11867103"/>
                  <a:gd name="connsiteY44" fmla="*/ 2805340 h 2936314"/>
                  <a:gd name="connsiteX45" fmla="*/ 7325248 w 11867103"/>
                  <a:gd name="connsiteY45" fmla="*/ 2815389 h 2936314"/>
                  <a:gd name="connsiteX46" fmla="*/ 6863024 w 11867103"/>
                  <a:gd name="connsiteY46" fmla="*/ 2805340 h 2936314"/>
                  <a:gd name="connsiteX47" fmla="*/ 6722347 w 11867103"/>
                  <a:gd name="connsiteY47" fmla="*/ 2795292 h 2936314"/>
                  <a:gd name="connsiteX48" fmla="*/ 4903596 w 11867103"/>
                  <a:gd name="connsiteY48" fmla="*/ 2845534 h 2936314"/>
                  <a:gd name="connsiteX49" fmla="*/ 4722725 w 11867103"/>
                  <a:gd name="connsiteY49" fmla="*/ 2885727 h 2936314"/>
                  <a:gd name="connsiteX50" fmla="*/ 4300695 w 11867103"/>
                  <a:gd name="connsiteY50" fmla="*/ 2865630 h 2936314"/>
                  <a:gd name="connsiteX51" fmla="*/ 4059534 w 11867103"/>
                  <a:gd name="connsiteY51" fmla="*/ 2825437 h 2936314"/>
                  <a:gd name="connsiteX52" fmla="*/ 3768132 w 11867103"/>
                  <a:gd name="connsiteY52" fmla="*/ 2795292 h 2936314"/>
                  <a:gd name="connsiteX53" fmla="*/ 3627455 w 11867103"/>
                  <a:gd name="connsiteY53" fmla="*/ 2785244 h 2936314"/>
                  <a:gd name="connsiteX54" fmla="*/ 3125037 w 11867103"/>
                  <a:gd name="connsiteY54" fmla="*/ 2795292 h 2936314"/>
                  <a:gd name="connsiteX55" fmla="*/ 3064747 w 11867103"/>
                  <a:gd name="connsiteY55" fmla="*/ 2805340 h 2936314"/>
                  <a:gd name="connsiteX56" fmla="*/ 2009670 w 11867103"/>
                  <a:gd name="connsiteY56" fmla="*/ 2815389 h 2936314"/>
                  <a:gd name="connsiteX57" fmla="*/ 1678075 w 11867103"/>
                  <a:gd name="connsiteY57" fmla="*/ 2905824 h 2936314"/>
                  <a:gd name="connsiteX58" fmla="*/ 1607736 w 11867103"/>
                  <a:gd name="connsiteY58" fmla="*/ 2935969 h 2936314"/>
                  <a:gd name="connsiteX59" fmla="*/ 1135464 w 11867103"/>
                  <a:gd name="connsiteY59" fmla="*/ 2915872 h 2936314"/>
                  <a:gd name="connsiteX60" fmla="*/ 944545 w 11867103"/>
                  <a:gd name="connsiteY60" fmla="*/ 2885727 h 2936314"/>
                  <a:gd name="connsiteX61" fmla="*/ 723481 w 11867103"/>
                  <a:gd name="connsiteY61" fmla="*/ 2845534 h 2936314"/>
                  <a:gd name="connsiteX62" fmla="*/ 643095 w 11867103"/>
                  <a:gd name="connsiteY62" fmla="*/ 2835485 h 2936314"/>
                  <a:gd name="connsiteX63" fmla="*/ 371789 w 11867103"/>
                  <a:gd name="connsiteY63" fmla="*/ 2795292 h 2936314"/>
                  <a:gd name="connsiteX64" fmla="*/ 0 w 11867103"/>
                  <a:gd name="connsiteY64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06813 w 11867103"/>
                  <a:gd name="connsiteY20" fmla="*/ 835863 h 2936314"/>
                  <a:gd name="connsiteX21" fmla="*/ 11816862 w 11867103"/>
                  <a:gd name="connsiteY21" fmla="*/ 2302923 h 2936314"/>
                  <a:gd name="connsiteX22" fmla="*/ 11826910 w 11867103"/>
                  <a:gd name="connsiteY22" fmla="*/ 2373261 h 2936314"/>
                  <a:gd name="connsiteX23" fmla="*/ 11836958 w 11867103"/>
                  <a:gd name="connsiteY23" fmla="*/ 2403406 h 2936314"/>
                  <a:gd name="connsiteX24" fmla="*/ 11857055 w 11867103"/>
                  <a:gd name="connsiteY24" fmla="*/ 2534035 h 2936314"/>
                  <a:gd name="connsiteX25" fmla="*/ 11867103 w 11867103"/>
                  <a:gd name="connsiteY25" fmla="*/ 2574228 h 2936314"/>
                  <a:gd name="connsiteX26" fmla="*/ 11857055 w 11867103"/>
                  <a:gd name="connsiteY26" fmla="*/ 2805340 h 2936314"/>
                  <a:gd name="connsiteX27" fmla="*/ 11836958 w 11867103"/>
                  <a:gd name="connsiteY27" fmla="*/ 2835485 h 2936314"/>
                  <a:gd name="connsiteX28" fmla="*/ 11033090 w 11867103"/>
                  <a:gd name="connsiteY28" fmla="*/ 2825437 h 2936314"/>
                  <a:gd name="connsiteX29" fmla="*/ 10621108 w 11867103"/>
                  <a:gd name="connsiteY29" fmla="*/ 2815389 h 2936314"/>
                  <a:gd name="connsiteX30" fmla="*/ 10128739 w 11867103"/>
                  <a:gd name="connsiteY30" fmla="*/ 2825437 h 2936314"/>
                  <a:gd name="connsiteX31" fmla="*/ 10048352 w 11867103"/>
                  <a:gd name="connsiteY31" fmla="*/ 2835485 h 2936314"/>
                  <a:gd name="connsiteX32" fmla="*/ 9555982 w 11867103"/>
                  <a:gd name="connsiteY32" fmla="*/ 2825437 h 2936314"/>
                  <a:gd name="connsiteX33" fmla="*/ 9445451 w 11867103"/>
                  <a:gd name="connsiteY33" fmla="*/ 2815389 h 2936314"/>
                  <a:gd name="connsiteX34" fmla="*/ 9415306 w 11867103"/>
                  <a:gd name="connsiteY34" fmla="*/ 2795292 h 2936314"/>
                  <a:gd name="connsiteX35" fmla="*/ 9204290 w 11867103"/>
                  <a:gd name="connsiteY35" fmla="*/ 2775195 h 2936314"/>
                  <a:gd name="connsiteX36" fmla="*/ 9073662 w 11867103"/>
                  <a:gd name="connsiteY36" fmla="*/ 2755098 h 2936314"/>
                  <a:gd name="connsiteX37" fmla="*/ 8812404 w 11867103"/>
                  <a:gd name="connsiteY37" fmla="*/ 2745050 h 2936314"/>
                  <a:gd name="connsiteX38" fmla="*/ 8400422 w 11867103"/>
                  <a:gd name="connsiteY38" fmla="*/ 2735002 h 2936314"/>
                  <a:gd name="connsiteX39" fmla="*/ 8269793 w 11867103"/>
                  <a:gd name="connsiteY39" fmla="*/ 2724953 h 2936314"/>
                  <a:gd name="connsiteX40" fmla="*/ 7797521 w 11867103"/>
                  <a:gd name="connsiteY40" fmla="*/ 2745050 h 2936314"/>
                  <a:gd name="connsiteX41" fmla="*/ 7717134 w 11867103"/>
                  <a:gd name="connsiteY41" fmla="*/ 2755098 h 2936314"/>
                  <a:gd name="connsiteX42" fmla="*/ 7486022 w 11867103"/>
                  <a:gd name="connsiteY42" fmla="*/ 2785244 h 2936314"/>
                  <a:gd name="connsiteX43" fmla="*/ 7395587 w 11867103"/>
                  <a:gd name="connsiteY43" fmla="*/ 2805340 h 2936314"/>
                  <a:gd name="connsiteX44" fmla="*/ 7325248 w 11867103"/>
                  <a:gd name="connsiteY44" fmla="*/ 2815389 h 2936314"/>
                  <a:gd name="connsiteX45" fmla="*/ 6863024 w 11867103"/>
                  <a:gd name="connsiteY45" fmla="*/ 2805340 h 2936314"/>
                  <a:gd name="connsiteX46" fmla="*/ 6722347 w 11867103"/>
                  <a:gd name="connsiteY46" fmla="*/ 2795292 h 2936314"/>
                  <a:gd name="connsiteX47" fmla="*/ 4903596 w 11867103"/>
                  <a:gd name="connsiteY47" fmla="*/ 2845534 h 2936314"/>
                  <a:gd name="connsiteX48" fmla="*/ 4722725 w 11867103"/>
                  <a:gd name="connsiteY48" fmla="*/ 2885727 h 2936314"/>
                  <a:gd name="connsiteX49" fmla="*/ 4300695 w 11867103"/>
                  <a:gd name="connsiteY49" fmla="*/ 2865630 h 2936314"/>
                  <a:gd name="connsiteX50" fmla="*/ 4059534 w 11867103"/>
                  <a:gd name="connsiteY50" fmla="*/ 2825437 h 2936314"/>
                  <a:gd name="connsiteX51" fmla="*/ 3768132 w 11867103"/>
                  <a:gd name="connsiteY51" fmla="*/ 2795292 h 2936314"/>
                  <a:gd name="connsiteX52" fmla="*/ 3627455 w 11867103"/>
                  <a:gd name="connsiteY52" fmla="*/ 2785244 h 2936314"/>
                  <a:gd name="connsiteX53" fmla="*/ 3125037 w 11867103"/>
                  <a:gd name="connsiteY53" fmla="*/ 2795292 h 2936314"/>
                  <a:gd name="connsiteX54" fmla="*/ 3064747 w 11867103"/>
                  <a:gd name="connsiteY54" fmla="*/ 2805340 h 2936314"/>
                  <a:gd name="connsiteX55" fmla="*/ 2009670 w 11867103"/>
                  <a:gd name="connsiteY55" fmla="*/ 2815389 h 2936314"/>
                  <a:gd name="connsiteX56" fmla="*/ 1678075 w 11867103"/>
                  <a:gd name="connsiteY56" fmla="*/ 2905824 h 2936314"/>
                  <a:gd name="connsiteX57" fmla="*/ 1607736 w 11867103"/>
                  <a:gd name="connsiteY57" fmla="*/ 2935969 h 2936314"/>
                  <a:gd name="connsiteX58" fmla="*/ 1135464 w 11867103"/>
                  <a:gd name="connsiteY58" fmla="*/ 2915872 h 2936314"/>
                  <a:gd name="connsiteX59" fmla="*/ 944545 w 11867103"/>
                  <a:gd name="connsiteY59" fmla="*/ 2885727 h 2936314"/>
                  <a:gd name="connsiteX60" fmla="*/ 723481 w 11867103"/>
                  <a:gd name="connsiteY60" fmla="*/ 2845534 h 2936314"/>
                  <a:gd name="connsiteX61" fmla="*/ 643095 w 11867103"/>
                  <a:gd name="connsiteY61" fmla="*/ 2835485 h 2936314"/>
                  <a:gd name="connsiteX62" fmla="*/ 371789 w 11867103"/>
                  <a:gd name="connsiteY62" fmla="*/ 2795292 h 2936314"/>
                  <a:gd name="connsiteX63" fmla="*/ 0 w 11867103"/>
                  <a:gd name="connsiteY63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16862 w 11867103"/>
                  <a:gd name="connsiteY20" fmla="*/ 2302923 h 2936314"/>
                  <a:gd name="connsiteX21" fmla="*/ 11826910 w 11867103"/>
                  <a:gd name="connsiteY21" fmla="*/ 2373261 h 2936314"/>
                  <a:gd name="connsiteX22" fmla="*/ 11836958 w 11867103"/>
                  <a:gd name="connsiteY22" fmla="*/ 2403406 h 2936314"/>
                  <a:gd name="connsiteX23" fmla="*/ 11857055 w 11867103"/>
                  <a:gd name="connsiteY23" fmla="*/ 2534035 h 2936314"/>
                  <a:gd name="connsiteX24" fmla="*/ 11867103 w 11867103"/>
                  <a:gd name="connsiteY24" fmla="*/ 2574228 h 2936314"/>
                  <a:gd name="connsiteX25" fmla="*/ 11857055 w 11867103"/>
                  <a:gd name="connsiteY25" fmla="*/ 2805340 h 2936314"/>
                  <a:gd name="connsiteX26" fmla="*/ 11836958 w 11867103"/>
                  <a:gd name="connsiteY26" fmla="*/ 2835485 h 2936314"/>
                  <a:gd name="connsiteX27" fmla="*/ 11033090 w 11867103"/>
                  <a:gd name="connsiteY27" fmla="*/ 2825437 h 2936314"/>
                  <a:gd name="connsiteX28" fmla="*/ 10621108 w 11867103"/>
                  <a:gd name="connsiteY28" fmla="*/ 2815389 h 2936314"/>
                  <a:gd name="connsiteX29" fmla="*/ 10128739 w 11867103"/>
                  <a:gd name="connsiteY29" fmla="*/ 2825437 h 2936314"/>
                  <a:gd name="connsiteX30" fmla="*/ 10048352 w 11867103"/>
                  <a:gd name="connsiteY30" fmla="*/ 2835485 h 2936314"/>
                  <a:gd name="connsiteX31" fmla="*/ 9555982 w 11867103"/>
                  <a:gd name="connsiteY31" fmla="*/ 2825437 h 2936314"/>
                  <a:gd name="connsiteX32" fmla="*/ 9445451 w 11867103"/>
                  <a:gd name="connsiteY32" fmla="*/ 2815389 h 2936314"/>
                  <a:gd name="connsiteX33" fmla="*/ 9415306 w 11867103"/>
                  <a:gd name="connsiteY33" fmla="*/ 2795292 h 2936314"/>
                  <a:gd name="connsiteX34" fmla="*/ 9204290 w 11867103"/>
                  <a:gd name="connsiteY34" fmla="*/ 2775195 h 2936314"/>
                  <a:gd name="connsiteX35" fmla="*/ 9073662 w 11867103"/>
                  <a:gd name="connsiteY35" fmla="*/ 2755098 h 2936314"/>
                  <a:gd name="connsiteX36" fmla="*/ 8812404 w 11867103"/>
                  <a:gd name="connsiteY36" fmla="*/ 2745050 h 2936314"/>
                  <a:gd name="connsiteX37" fmla="*/ 8400422 w 11867103"/>
                  <a:gd name="connsiteY37" fmla="*/ 2735002 h 2936314"/>
                  <a:gd name="connsiteX38" fmla="*/ 8269793 w 11867103"/>
                  <a:gd name="connsiteY38" fmla="*/ 2724953 h 2936314"/>
                  <a:gd name="connsiteX39" fmla="*/ 7797521 w 11867103"/>
                  <a:gd name="connsiteY39" fmla="*/ 2745050 h 2936314"/>
                  <a:gd name="connsiteX40" fmla="*/ 7717134 w 11867103"/>
                  <a:gd name="connsiteY40" fmla="*/ 2755098 h 2936314"/>
                  <a:gd name="connsiteX41" fmla="*/ 7486022 w 11867103"/>
                  <a:gd name="connsiteY41" fmla="*/ 2785244 h 2936314"/>
                  <a:gd name="connsiteX42" fmla="*/ 7395587 w 11867103"/>
                  <a:gd name="connsiteY42" fmla="*/ 2805340 h 2936314"/>
                  <a:gd name="connsiteX43" fmla="*/ 7325248 w 11867103"/>
                  <a:gd name="connsiteY43" fmla="*/ 2815389 h 2936314"/>
                  <a:gd name="connsiteX44" fmla="*/ 6863024 w 11867103"/>
                  <a:gd name="connsiteY44" fmla="*/ 2805340 h 2936314"/>
                  <a:gd name="connsiteX45" fmla="*/ 6722347 w 11867103"/>
                  <a:gd name="connsiteY45" fmla="*/ 2795292 h 2936314"/>
                  <a:gd name="connsiteX46" fmla="*/ 4903596 w 11867103"/>
                  <a:gd name="connsiteY46" fmla="*/ 2845534 h 2936314"/>
                  <a:gd name="connsiteX47" fmla="*/ 4722725 w 11867103"/>
                  <a:gd name="connsiteY47" fmla="*/ 2885727 h 2936314"/>
                  <a:gd name="connsiteX48" fmla="*/ 4300695 w 11867103"/>
                  <a:gd name="connsiteY48" fmla="*/ 2865630 h 2936314"/>
                  <a:gd name="connsiteX49" fmla="*/ 4059534 w 11867103"/>
                  <a:gd name="connsiteY49" fmla="*/ 2825437 h 2936314"/>
                  <a:gd name="connsiteX50" fmla="*/ 3768132 w 11867103"/>
                  <a:gd name="connsiteY50" fmla="*/ 2795292 h 2936314"/>
                  <a:gd name="connsiteX51" fmla="*/ 3627455 w 11867103"/>
                  <a:gd name="connsiteY51" fmla="*/ 2785244 h 2936314"/>
                  <a:gd name="connsiteX52" fmla="*/ 3125037 w 11867103"/>
                  <a:gd name="connsiteY52" fmla="*/ 2795292 h 2936314"/>
                  <a:gd name="connsiteX53" fmla="*/ 3064747 w 11867103"/>
                  <a:gd name="connsiteY53" fmla="*/ 2805340 h 2936314"/>
                  <a:gd name="connsiteX54" fmla="*/ 2009670 w 11867103"/>
                  <a:gd name="connsiteY54" fmla="*/ 2815389 h 2936314"/>
                  <a:gd name="connsiteX55" fmla="*/ 1678075 w 11867103"/>
                  <a:gd name="connsiteY55" fmla="*/ 2905824 h 2936314"/>
                  <a:gd name="connsiteX56" fmla="*/ 1607736 w 11867103"/>
                  <a:gd name="connsiteY56" fmla="*/ 2935969 h 2936314"/>
                  <a:gd name="connsiteX57" fmla="*/ 1135464 w 11867103"/>
                  <a:gd name="connsiteY57" fmla="*/ 2915872 h 2936314"/>
                  <a:gd name="connsiteX58" fmla="*/ 944545 w 11867103"/>
                  <a:gd name="connsiteY58" fmla="*/ 2885727 h 2936314"/>
                  <a:gd name="connsiteX59" fmla="*/ 723481 w 11867103"/>
                  <a:gd name="connsiteY59" fmla="*/ 2845534 h 2936314"/>
                  <a:gd name="connsiteX60" fmla="*/ 643095 w 11867103"/>
                  <a:gd name="connsiteY60" fmla="*/ 2835485 h 2936314"/>
                  <a:gd name="connsiteX61" fmla="*/ 371789 w 11867103"/>
                  <a:gd name="connsiteY61" fmla="*/ 2795292 h 2936314"/>
                  <a:gd name="connsiteX62" fmla="*/ 0 w 11867103"/>
                  <a:gd name="connsiteY62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16862 w 11867103"/>
                  <a:gd name="connsiteY19" fmla="*/ 2302923 h 2936314"/>
                  <a:gd name="connsiteX20" fmla="*/ 11826910 w 11867103"/>
                  <a:gd name="connsiteY20" fmla="*/ 2373261 h 2936314"/>
                  <a:gd name="connsiteX21" fmla="*/ 11836958 w 11867103"/>
                  <a:gd name="connsiteY21" fmla="*/ 2403406 h 2936314"/>
                  <a:gd name="connsiteX22" fmla="*/ 11857055 w 11867103"/>
                  <a:gd name="connsiteY22" fmla="*/ 2534035 h 2936314"/>
                  <a:gd name="connsiteX23" fmla="*/ 11867103 w 11867103"/>
                  <a:gd name="connsiteY23" fmla="*/ 2574228 h 2936314"/>
                  <a:gd name="connsiteX24" fmla="*/ 11857055 w 11867103"/>
                  <a:gd name="connsiteY24" fmla="*/ 2805340 h 2936314"/>
                  <a:gd name="connsiteX25" fmla="*/ 11836958 w 11867103"/>
                  <a:gd name="connsiteY25" fmla="*/ 2835485 h 2936314"/>
                  <a:gd name="connsiteX26" fmla="*/ 11033090 w 11867103"/>
                  <a:gd name="connsiteY26" fmla="*/ 2825437 h 2936314"/>
                  <a:gd name="connsiteX27" fmla="*/ 10621108 w 11867103"/>
                  <a:gd name="connsiteY27" fmla="*/ 2815389 h 2936314"/>
                  <a:gd name="connsiteX28" fmla="*/ 10128739 w 11867103"/>
                  <a:gd name="connsiteY28" fmla="*/ 2825437 h 2936314"/>
                  <a:gd name="connsiteX29" fmla="*/ 10048352 w 11867103"/>
                  <a:gd name="connsiteY29" fmla="*/ 2835485 h 2936314"/>
                  <a:gd name="connsiteX30" fmla="*/ 9555982 w 11867103"/>
                  <a:gd name="connsiteY30" fmla="*/ 2825437 h 2936314"/>
                  <a:gd name="connsiteX31" fmla="*/ 9445451 w 11867103"/>
                  <a:gd name="connsiteY31" fmla="*/ 2815389 h 2936314"/>
                  <a:gd name="connsiteX32" fmla="*/ 9415306 w 11867103"/>
                  <a:gd name="connsiteY32" fmla="*/ 2795292 h 2936314"/>
                  <a:gd name="connsiteX33" fmla="*/ 9204290 w 11867103"/>
                  <a:gd name="connsiteY33" fmla="*/ 2775195 h 2936314"/>
                  <a:gd name="connsiteX34" fmla="*/ 9073662 w 11867103"/>
                  <a:gd name="connsiteY34" fmla="*/ 2755098 h 2936314"/>
                  <a:gd name="connsiteX35" fmla="*/ 8812404 w 11867103"/>
                  <a:gd name="connsiteY35" fmla="*/ 2745050 h 2936314"/>
                  <a:gd name="connsiteX36" fmla="*/ 8400422 w 11867103"/>
                  <a:gd name="connsiteY36" fmla="*/ 2735002 h 2936314"/>
                  <a:gd name="connsiteX37" fmla="*/ 8269793 w 11867103"/>
                  <a:gd name="connsiteY37" fmla="*/ 2724953 h 2936314"/>
                  <a:gd name="connsiteX38" fmla="*/ 7797521 w 11867103"/>
                  <a:gd name="connsiteY38" fmla="*/ 2745050 h 2936314"/>
                  <a:gd name="connsiteX39" fmla="*/ 7717134 w 11867103"/>
                  <a:gd name="connsiteY39" fmla="*/ 2755098 h 2936314"/>
                  <a:gd name="connsiteX40" fmla="*/ 7486022 w 11867103"/>
                  <a:gd name="connsiteY40" fmla="*/ 2785244 h 2936314"/>
                  <a:gd name="connsiteX41" fmla="*/ 7395587 w 11867103"/>
                  <a:gd name="connsiteY41" fmla="*/ 2805340 h 2936314"/>
                  <a:gd name="connsiteX42" fmla="*/ 7325248 w 11867103"/>
                  <a:gd name="connsiteY42" fmla="*/ 2815389 h 2936314"/>
                  <a:gd name="connsiteX43" fmla="*/ 6863024 w 11867103"/>
                  <a:gd name="connsiteY43" fmla="*/ 2805340 h 2936314"/>
                  <a:gd name="connsiteX44" fmla="*/ 6722347 w 11867103"/>
                  <a:gd name="connsiteY44" fmla="*/ 2795292 h 2936314"/>
                  <a:gd name="connsiteX45" fmla="*/ 4903596 w 11867103"/>
                  <a:gd name="connsiteY45" fmla="*/ 2845534 h 2936314"/>
                  <a:gd name="connsiteX46" fmla="*/ 4722725 w 11867103"/>
                  <a:gd name="connsiteY46" fmla="*/ 2885727 h 2936314"/>
                  <a:gd name="connsiteX47" fmla="*/ 4300695 w 11867103"/>
                  <a:gd name="connsiteY47" fmla="*/ 2865630 h 2936314"/>
                  <a:gd name="connsiteX48" fmla="*/ 4059534 w 11867103"/>
                  <a:gd name="connsiteY48" fmla="*/ 2825437 h 2936314"/>
                  <a:gd name="connsiteX49" fmla="*/ 3768132 w 11867103"/>
                  <a:gd name="connsiteY49" fmla="*/ 2795292 h 2936314"/>
                  <a:gd name="connsiteX50" fmla="*/ 3627455 w 11867103"/>
                  <a:gd name="connsiteY50" fmla="*/ 2785244 h 2936314"/>
                  <a:gd name="connsiteX51" fmla="*/ 3125037 w 11867103"/>
                  <a:gd name="connsiteY51" fmla="*/ 2795292 h 2936314"/>
                  <a:gd name="connsiteX52" fmla="*/ 3064747 w 11867103"/>
                  <a:gd name="connsiteY52" fmla="*/ 2805340 h 2936314"/>
                  <a:gd name="connsiteX53" fmla="*/ 2009670 w 11867103"/>
                  <a:gd name="connsiteY53" fmla="*/ 2815389 h 2936314"/>
                  <a:gd name="connsiteX54" fmla="*/ 1678075 w 11867103"/>
                  <a:gd name="connsiteY54" fmla="*/ 2905824 h 2936314"/>
                  <a:gd name="connsiteX55" fmla="*/ 1607736 w 11867103"/>
                  <a:gd name="connsiteY55" fmla="*/ 2935969 h 2936314"/>
                  <a:gd name="connsiteX56" fmla="*/ 1135464 w 11867103"/>
                  <a:gd name="connsiteY56" fmla="*/ 2915872 h 2936314"/>
                  <a:gd name="connsiteX57" fmla="*/ 944545 w 11867103"/>
                  <a:gd name="connsiteY57" fmla="*/ 2885727 h 2936314"/>
                  <a:gd name="connsiteX58" fmla="*/ 723481 w 11867103"/>
                  <a:gd name="connsiteY58" fmla="*/ 2845534 h 2936314"/>
                  <a:gd name="connsiteX59" fmla="*/ 643095 w 11867103"/>
                  <a:gd name="connsiteY59" fmla="*/ 2835485 h 2936314"/>
                  <a:gd name="connsiteX60" fmla="*/ 371789 w 11867103"/>
                  <a:gd name="connsiteY60" fmla="*/ 2795292 h 2936314"/>
                  <a:gd name="connsiteX61" fmla="*/ 0 w 11867103"/>
                  <a:gd name="connsiteY61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16862 w 11867103"/>
                  <a:gd name="connsiteY18" fmla="*/ 2302923 h 2936314"/>
                  <a:gd name="connsiteX19" fmla="*/ 11826910 w 11867103"/>
                  <a:gd name="connsiteY19" fmla="*/ 2373261 h 2936314"/>
                  <a:gd name="connsiteX20" fmla="*/ 11836958 w 11867103"/>
                  <a:gd name="connsiteY20" fmla="*/ 2403406 h 2936314"/>
                  <a:gd name="connsiteX21" fmla="*/ 11857055 w 11867103"/>
                  <a:gd name="connsiteY21" fmla="*/ 2534035 h 2936314"/>
                  <a:gd name="connsiteX22" fmla="*/ 11867103 w 11867103"/>
                  <a:gd name="connsiteY22" fmla="*/ 2574228 h 2936314"/>
                  <a:gd name="connsiteX23" fmla="*/ 11857055 w 11867103"/>
                  <a:gd name="connsiteY23" fmla="*/ 2805340 h 2936314"/>
                  <a:gd name="connsiteX24" fmla="*/ 11836958 w 11867103"/>
                  <a:gd name="connsiteY24" fmla="*/ 2835485 h 2936314"/>
                  <a:gd name="connsiteX25" fmla="*/ 11033090 w 11867103"/>
                  <a:gd name="connsiteY25" fmla="*/ 2825437 h 2936314"/>
                  <a:gd name="connsiteX26" fmla="*/ 10621108 w 11867103"/>
                  <a:gd name="connsiteY26" fmla="*/ 2815389 h 2936314"/>
                  <a:gd name="connsiteX27" fmla="*/ 10128739 w 11867103"/>
                  <a:gd name="connsiteY27" fmla="*/ 2825437 h 2936314"/>
                  <a:gd name="connsiteX28" fmla="*/ 10048352 w 11867103"/>
                  <a:gd name="connsiteY28" fmla="*/ 2835485 h 2936314"/>
                  <a:gd name="connsiteX29" fmla="*/ 9555982 w 11867103"/>
                  <a:gd name="connsiteY29" fmla="*/ 2825437 h 2936314"/>
                  <a:gd name="connsiteX30" fmla="*/ 9445451 w 11867103"/>
                  <a:gd name="connsiteY30" fmla="*/ 2815389 h 2936314"/>
                  <a:gd name="connsiteX31" fmla="*/ 9415306 w 11867103"/>
                  <a:gd name="connsiteY31" fmla="*/ 2795292 h 2936314"/>
                  <a:gd name="connsiteX32" fmla="*/ 9204290 w 11867103"/>
                  <a:gd name="connsiteY32" fmla="*/ 2775195 h 2936314"/>
                  <a:gd name="connsiteX33" fmla="*/ 9073662 w 11867103"/>
                  <a:gd name="connsiteY33" fmla="*/ 2755098 h 2936314"/>
                  <a:gd name="connsiteX34" fmla="*/ 8812404 w 11867103"/>
                  <a:gd name="connsiteY34" fmla="*/ 2745050 h 2936314"/>
                  <a:gd name="connsiteX35" fmla="*/ 8400422 w 11867103"/>
                  <a:gd name="connsiteY35" fmla="*/ 2735002 h 2936314"/>
                  <a:gd name="connsiteX36" fmla="*/ 8269793 w 11867103"/>
                  <a:gd name="connsiteY36" fmla="*/ 2724953 h 2936314"/>
                  <a:gd name="connsiteX37" fmla="*/ 7797521 w 11867103"/>
                  <a:gd name="connsiteY37" fmla="*/ 2745050 h 2936314"/>
                  <a:gd name="connsiteX38" fmla="*/ 7717134 w 11867103"/>
                  <a:gd name="connsiteY38" fmla="*/ 2755098 h 2936314"/>
                  <a:gd name="connsiteX39" fmla="*/ 7486022 w 11867103"/>
                  <a:gd name="connsiteY39" fmla="*/ 2785244 h 2936314"/>
                  <a:gd name="connsiteX40" fmla="*/ 7395587 w 11867103"/>
                  <a:gd name="connsiteY40" fmla="*/ 2805340 h 2936314"/>
                  <a:gd name="connsiteX41" fmla="*/ 7325248 w 11867103"/>
                  <a:gd name="connsiteY41" fmla="*/ 2815389 h 2936314"/>
                  <a:gd name="connsiteX42" fmla="*/ 6863024 w 11867103"/>
                  <a:gd name="connsiteY42" fmla="*/ 2805340 h 2936314"/>
                  <a:gd name="connsiteX43" fmla="*/ 6722347 w 11867103"/>
                  <a:gd name="connsiteY43" fmla="*/ 2795292 h 2936314"/>
                  <a:gd name="connsiteX44" fmla="*/ 4903596 w 11867103"/>
                  <a:gd name="connsiteY44" fmla="*/ 2845534 h 2936314"/>
                  <a:gd name="connsiteX45" fmla="*/ 4722725 w 11867103"/>
                  <a:gd name="connsiteY45" fmla="*/ 2885727 h 2936314"/>
                  <a:gd name="connsiteX46" fmla="*/ 4300695 w 11867103"/>
                  <a:gd name="connsiteY46" fmla="*/ 2865630 h 2936314"/>
                  <a:gd name="connsiteX47" fmla="*/ 4059534 w 11867103"/>
                  <a:gd name="connsiteY47" fmla="*/ 2825437 h 2936314"/>
                  <a:gd name="connsiteX48" fmla="*/ 3768132 w 11867103"/>
                  <a:gd name="connsiteY48" fmla="*/ 2795292 h 2936314"/>
                  <a:gd name="connsiteX49" fmla="*/ 3627455 w 11867103"/>
                  <a:gd name="connsiteY49" fmla="*/ 2785244 h 2936314"/>
                  <a:gd name="connsiteX50" fmla="*/ 3125037 w 11867103"/>
                  <a:gd name="connsiteY50" fmla="*/ 2795292 h 2936314"/>
                  <a:gd name="connsiteX51" fmla="*/ 3064747 w 11867103"/>
                  <a:gd name="connsiteY51" fmla="*/ 2805340 h 2936314"/>
                  <a:gd name="connsiteX52" fmla="*/ 2009670 w 11867103"/>
                  <a:gd name="connsiteY52" fmla="*/ 2815389 h 2936314"/>
                  <a:gd name="connsiteX53" fmla="*/ 1678075 w 11867103"/>
                  <a:gd name="connsiteY53" fmla="*/ 2905824 h 2936314"/>
                  <a:gd name="connsiteX54" fmla="*/ 1607736 w 11867103"/>
                  <a:gd name="connsiteY54" fmla="*/ 2935969 h 2936314"/>
                  <a:gd name="connsiteX55" fmla="*/ 1135464 w 11867103"/>
                  <a:gd name="connsiteY55" fmla="*/ 2915872 h 2936314"/>
                  <a:gd name="connsiteX56" fmla="*/ 944545 w 11867103"/>
                  <a:gd name="connsiteY56" fmla="*/ 2885727 h 2936314"/>
                  <a:gd name="connsiteX57" fmla="*/ 723481 w 11867103"/>
                  <a:gd name="connsiteY57" fmla="*/ 2845534 h 2936314"/>
                  <a:gd name="connsiteX58" fmla="*/ 643095 w 11867103"/>
                  <a:gd name="connsiteY58" fmla="*/ 2835485 h 2936314"/>
                  <a:gd name="connsiteX59" fmla="*/ 371789 w 11867103"/>
                  <a:gd name="connsiteY59" fmla="*/ 2795292 h 2936314"/>
                  <a:gd name="connsiteX60" fmla="*/ 0 w 11867103"/>
                  <a:gd name="connsiteY60" fmla="*/ 2785244 h 2936314"/>
                  <a:gd name="connsiteX0" fmla="*/ 120580 w 11867103"/>
                  <a:gd name="connsiteY0" fmla="*/ 146825 h 3061192"/>
                  <a:gd name="connsiteX1" fmla="*/ 281354 w 11867103"/>
                  <a:gd name="connsiteY1" fmla="*/ 136776 h 3061192"/>
                  <a:gd name="connsiteX2" fmla="*/ 673240 w 11867103"/>
                  <a:gd name="connsiteY2" fmla="*/ 126728 h 3061192"/>
                  <a:gd name="connsiteX3" fmla="*/ 1356528 w 11867103"/>
                  <a:gd name="connsiteY3" fmla="*/ 176970 h 3061192"/>
                  <a:gd name="connsiteX4" fmla="*/ 1758462 w 11867103"/>
                  <a:gd name="connsiteY4" fmla="*/ 136776 h 3061192"/>
                  <a:gd name="connsiteX5" fmla="*/ 2140299 w 11867103"/>
                  <a:gd name="connsiteY5" fmla="*/ 136776 h 3061192"/>
                  <a:gd name="connsiteX6" fmla="*/ 4652387 w 11867103"/>
                  <a:gd name="connsiteY6" fmla="*/ 156873 h 3061192"/>
                  <a:gd name="connsiteX7" fmla="*/ 4692580 w 11867103"/>
                  <a:gd name="connsiteY7" fmla="*/ 166922 h 3061192"/>
                  <a:gd name="connsiteX8" fmla="*/ 6420897 w 11867103"/>
                  <a:gd name="connsiteY8" fmla="*/ 187018 h 3061192"/>
                  <a:gd name="connsiteX9" fmla="*/ 7184571 w 11867103"/>
                  <a:gd name="connsiteY9" fmla="*/ 156873 h 3061192"/>
                  <a:gd name="connsiteX10" fmla="*/ 7928150 w 11867103"/>
                  <a:gd name="connsiteY10" fmla="*/ 156873 h 3061192"/>
                  <a:gd name="connsiteX11" fmla="*/ 8219552 w 11867103"/>
                  <a:gd name="connsiteY11" fmla="*/ 187018 h 3061192"/>
                  <a:gd name="connsiteX12" fmla="*/ 9606224 w 11867103"/>
                  <a:gd name="connsiteY12" fmla="*/ 187018 h 3061192"/>
                  <a:gd name="connsiteX13" fmla="*/ 9947868 w 11867103"/>
                  <a:gd name="connsiteY13" fmla="*/ 156873 h 3061192"/>
                  <a:gd name="connsiteX14" fmla="*/ 10791930 w 11867103"/>
                  <a:gd name="connsiteY14" fmla="*/ 126728 h 3061192"/>
                  <a:gd name="connsiteX15" fmla="*/ 11736475 w 11867103"/>
                  <a:gd name="connsiteY15" fmla="*/ 146825 h 3061192"/>
                  <a:gd name="connsiteX16" fmla="*/ 11766620 w 11867103"/>
                  <a:gd name="connsiteY16" fmla="*/ 176970 h 3061192"/>
                  <a:gd name="connsiteX17" fmla="*/ 11816862 w 11867103"/>
                  <a:gd name="connsiteY17" fmla="*/ 2427801 h 3061192"/>
                  <a:gd name="connsiteX18" fmla="*/ 11826910 w 11867103"/>
                  <a:gd name="connsiteY18" fmla="*/ 2498139 h 3061192"/>
                  <a:gd name="connsiteX19" fmla="*/ 11836958 w 11867103"/>
                  <a:gd name="connsiteY19" fmla="*/ 2528284 h 3061192"/>
                  <a:gd name="connsiteX20" fmla="*/ 11857055 w 11867103"/>
                  <a:gd name="connsiteY20" fmla="*/ 2658913 h 3061192"/>
                  <a:gd name="connsiteX21" fmla="*/ 11867103 w 11867103"/>
                  <a:gd name="connsiteY21" fmla="*/ 2699106 h 3061192"/>
                  <a:gd name="connsiteX22" fmla="*/ 11857055 w 11867103"/>
                  <a:gd name="connsiteY22" fmla="*/ 2930218 h 3061192"/>
                  <a:gd name="connsiteX23" fmla="*/ 11836958 w 11867103"/>
                  <a:gd name="connsiteY23" fmla="*/ 2960363 h 3061192"/>
                  <a:gd name="connsiteX24" fmla="*/ 11033090 w 11867103"/>
                  <a:gd name="connsiteY24" fmla="*/ 2950315 h 3061192"/>
                  <a:gd name="connsiteX25" fmla="*/ 10621108 w 11867103"/>
                  <a:gd name="connsiteY25" fmla="*/ 2940267 h 3061192"/>
                  <a:gd name="connsiteX26" fmla="*/ 10128739 w 11867103"/>
                  <a:gd name="connsiteY26" fmla="*/ 2950315 h 3061192"/>
                  <a:gd name="connsiteX27" fmla="*/ 10048352 w 11867103"/>
                  <a:gd name="connsiteY27" fmla="*/ 2960363 h 3061192"/>
                  <a:gd name="connsiteX28" fmla="*/ 9555982 w 11867103"/>
                  <a:gd name="connsiteY28" fmla="*/ 2950315 h 3061192"/>
                  <a:gd name="connsiteX29" fmla="*/ 9445451 w 11867103"/>
                  <a:gd name="connsiteY29" fmla="*/ 2940267 h 3061192"/>
                  <a:gd name="connsiteX30" fmla="*/ 9415306 w 11867103"/>
                  <a:gd name="connsiteY30" fmla="*/ 2920170 h 3061192"/>
                  <a:gd name="connsiteX31" fmla="*/ 9204290 w 11867103"/>
                  <a:gd name="connsiteY31" fmla="*/ 2900073 h 3061192"/>
                  <a:gd name="connsiteX32" fmla="*/ 9073662 w 11867103"/>
                  <a:gd name="connsiteY32" fmla="*/ 2879976 h 3061192"/>
                  <a:gd name="connsiteX33" fmla="*/ 8812404 w 11867103"/>
                  <a:gd name="connsiteY33" fmla="*/ 2869928 h 3061192"/>
                  <a:gd name="connsiteX34" fmla="*/ 8400422 w 11867103"/>
                  <a:gd name="connsiteY34" fmla="*/ 2859880 h 3061192"/>
                  <a:gd name="connsiteX35" fmla="*/ 8269793 w 11867103"/>
                  <a:gd name="connsiteY35" fmla="*/ 2849831 h 3061192"/>
                  <a:gd name="connsiteX36" fmla="*/ 7797521 w 11867103"/>
                  <a:gd name="connsiteY36" fmla="*/ 2869928 h 3061192"/>
                  <a:gd name="connsiteX37" fmla="*/ 7717134 w 11867103"/>
                  <a:gd name="connsiteY37" fmla="*/ 2879976 h 3061192"/>
                  <a:gd name="connsiteX38" fmla="*/ 7486022 w 11867103"/>
                  <a:gd name="connsiteY38" fmla="*/ 2910122 h 3061192"/>
                  <a:gd name="connsiteX39" fmla="*/ 7395587 w 11867103"/>
                  <a:gd name="connsiteY39" fmla="*/ 2930218 h 3061192"/>
                  <a:gd name="connsiteX40" fmla="*/ 7325248 w 11867103"/>
                  <a:gd name="connsiteY40" fmla="*/ 2940267 h 3061192"/>
                  <a:gd name="connsiteX41" fmla="*/ 6863024 w 11867103"/>
                  <a:gd name="connsiteY41" fmla="*/ 2930218 h 3061192"/>
                  <a:gd name="connsiteX42" fmla="*/ 6722347 w 11867103"/>
                  <a:gd name="connsiteY42" fmla="*/ 2920170 h 3061192"/>
                  <a:gd name="connsiteX43" fmla="*/ 4903596 w 11867103"/>
                  <a:gd name="connsiteY43" fmla="*/ 2970412 h 3061192"/>
                  <a:gd name="connsiteX44" fmla="*/ 4722725 w 11867103"/>
                  <a:gd name="connsiteY44" fmla="*/ 3010605 h 3061192"/>
                  <a:gd name="connsiteX45" fmla="*/ 4300695 w 11867103"/>
                  <a:gd name="connsiteY45" fmla="*/ 2990508 h 3061192"/>
                  <a:gd name="connsiteX46" fmla="*/ 4059534 w 11867103"/>
                  <a:gd name="connsiteY46" fmla="*/ 2950315 h 3061192"/>
                  <a:gd name="connsiteX47" fmla="*/ 3768132 w 11867103"/>
                  <a:gd name="connsiteY47" fmla="*/ 2920170 h 3061192"/>
                  <a:gd name="connsiteX48" fmla="*/ 3627455 w 11867103"/>
                  <a:gd name="connsiteY48" fmla="*/ 2910122 h 3061192"/>
                  <a:gd name="connsiteX49" fmla="*/ 3125037 w 11867103"/>
                  <a:gd name="connsiteY49" fmla="*/ 2920170 h 3061192"/>
                  <a:gd name="connsiteX50" fmla="*/ 3064747 w 11867103"/>
                  <a:gd name="connsiteY50" fmla="*/ 2930218 h 3061192"/>
                  <a:gd name="connsiteX51" fmla="*/ 2009670 w 11867103"/>
                  <a:gd name="connsiteY51" fmla="*/ 2940267 h 3061192"/>
                  <a:gd name="connsiteX52" fmla="*/ 1678075 w 11867103"/>
                  <a:gd name="connsiteY52" fmla="*/ 3030702 h 3061192"/>
                  <a:gd name="connsiteX53" fmla="*/ 1607736 w 11867103"/>
                  <a:gd name="connsiteY53" fmla="*/ 3060847 h 3061192"/>
                  <a:gd name="connsiteX54" fmla="*/ 1135464 w 11867103"/>
                  <a:gd name="connsiteY54" fmla="*/ 3040750 h 3061192"/>
                  <a:gd name="connsiteX55" fmla="*/ 944545 w 11867103"/>
                  <a:gd name="connsiteY55" fmla="*/ 3010605 h 3061192"/>
                  <a:gd name="connsiteX56" fmla="*/ 723481 w 11867103"/>
                  <a:gd name="connsiteY56" fmla="*/ 2970412 h 3061192"/>
                  <a:gd name="connsiteX57" fmla="*/ 643095 w 11867103"/>
                  <a:gd name="connsiteY57" fmla="*/ 2960363 h 3061192"/>
                  <a:gd name="connsiteX58" fmla="*/ 371789 w 11867103"/>
                  <a:gd name="connsiteY58" fmla="*/ 2920170 h 3061192"/>
                  <a:gd name="connsiteX59" fmla="*/ 0 w 11867103"/>
                  <a:gd name="connsiteY59" fmla="*/ 2910122 h 3061192"/>
                  <a:gd name="connsiteX0" fmla="*/ 120580 w 11867103"/>
                  <a:gd name="connsiteY0" fmla="*/ 58358 h 2972725"/>
                  <a:gd name="connsiteX1" fmla="*/ 281354 w 11867103"/>
                  <a:gd name="connsiteY1" fmla="*/ 48309 h 2972725"/>
                  <a:gd name="connsiteX2" fmla="*/ 673240 w 11867103"/>
                  <a:gd name="connsiteY2" fmla="*/ 38261 h 2972725"/>
                  <a:gd name="connsiteX3" fmla="*/ 1356528 w 11867103"/>
                  <a:gd name="connsiteY3" fmla="*/ 88503 h 2972725"/>
                  <a:gd name="connsiteX4" fmla="*/ 1758462 w 11867103"/>
                  <a:gd name="connsiteY4" fmla="*/ 48309 h 2972725"/>
                  <a:gd name="connsiteX5" fmla="*/ 2140299 w 11867103"/>
                  <a:gd name="connsiteY5" fmla="*/ 48309 h 2972725"/>
                  <a:gd name="connsiteX6" fmla="*/ 4652387 w 11867103"/>
                  <a:gd name="connsiteY6" fmla="*/ 68406 h 2972725"/>
                  <a:gd name="connsiteX7" fmla="*/ 4692580 w 11867103"/>
                  <a:gd name="connsiteY7" fmla="*/ 78455 h 2972725"/>
                  <a:gd name="connsiteX8" fmla="*/ 6420897 w 11867103"/>
                  <a:gd name="connsiteY8" fmla="*/ 98551 h 2972725"/>
                  <a:gd name="connsiteX9" fmla="*/ 7184571 w 11867103"/>
                  <a:gd name="connsiteY9" fmla="*/ 68406 h 2972725"/>
                  <a:gd name="connsiteX10" fmla="*/ 7928150 w 11867103"/>
                  <a:gd name="connsiteY10" fmla="*/ 68406 h 2972725"/>
                  <a:gd name="connsiteX11" fmla="*/ 8219552 w 11867103"/>
                  <a:gd name="connsiteY11" fmla="*/ 98551 h 2972725"/>
                  <a:gd name="connsiteX12" fmla="*/ 9606224 w 11867103"/>
                  <a:gd name="connsiteY12" fmla="*/ 98551 h 2972725"/>
                  <a:gd name="connsiteX13" fmla="*/ 9947868 w 11867103"/>
                  <a:gd name="connsiteY13" fmla="*/ 68406 h 2972725"/>
                  <a:gd name="connsiteX14" fmla="*/ 10791930 w 11867103"/>
                  <a:gd name="connsiteY14" fmla="*/ 38261 h 2972725"/>
                  <a:gd name="connsiteX15" fmla="*/ 11736475 w 11867103"/>
                  <a:gd name="connsiteY15" fmla="*/ 58358 h 2972725"/>
                  <a:gd name="connsiteX16" fmla="*/ 11806813 w 11867103"/>
                  <a:gd name="connsiteY16" fmla="*/ 771791 h 2972725"/>
                  <a:gd name="connsiteX17" fmla="*/ 11816862 w 11867103"/>
                  <a:gd name="connsiteY17" fmla="*/ 2339334 h 2972725"/>
                  <a:gd name="connsiteX18" fmla="*/ 11826910 w 11867103"/>
                  <a:gd name="connsiteY18" fmla="*/ 2409672 h 2972725"/>
                  <a:gd name="connsiteX19" fmla="*/ 11836958 w 11867103"/>
                  <a:gd name="connsiteY19" fmla="*/ 2439817 h 2972725"/>
                  <a:gd name="connsiteX20" fmla="*/ 11857055 w 11867103"/>
                  <a:gd name="connsiteY20" fmla="*/ 2570446 h 2972725"/>
                  <a:gd name="connsiteX21" fmla="*/ 11867103 w 11867103"/>
                  <a:gd name="connsiteY21" fmla="*/ 2610639 h 2972725"/>
                  <a:gd name="connsiteX22" fmla="*/ 11857055 w 11867103"/>
                  <a:gd name="connsiteY22" fmla="*/ 2841751 h 2972725"/>
                  <a:gd name="connsiteX23" fmla="*/ 11836958 w 11867103"/>
                  <a:gd name="connsiteY23" fmla="*/ 2871896 h 2972725"/>
                  <a:gd name="connsiteX24" fmla="*/ 11033090 w 11867103"/>
                  <a:gd name="connsiteY24" fmla="*/ 2861848 h 2972725"/>
                  <a:gd name="connsiteX25" fmla="*/ 10621108 w 11867103"/>
                  <a:gd name="connsiteY25" fmla="*/ 2851800 h 2972725"/>
                  <a:gd name="connsiteX26" fmla="*/ 10128739 w 11867103"/>
                  <a:gd name="connsiteY26" fmla="*/ 2861848 h 2972725"/>
                  <a:gd name="connsiteX27" fmla="*/ 10048352 w 11867103"/>
                  <a:gd name="connsiteY27" fmla="*/ 2871896 h 2972725"/>
                  <a:gd name="connsiteX28" fmla="*/ 9555982 w 11867103"/>
                  <a:gd name="connsiteY28" fmla="*/ 2861848 h 2972725"/>
                  <a:gd name="connsiteX29" fmla="*/ 9445451 w 11867103"/>
                  <a:gd name="connsiteY29" fmla="*/ 2851800 h 2972725"/>
                  <a:gd name="connsiteX30" fmla="*/ 9415306 w 11867103"/>
                  <a:gd name="connsiteY30" fmla="*/ 2831703 h 2972725"/>
                  <a:gd name="connsiteX31" fmla="*/ 9204290 w 11867103"/>
                  <a:gd name="connsiteY31" fmla="*/ 2811606 h 2972725"/>
                  <a:gd name="connsiteX32" fmla="*/ 9073662 w 11867103"/>
                  <a:gd name="connsiteY32" fmla="*/ 2791509 h 2972725"/>
                  <a:gd name="connsiteX33" fmla="*/ 8812404 w 11867103"/>
                  <a:gd name="connsiteY33" fmla="*/ 2781461 h 2972725"/>
                  <a:gd name="connsiteX34" fmla="*/ 8400422 w 11867103"/>
                  <a:gd name="connsiteY34" fmla="*/ 2771413 h 2972725"/>
                  <a:gd name="connsiteX35" fmla="*/ 8269793 w 11867103"/>
                  <a:gd name="connsiteY35" fmla="*/ 2761364 h 2972725"/>
                  <a:gd name="connsiteX36" fmla="*/ 7797521 w 11867103"/>
                  <a:gd name="connsiteY36" fmla="*/ 2781461 h 2972725"/>
                  <a:gd name="connsiteX37" fmla="*/ 7717134 w 11867103"/>
                  <a:gd name="connsiteY37" fmla="*/ 2791509 h 2972725"/>
                  <a:gd name="connsiteX38" fmla="*/ 7486022 w 11867103"/>
                  <a:gd name="connsiteY38" fmla="*/ 2821655 h 2972725"/>
                  <a:gd name="connsiteX39" fmla="*/ 7395587 w 11867103"/>
                  <a:gd name="connsiteY39" fmla="*/ 2841751 h 2972725"/>
                  <a:gd name="connsiteX40" fmla="*/ 7325248 w 11867103"/>
                  <a:gd name="connsiteY40" fmla="*/ 2851800 h 2972725"/>
                  <a:gd name="connsiteX41" fmla="*/ 6863024 w 11867103"/>
                  <a:gd name="connsiteY41" fmla="*/ 2841751 h 2972725"/>
                  <a:gd name="connsiteX42" fmla="*/ 6722347 w 11867103"/>
                  <a:gd name="connsiteY42" fmla="*/ 2831703 h 2972725"/>
                  <a:gd name="connsiteX43" fmla="*/ 4903596 w 11867103"/>
                  <a:gd name="connsiteY43" fmla="*/ 2881945 h 2972725"/>
                  <a:gd name="connsiteX44" fmla="*/ 4722725 w 11867103"/>
                  <a:gd name="connsiteY44" fmla="*/ 2922138 h 2972725"/>
                  <a:gd name="connsiteX45" fmla="*/ 4300695 w 11867103"/>
                  <a:gd name="connsiteY45" fmla="*/ 2902041 h 2972725"/>
                  <a:gd name="connsiteX46" fmla="*/ 4059534 w 11867103"/>
                  <a:gd name="connsiteY46" fmla="*/ 2861848 h 2972725"/>
                  <a:gd name="connsiteX47" fmla="*/ 3768132 w 11867103"/>
                  <a:gd name="connsiteY47" fmla="*/ 2831703 h 2972725"/>
                  <a:gd name="connsiteX48" fmla="*/ 3627455 w 11867103"/>
                  <a:gd name="connsiteY48" fmla="*/ 2821655 h 2972725"/>
                  <a:gd name="connsiteX49" fmla="*/ 3125037 w 11867103"/>
                  <a:gd name="connsiteY49" fmla="*/ 2831703 h 2972725"/>
                  <a:gd name="connsiteX50" fmla="*/ 3064747 w 11867103"/>
                  <a:gd name="connsiteY50" fmla="*/ 2841751 h 2972725"/>
                  <a:gd name="connsiteX51" fmla="*/ 2009670 w 11867103"/>
                  <a:gd name="connsiteY51" fmla="*/ 2851800 h 2972725"/>
                  <a:gd name="connsiteX52" fmla="*/ 1678075 w 11867103"/>
                  <a:gd name="connsiteY52" fmla="*/ 2942235 h 2972725"/>
                  <a:gd name="connsiteX53" fmla="*/ 1607736 w 11867103"/>
                  <a:gd name="connsiteY53" fmla="*/ 2972380 h 2972725"/>
                  <a:gd name="connsiteX54" fmla="*/ 1135464 w 11867103"/>
                  <a:gd name="connsiteY54" fmla="*/ 2952283 h 2972725"/>
                  <a:gd name="connsiteX55" fmla="*/ 944545 w 11867103"/>
                  <a:gd name="connsiteY55" fmla="*/ 2922138 h 2972725"/>
                  <a:gd name="connsiteX56" fmla="*/ 723481 w 11867103"/>
                  <a:gd name="connsiteY56" fmla="*/ 2881945 h 2972725"/>
                  <a:gd name="connsiteX57" fmla="*/ 643095 w 11867103"/>
                  <a:gd name="connsiteY57" fmla="*/ 2871896 h 2972725"/>
                  <a:gd name="connsiteX58" fmla="*/ 371789 w 11867103"/>
                  <a:gd name="connsiteY58" fmla="*/ 2831703 h 2972725"/>
                  <a:gd name="connsiteX59" fmla="*/ 0 w 11867103"/>
                  <a:gd name="connsiteY59" fmla="*/ 2821655 h 2972725"/>
                  <a:gd name="connsiteX0" fmla="*/ 120580 w 11867103"/>
                  <a:gd name="connsiteY0" fmla="*/ 91200 h 3005567"/>
                  <a:gd name="connsiteX1" fmla="*/ 281354 w 11867103"/>
                  <a:gd name="connsiteY1" fmla="*/ 81151 h 3005567"/>
                  <a:gd name="connsiteX2" fmla="*/ 673240 w 11867103"/>
                  <a:gd name="connsiteY2" fmla="*/ 71103 h 3005567"/>
                  <a:gd name="connsiteX3" fmla="*/ 1356528 w 11867103"/>
                  <a:gd name="connsiteY3" fmla="*/ 121345 h 3005567"/>
                  <a:gd name="connsiteX4" fmla="*/ 1758462 w 11867103"/>
                  <a:gd name="connsiteY4" fmla="*/ 81151 h 3005567"/>
                  <a:gd name="connsiteX5" fmla="*/ 2140299 w 11867103"/>
                  <a:gd name="connsiteY5" fmla="*/ 81151 h 3005567"/>
                  <a:gd name="connsiteX6" fmla="*/ 4652387 w 11867103"/>
                  <a:gd name="connsiteY6" fmla="*/ 101248 h 3005567"/>
                  <a:gd name="connsiteX7" fmla="*/ 4692580 w 11867103"/>
                  <a:gd name="connsiteY7" fmla="*/ 111297 h 3005567"/>
                  <a:gd name="connsiteX8" fmla="*/ 6420897 w 11867103"/>
                  <a:gd name="connsiteY8" fmla="*/ 131393 h 3005567"/>
                  <a:gd name="connsiteX9" fmla="*/ 7184571 w 11867103"/>
                  <a:gd name="connsiteY9" fmla="*/ 101248 h 3005567"/>
                  <a:gd name="connsiteX10" fmla="*/ 7928150 w 11867103"/>
                  <a:gd name="connsiteY10" fmla="*/ 101248 h 3005567"/>
                  <a:gd name="connsiteX11" fmla="*/ 8219552 w 11867103"/>
                  <a:gd name="connsiteY11" fmla="*/ 131393 h 3005567"/>
                  <a:gd name="connsiteX12" fmla="*/ 9606224 w 11867103"/>
                  <a:gd name="connsiteY12" fmla="*/ 131393 h 3005567"/>
                  <a:gd name="connsiteX13" fmla="*/ 9947868 w 11867103"/>
                  <a:gd name="connsiteY13" fmla="*/ 101248 h 3005567"/>
                  <a:gd name="connsiteX14" fmla="*/ 10791930 w 11867103"/>
                  <a:gd name="connsiteY14" fmla="*/ 71103 h 3005567"/>
                  <a:gd name="connsiteX15" fmla="*/ 11736475 w 11867103"/>
                  <a:gd name="connsiteY15" fmla="*/ 91200 h 3005567"/>
                  <a:gd name="connsiteX16" fmla="*/ 11806813 w 11867103"/>
                  <a:gd name="connsiteY16" fmla="*/ 804633 h 3005567"/>
                  <a:gd name="connsiteX17" fmla="*/ 11816862 w 11867103"/>
                  <a:gd name="connsiteY17" fmla="*/ 2372176 h 3005567"/>
                  <a:gd name="connsiteX18" fmla="*/ 11826910 w 11867103"/>
                  <a:gd name="connsiteY18" fmla="*/ 2442514 h 3005567"/>
                  <a:gd name="connsiteX19" fmla="*/ 11836958 w 11867103"/>
                  <a:gd name="connsiteY19" fmla="*/ 2472659 h 3005567"/>
                  <a:gd name="connsiteX20" fmla="*/ 11857055 w 11867103"/>
                  <a:gd name="connsiteY20" fmla="*/ 2603288 h 3005567"/>
                  <a:gd name="connsiteX21" fmla="*/ 11867103 w 11867103"/>
                  <a:gd name="connsiteY21" fmla="*/ 2643481 h 3005567"/>
                  <a:gd name="connsiteX22" fmla="*/ 11857055 w 11867103"/>
                  <a:gd name="connsiteY22" fmla="*/ 2874593 h 3005567"/>
                  <a:gd name="connsiteX23" fmla="*/ 11836958 w 11867103"/>
                  <a:gd name="connsiteY23" fmla="*/ 2904738 h 3005567"/>
                  <a:gd name="connsiteX24" fmla="*/ 11033090 w 11867103"/>
                  <a:gd name="connsiteY24" fmla="*/ 2894690 h 3005567"/>
                  <a:gd name="connsiteX25" fmla="*/ 10621108 w 11867103"/>
                  <a:gd name="connsiteY25" fmla="*/ 2884642 h 3005567"/>
                  <a:gd name="connsiteX26" fmla="*/ 10128739 w 11867103"/>
                  <a:gd name="connsiteY26" fmla="*/ 2894690 h 3005567"/>
                  <a:gd name="connsiteX27" fmla="*/ 10048352 w 11867103"/>
                  <a:gd name="connsiteY27" fmla="*/ 2904738 h 3005567"/>
                  <a:gd name="connsiteX28" fmla="*/ 9555982 w 11867103"/>
                  <a:gd name="connsiteY28" fmla="*/ 2894690 h 3005567"/>
                  <a:gd name="connsiteX29" fmla="*/ 9445451 w 11867103"/>
                  <a:gd name="connsiteY29" fmla="*/ 2884642 h 3005567"/>
                  <a:gd name="connsiteX30" fmla="*/ 9415306 w 11867103"/>
                  <a:gd name="connsiteY30" fmla="*/ 2864545 h 3005567"/>
                  <a:gd name="connsiteX31" fmla="*/ 9204290 w 11867103"/>
                  <a:gd name="connsiteY31" fmla="*/ 2844448 h 3005567"/>
                  <a:gd name="connsiteX32" fmla="*/ 9073662 w 11867103"/>
                  <a:gd name="connsiteY32" fmla="*/ 2824351 h 3005567"/>
                  <a:gd name="connsiteX33" fmla="*/ 8812404 w 11867103"/>
                  <a:gd name="connsiteY33" fmla="*/ 2814303 h 3005567"/>
                  <a:gd name="connsiteX34" fmla="*/ 8400422 w 11867103"/>
                  <a:gd name="connsiteY34" fmla="*/ 2804255 h 3005567"/>
                  <a:gd name="connsiteX35" fmla="*/ 8269793 w 11867103"/>
                  <a:gd name="connsiteY35" fmla="*/ 2794206 h 3005567"/>
                  <a:gd name="connsiteX36" fmla="*/ 7797521 w 11867103"/>
                  <a:gd name="connsiteY36" fmla="*/ 2814303 h 3005567"/>
                  <a:gd name="connsiteX37" fmla="*/ 7717134 w 11867103"/>
                  <a:gd name="connsiteY37" fmla="*/ 2824351 h 3005567"/>
                  <a:gd name="connsiteX38" fmla="*/ 7486022 w 11867103"/>
                  <a:gd name="connsiteY38" fmla="*/ 2854497 h 3005567"/>
                  <a:gd name="connsiteX39" fmla="*/ 7395587 w 11867103"/>
                  <a:gd name="connsiteY39" fmla="*/ 2874593 h 3005567"/>
                  <a:gd name="connsiteX40" fmla="*/ 7325248 w 11867103"/>
                  <a:gd name="connsiteY40" fmla="*/ 2884642 h 3005567"/>
                  <a:gd name="connsiteX41" fmla="*/ 6863024 w 11867103"/>
                  <a:gd name="connsiteY41" fmla="*/ 2874593 h 3005567"/>
                  <a:gd name="connsiteX42" fmla="*/ 6722347 w 11867103"/>
                  <a:gd name="connsiteY42" fmla="*/ 2864545 h 3005567"/>
                  <a:gd name="connsiteX43" fmla="*/ 4903596 w 11867103"/>
                  <a:gd name="connsiteY43" fmla="*/ 2914787 h 3005567"/>
                  <a:gd name="connsiteX44" fmla="*/ 4722725 w 11867103"/>
                  <a:gd name="connsiteY44" fmla="*/ 2954980 h 3005567"/>
                  <a:gd name="connsiteX45" fmla="*/ 4300695 w 11867103"/>
                  <a:gd name="connsiteY45" fmla="*/ 2934883 h 3005567"/>
                  <a:gd name="connsiteX46" fmla="*/ 4059534 w 11867103"/>
                  <a:gd name="connsiteY46" fmla="*/ 2894690 h 3005567"/>
                  <a:gd name="connsiteX47" fmla="*/ 3768132 w 11867103"/>
                  <a:gd name="connsiteY47" fmla="*/ 2864545 h 3005567"/>
                  <a:gd name="connsiteX48" fmla="*/ 3627455 w 11867103"/>
                  <a:gd name="connsiteY48" fmla="*/ 2854497 h 3005567"/>
                  <a:gd name="connsiteX49" fmla="*/ 3125037 w 11867103"/>
                  <a:gd name="connsiteY49" fmla="*/ 2864545 h 3005567"/>
                  <a:gd name="connsiteX50" fmla="*/ 3064747 w 11867103"/>
                  <a:gd name="connsiteY50" fmla="*/ 2874593 h 3005567"/>
                  <a:gd name="connsiteX51" fmla="*/ 2009670 w 11867103"/>
                  <a:gd name="connsiteY51" fmla="*/ 2884642 h 3005567"/>
                  <a:gd name="connsiteX52" fmla="*/ 1678075 w 11867103"/>
                  <a:gd name="connsiteY52" fmla="*/ 2975077 h 3005567"/>
                  <a:gd name="connsiteX53" fmla="*/ 1607736 w 11867103"/>
                  <a:gd name="connsiteY53" fmla="*/ 3005222 h 3005567"/>
                  <a:gd name="connsiteX54" fmla="*/ 1135464 w 11867103"/>
                  <a:gd name="connsiteY54" fmla="*/ 2985125 h 3005567"/>
                  <a:gd name="connsiteX55" fmla="*/ 944545 w 11867103"/>
                  <a:gd name="connsiteY55" fmla="*/ 2954980 h 3005567"/>
                  <a:gd name="connsiteX56" fmla="*/ 723481 w 11867103"/>
                  <a:gd name="connsiteY56" fmla="*/ 2914787 h 3005567"/>
                  <a:gd name="connsiteX57" fmla="*/ 643095 w 11867103"/>
                  <a:gd name="connsiteY57" fmla="*/ 2904738 h 3005567"/>
                  <a:gd name="connsiteX58" fmla="*/ 371789 w 11867103"/>
                  <a:gd name="connsiteY58" fmla="*/ 2864545 h 3005567"/>
                  <a:gd name="connsiteX59" fmla="*/ 0 w 11867103"/>
                  <a:gd name="connsiteY59" fmla="*/ 2854497 h 3005567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26910 w 11867103"/>
                  <a:gd name="connsiteY18" fmla="*/ 2406925 h 2969978"/>
                  <a:gd name="connsiteX19" fmla="*/ 11836958 w 11867103"/>
                  <a:gd name="connsiteY19" fmla="*/ 2437070 h 2969978"/>
                  <a:gd name="connsiteX20" fmla="*/ 11857055 w 11867103"/>
                  <a:gd name="connsiteY20" fmla="*/ 2567699 h 2969978"/>
                  <a:gd name="connsiteX21" fmla="*/ 11867103 w 11867103"/>
                  <a:gd name="connsiteY21" fmla="*/ 2607892 h 2969978"/>
                  <a:gd name="connsiteX22" fmla="*/ 11857055 w 11867103"/>
                  <a:gd name="connsiteY22" fmla="*/ 2839004 h 2969978"/>
                  <a:gd name="connsiteX23" fmla="*/ 11836958 w 11867103"/>
                  <a:gd name="connsiteY23" fmla="*/ 2869149 h 2969978"/>
                  <a:gd name="connsiteX24" fmla="*/ 11033090 w 11867103"/>
                  <a:gd name="connsiteY24" fmla="*/ 2859101 h 2969978"/>
                  <a:gd name="connsiteX25" fmla="*/ 10621108 w 11867103"/>
                  <a:gd name="connsiteY25" fmla="*/ 2849053 h 2969978"/>
                  <a:gd name="connsiteX26" fmla="*/ 10128739 w 11867103"/>
                  <a:gd name="connsiteY26" fmla="*/ 2859101 h 2969978"/>
                  <a:gd name="connsiteX27" fmla="*/ 10048352 w 11867103"/>
                  <a:gd name="connsiteY27" fmla="*/ 2869149 h 2969978"/>
                  <a:gd name="connsiteX28" fmla="*/ 9555982 w 11867103"/>
                  <a:gd name="connsiteY28" fmla="*/ 2859101 h 2969978"/>
                  <a:gd name="connsiteX29" fmla="*/ 9445451 w 11867103"/>
                  <a:gd name="connsiteY29" fmla="*/ 2849053 h 2969978"/>
                  <a:gd name="connsiteX30" fmla="*/ 9415306 w 11867103"/>
                  <a:gd name="connsiteY30" fmla="*/ 2828956 h 2969978"/>
                  <a:gd name="connsiteX31" fmla="*/ 9204290 w 11867103"/>
                  <a:gd name="connsiteY31" fmla="*/ 2808859 h 2969978"/>
                  <a:gd name="connsiteX32" fmla="*/ 9073662 w 11867103"/>
                  <a:gd name="connsiteY32" fmla="*/ 2788762 h 2969978"/>
                  <a:gd name="connsiteX33" fmla="*/ 8812404 w 11867103"/>
                  <a:gd name="connsiteY33" fmla="*/ 2778714 h 2969978"/>
                  <a:gd name="connsiteX34" fmla="*/ 8400422 w 11867103"/>
                  <a:gd name="connsiteY34" fmla="*/ 2768666 h 2969978"/>
                  <a:gd name="connsiteX35" fmla="*/ 8269793 w 11867103"/>
                  <a:gd name="connsiteY35" fmla="*/ 2758617 h 2969978"/>
                  <a:gd name="connsiteX36" fmla="*/ 7797521 w 11867103"/>
                  <a:gd name="connsiteY36" fmla="*/ 2778714 h 2969978"/>
                  <a:gd name="connsiteX37" fmla="*/ 7717134 w 11867103"/>
                  <a:gd name="connsiteY37" fmla="*/ 2788762 h 2969978"/>
                  <a:gd name="connsiteX38" fmla="*/ 7486022 w 11867103"/>
                  <a:gd name="connsiteY38" fmla="*/ 2818908 h 2969978"/>
                  <a:gd name="connsiteX39" fmla="*/ 7395587 w 11867103"/>
                  <a:gd name="connsiteY39" fmla="*/ 2839004 h 2969978"/>
                  <a:gd name="connsiteX40" fmla="*/ 7325248 w 11867103"/>
                  <a:gd name="connsiteY40" fmla="*/ 2849053 h 2969978"/>
                  <a:gd name="connsiteX41" fmla="*/ 6863024 w 11867103"/>
                  <a:gd name="connsiteY41" fmla="*/ 2839004 h 2969978"/>
                  <a:gd name="connsiteX42" fmla="*/ 6722347 w 11867103"/>
                  <a:gd name="connsiteY42" fmla="*/ 2828956 h 2969978"/>
                  <a:gd name="connsiteX43" fmla="*/ 4903596 w 11867103"/>
                  <a:gd name="connsiteY43" fmla="*/ 2879198 h 2969978"/>
                  <a:gd name="connsiteX44" fmla="*/ 4722725 w 11867103"/>
                  <a:gd name="connsiteY44" fmla="*/ 2919391 h 2969978"/>
                  <a:gd name="connsiteX45" fmla="*/ 4300695 w 11867103"/>
                  <a:gd name="connsiteY45" fmla="*/ 2899294 h 2969978"/>
                  <a:gd name="connsiteX46" fmla="*/ 4059534 w 11867103"/>
                  <a:gd name="connsiteY46" fmla="*/ 2859101 h 2969978"/>
                  <a:gd name="connsiteX47" fmla="*/ 3768132 w 11867103"/>
                  <a:gd name="connsiteY47" fmla="*/ 2828956 h 2969978"/>
                  <a:gd name="connsiteX48" fmla="*/ 3627455 w 11867103"/>
                  <a:gd name="connsiteY48" fmla="*/ 2818908 h 2969978"/>
                  <a:gd name="connsiteX49" fmla="*/ 3125037 w 11867103"/>
                  <a:gd name="connsiteY49" fmla="*/ 2828956 h 2969978"/>
                  <a:gd name="connsiteX50" fmla="*/ 3064747 w 11867103"/>
                  <a:gd name="connsiteY50" fmla="*/ 2839004 h 2969978"/>
                  <a:gd name="connsiteX51" fmla="*/ 2009670 w 11867103"/>
                  <a:gd name="connsiteY51" fmla="*/ 2849053 h 2969978"/>
                  <a:gd name="connsiteX52" fmla="*/ 1678075 w 11867103"/>
                  <a:gd name="connsiteY52" fmla="*/ 2939488 h 2969978"/>
                  <a:gd name="connsiteX53" fmla="*/ 1607736 w 11867103"/>
                  <a:gd name="connsiteY53" fmla="*/ 2969633 h 2969978"/>
                  <a:gd name="connsiteX54" fmla="*/ 1135464 w 11867103"/>
                  <a:gd name="connsiteY54" fmla="*/ 2949536 h 2969978"/>
                  <a:gd name="connsiteX55" fmla="*/ 944545 w 11867103"/>
                  <a:gd name="connsiteY55" fmla="*/ 2919391 h 2969978"/>
                  <a:gd name="connsiteX56" fmla="*/ 723481 w 11867103"/>
                  <a:gd name="connsiteY56" fmla="*/ 2879198 h 2969978"/>
                  <a:gd name="connsiteX57" fmla="*/ 643095 w 11867103"/>
                  <a:gd name="connsiteY57" fmla="*/ 2869149 h 2969978"/>
                  <a:gd name="connsiteX58" fmla="*/ 371789 w 11867103"/>
                  <a:gd name="connsiteY58" fmla="*/ 2828956 h 2969978"/>
                  <a:gd name="connsiteX59" fmla="*/ 0 w 11867103"/>
                  <a:gd name="connsiteY59" fmla="*/ 2818908 h 2969978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26910 w 11867103"/>
                  <a:gd name="connsiteY18" fmla="*/ 2406925 h 2969978"/>
                  <a:gd name="connsiteX19" fmla="*/ 11857055 w 11867103"/>
                  <a:gd name="connsiteY19" fmla="*/ 2567699 h 2969978"/>
                  <a:gd name="connsiteX20" fmla="*/ 11867103 w 11867103"/>
                  <a:gd name="connsiteY20" fmla="*/ 2607892 h 2969978"/>
                  <a:gd name="connsiteX21" fmla="*/ 11857055 w 11867103"/>
                  <a:gd name="connsiteY21" fmla="*/ 2839004 h 2969978"/>
                  <a:gd name="connsiteX22" fmla="*/ 11836958 w 11867103"/>
                  <a:gd name="connsiteY22" fmla="*/ 2869149 h 2969978"/>
                  <a:gd name="connsiteX23" fmla="*/ 11033090 w 11867103"/>
                  <a:gd name="connsiteY23" fmla="*/ 2859101 h 2969978"/>
                  <a:gd name="connsiteX24" fmla="*/ 10621108 w 11867103"/>
                  <a:gd name="connsiteY24" fmla="*/ 2849053 h 2969978"/>
                  <a:gd name="connsiteX25" fmla="*/ 10128739 w 11867103"/>
                  <a:gd name="connsiteY25" fmla="*/ 2859101 h 2969978"/>
                  <a:gd name="connsiteX26" fmla="*/ 10048352 w 11867103"/>
                  <a:gd name="connsiteY26" fmla="*/ 2869149 h 2969978"/>
                  <a:gd name="connsiteX27" fmla="*/ 9555982 w 11867103"/>
                  <a:gd name="connsiteY27" fmla="*/ 2859101 h 2969978"/>
                  <a:gd name="connsiteX28" fmla="*/ 9445451 w 11867103"/>
                  <a:gd name="connsiteY28" fmla="*/ 2849053 h 2969978"/>
                  <a:gd name="connsiteX29" fmla="*/ 9415306 w 11867103"/>
                  <a:gd name="connsiteY29" fmla="*/ 2828956 h 2969978"/>
                  <a:gd name="connsiteX30" fmla="*/ 9204290 w 11867103"/>
                  <a:gd name="connsiteY30" fmla="*/ 2808859 h 2969978"/>
                  <a:gd name="connsiteX31" fmla="*/ 9073662 w 11867103"/>
                  <a:gd name="connsiteY31" fmla="*/ 2788762 h 2969978"/>
                  <a:gd name="connsiteX32" fmla="*/ 8812404 w 11867103"/>
                  <a:gd name="connsiteY32" fmla="*/ 2778714 h 2969978"/>
                  <a:gd name="connsiteX33" fmla="*/ 8400422 w 11867103"/>
                  <a:gd name="connsiteY33" fmla="*/ 2768666 h 2969978"/>
                  <a:gd name="connsiteX34" fmla="*/ 8269793 w 11867103"/>
                  <a:gd name="connsiteY34" fmla="*/ 2758617 h 2969978"/>
                  <a:gd name="connsiteX35" fmla="*/ 7797521 w 11867103"/>
                  <a:gd name="connsiteY35" fmla="*/ 2778714 h 2969978"/>
                  <a:gd name="connsiteX36" fmla="*/ 7717134 w 11867103"/>
                  <a:gd name="connsiteY36" fmla="*/ 2788762 h 2969978"/>
                  <a:gd name="connsiteX37" fmla="*/ 7486022 w 11867103"/>
                  <a:gd name="connsiteY37" fmla="*/ 2818908 h 2969978"/>
                  <a:gd name="connsiteX38" fmla="*/ 7395587 w 11867103"/>
                  <a:gd name="connsiteY38" fmla="*/ 2839004 h 2969978"/>
                  <a:gd name="connsiteX39" fmla="*/ 7325248 w 11867103"/>
                  <a:gd name="connsiteY39" fmla="*/ 2849053 h 2969978"/>
                  <a:gd name="connsiteX40" fmla="*/ 6863024 w 11867103"/>
                  <a:gd name="connsiteY40" fmla="*/ 2839004 h 2969978"/>
                  <a:gd name="connsiteX41" fmla="*/ 6722347 w 11867103"/>
                  <a:gd name="connsiteY41" fmla="*/ 2828956 h 2969978"/>
                  <a:gd name="connsiteX42" fmla="*/ 4903596 w 11867103"/>
                  <a:gd name="connsiteY42" fmla="*/ 2879198 h 2969978"/>
                  <a:gd name="connsiteX43" fmla="*/ 4722725 w 11867103"/>
                  <a:gd name="connsiteY43" fmla="*/ 2919391 h 2969978"/>
                  <a:gd name="connsiteX44" fmla="*/ 4300695 w 11867103"/>
                  <a:gd name="connsiteY44" fmla="*/ 2899294 h 2969978"/>
                  <a:gd name="connsiteX45" fmla="*/ 4059534 w 11867103"/>
                  <a:gd name="connsiteY45" fmla="*/ 2859101 h 2969978"/>
                  <a:gd name="connsiteX46" fmla="*/ 3768132 w 11867103"/>
                  <a:gd name="connsiteY46" fmla="*/ 2828956 h 2969978"/>
                  <a:gd name="connsiteX47" fmla="*/ 3627455 w 11867103"/>
                  <a:gd name="connsiteY47" fmla="*/ 2818908 h 2969978"/>
                  <a:gd name="connsiteX48" fmla="*/ 3125037 w 11867103"/>
                  <a:gd name="connsiteY48" fmla="*/ 2828956 h 2969978"/>
                  <a:gd name="connsiteX49" fmla="*/ 3064747 w 11867103"/>
                  <a:gd name="connsiteY49" fmla="*/ 2839004 h 2969978"/>
                  <a:gd name="connsiteX50" fmla="*/ 2009670 w 11867103"/>
                  <a:gd name="connsiteY50" fmla="*/ 2849053 h 2969978"/>
                  <a:gd name="connsiteX51" fmla="*/ 1678075 w 11867103"/>
                  <a:gd name="connsiteY51" fmla="*/ 2939488 h 2969978"/>
                  <a:gd name="connsiteX52" fmla="*/ 1607736 w 11867103"/>
                  <a:gd name="connsiteY52" fmla="*/ 2969633 h 2969978"/>
                  <a:gd name="connsiteX53" fmla="*/ 1135464 w 11867103"/>
                  <a:gd name="connsiteY53" fmla="*/ 2949536 h 2969978"/>
                  <a:gd name="connsiteX54" fmla="*/ 944545 w 11867103"/>
                  <a:gd name="connsiteY54" fmla="*/ 2919391 h 2969978"/>
                  <a:gd name="connsiteX55" fmla="*/ 723481 w 11867103"/>
                  <a:gd name="connsiteY55" fmla="*/ 2879198 h 2969978"/>
                  <a:gd name="connsiteX56" fmla="*/ 643095 w 11867103"/>
                  <a:gd name="connsiteY56" fmla="*/ 2869149 h 2969978"/>
                  <a:gd name="connsiteX57" fmla="*/ 371789 w 11867103"/>
                  <a:gd name="connsiteY57" fmla="*/ 2828956 h 2969978"/>
                  <a:gd name="connsiteX58" fmla="*/ 0 w 11867103"/>
                  <a:gd name="connsiteY58" fmla="*/ 2818908 h 2969978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57055 w 11867103"/>
                  <a:gd name="connsiteY18" fmla="*/ 2567699 h 2969978"/>
                  <a:gd name="connsiteX19" fmla="*/ 11867103 w 11867103"/>
                  <a:gd name="connsiteY19" fmla="*/ 2607892 h 2969978"/>
                  <a:gd name="connsiteX20" fmla="*/ 11857055 w 11867103"/>
                  <a:gd name="connsiteY20" fmla="*/ 2839004 h 2969978"/>
                  <a:gd name="connsiteX21" fmla="*/ 11836958 w 11867103"/>
                  <a:gd name="connsiteY21" fmla="*/ 2869149 h 2969978"/>
                  <a:gd name="connsiteX22" fmla="*/ 11033090 w 11867103"/>
                  <a:gd name="connsiteY22" fmla="*/ 2859101 h 2969978"/>
                  <a:gd name="connsiteX23" fmla="*/ 10621108 w 11867103"/>
                  <a:gd name="connsiteY23" fmla="*/ 2849053 h 2969978"/>
                  <a:gd name="connsiteX24" fmla="*/ 10128739 w 11867103"/>
                  <a:gd name="connsiteY24" fmla="*/ 2859101 h 2969978"/>
                  <a:gd name="connsiteX25" fmla="*/ 10048352 w 11867103"/>
                  <a:gd name="connsiteY25" fmla="*/ 2869149 h 2969978"/>
                  <a:gd name="connsiteX26" fmla="*/ 9555982 w 11867103"/>
                  <a:gd name="connsiteY26" fmla="*/ 2859101 h 2969978"/>
                  <a:gd name="connsiteX27" fmla="*/ 9445451 w 11867103"/>
                  <a:gd name="connsiteY27" fmla="*/ 2849053 h 2969978"/>
                  <a:gd name="connsiteX28" fmla="*/ 9415306 w 11867103"/>
                  <a:gd name="connsiteY28" fmla="*/ 2828956 h 2969978"/>
                  <a:gd name="connsiteX29" fmla="*/ 9204290 w 11867103"/>
                  <a:gd name="connsiteY29" fmla="*/ 2808859 h 2969978"/>
                  <a:gd name="connsiteX30" fmla="*/ 9073662 w 11867103"/>
                  <a:gd name="connsiteY30" fmla="*/ 2788762 h 2969978"/>
                  <a:gd name="connsiteX31" fmla="*/ 8812404 w 11867103"/>
                  <a:gd name="connsiteY31" fmla="*/ 2778714 h 2969978"/>
                  <a:gd name="connsiteX32" fmla="*/ 8400422 w 11867103"/>
                  <a:gd name="connsiteY32" fmla="*/ 2768666 h 2969978"/>
                  <a:gd name="connsiteX33" fmla="*/ 8269793 w 11867103"/>
                  <a:gd name="connsiteY33" fmla="*/ 2758617 h 2969978"/>
                  <a:gd name="connsiteX34" fmla="*/ 7797521 w 11867103"/>
                  <a:gd name="connsiteY34" fmla="*/ 2778714 h 2969978"/>
                  <a:gd name="connsiteX35" fmla="*/ 7717134 w 11867103"/>
                  <a:gd name="connsiteY35" fmla="*/ 2788762 h 2969978"/>
                  <a:gd name="connsiteX36" fmla="*/ 7486022 w 11867103"/>
                  <a:gd name="connsiteY36" fmla="*/ 2818908 h 2969978"/>
                  <a:gd name="connsiteX37" fmla="*/ 7395587 w 11867103"/>
                  <a:gd name="connsiteY37" fmla="*/ 2839004 h 2969978"/>
                  <a:gd name="connsiteX38" fmla="*/ 7325248 w 11867103"/>
                  <a:gd name="connsiteY38" fmla="*/ 2849053 h 2969978"/>
                  <a:gd name="connsiteX39" fmla="*/ 6863024 w 11867103"/>
                  <a:gd name="connsiteY39" fmla="*/ 2839004 h 2969978"/>
                  <a:gd name="connsiteX40" fmla="*/ 6722347 w 11867103"/>
                  <a:gd name="connsiteY40" fmla="*/ 2828956 h 2969978"/>
                  <a:gd name="connsiteX41" fmla="*/ 4903596 w 11867103"/>
                  <a:gd name="connsiteY41" fmla="*/ 2879198 h 2969978"/>
                  <a:gd name="connsiteX42" fmla="*/ 4722725 w 11867103"/>
                  <a:gd name="connsiteY42" fmla="*/ 2919391 h 2969978"/>
                  <a:gd name="connsiteX43" fmla="*/ 4300695 w 11867103"/>
                  <a:gd name="connsiteY43" fmla="*/ 2899294 h 2969978"/>
                  <a:gd name="connsiteX44" fmla="*/ 4059534 w 11867103"/>
                  <a:gd name="connsiteY44" fmla="*/ 2859101 h 2969978"/>
                  <a:gd name="connsiteX45" fmla="*/ 3768132 w 11867103"/>
                  <a:gd name="connsiteY45" fmla="*/ 2828956 h 2969978"/>
                  <a:gd name="connsiteX46" fmla="*/ 3627455 w 11867103"/>
                  <a:gd name="connsiteY46" fmla="*/ 2818908 h 2969978"/>
                  <a:gd name="connsiteX47" fmla="*/ 3125037 w 11867103"/>
                  <a:gd name="connsiteY47" fmla="*/ 2828956 h 2969978"/>
                  <a:gd name="connsiteX48" fmla="*/ 3064747 w 11867103"/>
                  <a:gd name="connsiteY48" fmla="*/ 2839004 h 2969978"/>
                  <a:gd name="connsiteX49" fmla="*/ 2009670 w 11867103"/>
                  <a:gd name="connsiteY49" fmla="*/ 2849053 h 2969978"/>
                  <a:gd name="connsiteX50" fmla="*/ 1678075 w 11867103"/>
                  <a:gd name="connsiteY50" fmla="*/ 2939488 h 2969978"/>
                  <a:gd name="connsiteX51" fmla="*/ 1607736 w 11867103"/>
                  <a:gd name="connsiteY51" fmla="*/ 2969633 h 2969978"/>
                  <a:gd name="connsiteX52" fmla="*/ 1135464 w 11867103"/>
                  <a:gd name="connsiteY52" fmla="*/ 2949536 h 2969978"/>
                  <a:gd name="connsiteX53" fmla="*/ 944545 w 11867103"/>
                  <a:gd name="connsiteY53" fmla="*/ 2919391 h 2969978"/>
                  <a:gd name="connsiteX54" fmla="*/ 723481 w 11867103"/>
                  <a:gd name="connsiteY54" fmla="*/ 2879198 h 2969978"/>
                  <a:gd name="connsiteX55" fmla="*/ 643095 w 11867103"/>
                  <a:gd name="connsiteY55" fmla="*/ 2869149 h 2969978"/>
                  <a:gd name="connsiteX56" fmla="*/ 371789 w 11867103"/>
                  <a:gd name="connsiteY56" fmla="*/ 2828956 h 2969978"/>
                  <a:gd name="connsiteX57" fmla="*/ 0 w 11867103"/>
                  <a:gd name="connsiteY57" fmla="*/ 2818908 h 2969978"/>
                  <a:gd name="connsiteX0" fmla="*/ 120580 w 11860922"/>
                  <a:gd name="connsiteY0" fmla="*/ 55611 h 2969978"/>
                  <a:gd name="connsiteX1" fmla="*/ 281354 w 11860922"/>
                  <a:gd name="connsiteY1" fmla="*/ 45562 h 2969978"/>
                  <a:gd name="connsiteX2" fmla="*/ 673240 w 11860922"/>
                  <a:gd name="connsiteY2" fmla="*/ 35514 h 2969978"/>
                  <a:gd name="connsiteX3" fmla="*/ 1356528 w 11860922"/>
                  <a:gd name="connsiteY3" fmla="*/ 85756 h 2969978"/>
                  <a:gd name="connsiteX4" fmla="*/ 1758462 w 11860922"/>
                  <a:gd name="connsiteY4" fmla="*/ 45562 h 2969978"/>
                  <a:gd name="connsiteX5" fmla="*/ 2140299 w 11860922"/>
                  <a:gd name="connsiteY5" fmla="*/ 45562 h 2969978"/>
                  <a:gd name="connsiteX6" fmla="*/ 4652387 w 11860922"/>
                  <a:gd name="connsiteY6" fmla="*/ 65659 h 2969978"/>
                  <a:gd name="connsiteX7" fmla="*/ 4692580 w 11860922"/>
                  <a:gd name="connsiteY7" fmla="*/ 75708 h 2969978"/>
                  <a:gd name="connsiteX8" fmla="*/ 6420897 w 11860922"/>
                  <a:gd name="connsiteY8" fmla="*/ 95804 h 2969978"/>
                  <a:gd name="connsiteX9" fmla="*/ 7184571 w 11860922"/>
                  <a:gd name="connsiteY9" fmla="*/ 65659 h 2969978"/>
                  <a:gd name="connsiteX10" fmla="*/ 7928150 w 11860922"/>
                  <a:gd name="connsiteY10" fmla="*/ 65659 h 2969978"/>
                  <a:gd name="connsiteX11" fmla="*/ 8219552 w 11860922"/>
                  <a:gd name="connsiteY11" fmla="*/ 95804 h 2969978"/>
                  <a:gd name="connsiteX12" fmla="*/ 9606224 w 11860922"/>
                  <a:gd name="connsiteY12" fmla="*/ 95804 h 2969978"/>
                  <a:gd name="connsiteX13" fmla="*/ 9947868 w 11860922"/>
                  <a:gd name="connsiteY13" fmla="*/ 65659 h 2969978"/>
                  <a:gd name="connsiteX14" fmla="*/ 10791930 w 11860922"/>
                  <a:gd name="connsiteY14" fmla="*/ 35514 h 2969978"/>
                  <a:gd name="connsiteX15" fmla="*/ 11736475 w 11860922"/>
                  <a:gd name="connsiteY15" fmla="*/ 55611 h 2969978"/>
                  <a:gd name="connsiteX16" fmla="*/ 11806813 w 11860922"/>
                  <a:gd name="connsiteY16" fmla="*/ 769044 h 2969978"/>
                  <a:gd name="connsiteX17" fmla="*/ 11816862 w 11860922"/>
                  <a:gd name="connsiteY17" fmla="*/ 2336587 h 2969978"/>
                  <a:gd name="connsiteX18" fmla="*/ 11857055 w 11860922"/>
                  <a:gd name="connsiteY18" fmla="*/ 2567699 h 2969978"/>
                  <a:gd name="connsiteX19" fmla="*/ 11857055 w 11860922"/>
                  <a:gd name="connsiteY19" fmla="*/ 2839004 h 2969978"/>
                  <a:gd name="connsiteX20" fmla="*/ 11836958 w 11860922"/>
                  <a:gd name="connsiteY20" fmla="*/ 2869149 h 2969978"/>
                  <a:gd name="connsiteX21" fmla="*/ 11033090 w 11860922"/>
                  <a:gd name="connsiteY21" fmla="*/ 2859101 h 2969978"/>
                  <a:gd name="connsiteX22" fmla="*/ 10621108 w 11860922"/>
                  <a:gd name="connsiteY22" fmla="*/ 2849053 h 2969978"/>
                  <a:gd name="connsiteX23" fmla="*/ 10128739 w 11860922"/>
                  <a:gd name="connsiteY23" fmla="*/ 2859101 h 2969978"/>
                  <a:gd name="connsiteX24" fmla="*/ 10048352 w 11860922"/>
                  <a:gd name="connsiteY24" fmla="*/ 2869149 h 2969978"/>
                  <a:gd name="connsiteX25" fmla="*/ 9555982 w 11860922"/>
                  <a:gd name="connsiteY25" fmla="*/ 2859101 h 2969978"/>
                  <a:gd name="connsiteX26" fmla="*/ 9445451 w 11860922"/>
                  <a:gd name="connsiteY26" fmla="*/ 2849053 h 2969978"/>
                  <a:gd name="connsiteX27" fmla="*/ 9415306 w 11860922"/>
                  <a:gd name="connsiteY27" fmla="*/ 2828956 h 2969978"/>
                  <a:gd name="connsiteX28" fmla="*/ 9204290 w 11860922"/>
                  <a:gd name="connsiteY28" fmla="*/ 2808859 h 2969978"/>
                  <a:gd name="connsiteX29" fmla="*/ 9073662 w 11860922"/>
                  <a:gd name="connsiteY29" fmla="*/ 2788762 h 2969978"/>
                  <a:gd name="connsiteX30" fmla="*/ 8812404 w 11860922"/>
                  <a:gd name="connsiteY30" fmla="*/ 2778714 h 2969978"/>
                  <a:gd name="connsiteX31" fmla="*/ 8400422 w 11860922"/>
                  <a:gd name="connsiteY31" fmla="*/ 2768666 h 2969978"/>
                  <a:gd name="connsiteX32" fmla="*/ 8269793 w 11860922"/>
                  <a:gd name="connsiteY32" fmla="*/ 2758617 h 2969978"/>
                  <a:gd name="connsiteX33" fmla="*/ 7797521 w 11860922"/>
                  <a:gd name="connsiteY33" fmla="*/ 2778714 h 2969978"/>
                  <a:gd name="connsiteX34" fmla="*/ 7717134 w 11860922"/>
                  <a:gd name="connsiteY34" fmla="*/ 2788762 h 2969978"/>
                  <a:gd name="connsiteX35" fmla="*/ 7486022 w 11860922"/>
                  <a:gd name="connsiteY35" fmla="*/ 2818908 h 2969978"/>
                  <a:gd name="connsiteX36" fmla="*/ 7395587 w 11860922"/>
                  <a:gd name="connsiteY36" fmla="*/ 2839004 h 2969978"/>
                  <a:gd name="connsiteX37" fmla="*/ 7325248 w 11860922"/>
                  <a:gd name="connsiteY37" fmla="*/ 2849053 h 2969978"/>
                  <a:gd name="connsiteX38" fmla="*/ 6863024 w 11860922"/>
                  <a:gd name="connsiteY38" fmla="*/ 2839004 h 2969978"/>
                  <a:gd name="connsiteX39" fmla="*/ 6722347 w 11860922"/>
                  <a:gd name="connsiteY39" fmla="*/ 2828956 h 2969978"/>
                  <a:gd name="connsiteX40" fmla="*/ 4903596 w 11860922"/>
                  <a:gd name="connsiteY40" fmla="*/ 2879198 h 2969978"/>
                  <a:gd name="connsiteX41" fmla="*/ 4722725 w 11860922"/>
                  <a:gd name="connsiteY41" fmla="*/ 2919391 h 2969978"/>
                  <a:gd name="connsiteX42" fmla="*/ 4300695 w 11860922"/>
                  <a:gd name="connsiteY42" fmla="*/ 2899294 h 2969978"/>
                  <a:gd name="connsiteX43" fmla="*/ 4059534 w 11860922"/>
                  <a:gd name="connsiteY43" fmla="*/ 2859101 h 2969978"/>
                  <a:gd name="connsiteX44" fmla="*/ 3768132 w 11860922"/>
                  <a:gd name="connsiteY44" fmla="*/ 2828956 h 2969978"/>
                  <a:gd name="connsiteX45" fmla="*/ 3627455 w 11860922"/>
                  <a:gd name="connsiteY45" fmla="*/ 2818908 h 2969978"/>
                  <a:gd name="connsiteX46" fmla="*/ 3125037 w 11860922"/>
                  <a:gd name="connsiteY46" fmla="*/ 2828956 h 2969978"/>
                  <a:gd name="connsiteX47" fmla="*/ 3064747 w 11860922"/>
                  <a:gd name="connsiteY47" fmla="*/ 2839004 h 2969978"/>
                  <a:gd name="connsiteX48" fmla="*/ 2009670 w 11860922"/>
                  <a:gd name="connsiteY48" fmla="*/ 2849053 h 2969978"/>
                  <a:gd name="connsiteX49" fmla="*/ 1678075 w 11860922"/>
                  <a:gd name="connsiteY49" fmla="*/ 2939488 h 2969978"/>
                  <a:gd name="connsiteX50" fmla="*/ 1607736 w 11860922"/>
                  <a:gd name="connsiteY50" fmla="*/ 2969633 h 2969978"/>
                  <a:gd name="connsiteX51" fmla="*/ 1135464 w 11860922"/>
                  <a:gd name="connsiteY51" fmla="*/ 2949536 h 2969978"/>
                  <a:gd name="connsiteX52" fmla="*/ 944545 w 11860922"/>
                  <a:gd name="connsiteY52" fmla="*/ 2919391 h 2969978"/>
                  <a:gd name="connsiteX53" fmla="*/ 723481 w 11860922"/>
                  <a:gd name="connsiteY53" fmla="*/ 2879198 h 2969978"/>
                  <a:gd name="connsiteX54" fmla="*/ 643095 w 11860922"/>
                  <a:gd name="connsiteY54" fmla="*/ 2869149 h 2969978"/>
                  <a:gd name="connsiteX55" fmla="*/ 371789 w 11860922"/>
                  <a:gd name="connsiteY55" fmla="*/ 2828956 h 2969978"/>
                  <a:gd name="connsiteX56" fmla="*/ 0 w 11860922"/>
                  <a:gd name="connsiteY56" fmla="*/ 2818908 h 2969978"/>
                  <a:gd name="connsiteX0" fmla="*/ 120580 w 11857648"/>
                  <a:gd name="connsiteY0" fmla="*/ 55611 h 2969978"/>
                  <a:gd name="connsiteX1" fmla="*/ 281354 w 11857648"/>
                  <a:gd name="connsiteY1" fmla="*/ 45562 h 2969978"/>
                  <a:gd name="connsiteX2" fmla="*/ 673240 w 11857648"/>
                  <a:gd name="connsiteY2" fmla="*/ 35514 h 2969978"/>
                  <a:gd name="connsiteX3" fmla="*/ 1356528 w 11857648"/>
                  <a:gd name="connsiteY3" fmla="*/ 85756 h 2969978"/>
                  <a:gd name="connsiteX4" fmla="*/ 1758462 w 11857648"/>
                  <a:gd name="connsiteY4" fmla="*/ 45562 h 2969978"/>
                  <a:gd name="connsiteX5" fmla="*/ 2140299 w 11857648"/>
                  <a:gd name="connsiteY5" fmla="*/ 45562 h 2969978"/>
                  <a:gd name="connsiteX6" fmla="*/ 4652387 w 11857648"/>
                  <a:gd name="connsiteY6" fmla="*/ 65659 h 2969978"/>
                  <a:gd name="connsiteX7" fmla="*/ 4692580 w 11857648"/>
                  <a:gd name="connsiteY7" fmla="*/ 75708 h 2969978"/>
                  <a:gd name="connsiteX8" fmla="*/ 6420897 w 11857648"/>
                  <a:gd name="connsiteY8" fmla="*/ 95804 h 2969978"/>
                  <a:gd name="connsiteX9" fmla="*/ 7184571 w 11857648"/>
                  <a:gd name="connsiteY9" fmla="*/ 65659 h 2969978"/>
                  <a:gd name="connsiteX10" fmla="*/ 7928150 w 11857648"/>
                  <a:gd name="connsiteY10" fmla="*/ 65659 h 2969978"/>
                  <a:gd name="connsiteX11" fmla="*/ 8219552 w 11857648"/>
                  <a:gd name="connsiteY11" fmla="*/ 95804 h 2969978"/>
                  <a:gd name="connsiteX12" fmla="*/ 9606224 w 11857648"/>
                  <a:gd name="connsiteY12" fmla="*/ 95804 h 2969978"/>
                  <a:gd name="connsiteX13" fmla="*/ 9947868 w 11857648"/>
                  <a:gd name="connsiteY13" fmla="*/ 65659 h 2969978"/>
                  <a:gd name="connsiteX14" fmla="*/ 10791930 w 11857648"/>
                  <a:gd name="connsiteY14" fmla="*/ 35514 h 2969978"/>
                  <a:gd name="connsiteX15" fmla="*/ 11736475 w 11857648"/>
                  <a:gd name="connsiteY15" fmla="*/ 55611 h 2969978"/>
                  <a:gd name="connsiteX16" fmla="*/ 11806813 w 11857648"/>
                  <a:gd name="connsiteY16" fmla="*/ 769044 h 2969978"/>
                  <a:gd name="connsiteX17" fmla="*/ 11816862 w 11857648"/>
                  <a:gd name="connsiteY17" fmla="*/ 2336587 h 2969978"/>
                  <a:gd name="connsiteX18" fmla="*/ 11857055 w 11857648"/>
                  <a:gd name="connsiteY18" fmla="*/ 2839004 h 2969978"/>
                  <a:gd name="connsiteX19" fmla="*/ 11836958 w 11857648"/>
                  <a:gd name="connsiteY19" fmla="*/ 2869149 h 2969978"/>
                  <a:gd name="connsiteX20" fmla="*/ 11033090 w 11857648"/>
                  <a:gd name="connsiteY20" fmla="*/ 2859101 h 2969978"/>
                  <a:gd name="connsiteX21" fmla="*/ 10621108 w 11857648"/>
                  <a:gd name="connsiteY21" fmla="*/ 2849053 h 2969978"/>
                  <a:gd name="connsiteX22" fmla="*/ 10128739 w 11857648"/>
                  <a:gd name="connsiteY22" fmla="*/ 2859101 h 2969978"/>
                  <a:gd name="connsiteX23" fmla="*/ 10048352 w 11857648"/>
                  <a:gd name="connsiteY23" fmla="*/ 2869149 h 2969978"/>
                  <a:gd name="connsiteX24" fmla="*/ 9555982 w 11857648"/>
                  <a:gd name="connsiteY24" fmla="*/ 2859101 h 2969978"/>
                  <a:gd name="connsiteX25" fmla="*/ 9445451 w 11857648"/>
                  <a:gd name="connsiteY25" fmla="*/ 2849053 h 2969978"/>
                  <a:gd name="connsiteX26" fmla="*/ 9415306 w 11857648"/>
                  <a:gd name="connsiteY26" fmla="*/ 2828956 h 2969978"/>
                  <a:gd name="connsiteX27" fmla="*/ 9204290 w 11857648"/>
                  <a:gd name="connsiteY27" fmla="*/ 2808859 h 2969978"/>
                  <a:gd name="connsiteX28" fmla="*/ 9073662 w 11857648"/>
                  <a:gd name="connsiteY28" fmla="*/ 2788762 h 2969978"/>
                  <a:gd name="connsiteX29" fmla="*/ 8812404 w 11857648"/>
                  <a:gd name="connsiteY29" fmla="*/ 2778714 h 2969978"/>
                  <a:gd name="connsiteX30" fmla="*/ 8400422 w 11857648"/>
                  <a:gd name="connsiteY30" fmla="*/ 2768666 h 2969978"/>
                  <a:gd name="connsiteX31" fmla="*/ 8269793 w 11857648"/>
                  <a:gd name="connsiteY31" fmla="*/ 2758617 h 2969978"/>
                  <a:gd name="connsiteX32" fmla="*/ 7797521 w 11857648"/>
                  <a:gd name="connsiteY32" fmla="*/ 2778714 h 2969978"/>
                  <a:gd name="connsiteX33" fmla="*/ 7717134 w 11857648"/>
                  <a:gd name="connsiteY33" fmla="*/ 2788762 h 2969978"/>
                  <a:gd name="connsiteX34" fmla="*/ 7486022 w 11857648"/>
                  <a:gd name="connsiteY34" fmla="*/ 2818908 h 2969978"/>
                  <a:gd name="connsiteX35" fmla="*/ 7395587 w 11857648"/>
                  <a:gd name="connsiteY35" fmla="*/ 2839004 h 2969978"/>
                  <a:gd name="connsiteX36" fmla="*/ 7325248 w 11857648"/>
                  <a:gd name="connsiteY36" fmla="*/ 2849053 h 2969978"/>
                  <a:gd name="connsiteX37" fmla="*/ 6863024 w 11857648"/>
                  <a:gd name="connsiteY37" fmla="*/ 2839004 h 2969978"/>
                  <a:gd name="connsiteX38" fmla="*/ 6722347 w 11857648"/>
                  <a:gd name="connsiteY38" fmla="*/ 2828956 h 2969978"/>
                  <a:gd name="connsiteX39" fmla="*/ 4903596 w 11857648"/>
                  <a:gd name="connsiteY39" fmla="*/ 2879198 h 2969978"/>
                  <a:gd name="connsiteX40" fmla="*/ 4722725 w 11857648"/>
                  <a:gd name="connsiteY40" fmla="*/ 2919391 h 2969978"/>
                  <a:gd name="connsiteX41" fmla="*/ 4300695 w 11857648"/>
                  <a:gd name="connsiteY41" fmla="*/ 2899294 h 2969978"/>
                  <a:gd name="connsiteX42" fmla="*/ 4059534 w 11857648"/>
                  <a:gd name="connsiteY42" fmla="*/ 2859101 h 2969978"/>
                  <a:gd name="connsiteX43" fmla="*/ 3768132 w 11857648"/>
                  <a:gd name="connsiteY43" fmla="*/ 2828956 h 2969978"/>
                  <a:gd name="connsiteX44" fmla="*/ 3627455 w 11857648"/>
                  <a:gd name="connsiteY44" fmla="*/ 2818908 h 2969978"/>
                  <a:gd name="connsiteX45" fmla="*/ 3125037 w 11857648"/>
                  <a:gd name="connsiteY45" fmla="*/ 2828956 h 2969978"/>
                  <a:gd name="connsiteX46" fmla="*/ 3064747 w 11857648"/>
                  <a:gd name="connsiteY46" fmla="*/ 2839004 h 2969978"/>
                  <a:gd name="connsiteX47" fmla="*/ 2009670 w 11857648"/>
                  <a:gd name="connsiteY47" fmla="*/ 2849053 h 2969978"/>
                  <a:gd name="connsiteX48" fmla="*/ 1678075 w 11857648"/>
                  <a:gd name="connsiteY48" fmla="*/ 2939488 h 2969978"/>
                  <a:gd name="connsiteX49" fmla="*/ 1607736 w 11857648"/>
                  <a:gd name="connsiteY49" fmla="*/ 2969633 h 2969978"/>
                  <a:gd name="connsiteX50" fmla="*/ 1135464 w 11857648"/>
                  <a:gd name="connsiteY50" fmla="*/ 2949536 h 2969978"/>
                  <a:gd name="connsiteX51" fmla="*/ 944545 w 11857648"/>
                  <a:gd name="connsiteY51" fmla="*/ 2919391 h 2969978"/>
                  <a:gd name="connsiteX52" fmla="*/ 723481 w 11857648"/>
                  <a:gd name="connsiteY52" fmla="*/ 2879198 h 2969978"/>
                  <a:gd name="connsiteX53" fmla="*/ 643095 w 11857648"/>
                  <a:gd name="connsiteY53" fmla="*/ 2869149 h 2969978"/>
                  <a:gd name="connsiteX54" fmla="*/ 371789 w 11857648"/>
                  <a:gd name="connsiteY54" fmla="*/ 2828956 h 2969978"/>
                  <a:gd name="connsiteX55" fmla="*/ 0 w 11857648"/>
                  <a:gd name="connsiteY55" fmla="*/ 2818908 h 2969978"/>
                  <a:gd name="connsiteX0" fmla="*/ 120580 w 11907678"/>
                  <a:gd name="connsiteY0" fmla="*/ 55611 h 2969978"/>
                  <a:gd name="connsiteX1" fmla="*/ 281354 w 11907678"/>
                  <a:gd name="connsiteY1" fmla="*/ 45562 h 2969978"/>
                  <a:gd name="connsiteX2" fmla="*/ 673240 w 11907678"/>
                  <a:gd name="connsiteY2" fmla="*/ 35514 h 2969978"/>
                  <a:gd name="connsiteX3" fmla="*/ 1356528 w 11907678"/>
                  <a:gd name="connsiteY3" fmla="*/ 85756 h 2969978"/>
                  <a:gd name="connsiteX4" fmla="*/ 1758462 w 11907678"/>
                  <a:gd name="connsiteY4" fmla="*/ 45562 h 2969978"/>
                  <a:gd name="connsiteX5" fmla="*/ 2140299 w 11907678"/>
                  <a:gd name="connsiteY5" fmla="*/ 45562 h 2969978"/>
                  <a:gd name="connsiteX6" fmla="*/ 4652387 w 11907678"/>
                  <a:gd name="connsiteY6" fmla="*/ 65659 h 2969978"/>
                  <a:gd name="connsiteX7" fmla="*/ 4692580 w 11907678"/>
                  <a:gd name="connsiteY7" fmla="*/ 75708 h 2969978"/>
                  <a:gd name="connsiteX8" fmla="*/ 6420897 w 11907678"/>
                  <a:gd name="connsiteY8" fmla="*/ 95804 h 2969978"/>
                  <a:gd name="connsiteX9" fmla="*/ 7184571 w 11907678"/>
                  <a:gd name="connsiteY9" fmla="*/ 65659 h 2969978"/>
                  <a:gd name="connsiteX10" fmla="*/ 7928150 w 11907678"/>
                  <a:gd name="connsiteY10" fmla="*/ 65659 h 2969978"/>
                  <a:gd name="connsiteX11" fmla="*/ 8219552 w 11907678"/>
                  <a:gd name="connsiteY11" fmla="*/ 95804 h 2969978"/>
                  <a:gd name="connsiteX12" fmla="*/ 9606224 w 11907678"/>
                  <a:gd name="connsiteY12" fmla="*/ 95804 h 2969978"/>
                  <a:gd name="connsiteX13" fmla="*/ 9947868 w 11907678"/>
                  <a:gd name="connsiteY13" fmla="*/ 65659 h 2969978"/>
                  <a:gd name="connsiteX14" fmla="*/ 10791930 w 11907678"/>
                  <a:gd name="connsiteY14" fmla="*/ 35514 h 2969978"/>
                  <a:gd name="connsiteX15" fmla="*/ 11736475 w 11907678"/>
                  <a:gd name="connsiteY15" fmla="*/ 55611 h 2969978"/>
                  <a:gd name="connsiteX16" fmla="*/ 11806813 w 11907678"/>
                  <a:gd name="connsiteY16" fmla="*/ 769044 h 2969978"/>
                  <a:gd name="connsiteX17" fmla="*/ 11816862 w 11907678"/>
                  <a:gd name="connsiteY17" fmla="*/ 2336587 h 2969978"/>
                  <a:gd name="connsiteX18" fmla="*/ 11857055 w 11907678"/>
                  <a:gd name="connsiteY18" fmla="*/ 2839004 h 2969978"/>
                  <a:gd name="connsiteX19" fmla="*/ 11033090 w 11907678"/>
                  <a:gd name="connsiteY19" fmla="*/ 2859101 h 2969978"/>
                  <a:gd name="connsiteX20" fmla="*/ 10621108 w 11907678"/>
                  <a:gd name="connsiteY20" fmla="*/ 2849053 h 2969978"/>
                  <a:gd name="connsiteX21" fmla="*/ 10128739 w 11907678"/>
                  <a:gd name="connsiteY21" fmla="*/ 2859101 h 2969978"/>
                  <a:gd name="connsiteX22" fmla="*/ 10048352 w 11907678"/>
                  <a:gd name="connsiteY22" fmla="*/ 2869149 h 2969978"/>
                  <a:gd name="connsiteX23" fmla="*/ 9555982 w 11907678"/>
                  <a:gd name="connsiteY23" fmla="*/ 2859101 h 2969978"/>
                  <a:gd name="connsiteX24" fmla="*/ 9445451 w 11907678"/>
                  <a:gd name="connsiteY24" fmla="*/ 2849053 h 2969978"/>
                  <a:gd name="connsiteX25" fmla="*/ 9415306 w 11907678"/>
                  <a:gd name="connsiteY25" fmla="*/ 2828956 h 2969978"/>
                  <a:gd name="connsiteX26" fmla="*/ 9204290 w 11907678"/>
                  <a:gd name="connsiteY26" fmla="*/ 2808859 h 2969978"/>
                  <a:gd name="connsiteX27" fmla="*/ 9073662 w 11907678"/>
                  <a:gd name="connsiteY27" fmla="*/ 2788762 h 2969978"/>
                  <a:gd name="connsiteX28" fmla="*/ 8812404 w 11907678"/>
                  <a:gd name="connsiteY28" fmla="*/ 2778714 h 2969978"/>
                  <a:gd name="connsiteX29" fmla="*/ 8400422 w 11907678"/>
                  <a:gd name="connsiteY29" fmla="*/ 2768666 h 2969978"/>
                  <a:gd name="connsiteX30" fmla="*/ 8269793 w 11907678"/>
                  <a:gd name="connsiteY30" fmla="*/ 2758617 h 2969978"/>
                  <a:gd name="connsiteX31" fmla="*/ 7797521 w 11907678"/>
                  <a:gd name="connsiteY31" fmla="*/ 2778714 h 2969978"/>
                  <a:gd name="connsiteX32" fmla="*/ 7717134 w 11907678"/>
                  <a:gd name="connsiteY32" fmla="*/ 2788762 h 2969978"/>
                  <a:gd name="connsiteX33" fmla="*/ 7486022 w 11907678"/>
                  <a:gd name="connsiteY33" fmla="*/ 2818908 h 2969978"/>
                  <a:gd name="connsiteX34" fmla="*/ 7395587 w 11907678"/>
                  <a:gd name="connsiteY34" fmla="*/ 2839004 h 2969978"/>
                  <a:gd name="connsiteX35" fmla="*/ 7325248 w 11907678"/>
                  <a:gd name="connsiteY35" fmla="*/ 2849053 h 2969978"/>
                  <a:gd name="connsiteX36" fmla="*/ 6863024 w 11907678"/>
                  <a:gd name="connsiteY36" fmla="*/ 2839004 h 2969978"/>
                  <a:gd name="connsiteX37" fmla="*/ 6722347 w 11907678"/>
                  <a:gd name="connsiteY37" fmla="*/ 2828956 h 2969978"/>
                  <a:gd name="connsiteX38" fmla="*/ 4903596 w 11907678"/>
                  <a:gd name="connsiteY38" fmla="*/ 2879198 h 2969978"/>
                  <a:gd name="connsiteX39" fmla="*/ 4722725 w 11907678"/>
                  <a:gd name="connsiteY39" fmla="*/ 2919391 h 2969978"/>
                  <a:gd name="connsiteX40" fmla="*/ 4300695 w 11907678"/>
                  <a:gd name="connsiteY40" fmla="*/ 2899294 h 2969978"/>
                  <a:gd name="connsiteX41" fmla="*/ 4059534 w 11907678"/>
                  <a:gd name="connsiteY41" fmla="*/ 2859101 h 2969978"/>
                  <a:gd name="connsiteX42" fmla="*/ 3768132 w 11907678"/>
                  <a:gd name="connsiteY42" fmla="*/ 2828956 h 2969978"/>
                  <a:gd name="connsiteX43" fmla="*/ 3627455 w 11907678"/>
                  <a:gd name="connsiteY43" fmla="*/ 2818908 h 2969978"/>
                  <a:gd name="connsiteX44" fmla="*/ 3125037 w 11907678"/>
                  <a:gd name="connsiteY44" fmla="*/ 2828956 h 2969978"/>
                  <a:gd name="connsiteX45" fmla="*/ 3064747 w 11907678"/>
                  <a:gd name="connsiteY45" fmla="*/ 2839004 h 2969978"/>
                  <a:gd name="connsiteX46" fmla="*/ 2009670 w 11907678"/>
                  <a:gd name="connsiteY46" fmla="*/ 2849053 h 2969978"/>
                  <a:gd name="connsiteX47" fmla="*/ 1678075 w 11907678"/>
                  <a:gd name="connsiteY47" fmla="*/ 2939488 h 2969978"/>
                  <a:gd name="connsiteX48" fmla="*/ 1607736 w 11907678"/>
                  <a:gd name="connsiteY48" fmla="*/ 2969633 h 2969978"/>
                  <a:gd name="connsiteX49" fmla="*/ 1135464 w 11907678"/>
                  <a:gd name="connsiteY49" fmla="*/ 2949536 h 2969978"/>
                  <a:gd name="connsiteX50" fmla="*/ 944545 w 11907678"/>
                  <a:gd name="connsiteY50" fmla="*/ 2919391 h 2969978"/>
                  <a:gd name="connsiteX51" fmla="*/ 723481 w 11907678"/>
                  <a:gd name="connsiteY51" fmla="*/ 2879198 h 2969978"/>
                  <a:gd name="connsiteX52" fmla="*/ 643095 w 11907678"/>
                  <a:gd name="connsiteY52" fmla="*/ 2869149 h 2969978"/>
                  <a:gd name="connsiteX53" fmla="*/ 371789 w 11907678"/>
                  <a:gd name="connsiteY53" fmla="*/ 2828956 h 2969978"/>
                  <a:gd name="connsiteX54" fmla="*/ 0 w 11907678"/>
                  <a:gd name="connsiteY54" fmla="*/ 2818908 h 2969978"/>
                  <a:gd name="connsiteX0" fmla="*/ 120580 w 11869655"/>
                  <a:gd name="connsiteY0" fmla="*/ 55611 h 2969978"/>
                  <a:gd name="connsiteX1" fmla="*/ 281354 w 11869655"/>
                  <a:gd name="connsiteY1" fmla="*/ 45562 h 2969978"/>
                  <a:gd name="connsiteX2" fmla="*/ 673240 w 11869655"/>
                  <a:gd name="connsiteY2" fmla="*/ 35514 h 2969978"/>
                  <a:gd name="connsiteX3" fmla="*/ 1356528 w 11869655"/>
                  <a:gd name="connsiteY3" fmla="*/ 85756 h 2969978"/>
                  <a:gd name="connsiteX4" fmla="*/ 1758462 w 11869655"/>
                  <a:gd name="connsiteY4" fmla="*/ 45562 h 2969978"/>
                  <a:gd name="connsiteX5" fmla="*/ 2140299 w 11869655"/>
                  <a:gd name="connsiteY5" fmla="*/ 45562 h 2969978"/>
                  <a:gd name="connsiteX6" fmla="*/ 4652387 w 11869655"/>
                  <a:gd name="connsiteY6" fmla="*/ 65659 h 2969978"/>
                  <a:gd name="connsiteX7" fmla="*/ 4692580 w 11869655"/>
                  <a:gd name="connsiteY7" fmla="*/ 75708 h 2969978"/>
                  <a:gd name="connsiteX8" fmla="*/ 6420897 w 11869655"/>
                  <a:gd name="connsiteY8" fmla="*/ 95804 h 2969978"/>
                  <a:gd name="connsiteX9" fmla="*/ 7184571 w 11869655"/>
                  <a:gd name="connsiteY9" fmla="*/ 65659 h 2969978"/>
                  <a:gd name="connsiteX10" fmla="*/ 7928150 w 11869655"/>
                  <a:gd name="connsiteY10" fmla="*/ 65659 h 2969978"/>
                  <a:gd name="connsiteX11" fmla="*/ 8219552 w 11869655"/>
                  <a:gd name="connsiteY11" fmla="*/ 95804 h 2969978"/>
                  <a:gd name="connsiteX12" fmla="*/ 9606224 w 11869655"/>
                  <a:gd name="connsiteY12" fmla="*/ 95804 h 2969978"/>
                  <a:gd name="connsiteX13" fmla="*/ 9947868 w 11869655"/>
                  <a:gd name="connsiteY13" fmla="*/ 65659 h 2969978"/>
                  <a:gd name="connsiteX14" fmla="*/ 10791930 w 11869655"/>
                  <a:gd name="connsiteY14" fmla="*/ 35514 h 2969978"/>
                  <a:gd name="connsiteX15" fmla="*/ 11736475 w 11869655"/>
                  <a:gd name="connsiteY15" fmla="*/ 55611 h 2969978"/>
                  <a:gd name="connsiteX16" fmla="*/ 11806813 w 11869655"/>
                  <a:gd name="connsiteY16" fmla="*/ 769044 h 2969978"/>
                  <a:gd name="connsiteX17" fmla="*/ 11816862 w 11869655"/>
                  <a:gd name="connsiteY17" fmla="*/ 2336587 h 2969978"/>
                  <a:gd name="connsiteX18" fmla="*/ 11806813 w 11869655"/>
                  <a:gd name="connsiteY18" fmla="*/ 2828956 h 2969978"/>
                  <a:gd name="connsiteX19" fmla="*/ 11033090 w 11869655"/>
                  <a:gd name="connsiteY19" fmla="*/ 2859101 h 2969978"/>
                  <a:gd name="connsiteX20" fmla="*/ 10621108 w 11869655"/>
                  <a:gd name="connsiteY20" fmla="*/ 2849053 h 2969978"/>
                  <a:gd name="connsiteX21" fmla="*/ 10128739 w 11869655"/>
                  <a:gd name="connsiteY21" fmla="*/ 2859101 h 2969978"/>
                  <a:gd name="connsiteX22" fmla="*/ 10048352 w 11869655"/>
                  <a:gd name="connsiteY22" fmla="*/ 2869149 h 2969978"/>
                  <a:gd name="connsiteX23" fmla="*/ 9555982 w 11869655"/>
                  <a:gd name="connsiteY23" fmla="*/ 2859101 h 2969978"/>
                  <a:gd name="connsiteX24" fmla="*/ 9445451 w 11869655"/>
                  <a:gd name="connsiteY24" fmla="*/ 2849053 h 2969978"/>
                  <a:gd name="connsiteX25" fmla="*/ 9415306 w 11869655"/>
                  <a:gd name="connsiteY25" fmla="*/ 2828956 h 2969978"/>
                  <a:gd name="connsiteX26" fmla="*/ 9204290 w 11869655"/>
                  <a:gd name="connsiteY26" fmla="*/ 2808859 h 2969978"/>
                  <a:gd name="connsiteX27" fmla="*/ 9073662 w 11869655"/>
                  <a:gd name="connsiteY27" fmla="*/ 2788762 h 2969978"/>
                  <a:gd name="connsiteX28" fmla="*/ 8812404 w 11869655"/>
                  <a:gd name="connsiteY28" fmla="*/ 2778714 h 2969978"/>
                  <a:gd name="connsiteX29" fmla="*/ 8400422 w 11869655"/>
                  <a:gd name="connsiteY29" fmla="*/ 2768666 h 2969978"/>
                  <a:gd name="connsiteX30" fmla="*/ 8269793 w 11869655"/>
                  <a:gd name="connsiteY30" fmla="*/ 2758617 h 2969978"/>
                  <a:gd name="connsiteX31" fmla="*/ 7797521 w 11869655"/>
                  <a:gd name="connsiteY31" fmla="*/ 2778714 h 2969978"/>
                  <a:gd name="connsiteX32" fmla="*/ 7717134 w 11869655"/>
                  <a:gd name="connsiteY32" fmla="*/ 2788762 h 2969978"/>
                  <a:gd name="connsiteX33" fmla="*/ 7486022 w 11869655"/>
                  <a:gd name="connsiteY33" fmla="*/ 2818908 h 2969978"/>
                  <a:gd name="connsiteX34" fmla="*/ 7395587 w 11869655"/>
                  <a:gd name="connsiteY34" fmla="*/ 2839004 h 2969978"/>
                  <a:gd name="connsiteX35" fmla="*/ 7325248 w 11869655"/>
                  <a:gd name="connsiteY35" fmla="*/ 2849053 h 2969978"/>
                  <a:gd name="connsiteX36" fmla="*/ 6863024 w 11869655"/>
                  <a:gd name="connsiteY36" fmla="*/ 2839004 h 2969978"/>
                  <a:gd name="connsiteX37" fmla="*/ 6722347 w 11869655"/>
                  <a:gd name="connsiteY37" fmla="*/ 2828956 h 2969978"/>
                  <a:gd name="connsiteX38" fmla="*/ 4903596 w 11869655"/>
                  <a:gd name="connsiteY38" fmla="*/ 2879198 h 2969978"/>
                  <a:gd name="connsiteX39" fmla="*/ 4722725 w 11869655"/>
                  <a:gd name="connsiteY39" fmla="*/ 2919391 h 2969978"/>
                  <a:gd name="connsiteX40" fmla="*/ 4300695 w 11869655"/>
                  <a:gd name="connsiteY40" fmla="*/ 2899294 h 2969978"/>
                  <a:gd name="connsiteX41" fmla="*/ 4059534 w 11869655"/>
                  <a:gd name="connsiteY41" fmla="*/ 2859101 h 2969978"/>
                  <a:gd name="connsiteX42" fmla="*/ 3768132 w 11869655"/>
                  <a:gd name="connsiteY42" fmla="*/ 2828956 h 2969978"/>
                  <a:gd name="connsiteX43" fmla="*/ 3627455 w 11869655"/>
                  <a:gd name="connsiteY43" fmla="*/ 2818908 h 2969978"/>
                  <a:gd name="connsiteX44" fmla="*/ 3125037 w 11869655"/>
                  <a:gd name="connsiteY44" fmla="*/ 2828956 h 2969978"/>
                  <a:gd name="connsiteX45" fmla="*/ 3064747 w 11869655"/>
                  <a:gd name="connsiteY45" fmla="*/ 2839004 h 2969978"/>
                  <a:gd name="connsiteX46" fmla="*/ 2009670 w 11869655"/>
                  <a:gd name="connsiteY46" fmla="*/ 2849053 h 2969978"/>
                  <a:gd name="connsiteX47" fmla="*/ 1678075 w 11869655"/>
                  <a:gd name="connsiteY47" fmla="*/ 2939488 h 2969978"/>
                  <a:gd name="connsiteX48" fmla="*/ 1607736 w 11869655"/>
                  <a:gd name="connsiteY48" fmla="*/ 2969633 h 2969978"/>
                  <a:gd name="connsiteX49" fmla="*/ 1135464 w 11869655"/>
                  <a:gd name="connsiteY49" fmla="*/ 2949536 h 2969978"/>
                  <a:gd name="connsiteX50" fmla="*/ 944545 w 11869655"/>
                  <a:gd name="connsiteY50" fmla="*/ 2919391 h 2969978"/>
                  <a:gd name="connsiteX51" fmla="*/ 723481 w 11869655"/>
                  <a:gd name="connsiteY51" fmla="*/ 2879198 h 2969978"/>
                  <a:gd name="connsiteX52" fmla="*/ 643095 w 11869655"/>
                  <a:gd name="connsiteY52" fmla="*/ 2869149 h 2969978"/>
                  <a:gd name="connsiteX53" fmla="*/ 371789 w 11869655"/>
                  <a:gd name="connsiteY53" fmla="*/ 2828956 h 2969978"/>
                  <a:gd name="connsiteX54" fmla="*/ 0 w 11869655"/>
                  <a:gd name="connsiteY5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621108 w 11851944"/>
                  <a:gd name="connsiteY20" fmla="*/ 2849053 h 2969978"/>
                  <a:gd name="connsiteX21" fmla="*/ 10128739 w 11851944"/>
                  <a:gd name="connsiteY21" fmla="*/ 2859101 h 2969978"/>
                  <a:gd name="connsiteX22" fmla="*/ 10048352 w 11851944"/>
                  <a:gd name="connsiteY22" fmla="*/ 2869149 h 2969978"/>
                  <a:gd name="connsiteX23" fmla="*/ 9555982 w 11851944"/>
                  <a:gd name="connsiteY23" fmla="*/ 2859101 h 2969978"/>
                  <a:gd name="connsiteX24" fmla="*/ 9445451 w 11851944"/>
                  <a:gd name="connsiteY24" fmla="*/ 2849053 h 2969978"/>
                  <a:gd name="connsiteX25" fmla="*/ 9415306 w 11851944"/>
                  <a:gd name="connsiteY25" fmla="*/ 2828956 h 2969978"/>
                  <a:gd name="connsiteX26" fmla="*/ 9204290 w 11851944"/>
                  <a:gd name="connsiteY26" fmla="*/ 2808859 h 2969978"/>
                  <a:gd name="connsiteX27" fmla="*/ 9073662 w 11851944"/>
                  <a:gd name="connsiteY27" fmla="*/ 2788762 h 2969978"/>
                  <a:gd name="connsiteX28" fmla="*/ 8812404 w 11851944"/>
                  <a:gd name="connsiteY28" fmla="*/ 2778714 h 2969978"/>
                  <a:gd name="connsiteX29" fmla="*/ 8400422 w 11851944"/>
                  <a:gd name="connsiteY29" fmla="*/ 2768666 h 2969978"/>
                  <a:gd name="connsiteX30" fmla="*/ 8269793 w 11851944"/>
                  <a:gd name="connsiteY30" fmla="*/ 2758617 h 2969978"/>
                  <a:gd name="connsiteX31" fmla="*/ 7797521 w 11851944"/>
                  <a:gd name="connsiteY31" fmla="*/ 2778714 h 2969978"/>
                  <a:gd name="connsiteX32" fmla="*/ 7717134 w 11851944"/>
                  <a:gd name="connsiteY32" fmla="*/ 2788762 h 2969978"/>
                  <a:gd name="connsiteX33" fmla="*/ 7486022 w 11851944"/>
                  <a:gd name="connsiteY33" fmla="*/ 2818908 h 2969978"/>
                  <a:gd name="connsiteX34" fmla="*/ 7395587 w 11851944"/>
                  <a:gd name="connsiteY34" fmla="*/ 2839004 h 2969978"/>
                  <a:gd name="connsiteX35" fmla="*/ 7325248 w 11851944"/>
                  <a:gd name="connsiteY35" fmla="*/ 2849053 h 2969978"/>
                  <a:gd name="connsiteX36" fmla="*/ 6863024 w 11851944"/>
                  <a:gd name="connsiteY36" fmla="*/ 2839004 h 2969978"/>
                  <a:gd name="connsiteX37" fmla="*/ 6722347 w 11851944"/>
                  <a:gd name="connsiteY37" fmla="*/ 2828956 h 2969978"/>
                  <a:gd name="connsiteX38" fmla="*/ 4903596 w 11851944"/>
                  <a:gd name="connsiteY38" fmla="*/ 2879198 h 2969978"/>
                  <a:gd name="connsiteX39" fmla="*/ 4722725 w 11851944"/>
                  <a:gd name="connsiteY39" fmla="*/ 2919391 h 2969978"/>
                  <a:gd name="connsiteX40" fmla="*/ 4300695 w 11851944"/>
                  <a:gd name="connsiteY40" fmla="*/ 2899294 h 2969978"/>
                  <a:gd name="connsiteX41" fmla="*/ 4059534 w 11851944"/>
                  <a:gd name="connsiteY41" fmla="*/ 2859101 h 2969978"/>
                  <a:gd name="connsiteX42" fmla="*/ 3768132 w 11851944"/>
                  <a:gd name="connsiteY42" fmla="*/ 2828956 h 2969978"/>
                  <a:gd name="connsiteX43" fmla="*/ 3627455 w 11851944"/>
                  <a:gd name="connsiteY43" fmla="*/ 2818908 h 2969978"/>
                  <a:gd name="connsiteX44" fmla="*/ 3125037 w 11851944"/>
                  <a:gd name="connsiteY44" fmla="*/ 2828956 h 2969978"/>
                  <a:gd name="connsiteX45" fmla="*/ 3064747 w 11851944"/>
                  <a:gd name="connsiteY45" fmla="*/ 2839004 h 2969978"/>
                  <a:gd name="connsiteX46" fmla="*/ 2009670 w 11851944"/>
                  <a:gd name="connsiteY46" fmla="*/ 2849053 h 2969978"/>
                  <a:gd name="connsiteX47" fmla="*/ 1678075 w 11851944"/>
                  <a:gd name="connsiteY47" fmla="*/ 2939488 h 2969978"/>
                  <a:gd name="connsiteX48" fmla="*/ 1607736 w 11851944"/>
                  <a:gd name="connsiteY48" fmla="*/ 2969633 h 2969978"/>
                  <a:gd name="connsiteX49" fmla="*/ 1135464 w 11851944"/>
                  <a:gd name="connsiteY49" fmla="*/ 2949536 h 2969978"/>
                  <a:gd name="connsiteX50" fmla="*/ 944545 w 11851944"/>
                  <a:gd name="connsiteY50" fmla="*/ 2919391 h 2969978"/>
                  <a:gd name="connsiteX51" fmla="*/ 723481 w 11851944"/>
                  <a:gd name="connsiteY51" fmla="*/ 2879198 h 2969978"/>
                  <a:gd name="connsiteX52" fmla="*/ 643095 w 11851944"/>
                  <a:gd name="connsiteY52" fmla="*/ 2869149 h 2969978"/>
                  <a:gd name="connsiteX53" fmla="*/ 371789 w 11851944"/>
                  <a:gd name="connsiteY53" fmla="*/ 2828956 h 2969978"/>
                  <a:gd name="connsiteX54" fmla="*/ 0 w 11851944"/>
                  <a:gd name="connsiteY5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445451 w 11851944"/>
                  <a:gd name="connsiteY23" fmla="*/ 2849053 h 2969978"/>
                  <a:gd name="connsiteX24" fmla="*/ 9415306 w 11851944"/>
                  <a:gd name="connsiteY24" fmla="*/ 2828956 h 2969978"/>
                  <a:gd name="connsiteX25" fmla="*/ 9204290 w 11851944"/>
                  <a:gd name="connsiteY25" fmla="*/ 2808859 h 2969978"/>
                  <a:gd name="connsiteX26" fmla="*/ 9073662 w 11851944"/>
                  <a:gd name="connsiteY26" fmla="*/ 2788762 h 2969978"/>
                  <a:gd name="connsiteX27" fmla="*/ 8812404 w 11851944"/>
                  <a:gd name="connsiteY27" fmla="*/ 2778714 h 2969978"/>
                  <a:gd name="connsiteX28" fmla="*/ 8400422 w 11851944"/>
                  <a:gd name="connsiteY28" fmla="*/ 2768666 h 2969978"/>
                  <a:gd name="connsiteX29" fmla="*/ 8269793 w 11851944"/>
                  <a:gd name="connsiteY29" fmla="*/ 2758617 h 2969978"/>
                  <a:gd name="connsiteX30" fmla="*/ 7797521 w 11851944"/>
                  <a:gd name="connsiteY30" fmla="*/ 2778714 h 2969978"/>
                  <a:gd name="connsiteX31" fmla="*/ 7717134 w 11851944"/>
                  <a:gd name="connsiteY31" fmla="*/ 2788762 h 2969978"/>
                  <a:gd name="connsiteX32" fmla="*/ 7486022 w 11851944"/>
                  <a:gd name="connsiteY32" fmla="*/ 2818908 h 2969978"/>
                  <a:gd name="connsiteX33" fmla="*/ 7395587 w 11851944"/>
                  <a:gd name="connsiteY33" fmla="*/ 2839004 h 2969978"/>
                  <a:gd name="connsiteX34" fmla="*/ 7325248 w 11851944"/>
                  <a:gd name="connsiteY34" fmla="*/ 2849053 h 2969978"/>
                  <a:gd name="connsiteX35" fmla="*/ 6863024 w 11851944"/>
                  <a:gd name="connsiteY35" fmla="*/ 2839004 h 2969978"/>
                  <a:gd name="connsiteX36" fmla="*/ 6722347 w 11851944"/>
                  <a:gd name="connsiteY36" fmla="*/ 2828956 h 2969978"/>
                  <a:gd name="connsiteX37" fmla="*/ 4903596 w 11851944"/>
                  <a:gd name="connsiteY37" fmla="*/ 2879198 h 2969978"/>
                  <a:gd name="connsiteX38" fmla="*/ 4722725 w 11851944"/>
                  <a:gd name="connsiteY38" fmla="*/ 2919391 h 2969978"/>
                  <a:gd name="connsiteX39" fmla="*/ 4300695 w 11851944"/>
                  <a:gd name="connsiteY39" fmla="*/ 2899294 h 2969978"/>
                  <a:gd name="connsiteX40" fmla="*/ 4059534 w 11851944"/>
                  <a:gd name="connsiteY40" fmla="*/ 2859101 h 2969978"/>
                  <a:gd name="connsiteX41" fmla="*/ 3768132 w 11851944"/>
                  <a:gd name="connsiteY41" fmla="*/ 2828956 h 2969978"/>
                  <a:gd name="connsiteX42" fmla="*/ 3627455 w 11851944"/>
                  <a:gd name="connsiteY42" fmla="*/ 2818908 h 2969978"/>
                  <a:gd name="connsiteX43" fmla="*/ 3125037 w 11851944"/>
                  <a:gd name="connsiteY43" fmla="*/ 2828956 h 2969978"/>
                  <a:gd name="connsiteX44" fmla="*/ 3064747 w 11851944"/>
                  <a:gd name="connsiteY44" fmla="*/ 2839004 h 2969978"/>
                  <a:gd name="connsiteX45" fmla="*/ 2009670 w 11851944"/>
                  <a:gd name="connsiteY45" fmla="*/ 2849053 h 2969978"/>
                  <a:gd name="connsiteX46" fmla="*/ 1678075 w 11851944"/>
                  <a:gd name="connsiteY46" fmla="*/ 2939488 h 2969978"/>
                  <a:gd name="connsiteX47" fmla="*/ 1607736 w 11851944"/>
                  <a:gd name="connsiteY47" fmla="*/ 2969633 h 2969978"/>
                  <a:gd name="connsiteX48" fmla="*/ 1135464 w 11851944"/>
                  <a:gd name="connsiteY48" fmla="*/ 2949536 h 2969978"/>
                  <a:gd name="connsiteX49" fmla="*/ 944545 w 11851944"/>
                  <a:gd name="connsiteY49" fmla="*/ 2919391 h 2969978"/>
                  <a:gd name="connsiteX50" fmla="*/ 723481 w 11851944"/>
                  <a:gd name="connsiteY50" fmla="*/ 2879198 h 2969978"/>
                  <a:gd name="connsiteX51" fmla="*/ 643095 w 11851944"/>
                  <a:gd name="connsiteY51" fmla="*/ 2869149 h 2969978"/>
                  <a:gd name="connsiteX52" fmla="*/ 371789 w 11851944"/>
                  <a:gd name="connsiteY52" fmla="*/ 2828956 h 2969978"/>
                  <a:gd name="connsiteX53" fmla="*/ 0 w 11851944"/>
                  <a:gd name="connsiteY53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445451 w 11851944"/>
                  <a:gd name="connsiteY23" fmla="*/ 2849053 h 2969978"/>
                  <a:gd name="connsiteX24" fmla="*/ 9204290 w 11851944"/>
                  <a:gd name="connsiteY24" fmla="*/ 2808859 h 2969978"/>
                  <a:gd name="connsiteX25" fmla="*/ 9073662 w 11851944"/>
                  <a:gd name="connsiteY25" fmla="*/ 2788762 h 2969978"/>
                  <a:gd name="connsiteX26" fmla="*/ 8812404 w 11851944"/>
                  <a:gd name="connsiteY26" fmla="*/ 2778714 h 2969978"/>
                  <a:gd name="connsiteX27" fmla="*/ 8400422 w 11851944"/>
                  <a:gd name="connsiteY27" fmla="*/ 2768666 h 2969978"/>
                  <a:gd name="connsiteX28" fmla="*/ 8269793 w 11851944"/>
                  <a:gd name="connsiteY28" fmla="*/ 2758617 h 2969978"/>
                  <a:gd name="connsiteX29" fmla="*/ 7797521 w 11851944"/>
                  <a:gd name="connsiteY29" fmla="*/ 2778714 h 2969978"/>
                  <a:gd name="connsiteX30" fmla="*/ 7717134 w 11851944"/>
                  <a:gd name="connsiteY30" fmla="*/ 2788762 h 2969978"/>
                  <a:gd name="connsiteX31" fmla="*/ 7486022 w 11851944"/>
                  <a:gd name="connsiteY31" fmla="*/ 2818908 h 2969978"/>
                  <a:gd name="connsiteX32" fmla="*/ 7395587 w 11851944"/>
                  <a:gd name="connsiteY32" fmla="*/ 2839004 h 2969978"/>
                  <a:gd name="connsiteX33" fmla="*/ 7325248 w 11851944"/>
                  <a:gd name="connsiteY33" fmla="*/ 2849053 h 2969978"/>
                  <a:gd name="connsiteX34" fmla="*/ 6863024 w 11851944"/>
                  <a:gd name="connsiteY34" fmla="*/ 2839004 h 2969978"/>
                  <a:gd name="connsiteX35" fmla="*/ 6722347 w 11851944"/>
                  <a:gd name="connsiteY35" fmla="*/ 2828956 h 2969978"/>
                  <a:gd name="connsiteX36" fmla="*/ 4903596 w 11851944"/>
                  <a:gd name="connsiteY36" fmla="*/ 2879198 h 2969978"/>
                  <a:gd name="connsiteX37" fmla="*/ 4722725 w 11851944"/>
                  <a:gd name="connsiteY37" fmla="*/ 2919391 h 2969978"/>
                  <a:gd name="connsiteX38" fmla="*/ 4300695 w 11851944"/>
                  <a:gd name="connsiteY38" fmla="*/ 2899294 h 2969978"/>
                  <a:gd name="connsiteX39" fmla="*/ 4059534 w 11851944"/>
                  <a:gd name="connsiteY39" fmla="*/ 2859101 h 2969978"/>
                  <a:gd name="connsiteX40" fmla="*/ 3768132 w 11851944"/>
                  <a:gd name="connsiteY40" fmla="*/ 2828956 h 2969978"/>
                  <a:gd name="connsiteX41" fmla="*/ 3627455 w 11851944"/>
                  <a:gd name="connsiteY41" fmla="*/ 2818908 h 2969978"/>
                  <a:gd name="connsiteX42" fmla="*/ 3125037 w 11851944"/>
                  <a:gd name="connsiteY42" fmla="*/ 2828956 h 2969978"/>
                  <a:gd name="connsiteX43" fmla="*/ 3064747 w 11851944"/>
                  <a:gd name="connsiteY43" fmla="*/ 2839004 h 2969978"/>
                  <a:gd name="connsiteX44" fmla="*/ 2009670 w 11851944"/>
                  <a:gd name="connsiteY44" fmla="*/ 2849053 h 2969978"/>
                  <a:gd name="connsiteX45" fmla="*/ 1678075 w 11851944"/>
                  <a:gd name="connsiteY45" fmla="*/ 2939488 h 2969978"/>
                  <a:gd name="connsiteX46" fmla="*/ 1607736 w 11851944"/>
                  <a:gd name="connsiteY46" fmla="*/ 2969633 h 2969978"/>
                  <a:gd name="connsiteX47" fmla="*/ 1135464 w 11851944"/>
                  <a:gd name="connsiteY47" fmla="*/ 2949536 h 2969978"/>
                  <a:gd name="connsiteX48" fmla="*/ 944545 w 11851944"/>
                  <a:gd name="connsiteY48" fmla="*/ 2919391 h 2969978"/>
                  <a:gd name="connsiteX49" fmla="*/ 723481 w 11851944"/>
                  <a:gd name="connsiteY49" fmla="*/ 2879198 h 2969978"/>
                  <a:gd name="connsiteX50" fmla="*/ 643095 w 11851944"/>
                  <a:gd name="connsiteY50" fmla="*/ 2869149 h 2969978"/>
                  <a:gd name="connsiteX51" fmla="*/ 371789 w 11851944"/>
                  <a:gd name="connsiteY51" fmla="*/ 2828956 h 2969978"/>
                  <a:gd name="connsiteX52" fmla="*/ 0 w 11851944"/>
                  <a:gd name="connsiteY52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204290 w 11851944"/>
                  <a:gd name="connsiteY23" fmla="*/ 2808859 h 2969978"/>
                  <a:gd name="connsiteX24" fmla="*/ 9073662 w 11851944"/>
                  <a:gd name="connsiteY24" fmla="*/ 2788762 h 2969978"/>
                  <a:gd name="connsiteX25" fmla="*/ 8812404 w 11851944"/>
                  <a:gd name="connsiteY25" fmla="*/ 2778714 h 2969978"/>
                  <a:gd name="connsiteX26" fmla="*/ 8400422 w 11851944"/>
                  <a:gd name="connsiteY26" fmla="*/ 2768666 h 2969978"/>
                  <a:gd name="connsiteX27" fmla="*/ 8269793 w 11851944"/>
                  <a:gd name="connsiteY27" fmla="*/ 2758617 h 2969978"/>
                  <a:gd name="connsiteX28" fmla="*/ 7797521 w 11851944"/>
                  <a:gd name="connsiteY28" fmla="*/ 2778714 h 2969978"/>
                  <a:gd name="connsiteX29" fmla="*/ 7717134 w 11851944"/>
                  <a:gd name="connsiteY29" fmla="*/ 2788762 h 2969978"/>
                  <a:gd name="connsiteX30" fmla="*/ 7486022 w 11851944"/>
                  <a:gd name="connsiteY30" fmla="*/ 2818908 h 2969978"/>
                  <a:gd name="connsiteX31" fmla="*/ 7395587 w 11851944"/>
                  <a:gd name="connsiteY31" fmla="*/ 2839004 h 2969978"/>
                  <a:gd name="connsiteX32" fmla="*/ 7325248 w 11851944"/>
                  <a:gd name="connsiteY32" fmla="*/ 2849053 h 2969978"/>
                  <a:gd name="connsiteX33" fmla="*/ 6863024 w 11851944"/>
                  <a:gd name="connsiteY33" fmla="*/ 2839004 h 2969978"/>
                  <a:gd name="connsiteX34" fmla="*/ 6722347 w 11851944"/>
                  <a:gd name="connsiteY34" fmla="*/ 2828956 h 2969978"/>
                  <a:gd name="connsiteX35" fmla="*/ 4903596 w 11851944"/>
                  <a:gd name="connsiteY35" fmla="*/ 2879198 h 2969978"/>
                  <a:gd name="connsiteX36" fmla="*/ 4722725 w 11851944"/>
                  <a:gd name="connsiteY36" fmla="*/ 2919391 h 2969978"/>
                  <a:gd name="connsiteX37" fmla="*/ 4300695 w 11851944"/>
                  <a:gd name="connsiteY37" fmla="*/ 2899294 h 2969978"/>
                  <a:gd name="connsiteX38" fmla="*/ 4059534 w 11851944"/>
                  <a:gd name="connsiteY38" fmla="*/ 2859101 h 2969978"/>
                  <a:gd name="connsiteX39" fmla="*/ 3768132 w 11851944"/>
                  <a:gd name="connsiteY39" fmla="*/ 2828956 h 2969978"/>
                  <a:gd name="connsiteX40" fmla="*/ 3627455 w 11851944"/>
                  <a:gd name="connsiteY40" fmla="*/ 2818908 h 2969978"/>
                  <a:gd name="connsiteX41" fmla="*/ 3125037 w 11851944"/>
                  <a:gd name="connsiteY41" fmla="*/ 2828956 h 2969978"/>
                  <a:gd name="connsiteX42" fmla="*/ 3064747 w 11851944"/>
                  <a:gd name="connsiteY42" fmla="*/ 2839004 h 2969978"/>
                  <a:gd name="connsiteX43" fmla="*/ 2009670 w 11851944"/>
                  <a:gd name="connsiteY43" fmla="*/ 2849053 h 2969978"/>
                  <a:gd name="connsiteX44" fmla="*/ 1678075 w 11851944"/>
                  <a:gd name="connsiteY44" fmla="*/ 2939488 h 2969978"/>
                  <a:gd name="connsiteX45" fmla="*/ 1607736 w 11851944"/>
                  <a:gd name="connsiteY45" fmla="*/ 2969633 h 2969978"/>
                  <a:gd name="connsiteX46" fmla="*/ 1135464 w 11851944"/>
                  <a:gd name="connsiteY46" fmla="*/ 2949536 h 2969978"/>
                  <a:gd name="connsiteX47" fmla="*/ 944545 w 11851944"/>
                  <a:gd name="connsiteY47" fmla="*/ 2919391 h 2969978"/>
                  <a:gd name="connsiteX48" fmla="*/ 723481 w 11851944"/>
                  <a:gd name="connsiteY48" fmla="*/ 2879198 h 2969978"/>
                  <a:gd name="connsiteX49" fmla="*/ 643095 w 11851944"/>
                  <a:gd name="connsiteY49" fmla="*/ 2869149 h 2969978"/>
                  <a:gd name="connsiteX50" fmla="*/ 371789 w 11851944"/>
                  <a:gd name="connsiteY50" fmla="*/ 2828956 h 2969978"/>
                  <a:gd name="connsiteX51" fmla="*/ 0 w 11851944"/>
                  <a:gd name="connsiteY51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8400422 w 11851944"/>
                  <a:gd name="connsiteY25" fmla="*/ 2768666 h 2969978"/>
                  <a:gd name="connsiteX26" fmla="*/ 8269793 w 11851944"/>
                  <a:gd name="connsiteY26" fmla="*/ 2758617 h 2969978"/>
                  <a:gd name="connsiteX27" fmla="*/ 7797521 w 11851944"/>
                  <a:gd name="connsiteY27" fmla="*/ 2778714 h 2969978"/>
                  <a:gd name="connsiteX28" fmla="*/ 7717134 w 11851944"/>
                  <a:gd name="connsiteY28" fmla="*/ 2788762 h 2969978"/>
                  <a:gd name="connsiteX29" fmla="*/ 7486022 w 11851944"/>
                  <a:gd name="connsiteY29" fmla="*/ 2818908 h 2969978"/>
                  <a:gd name="connsiteX30" fmla="*/ 7395587 w 11851944"/>
                  <a:gd name="connsiteY30" fmla="*/ 2839004 h 2969978"/>
                  <a:gd name="connsiteX31" fmla="*/ 7325248 w 11851944"/>
                  <a:gd name="connsiteY31" fmla="*/ 2849053 h 2969978"/>
                  <a:gd name="connsiteX32" fmla="*/ 6863024 w 11851944"/>
                  <a:gd name="connsiteY32" fmla="*/ 2839004 h 2969978"/>
                  <a:gd name="connsiteX33" fmla="*/ 6722347 w 11851944"/>
                  <a:gd name="connsiteY33" fmla="*/ 2828956 h 2969978"/>
                  <a:gd name="connsiteX34" fmla="*/ 4903596 w 11851944"/>
                  <a:gd name="connsiteY34" fmla="*/ 2879198 h 2969978"/>
                  <a:gd name="connsiteX35" fmla="*/ 4722725 w 11851944"/>
                  <a:gd name="connsiteY35" fmla="*/ 2919391 h 2969978"/>
                  <a:gd name="connsiteX36" fmla="*/ 4300695 w 11851944"/>
                  <a:gd name="connsiteY36" fmla="*/ 2899294 h 2969978"/>
                  <a:gd name="connsiteX37" fmla="*/ 4059534 w 11851944"/>
                  <a:gd name="connsiteY37" fmla="*/ 2859101 h 2969978"/>
                  <a:gd name="connsiteX38" fmla="*/ 3768132 w 11851944"/>
                  <a:gd name="connsiteY38" fmla="*/ 2828956 h 2969978"/>
                  <a:gd name="connsiteX39" fmla="*/ 3627455 w 11851944"/>
                  <a:gd name="connsiteY39" fmla="*/ 2818908 h 2969978"/>
                  <a:gd name="connsiteX40" fmla="*/ 3125037 w 11851944"/>
                  <a:gd name="connsiteY40" fmla="*/ 2828956 h 2969978"/>
                  <a:gd name="connsiteX41" fmla="*/ 3064747 w 11851944"/>
                  <a:gd name="connsiteY41" fmla="*/ 2839004 h 2969978"/>
                  <a:gd name="connsiteX42" fmla="*/ 2009670 w 11851944"/>
                  <a:gd name="connsiteY42" fmla="*/ 2849053 h 2969978"/>
                  <a:gd name="connsiteX43" fmla="*/ 1678075 w 11851944"/>
                  <a:gd name="connsiteY43" fmla="*/ 2939488 h 2969978"/>
                  <a:gd name="connsiteX44" fmla="*/ 1607736 w 11851944"/>
                  <a:gd name="connsiteY44" fmla="*/ 2969633 h 2969978"/>
                  <a:gd name="connsiteX45" fmla="*/ 1135464 w 11851944"/>
                  <a:gd name="connsiteY45" fmla="*/ 2949536 h 2969978"/>
                  <a:gd name="connsiteX46" fmla="*/ 944545 w 11851944"/>
                  <a:gd name="connsiteY46" fmla="*/ 2919391 h 2969978"/>
                  <a:gd name="connsiteX47" fmla="*/ 723481 w 11851944"/>
                  <a:gd name="connsiteY47" fmla="*/ 2879198 h 2969978"/>
                  <a:gd name="connsiteX48" fmla="*/ 643095 w 11851944"/>
                  <a:gd name="connsiteY48" fmla="*/ 2869149 h 2969978"/>
                  <a:gd name="connsiteX49" fmla="*/ 371789 w 11851944"/>
                  <a:gd name="connsiteY49" fmla="*/ 2828956 h 2969978"/>
                  <a:gd name="connsiteX50" fmla="*/ 0 w 11851944"/>
                  <a:gd name="connsiteY50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8269793 w 11851944"/>
                  <a:gd name="connsiteY25" fmla="*/ 2758617 h 2969978"/>
                  <a:gd name="connsiteX26" fmla="*/ 7797521 w 11851944"/>
                  <a:gd name="connsiteY26" fmla="*/ 2778714 h 2969978"/>
                  <a:gd name="connsiteX27" fmla="*/ 7717134 w 11851944"/>
                  <a:gd name="connsiteY27" fmla="*/ 2788762 h 2969978"/>
                  <a:gd name="connsiteX28" fmla="*/ 7486022 w 11851944"/>
                  <a:gd name="connsiteY28" fmla="*/ 2818908 h 2969978"/>
                  <a:gd name="connsiteX29" fmla="*/ 7395587 w 11851944"/>
                  <a:gd name="connsiteY29" fmla="*/ 2839004 h 2969978"/>
                  <a:gd name="connsiteX30" fmla="*/ 7325248 w 11851944"/>
                  <a:gd name="connsiteY30" fmla="*/ 2849053 h 2969978"/>
                  <a:gd name="connsiteX31" fmla="*/ 6863024 w 11851944"/>
                  <a:gd name="connsiteY31" fmla="*/ 2839004 h 2969978"/>
                  <a:gd name="connsiteX32" fmla="*/ 6722347 w 11851944"/>
                  <a:gd name="connsiteY32" fmla="*/ 2828956 h 2969978"/>
                  <a:gd name="connsiteX33" fmla="*/ 4903596 w 11851944"/>
                  <a:gd name="connsiteY33" fmla="*/ 2879198 h 2969978"/>
                  <a:gd name="connsiteX34" fmla="*/ 4722725 w 11851944"/>
                  <a:gd name="connsiteY34" fmla="*/ 2919391 h 2969978"/>
                  <a:gd name="connsiteX35" fmla="*/ 4300695 w 11851944"/>
                  <a:gd name="connsiteY35" fmla="*/ 2899294 h 2969978"/>
                  <a:gd name="connsiteX36" fmla="*/ 4059534 w 11851944"/>
                  <a:gd name="connsiteY36" fmla="*/ 2859101 h 2969978"/>
                  <a:gd name="connsiteX37" fmla="*/ 3768132 w 11851944"/>
                  <a:gd name="connsiteY37" fmla="*/ 2828956 h 2969978"/>
                  <a:gd name="connsiteX38" fmla="*/ 3627455 w 11851944"/>
                  <a:gd name="connsiteY38" fmla="*/ 2818908 h 2969978"/>
                  <a:gd name="connsiteX39" fmla="*/ 3125037 w 11851944"/>
                  <a:gd name="connsiteY39" fmla="*/ 2828956 h 2969978"/>
                  <a:gd name="connsiteX40" fmla="*/ 3064747 w 11851944"/>
                  <a:gd name="connsiteY40" fmla="*/ 2839004 h 2969978"/>
                  <a:gd name="connsiteX41" fmla="*/ 2009670 w 11851944"/>
                  <a:gd name="connsiteY41" fmla="*/ 2849053 h 2969978"/>
                  <a:gd name="connsiteX42" fmla="*/ 1678075 w 11851944"/>
                  <a:gd name="connsiteY42" fmla="*/ 2939488 h 2969978"/>
                  <a:gd name="connsiteX43" fmla="*/ 1607736 w 11851944"/>
                  <a:gd name="connsiteY43" fmla="*/ 2969633 h 2969978"/>
                  <a:gd name="connsiteX44" fmla="*/ 1135464 w 11851944"/>
                  <a:gd name="connsiteY44" fmla="*/ 2949536 h 2969978"/>
                  <a:gd name="connsiteX45" fmla="*/ 944545 w 11851944"/>
                  <a:gd name="connsiteY45" fmla="*/ 2919391 h 2969978"/>
                  <a:gd name="connsiteX46" fmla="*/ 723481 w 11851944"/>
                  <a:gd name="connsiteY46" fmla="*/ 2879198 h 2969978"/>
                  <a:gd name="connsiteX47" fmla="*/ 643095 w 11851944"/>
                  <a:gd name="connsiteY47" fmla="*/ 2869149 h 2969978"/>
                  <a:gd name="connsiteX48" fmla="*/ 371789 w 11851944"/>
                  <a:gd name="connsiteY48" fmla="*/ 2828956 h 2969978"/>
                  <a:gd name="connsiteX49" fmla="*/ 0 w 11851944"/>
                  <a:gd name="connsiteY49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797521 w 11851944"/>
                  <a:gd name="connsiteY25" fmla="*/ 2778714 h 2969978"/>
                  <a:gd name="connsiteX26" fmla="*/ 7717134 w 11851944"/>
                  <a:gd name="connsiteY26" fmla="*/ 2788762 h 2969978"/>
                  <a:gd name="connsiteX27" fmla="*/ 7486022 w 11851944"/>
                  <a:gd name="connsiteY27" fmla="*/ 2818908 h 2969978"/>
                  <a:gd name="connsiteX28" fmla="*/ 7395587 w 11851944"/>
                  <a:gd name="connsiteY28" fmla="*/ 2839004 h 2969978"/>
                  <a:gd name="connsiteX29" fmla="*/ 7325248 w 11851944"/>
                  <a:gd name="connsiteY29" fmla="*/ 2849053 h 2969978"/>
                  <a:gd name="connsiteX30" fmla="*/ 6863024 w 11851944"/>
                  <a:gd name="connsiteY30" fmla="*/ 2839004 h 2969978"/>
                  <a:gd name="connsiteX31" fmla="*/ 6722347 w 11851944"/>
                  <a:gd name="connsiteY31" fmla="*/ 2828956 h 2969978"/>
                  <a:gd name="connsiteX32" fmla="*/ 4903596 w 11851944"/>
                  <a:gd name="connsiteY32" fmla="*/ 2879198 h 2969978"/>
                  <a:gd name="connsiteX33" fmla="*/ 4722725 w 11851944"/>
                  <a:gd name="connsiteY33" fmla="*/ 2919391 h 2969978"/>
                  <a:gd name="connsiteX34" fmla="*/ 4300695 w 11851944"/>
                  <a:gd name="connsiteY34" fmla="*/ 2899294 h 2969978"/>
                  <a:gd name="connsiteX35" fmla="*/ 4059534 w 11851944"/>
                  <a:gd name="connsiteY35" fmla="*/ 2859101 h 2969978"/>
                  <a:gd name="connsiteX36" fmla="*/ 3768132 w 11851944"/>
                  <a:gd name="connsiteY36" fmla="*/ 2828956 h 2969978"/>
                  <a:gd name="connsiteX37" fmla="*/ 3627455 w 11851944"/>
                  <a:gd name="connsiteY37" fmla="*/ 2818908 h 2969978"/>
                  <a:gd name="connsiteX38" fmla="*/ 3125037 w 11851944"/>
                  <a:gd name="connsiteY38" fmla="*/ 2828956 h 2969978"/>
                  <a:gd name="connsiteX39" fmla="*/ 3064747 w 11851944"/>
                  <a:gd name="connsiteY39" fmla="*/ 2839004 h 2969978"/>
                  <a:gd name="connsiteX40" fmla="*/ 2009670 w 11851944"/>
                  <a:gd name="connsiteY40" fmla="*/ 2849053 h 2969978"/>
                  <a:gd name="connsiteX41" fmla="*/ 1678075 w 11851944"/>
                  <a:gd name="connsiteY41" fmla="*/ 2939488 h 2969978"/>
                  <a:gd name="connsiteX42" fmla="*/ 1607736 w 11851944"/>
                  <a:gd name="connsiteY42" fmla="*/ 2969633 h 2969978"/>
                  <a:gd name="connsiteX43" fmla="*/ 1135464 w 11851944"/>
                  <a:gd name="connsiteY43" fmla="*/ 2949536 h 2969978"/>
                  <a:gd name="connsiteX44" fmla="*/ 944545 w 11851944"/>
                  <a:gd name="connsiteY44" fmla="*/ 2919391 h 2969978"/>
                  <a:gd name="connsiteX45" fmla="*/ 723481 w 11851944"/>
                  <a:gd name="connsiteY45" fmla="*/ 2879198 h 2969978"/>
                  <a:gd name="connsiteX46" fmla="*/ 643095 w 11851944"/>
                  <a:gd name="connsiteY46" fmla="*/ 2869149 h 2969978"/>
                  <a:gd name="connsiteX47" fmla="*/ 371789 w 11851944"/>
                  <a:gd name="connsiteY47" fmla="*/ 2828956 h 2969978"/>
                  <a:gd name="connsiteX48" fmla="*/ 0 w 11851944"/>
                  <a:gd name="connsiteY48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797521 w 11851944"/>
                  <a:gd name="connsiteY25" fmla="*/ 2778714 h 2969978"/>
                  <a:gd name="connsiteX26" fmla="*/ 7486022 w 11851944"/>
                  <a:gd name="connsiteY26" fmla="*/ 2818908 h 2969978"/>
                  <a:gd name="connsiteX27" fmla="*/ 7395587 w 11851944"/>
                  <a:gd name="connsiteY27" fmla="*/ 2839004 h 2969978"/>
                  <a:gd name="connsiteX28" fmla="*/ 7325248 w 11851944"/>
                  <a:gd name="connsiteY28" fmla="*/ 2849053 h 2969978"/>
                  <a:gd name="connsiteX29" fmla="*/ 6863024 w 11851944"/>
                  <a:gd name="connsiteY29" fmla="*/ 2839004 h 2969978"/>
                  <a:gd name="connsiteX30" fmla="*/ 6722347 w 11851944"/>
                  <a:gd name="connsiteY30" fmla="*/ 2828956 h 2969978"/>
                  <a:gd name="connsiteX31" fmla="*/ 4903596 w 11851944"/>
                  <a:gd name="connsiteY31" fmla="*/ 2879198 h 2969978"/>
                  <a:gd name="connsiteX32" fmla="*/ 4722725 w 11851944"/>
                  <a:gd name="connsiteY32" fmla="*/ 2919391 h 2969978"/>
                  <a:gd name="connsiteX33" fmla="*/ 4300695 w 11851944"/>
                  <a:gd name="connsiteY33" fmla="*/ 2899294 h 2969978"/>
                  <a:gd name="connsiteX34" fmla="*/ 4059534 w 11851944"/>
                  <a:gd name="connsiteY34" fmla="*/ 2859101 h 2969978"/>
                  <a:gd name="connsiteX35" fmla="*/ 3768132 w 11851944"/>
                  <a:gd name="connsiteY35" fmla="*/ 2828956 h 2969978"/>
                  <a:gd name="connsiteX36" fmla="*/ 3627455 w 11851944"/>
                  <a:gd name="connsiteY36" fmla="*/ 2818908 h 2969978"/>
                  <a:gd name="connsiteX37" fmla="*/ 3125037 w 11851944"/>
                  <a:gd name="connsiteY37" fmla="*/ 2828956 h 2969978"/>
                  <a:gd name="connsiteX38" fmla="*/ 3064747 w 11851944"/>
                  <a:gd name="connsiteY38" fmla="*/ 2839004 h 2969978"/>
                  <a:gd name="connsiteX39" fmla="*/ 2009670 w 11851944"/>
                  <a:gd name="connsiteY39" fmla="*/ 2849053 h 2969978"/>
                  <a:gd name="connsiteX40" fmla="*/ 1678075 w 11851944"/>
                  <a:gd name="connsiteY40" fmla="*/ 2939488 h 2969978"/>
                  <a:gd name="connsiteX41" fmla="*/ 1607736 w 11851944"/>
                  <a:gd name="connsiteY41" fmla="*/ 2969633 h 2969978"/>
                  <a:gd name="connsiteX42" fmla="*/ 1135464 w 11851944"/>
                  <a:gd name="connsiteY42" fmla="*/ 2949536 h 2969978"/>
                  <a:gd name="connsiteX43" fmla="*/ 944545 w 11851944"/>
                  <a:gd name="connsiteY43" fmla="*/ 2919391 h 2969978"/>
                  <a:gd name="connsiteX44" fmla="*/ 723481 w 11851944"/>
                  <a:gd name="connsiteY44" fmla="*/ 2879198 h 2969978"/>
                  <a:gd name="connsiteX45" fmla="*/ 643095 w 11851944"/>
                  <a:gd name="connsiteY45" fmla="*/ 2869149 h 2969978"/>
                  <a:gd name="connsiteX46" fmla="*/ 371789 w 11851944"/>
                  <a:gd name="connsiteY46" fmla="*/ 2828956 h 2969978"/>
                  <a:gd name="connsiteX47" fmla="*/ 0 w 11851944"/>
                  <a:gd name="connsiteY47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486022 w 11851944"/>
                  <a:gd name="connsiteY25" fmla="*/ 2818908 h 2969978"/>
                  <a:gd name="connsiteX26" fmla="*/ 7395587 w 11851944"/>
                  <a:gd name="connsiteY26" fmla="*/ 2839004 h 2969978"/>
                  <a:gd name="connsiteX27" fmla="*/ 7325248 w 11851944"/>
                  <a:gd name="connsiteY27" fmla="*/ 2849053 h 2969978"/>
                  <a:gd name="connsiteX28" fmla="*/ 6863024 w 11851944"/>
                  <a:gd name="connsiteY28" fmla="*/ 2839004 h 2969978"/>
                  <a:gd name="connsiteX29" fmla="*/ 6722347 w 11851944"/>
                  <a:gd name="connsiteY29" fmla="*/ 2828956 h 2969978"/>
                  <a:gd name="connsiteX30" fmla="*/ 4903596 w 11851944"/>
                  <a:gd name="connsiteY30" fmla="*/ 2879198 h 2969978"/>
                  <a:gd name="connsiteX31" fmla="*/ 4722725 w 11851944"/>
                  <a:gd name="connsiteY31" fmla="*/ 2919391 h 2969978"/>
                  <a:gd name="connsiteX32" fmla="*/ 4300695 w 11851944"/>
                  <a:gd name="connsiteY32" fmla="*/ 2899294 h 2969978"/>
                  <a:gd name="connsiteX33" fmla="*/ 4059534 w 11851944"/>
                  <a:gd name="connsiteY33" fmla="*/ 2859101 h 2969978"/>
                  <a:gd name="connsiteX34" fmla="*/ 3768132 w 11851944"/>
                  <a:gd name="connsiteY34" fmla="*/ 2828956 h 2969978"/>
                  <a:gd name="connsiteX35" fmla="*/ 3627455 w 11851944"/>
                  <a:gd name="connsiteY35" fmla="*/ 2818908 h 2969978"/>
                  <a:gd name="connsiteX36" fmla="*/ 3125037 w 11851944"/>
                  <a:gd name="connsiteY36" fmla="*/ 2828956 h 2969978"/>
                  <a:gd name="connsiteX37" fmla="*/ 3064747 w 11851944"/>
                  <a:gd name="connsiteY37" fmla="*/ 2839004 h 2969978"/>
                  <a:gd name="connsiteX38" fmla="*/ 2009670 w 11851944"/>
                  <a:gd name="connsiteY38" fmla="*/ 2849053 h 2969978"/>
                  <a:gd name="connsiteX39" fmla="*/ 1678075 w 11851944"/>
                  <a:gd name="connsiteY39" fmla="*/ 2939488 h 2969978"/>
                  <a:gd name="connsiteX40" fmla="*/ 1607736 w 11851944"/>
                  <a:gd name="connsiteY40" fmla="*/ 2969633 h 2969978"/>
                  <a:gd name="connsiteX41" fmla="*/ 1135464 w 11851944"/>
                  <a:gd name="connsiteY41" fmla="*/ 2949536 h 2969978"/>
                  <a:gd name="connsiteX42" fmla="*/ 944545 w 11851944"/>
                  <a:gd name="connsiteY42" fmla="*/ 2919391 h 2969978"/>
                  <a:gd name="connsiteX43" fmla="*/ 723481 w 11851944"/>
                  <a:gd name="connsiteY43" fmla="*/ 2879198 h 2969978"/>
                  <a:gd name="connsiteX44" fmla="*/ 643095 w 11851944"/>
                  <a:gd name="connsiteY44" fmla="*/ 2869149 h 2969978"/>
                  <a:gd name="connsiteX45" fmla="*/ 371789 w 11851944"/>
                  <a:gd name="connsiteY45" fmla="*/ 2828956 h 2969978"/>
                  <a:gd name="connsiteX46" fmla="*/ 0 w 11851944"/>
                  <a:gd name="connsiteY46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7395587 w 11851944"/>
                  <a:gd name="connsiteY25" fmla="*/ 2839004 h 2969978"/>
                  <a:gd name="connsiteX26" fmla="*/ 7325248 w 11851944"/>
                  <a:gd name="connsiteY26" fmla="*/ 2849053 h 2969978"/>
                  <a:gd name="connsiteX27" fmla="*/ 6863024 w 11851944"/>
                  <a:gd name="connsiteY27" fmla="*/ 2839004 h 2969978"/>
                  <a:gd name="connsiteX28" fmla="*/ 6722347 w 11851944"/>
                  <a:gd name="connsiteY28" fmla="*/ 2828956 h 2969978"/>
                  <a:gd name="connsiteX29" fmla="*/ 4903596 w 11851944"/>
                  <a:gd name="connsiteY29" fmla="*/ 2879198 h 2969978"/>
                  <a:gd name="connsiteX30" fmla="*/ 4722725 w 11851944"/>
                  <a:gd name="connsiteY30" fmla="*/ 2919391 h 2969978"/>
                  <a:gd name="connsiteX31" fmla="*/ 4300695 w 11851944"/>
                  <a:gd name="connsiteY31" fmla="*/ 2899294 h 2969978"/>
                  <a:gd name="connsiteX32" fmla="*/ 4059534 w 11851944"/>
                  <a:gd name="connsiteY32" fmla="*/ 2859101 h 2969978"/>
                  <a:gd name="connsiteX33" fmla="*/ 3768132 w 11851944"/>
                  <a:gd name="connsiteY33" fmla="*/ 2828956 h 2969978"/>
                  <a:gd name="connsiteX34" fmla="*/ 3627455 w 11851944"/>
                  <a:gd name="connsiteY34" fmla="*/ 2818908 h 2969978"/>
                  <a:gd name="connsiteX35" fmla="*/ 3125037 w 11851944"/>
                  <a:gd name="connsiteY35" fmla="*/ 2828956 h 2969978"/>
                  <a:gd name="connsiteX36" fmla="*/ 3064747 w 11851944"/>
                  <a:gd name="connsiteY36" fmla="*/ 2839004 h 2969978"/>
                  <a:gd name="connsiteX37" fmla="*/ 2009670 w 11851944"/>
                  <a:gd name="connsiteY37" fmla="*/ 2849053 h 2969978"/>
                  <a:gd name="connsiteX38" fmla="*/ 1678075 w 11851944"/>
                  <a:gd name="connsiteY38" fmla="*/ 2939488 h 2969978"/>
                  <a:gd name="connsiteX39" fmla="*/ 1607736 w 11851944"/>
                  <a:gd name="connsiteY39" fmla="*/ 2969633 h 2969978"/>
                  <a:gd name="connsiteX40" fmla="*/ 1135464 w 11851944"/>
                  <a:gd name="connsiteY40" fmla="*/ 2949536 h 2969978"/>
                  <a:gd name="connsiteX41" fmla="*/ 944545 w 11851944"/>
                  <a:gd name="connsiteY41" fmla="*/ 2919391 h 2969978"/>
                  <a:gd name="connsiteX42" fmla="*/ 723481 w 11851944"/>
                  <a:gd name="connsiteY42" fmla="*/ 2879198 h 2969978"/>
                  <a:gd name="connsiteX43" fmla="*/ 643095 w 11851944"/>
                  <a:gd name="connsiteY43" fmla="*/ 2869149 h 2969978"/>
                  <a:gd name="connsiteX44" fmla="*/ 371789 w 11851944"/>
                  <a:gd name="connsiteY44" fmla="*/ 2828956 h 2969978"/>
                  <a:gd name="connsiteX45" fmla="*/ 0 w 11851944"/>
                  <a:gd name="connsiteY45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7395587 w 11851944"/>
                  <a:gd name="connsiteY25" fmla="*/ 2839004 h 2969978"/>
                  <a:gd name="connsiteX26" fmla="*/ 6863024 w 11851944"/>
                  <a:gd name="connsiteY26" fmla="*/ 2839004 h 2969978"/>
                  <a:gd name="connsiteX27" fmla="*/ 6722347 w 11851944"/>
                  <a:gd name="connsiteY27" fmla="*/ 2828956 h 2969978"/>
                  <a:gd name="connsiteX28" fmla="*/ 4903596 w 11851944"/>
                  <a:gd name="connsiteY28" fmla="*/ 2879198 h 2969978"/>
                  <a:gd name="connsiteX29" fmla="*/ 4722725 w 11851944"/>
                  <a:gd name="connsiteY29" fmla="*/ 2919391 h 2969978"/>
                  <a:gd name="connsiteX30" fmla="*/ 4300695 w 11851944"/>
                  <a:gd name="connsiteY30" fmla="*/ 2899294 h 2969978"/>
                  <a:gd name="connsiteX31" fmla="*/ 4059534 w 11851944"/>
                  <a:gd name="connsiteY31" fmla="*/ 2859101 h 2969978"/>
                  <a:gd name="connsiteX32" fmla="*/ 3768132 w 11851944"/>
                  <a:gd name="connsiteY32" fmla="*/ 2828956 h 2969978"/>
                  <a:gd name="connsiteX33" fmla="*/ 3627455 w 11851944"/>
                  <a:gd name="connsiteY33" fmla="*/ 2818908 h 2969978"/>
                  <a:gd name="connsiteX34" fmla="*/ 3125037 w 11851944"/>
                  <a:gd name="connsiteY34" fmla="*/ 2828956 h 2969978"/>
                  <a:gd name="connsiteX35" fmla="*/ 3064747 w 11851944"/>
                  <a:gd name="connsiteY35" fmla="*/ 2839004 h 2969978"/>
                  <a:gd name="connsiteX36" fmla="*/ 2009670 w 11851944"/>
                  <a:gd name="connsiteY36" fmla="*/ 2849053 h 2969978"/>
                  <a:gd name="connsiteX37" fmla="*/ 1678075 w 11851944"/>
                  <a:gd name="connsiteY37" fmla="*/ 2939488 h 2969978"/>
                  <a:gd name="connsiteX38" fmla="*/ 1607736 w 11851944"/>
                  <a:gd name="connsiteY38" fmla="*/ 2969633 h 2969978"/>
                  <a:gd name="connsiteX39" fmla="*/ 1135464 w 11851944"/>
                  <a:gd name="connsiteY39" fmla="*/ 2949536 h 2969978"/>
                  <a:gd name="connsiteX40" fmla="*/ 944545 w 11851944"/>
                  <a:gd name="connsiteY40" fmla="*/ 2919391 h 2969978"/>
                  <a:gd name="connsiteX41" fmla="*/ 723481 w 11851944"/>
                  <a:gd name="connsiteY41" fmla="*/ 2879198 h 2969978"/>
                  <a:gd name="connsiteX42" fmla="*/ 643095 w 11851944"/>
                  <a:gd name="connsiteY42" fmla="*/ 2869149 h 2969978"/>
                  <a:gd name="connsiteX43" fmla="*/ 371789 w 11851944"/>
                  <a:gd name="connsiteY43" fmla="*/ 2828956 h 2969978"/>
                  <a:gd name="connsiteX44" fmla="*/ 0 w 11851944"/>
                  <a:gd name="connsiteY4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6863024 w 11851944"/>
                  <a:gd name="connsiteY25" fmla="*/ 2839004 h 2969978"/>
                  <a:gd name="connsiteX26" fmla="*/ 6722347 w 11851944"/>
                  <a:gd name="connsiteY26" fmla="*/ 2828956 h 2969978"/>
                  <a:gd name="connsiteX27" fmla="*/ 4903596 w 11851944"/>
                  <a:gd name="connsiteY27" fmla="*/ 2879198 h 2969978"/>
                  <a:gd name="connsiteX28" fmla="*/ 4722725 w 11851944"/>
                  <a:gd name="connsiteY28" fmla="*/ 2919391 h 2969978"/>
                  <a:gd name="connsiteX29" fmla="*/ 4300695 w 11851944"/>
                  <a:gd name="connsiteY29" fmla="*/ 2899294 h 2969978"/>
                  <a:gd name="connsiteX30" fmla="*/ 4059534 w 11851944"/>
                  <a:gd name="connsiteY30" fmla="*/ 2859101 h 2969978"/>
                  <a:gd name="connsiteX31" fmla="*/ 3768132 w 11851944"/>
                  <a:gd name="connsiteY31" fmla="*/ 2828956 h 2969978"/>
                  <a:gd name="connsiteX32" fmla="*/ 3627455 w 11851944"/>
                  <a:gd name="connsiteY32" fmla="*/ 2818908 h 2969978"/>
                  <a:gd name="connsiteX33" fmla="*/ 3125037 w 11851944"/>
                  <a:gd name="connsiteY33" fmla="*/ 2828956 h 2969978"/>
                  <a:gd name="connsiteX34" fmla="*/ 3064747 w 11851944"/>
                  <a:gd name="connsiteY34" fmla="*/ 2839004 h 2969978"/>
                  <a:gd name="connsiteX35" fmla="*/ 2009670 w 11851944"/>
                  <a:gd name="connsiteY35" fmla="*/ 2849053 h 2969978"/>
                  <a:gd name="connsiteX36" fmla="*/ 1678075 w 11851944"/>
                  <a:gd name="connsiteY36" fmla="*/ 2939488 h 2969978"/>
                  <a:gd name="connsiteX37" fmla="*/ 1607736 w 11851944"/>
                  <a:gd name="connsiteY37" fmla="*/ 2969633 h 2969978"/>
                  <a:gd name="connsiteX38" fmla="*/ 1135464 w 11851944"/>
                  <a:gd name="connsiteY38" fmla="*/ 2949536 h 2969978"/>
                  <a:gd name="connsiteX39" fmla="*/ 944545 w 11851944"/>
                  <a:gd name="connsiteY39" fmla="*/ 2919391 h 2969978"/>
                  <a:gd name="connsiteX40" fmla="*/ 723481 w 11851944"/>
                  <a:gd name="connsiteY40" fmla="*/ 2879198 h 2969978"/>
                  <a:gd name="connsiteX41" fmla="*/ 643095 w 11851944"/>
                  <a:gd name="connsiteY41" fmla="*/ 2869149 h 2969978"/>
                  <a:gd name="connsiteX42" fmla="*/ 371789 w 11851944"/>
                  <a:gd name="connsiteY42" fmla="*/ 2828956 h 2969978"/>
                  <a:gd name="connsiteX43" fmla="*/ 0 w 11851944"/>
                  <a:gd name="connsiteY43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722725 w 11851944"/>
                  <a:gd name="connsiteY27" fmla="*/ 2919391 h 2969978"/>
                  <a:gd name="connsiteX28" fmla="*/ 4300695 w 11851944"/>
                  <a:gd name="connsiteY28" fmla="*/ 2899294 h 2969978"/>
                  <a:gd name="connsiteX29" fmla="*/ 4059534 w 11851944"/>
                  <a:gd name="connsiteY29" fmla="*/ 2859101 h 2969978"/>
                  <a:gd name="connsiteX30" fmla="*/ 3768132 w 11851944"/>
                  <a:gd name="connsiteY30" fmla="*/ 2828956 h 2969978"/>
                  <a:gd name="connsiteX31" fmla="*/ 3627455 w 11851944"/>
                  <a:gd name="connsiteY31" fmla="*/ 2818908 h 2969978"/>
                  <a:gd name="connsiteX32" fmla="*/ 3125037 w 11851944"/>
                  <a:gd name="connsiteY32" fmla="*/ 2828956 h 2969978"/>
                  <a:gd name="connsiteX33" fmla="*/ 3064747 w 11851944"/>
                  <a:gd name="connsiteY33" fmla="*/ 2839004 h 2969978"/>
                  <a:gd name="connsiteX34" fmla="*/ 2009670 w 11851944"/>
                  <a:gd name="connsiteY34" fmla="*/ 2849053 h 2969978"/>
                  <a:gd name="connsiteX35" fmla="*/ 1678075 w 11851944"/>
                  <a:gd name="connsiteY35" fmla="*/ 2939488 h 2969978"/>
                  <a:gd name="connsiteX36" fmla="*/ 1607736 w 11851944"/>
                  <a:gd name="connsiteY36" fmla="*/ 2969633 h 2969978"/>
                  <a:gd name="connsiteX37" fmla="*/ 1135464 w 11851944"/>
                  <a:gd name="connsiteY37" fmla="*/ 2949536 h 2969978"/>
                  <a:gd name="connsiteX38" fmla="*/ 944545 w 11851944"/>
                  <a:gd name="connsiteY38" fmla="*/ 2919391 h 2969978"/>
                  <a:gd name="connsiteX39" fmla="*/ 723481 w 11851944"/>
                  <a:gd name="connsiteY39" fmla="*/ 2879198 h 2969978"/>
                  <a:gd name="connsiteX40" fmla="*/ 643095 w 11851944"/>
                  <a:gd name="connsiteY40" fmla="*/ 2869149 h 2969978"/>
                  <a:gd name="connsiteX41" fmla="*/ 371789 w 11851944"/>
                  <a:gd name="connsiteY41" fmla="*/ 2828956 h 2969978"/>
                  <a:gd name="connsiteX42" fmla="*/ 0 w 11851944"/>
                  <a:gd name="connsiteY42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300695 w 11851944"/>
                  <a:gd name="connsiteY27" fmla="*/ 2899294 h 2969978"/>
                  <a:gd name="connsiteX28" fmla="*/ 4059534 w 11851944"/>
                  <a:gd name="connsiteY28" fmla="*/ 2859101 h 2969978"/>
                  <a:gd name="connsiteX29" fmla="*/ 3768132 w 11851944"/>
                  <a:gd name="connsiteY29" fmla="*/ 2828956 h 2969978"/>
                  <a:gd name="connsiteX30" fmla="*/ 3627455 w 11851944"/>
                  <a:gd name="connsiteY30" fmla="*/ 2818908 h 2969978"/>
                  <a:gd name="connsiteX31" fmla="*/ 3125037 w 11851944"/>
                  <a:gd name="connsiteY31" fmla="*/ 2828956 h 2969978"/>
                  <a:gd name="connsiteX32" fmla="*/ 3064747 w 11851944"/>
                  <a:gd name="connsiteY32" fmla="*/ 2839004 h 2969978"/>
                  <a:gd name="connsiteX33" fmla="*/ 2009670 w 11851944"/>
                  <a:gd name="connsiteY33" fmla="*/ 2849053 h 2969978"/>
                  <a:gd name="connsiteX34" fmla="*/ 1678075 w 11851944"/>
                  <a:gd name="connsiteY34" fmla="*/ 2939488 h 2969978"/>
                  <a:gd name="connsiteX35" fmla="*/ 1607736 w 11851944"/>
                  <a:gd name="connsiteY35" fmla="*/ 2969633 h 2969978"/>
                  <a:gd name="connsiteX36" fmla="*/ 1135464 w 11851944"/>
                  <a:gd name="connsiteY36" fmla="*/ 2949536 h 2969978"/>
                  <a:gd name="connsiteX37" fmla="*/ 944545 w 11851944"/>
                  <a:gd name="connsiteY37" fmla="*/ 2919391 h 2969978"/>
                  <a:gd name="connsiteX38" fmla="*/ 723481 w 11851944"/>
                  <a:gd name="connsiteY38" fmla="*/ 2879198 h 2969978"/>
                  <a:gd name="connsiteX39" fmla="*/ 643095 w 11851944"/>
                  <a:gd name="connsiteY39" fmla="*/ 2869149 h 2969978"/>
                  <a:gd name="connsiteX40" fmla="*/ 371789 w 11851944"/>
                  <a:gd name="connsiteY40" fmla="*/ 2828956 h 2969978"/>
                  <a:gd name="connsiteX41" fmla="*/ 0 w 11851944"/>
                  <a:gd name="connsiteY41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768132 w 11851944"/>
                  <a:gd name="connsiteY28" fmla="*/ 2828956 h 2969978"/>
                  <a:gd name="connsiteX29" fmla="*/ 3627455 w 11851944"/>
                  <a:gd name="connsiteY29" fmla="*/ 2818908 h 2969978"/>
                  <a:gd name="connsiteX30" fmla="*/ 3125037 w 11851944"/>
                  <a:gd name="connsiteY30" fmla="*/ 2828956 h 2969978"/>
                  <a:gd name="connsiteX31" fmla="*/ 3064747 w 11851944"/>
                  <a:gd name="connsiteY31" fmla="*/ 2839004 h 2969978"/>
                  <a:gd name="connsiteX32" fmla="*/ 2009670 w 11851944"/>
                  <a:gd name="connsiteY32" fmla="*/ 2849053 h 2969978"/>
                  <a:gd name="connsiteX33" fmla="*/ 1678075 w 11851944"/>
                  <a:gd name="connsiteY33" fmla="*/ 2939488 h 2969978"/>
                  <a:gd name="connsiteX34" fmla="*/ 1607736 w 11851944"/>
                  <a:gd name="connsiteY34" fmla="*/ 2969633 h 2969978"/>
                  <a:gd name="connsiteX35" fmla="*/ 1135464 w 11851944"/>
                  <a:gd name="connsiteY35" fmla="*/ 2949536 h 2969978"/>
                  <a:gd name="connsiteX36" fmla="*/ 944545 w 11851944"/>
                  <a:gd name="connsiteY36" fmla="*/ 2919391 h 2969978"/>
                  <a:gd name="connsiteX37" fmla="*/ 723481 w 11851944"/>
                  <a:gd name="connsiteY37" fmla="*/ 2879198 h 2969978"/>
                  <a:gd name="connsiteX38" fmla="*/ 643095 w 11851944"/>
                  <a:gd name="connsiteY38" fmla="*/ 2869149 h 2969978"/>
                  <a:gd name="connsiteX39" fmla="*/ 371789 w 11851944"/>
                  <a:gd name="connsiteY39" fmla="*/ 2828956 h 2969978"/>
                  <a:gd name="connsiteX40" fmla="*/ 0 w 11851944"/>
                  <a:gd name="connsiteY40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627455 w 11851944"/>
                  <a:gd name="connsiteY28" fmla="*/ 2818908 h 2969978"/>
                  <a:gd name="connsiteX29" fmla="*/ 3125037 w 11851944"/>
                  <a:gd name="connsiteY29" fmla="*/ 2828956 h 2969978"/>
                  <a:gd name="connsiteX30" fmla="*/ 3064747 w 11851944"/>
                  <a:gd name="connsiteY30" fmla="*/ 2839004 h 2969978"/>
                  <a:gd name="connsiteX31" fmla="*/ 2009670 w 11851944"/>
                  <a:gd name="connsiteY31" fmla="*/ 2849053 h 2969978"/>
                  <a:gd name="connsiteX32" fmla="*/ 1678075 w 11851944"/>
                  <a:gd name="connsiteY32" fmla="*/ 2939488 h 2969978"/>
                  <a:gd name="connsiteX33" fmla="*/ 1607736 w 11851944"/>
                  <a:gd name="connsiteY33" fmla="*/ 2969633 h 2969978"/>
                  <a:gd name="connsiteX34" fmla="*/ 1135464 w 11851944"/>
                  <a:gd name="connsiteY34" fmla="*/ 2949536 h 2969978"/>
                  <a:gd name="connsiteX35" fmla="*/ 944545 w 11851944"/>
                  <a:gd name="connsiteY35" fmla="*/ 2919391 h 2969978"/>
                  <a:gd name="connsiteX36" fmla="*/ 723481 w 11851944"/>
                  <a:gd name="connsiteY36" fmla="*/ 2879198 h 2969978"/>
                  <a:gd name="connsiteX37" fmla="*/ 643095 w 11851944"/>
                  <a:gd name="connsiteY37" fmla="*/ 2869149 h 2969978"/>
                  <a:gd name="connsiteX38" fmla="*/ 371789 w 11851944"/>
                  <a:gd name="connsiteY38" fmla="*/ 2828956 h 2969978"/>
                  <a:gd name="connsiteX39" fmla="*/ 0 w 11851944"/>
                  <a:gd name="connsiteY39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125037 w 11851944"/>
                  <a:gd name="connsiteY28" fmla="*/ 2828956 h 2969978"/>
                  <a:gd name="connsiteX29" fmla="*/ 3064747 w 11851944"/>
                  <a:gd name="connsiteY29" fmla="*/ 2839004 h 2969978"/>
                  <a:gd name="connsiteX30" fmla="*/ 2009670 w 11851944"/>
                  <a:gd name="connsiteY30" fmla="*/ 2849053 h 2969978"/>
                  <a:gd name="connsiteX31" fmla="*/ 1678075 w 11851944"/>
                  <a:gd name="connsiteY31" fmla="*/ 2939488 h 2969978"/>
                  <a:gd name="connsiteX32" fmla="*/ 1607736 w 11851944"/>
                  <a:gd name="connsiteY32" fmla="*/ 2969633 h 2969978"/>
                  <a:gd name="connsiteX33" fmla="*/ 1135464 w 11851944"/>
                  <a:gd name="connsiteY33" fmla="*/ 2949536 h 2969978"/>
                  <a:gd name="connsiteX34" fmla="*/ 944545 w 11851944"/>
                  <a:gd name="connsiteY34" fmla="*/ 2919391 h 2969978"/>
                  <a:gd name="connsiteX35" fmla="*/ 723481 w 11851944"/>
                  <a:gd name="connsiteY35" fmla="*/ 2879198 h 2969978"/>
                  <a:gd name="connsiteX36" fmla="*/ 643095 w 11851944"/>
                  <a:gd name="connsiteY36" fmla="*/ 2869149 h 2969978"/>
                  <a:gd name="connsiteX37" fmla="*/ 371789 w 11851944"/>
                  <a:gd name="connsiteY37" fmla="*/ 2828956 h 2969978"/>
                  <a:gd name="connsiteX38" fmla="*/ 0 w 11851944"/>
                  <a:gd name="connsiteY38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064747 w 11851944"/>
                  <a:gd name="connsiteY28" fmla="*/ 2839004 h 2969978"/>
                  <a:gd name="connsiteX29" fmla="*/ 2009670 w 11851944"/>
                  <a:gd name="connsiteY29" fmla="*/ 2849053 h 2969978"/>
                  <a:gd name="connsiteX30" fmla="*/ 1678075 w 11851944"/>
                  <a:gd name="connsiteY30" fmla="*/ 2939488 h 2969978"/>
                  <a:gd name="connsiteX31" fmla="*/ 1607736 w 11851944"/>
                  <a:gd name="connsiteY31" fmla="*/ 2969633 h 2969978"/>
                  <a:gd name="connsiteX32" fmla="*/ 1135464 w 11851944"/>
                  <a:gd name="connsiteY32" fmla="*/ 2949536 h 2969978"/>
                  <a:gd name="connsiteX33" fmla="*/ 944545 w 11851944"/>
                  <a:gd name="connsiteY33" fmla="*/ 2919391 h 2969978"/>
                  <a:gd name="connsiteX34" fmla="*/ 723481 w 11851944"/>
                  <a:gd name="connsiteY34" fmla="*/ 2879198 h 2969978"/>
                  <a:gd name="connsiteX35" fmla="*/ 643095 w 11851944"/>
                  <a:gd name="connsiteY35" fmla="*/ 2869149 h 2969978"/>
                  <a:gd name="connsiteX36" fmla="*/ 371789 w 11851944"/>
                  <a:gd name="connsiteY36" fmla="*/ 2828956 h 2969978"/>
                  <a:gd name="connsiteX37" fmla="*/ 0 w 11851944"/>
                  <a:gd name="connsiteY37" fmla="*/ 2818908 h 2969978"/>
                  <a:gd name="connsiteX0" fmla="*/ 120580 w 11851944"/>
                  <a:gd name="connsiteY0" fmla="*/ 55611 h 2974631"/>
                  <a:gd name="connsiteX1" fmla="*/ 281354 w 11851944"/>
                  <a:gd name="connsiteY1" fmla="*/ 45562 h 2974631"/>
                  <a:gd name="connsiteX2" fmla="*/ 673240 w 11851944"/>
                  <a:gd name="connsiteY2" fmla="*/ 35514 h 2974631"/>
                  <a:gd name="connsiteX3" fmla="*/ 1356528 w 11851944"/>
                  <a:gd name="connsiteY3" fmla="*/ 85756 h 2974631"/>
                  <a:gd name="connsiteX4" fmla="*/ 1758462 w 11851944"/>
                  <a:gd name="connsiteY4" fmla="*/ 45562 h 2974631"/>
                  <a:gd name="connsiteX5" fmla="*/ 2140299 w 11851944"/>
                  <a:gd name="connsiteY5" fmla="*/ 45562 h 2974631"/>
                  <a:gd name="connsiteX6" fmla="*/ 4652387 w 11851944"/>
                  <a:gd name="connsiteY6" fmla="*/ 65659 h 2974631"/>
                  <a:gd name="connsiteX7" fmla="*/ 4692580 w 11851944"/>
                  <a:gd name="connsiteY7" fmla="*/ 75708 h 2974631"/>
                  <a:gd name="connsiteX8" fmla="*/ 6420897 w 11851944"/>
                  <a:gd name="connsiteY8" fmla="*/ 95804 h 2974631"/>
                  <a:gd name="connsiteX9" fmla="*/ 7184571 w 11851944"/>
                  <a:gd name="connsiteY9" fmla="*/ 65659 h 2974631"/>
                  <a:gd name="connsiteX10" fmla="*/ 7928150 w 11851944"/>
                  <a:gd name="connsiteY10" fmla="*/ 65659 h 2974631"/>
                  <a:gd name="connsiteX11" fmla="*/ 8219552 w 11851944"/>
                  <a:gd name="connsiteY11" fmla="*/ 95804 h 2974631"/>
                  <a:gd name="connsiteX12" fmla="*/ 9606224 w 11851944"/>
                  <a:gd name="connsiteY12" fmla="*/ 95804 h 2974631"/>
                  <a:gd name="connsiteX13" fmla="*/ 9947868 w 11851944"/>
                  <a:gd name="connsiteY13" fmla="*/ 65659 h 2974631"/>
                  <a:gd name="connsiteX14" fmla="*/ 10791930 w 11851944"/>
                  <a:gd name="connsiteY14" fmla="*/ 35514 h 2974631"/>
                  <a:gd name="connsiteX15" fmla="*/ 11736475 w 11851944"/>
                  <a:gd name="connsiteY15" fmla="*/ 55611 h 2974631"/>
                  <a:gd name="connsiteX16" fmla="*/ 11806813 w 11851944"/>
                  <a:gd name="connsiteY16" fmla="*/ 769044 h 2974631"/>
                  <a:gd name="connsiteX17" fmla="*/ 11816862 w 11851944"/>
                  <a:gd name="connsiteY17" fmla="*/ 2336587 h 2974631"/>
                  <a:gd name="connsiteX18" fmla="*/ 11806813 w 11851944"/>
                  <a:gd name="connsiteY18" fmla="*/ 2828956 h 2974631"/>
                  <a:gd name="connsiteX19" fmla="*/ 11033090 w 11851944"/>
                  <a:gd name="connsiteY19" fmla="*/ 2859101 h 2974631"/>
                  <a:gd name="connsiteX20" fmla="*/ 10128739 w 11851944"/>
                  <a:gd name="connsiteY20" fmla="*/ 2859101 h 2974631"/>
                  <a:gd name="connsiteX21" fmla="*/ 9555982 w 11851944"/>
                  <a:gd name="connsiteY21" fmla="*/ 2859101 h 2974631"/>
                  <a:gd name="connsiteX22" fmla="*/ 9204290 w 11851944"/>
                  <a:gd name="connsiteY22" fmla="*/ 2808859 h 2974631"/>
                  <a:gd name="connsiteX23" fmla="*/ 7486022 w 11851944"/>
                  <a:gd name="connsiteY23" fmla="*/ 2818908 h 2974631"/>
                  <a:gd name="connsiteX24" fmla="*/ 6863024 w 11851944"/>
                  <a:gd name="connsiteY24" fmla="*/ 2839004 h 2974631"/>
                  <a:gd name="connsiteX25" fmla="*/ 6722347 w 11851944"/>
                  <a:gd name="connsiteY25" fmla="*/ 2828956 h 2974631"/>
                  <a:gd name="connsiteX26" fmla="*/ 4903596 w 11851944"/>
                  <a:gd name="connsiteY26" fmla="*/ 2879198 h 2974631"/>
                  <a:gd name="connsiteX27" fmla="*/ 4059534 w 11851944"/>
                  <a:gd name="connsiteY27" fmla="*/ 2859101 h 2974631"/>
                  <a:gd name="connsiteX28" fmla="*/ 3064747 w 11851944"/>
                  <a:gd name="connsiteY28" fmla="*/ 2839004 h 2974631"/>
                  <a:gd name="connsiteX29" fmla="*/ 2009670 w 11851944"/>
                  <a:gd name="connsiteY29" fmla="*/ 2849053 h 2974631"/>
                  <a:gd name="connsiteX30" fmla="*/ 1607736 w 11851944"/>
                  <a:gd name="connsiteY30" fmla="*/ 2969633 h 2974631"/>
                  <a:gd name="connsiteX31" fmla="*/ 1135464 w 11851944"/>
                  <a:gd name="connsiteY31" fmla="*/ 2949536 h 2974631"/>
                  <a:gd name="connsiteX32" fmla="*/ 944545 w 11851944"/>
                  <a:gd name="connsiteY32" fmla="*/ 2919391 h 2974631"/>
                  <a:gd name="connsiteX33" fmla="*/ 723481 w 11851944"/>
                  <a:gd name="connsiteY33" fmla="*/ 2879198 h 2974631"/>
                  <a:gd name="connsiteX34" fmla="*/ 643095 w 11851944"/>
                  <a:gd name="connsiteY34" fmla="*/ 2869149 h 2974631"/>
                  <a:gd name="connsiteX35" fmla="*/ 371789 w 11851944"/>
                  <a:gd name="connsiteY35" fmla="*/ 2828956 h 2974631"/>
                  <a:gd name="connsiteX36" fmla="*/ 0 w 11851944"/>
                  <a:gd name="connsiteY36" fmla="*/ 2818908 h 2974631"/>
                  <a:gd name="connsiteX0" fmla="*/ 120580 w 11851944"/>
                  <a:gd name="connsiteY0" fmla="*/ 55611 h 2949536"/>
                  <a:gd name="connsiteX1" fmla="*/ 281354 w 11851944"/>
                  <a:gd name="connsiteY1" fmla="*/ 45562 h 2949536"/>
                  <a:gd name="connsiteX2" fmla="*/ 673240 w 11851944"/>
                  <a:gd name="connsiteY2" fmla="*/ 35514 h 2949536"/>
                  <a:gd name="connsiteX3" fmla="*/ 1356528 w 11851944"/>
                  <a:gd name="connsiteY3" fmla="*/ 85756 h 2949536"/>
                  <a:gd name="connsiteX4" fmla="*/ 1758462 w 11851944"/>
                  <a:gd name="connsiteY4" fmla="*/ 45562 h 2949536"/>
                  <a:gd name="connsiteX5" fmla="*/ 2140299 w 11851944"/>
                  <a:gd name="connsiteY5" fmla="*/ 45562 h 2949536"/>
                  <a:gd name="connsiteX6" fmla="*/ 4652387 w 11851944"/>
                  <a:gd name="connsiteY6" fmla="*/ 65659 h 2949536"/>
                  <a:gd name="connsiteX7" fmla="*/ 4692580 w 11851944"/>
                  <a:gd name="connsiteY7" fmla="*/ 75708 h 2949536"/>
                  <a:gd name="connsiteX8" fmla="*/ 6420897 w 11851944"/>
                  <a:gd name="connsiteY8" fmla="*/ 95804 h 2949536"/>
                  <a:gd name="connsiteX9" fmla="*/ 7184571 w 11851944"/>
                  <a:gd name="connsiteY9" fmla="*/ 65659 h 2949536"/>
                  <a:gd name="connsiteX10" fmla="*/ 7928150 w 11851944"/>
                  <a:gd name="connsiteY10" fmla="*/ 65659 h 2949536"/>
                  <a:gd name="connsiteX11" fmla="*/ 8219552 w 11851944"/>
                  <a:gd name="connsiteY11" fmla="*/ 95804 h 2949536"/>
                  <a:gd name="connsiteX12" fmla="*/ 9606224 w 11851944"/>
                  <a:gd name="connsiteY12" fmla="*/ 95804 h 2949536"/>
                  <a:gd name="connsiteX13" fmla="*/ 9947868 w 11851944"/>
                  <a:gd name="connsiteY13" fmla="*/ 65659 h 2949536"/>
                  <a:gd name="connsiteX14" fmla="*/ 10791930 w 11851944"/>
                  <a:gd name="connsiteY14" fmla="*/ 35514 h 2949536"/>
                  <a:gd name="connsiteX15" fmla="*/ 11736475 w 11851944"/>
                  <a:gd name="connsiteY15" fmla="*/ 55611 h 2949536"/>
                  <a:gd name="connsiteX16" fmla="*/ 11806813 w 11851944"/>
                  <a:gd name="connsiteY16" fmla="*/ 769044 h 2949536"/>
                  <a:gd name="connsiteX17" fmla="*/ 11816862 w 11851944"/>
                  <a:gd name="connsiteY17" fmla="*/ 2336587 h 2949536"/>
                  <a:gd name="connsiteX18" fmla="*/ 11806813 w 11851944"/>
                  <a:gd name="connsiteY18" fmla="*/ 2828956 h 2949536"/>
                  <a:gd name="connsiteX19" fmla="*/ 11033090 w 11851944"/>
                  <a:gd name="connsiteY19" fmla="*/ 2859101 h 2949536"/>
                  <a:gd name="connsiteX20" fmla="*/ 10128739 w 11851944"/>
                  <a:gd name="connsiteY20" fmla="*/ 2859101 h 2949536"/>
                  <a:gd name="connsiteX21" fmla="*/ 9555982 w 11851944"/>
                  <a:gd name="connsiteY21" fmla="*/ 2859101 h 2949536"/>
                  <a:gd name="connsiteX22" fmla="*/ 9204290 w 11851944"/>
                  <a:gd name="connsiteY22" fmla="*/ 2808859 h 2949536"/>
                  <a:gd name="connsiteX23" fmla="*/ 7486022 w 11851944"/>
                  <a:gd name="connsiteY23" fmla="*/ 2818908 h 2949536"/>
                  <a:gd name="connsiteX24" fmla="*/ 6863024 w 11851944"/>
                  <a:gd name="connsiteY24" fmla="*/ 2839004 h 2949536"/>
                  <a:gd name="connsiteX25" fmla="*/ 6722347 w 11851944"/>
                  <a:gd name="connsiteY25" fmla="*/ 2828956 h 2949536"/>
                  <a:gd name="connsiteX26" fmla="*/ 4903596 w 11851944"/>
                  <a:gd name="connsiteY26" fmla="*/ 2879198 h 2949536"/>
                  <a:gd name="connsiteX27" fmla="*/ 4059534 w 11851944"/>
                  <a:gd name="connsiteY27" fmla="*/ 2859101 h 2949536"/>
                  <a:gd name="connsiteX28" fmla="*/ 3064747 w 11851944"/>
                  <a:gd name="connsiteY28" fmla="*/ 2839004 h 2949536"/>
                  <a:gd name="connsiteX29" fmla="*/ 2009670 w 11851944"/>
                  <a:gd name="connsiteY29" fmla="*/ 2849053 h 2949536"/>
                  <a:gd name="connsiteX30" fmla="*/ 1135464 w 11851944"/>
                  <a:gd name="connsiteY30" fmla="*/ 2949536 h 2949536"/>
                  <a:gd name="connsiteX31" fmla="*/ 944545 w 11851944"/>
                  <a:gd name="connsiteY31" fmla="*/ 2919391 h 2949536"/>
                  <a:gd name="connsiteX32" fmla="*/ 723481 w 11851944"/>
                  <a:gd name="connsiteY32" fmla="*/ 2879198 h 2949536"/>
                  <a:gd name="connsiteX33" fmla="*/ 643095 w 11851944"/>
                  <a:gd name="connsiteY33" fmla="*/ 2869149 h 2949536"/>
                  <a:gd name="connsiteX34" fmla="*/ 371789 w 11851944"/>
                  <a:gd name="connsiteY34" fmla="*/ 2828956 h 2949536"/>
                  <a:gd name="connsiteX35" fmla="*/ 0 w 11851944"/>
                  <a:gd name="connsiteY35" fmla="*/ 2818908 h 2949536"/>
                  <a:gd name="connsiteX0" fmla="*/ 120580 w 11851944"/>
                  <a:gd name="connsiteY0" fmla="*/ 55611 h 2949840"/>
                  <a:gd name="connsiteX1" fmla="*/ 281354 w 11851944"/>
                  <a:gd name="connsiteY1" fmla="*/ 45562 h 2949840"/>
                  <a:gd name="connsiteX2" fmla="*/ 673240 w 11851944"/>
                  <a:gd name="connsiteY2" fmla="*/ 35514 h 2949840"/>
                  <a:gd name="connsiteX3" fmla="*/ 1356528 w 11851944"/>
                  <a:gd name="connsiteY3" fmla="*/ 85756 h 2949840"/>
                  <a:gd name="connsiteX4" fmla="*/ 1758462 w 11851944"/>
                  <a:gd name="connsiteY4" fmla="*/ 45562 h 2949840"/>
                  <a:gd name="connsiteX5" fmla="*/ 2140299 w 11851944"/>
                  <a:gd name="connsiteY5" fmla="*/ 45562 h 2949840"/>
                  <a:gd name="connsiteX6" fmla="*/ 4652387 w 11851944"/>
                  <a:gd name="connsiteY6" fmla="*/ 65659 h 2949840"/>
                  <a:gd name="connsiteX7" fmla="*/ 4692580 w 11851944"/>
                  <a:gd name="connsiteY7" fmla="*/ 75708 h 2949840"/>
                  <a:gd name="connsiteX8" fmla="*/ 6420897 w 11851944"/>
                  <a:gd name="connsiteY8" fmla="*/ 95804 h 2949840"/>
                  <a:gd name="connsiteX9" fmla="*/ 7184571 w 11851944"/>
                  <a:gd name="connsiteY9" fmla="*/ 65659 h 2949840"/>
                  <a:gd name="connsiteX10" fmla="*/ 7928150 w 11851944"/>
                  <a:gd name="connsiteY10" fmla="*/ 65659 h 2949840"/>
                  <a:gd name="connsiteX11" fmla="*/ 8219552 w 11851944"/>
                  <a:gd name="connsiteY11" fmla="*/ 95804 h 2949840"/>
                  <a:gd name="connsiteX12" fmla="*/ 9606224 w 11851944"/>
                  <a:gd name="connsiteY12" fmla="*/ 95804 h 2949840"/>
                  <a:gd name="connsiteX13" fmla="*/ 9947868 w 11851944"/>
                  <a:gd name="connsiteY13" fmla="*/ 65659 h 2949840"/>
                  <a:gd name="connsiteX14" fmla="*/ 10791930 w 11851944"/>
                  <a:gd name="connsiteY14" fmla="*/ 35514 h 2949840"/>
                  <a:gd name="connsiteX15" fmla="*/ 11736475 w 11851944"/>
                  <a:gd name="connsiteY15" fmla="*/ 55611 h 2949840"/>
                  <a:gd name="connsiteX16" fmla="*/ 11806813 w 11851944"/>
                  <a:gd name="connsiteY16" fmla="*/ 769044 h 2949840"/>
                  <a:gd name="connsiteX17" fmla="*/ 11816862 w 11851944"/>
                  <a:gd name="connsiteY17" fmla="*/ 2336587 h 2949840"/>
                  <a:gd name="connsiteX18" fmla="*/ 11806813 w 11851944"/>
                  <a:gd name="connsiteY18" fmla="*/ 2828956 h 2949840"/>
                  <a:gd name="connsiteX19" fmla="*/ 11033090 w 11851944"/>
                  <a:gd name="connsiteY19" fmla="*/ 2859101 h 2949840"/>
                  <a:gd name="connsiteX20" fmla="*/ 10128739 w 11851944"/>
                  <a:gd name="connsiteY20" fmla="*/ 2859101 h 2949840"/>
                  <a:gd name="connsiteX21" fmla="*/ 9555982 w 11851944"/>
                  <a:gd name="connsiteY21" fmla="*/ 2859101 h 2949840"/>
                  <a:gd name="connsiteX22" fmla="*/ 9204290 w 11851944"/>
                  <a:gd name="connsiteY22" fmla="*/ 2808859 h 2949840"/>
                  <a:gd name="connsiteX23" fmla="*/ 7486022 w 11851944"/>
                  <a:gd name="connsiteY23" fmla="*/ 2818908 h 2949840"/>
                  <a:gd name="connsiteX24" fmla="*/ 6863024 w 11851944"/>
                  <a:gd name="connsiteY24" fmla="*/ 2839004 h 2949840"/>
                  <a:gd name="connsiteX25" fmla="*/ 6722347 w 11851944"/>
                  <a:gd name="connsiteY25" fmla="*/ 2828956 h 2949840"/>
                  <a:gd name="connsiteX26" fmla="*/ 4903596 w 11851944"/>
                  <a:gd name="connsiteY26" fmla="*/ 2879198 h 2949840"/>
                  <a:gd name="connsiteX27" fmla="*/ 4059534 w 11851944"/>
                  <a:gd name="connsiteY27" fmla="*/ 2859101 h 2949840"/>
                  <a:gd name="connsiteX28" fmla="*/ 3064747 w 11851944"/>
                  <a:gd name="connsiteY28" fmla="*/ 2839004 h 2949840"/>
                  <a:gd name="connsiteX29" fmla="*/ 2009670 w 11851944"/>
                  <a:gd name="connsiteY29" fmla="*/ 2849053 h 2949840"/>
                  <a:gd name="connsiteX30" fmla="*/ 1205803 w 11851944"/>
                  <a:gd name="connsiteY30" fmla="*/ 2929437 h 2949840"/>
                  <a:gd name="connsiteX31" fmla="*/ 1135464 w 11851944"/>
                  <a:gd name="connsiteY31" fmla="*/ 2949536 h 2949840"/>
                  <a:gd name="connsiteX32" fmla="*/ 944545 w 11851944"/>
                  <a:gd name="connsiteY32" fmla="*/ 2919391 h 2949840"/>
                  <a:gd name="connsiteX33" fmla="*/ 723481 w 11851944"/>
                  <a:gd name="connsiteY33" fmla="*/ 2879198 h 2949840"/>
                  <a:gd name="connsiteX34" fmla="*/ 643095 w 11851944"/>
                  <a:gd name="connsiteY34" fmla="*/ 2869149 h 2949840"/>
                  <a:gd name="connsiteX35" fmla="*/ 371789 w 11851944"/>
                  <a:gd name="connsiteY35" fmla="*/ 2828956 h 2949840"/>
                  <a:gd name="connsiteX36" fmla="*/ 0 w 11851944"/>
                  <a:gd name="connsiteY36" fmla="*/ 2818908 h 2949840"/>
                  <a:gd name="connsiteX0" fmla="*/ 120580 w 11851944"/>
                  <a:gd name="connsiteY0" fmla="*/ 55611 h 2934038"/>
                  <a:gd name="connsiteX1" fmla="*/ 281354 w 11851944"/>
                  <a:gd name="connsiteY1" fmla="*/ 45562 h 2934038"/>
                  <a:gd name="connsiteX2" fmla="*/ 673240 w 11851944"/>
                  <a:gd name="connsiteY2" fmla="*/ 35514 h 2934038"/>
                  <a:gd name="connsiteX3" fmla="*/ 1356528 w 11851944"/>
                  <a:gd name="connsiteY3" fmla="*/ 85756 h 2934038"/>
                  <a:gd name="connsiteX4" fmla="*/ 1758462 w 11851944"/>
                  <a:gd name="connsiteY4" fmla="*/ 45562 h 2934038"/>
                  <a:gd name="connsiteX5" fmla="*/ 2140299 w 11851944"/>
                  <a:gd name="connsiteY5" fmla="*/ 45562 h 2934038"/>
                  <a:gd name="connsiteX6" fmla="*/ 4652387 w 11851944"/>
                  <a:gd name="connsiteY6" fmla="*/ 65659 h 2934038"/>
                  <a:gd name="connsiteX7" fmla="*/ 4692580 w 11851944"/>
                  <a:gd name="connsiteY7" fmla="*/ 75708 h 2934038"/>
                  <a:gd name="connsiteX8" fmla="*/ 6420897 w 11851944"/>
                  <a:gd name="connsiteY8" fmla="*/ 95804 h 2934038"/>
                  <a:gd name="connsiteX9" fmla="*/ 7184571 w 11851944"/>
                  <a:gd name="connsiteY9" fmla="*/ 65659 h 2934038"/>
                  <a:gd name="connsiteX10" fmla="*/ 7928150 w 11851944"/>
                  <a:gd name="connsiteY10" fmla="*/ 65659 h 2934038"/>
                  <a:gd name="connsiteX11" fmla="*/ 8219552 w 11851944"/>
                  <a:gd name="connsiteY11" fmla="*/ 95804 h 2934038"/>
                  <a:gd name="connsiteX12" fmla="*/ 9606224 w 11851944"/>
                  <a:gd name="connsiteY12" fmla="*/ 95804 h 2934038"/>
                  <a:gd name="connsiteX13" fmla="*/ 9947868 w 11851944"/>
                  <a:gd name="connsiteY13" fmla="*/ 65659 h 2934038"/>
                  <a:gd name="connsiteX14" fmla="*/ 10791930 w 11851944"/>
                  <a:gd name="connsiteY14" fmla="*/ 35514 h 2934038"/>
                  <a:gd name="connsiteX15" fmla="*/ 11736475 w 11851944"/>
                  <a:gd name="connsiteY15" fmla="*/ 55611 h 2934038"/>
                  <a:gd name="connsiteX16" fmla="*/ 11806813 w 11851944"/>
                  <a:gd name="connsiteY16" fmla="*/ 769044 h 2934038"/>
                  <a:gd name="connsiteX17" fmla="*/ 11816862 w 11851944"/>
                  <a:gd name="connsiteY17" fmla="*/ 2336587 h 2934038"/>
                  <a:gd name="connsiteX18" fmla="*/ 11806813 w 11851944"/>
                  <a:gd name="connsiteY18" fmla="*/ 2828956 h 2934038"/>
                  <a:gd name="connsiteX19" fmla="*/ 11033090 w 11851944"/>
                  <a:gd name="connsiteY19" fmla="*/ 2859101 h 2934038"/>
                  <a:gd name="connsiteX20" fmla="*/ 10128739 w 11851944"/>
                  <a:gd name="connsiteY20" fmla="*/ 2859101 h 2934038"/>
                  <a:gd name="connsiteX21" fmla="*/ 9555982 w 11851944"/>
                  <a:gd name="connsiteY21" fmla="*/ 2859101 h 2934038"/>
                  <a:gd name="connsiteX22" fmla="*/ 9204290 w 11851944"/>
                  <a:gd name="connsiteY22" fmla="*/ 2808859 h 2934038"/>
                  <a:gd name="connsiteX23" fmla="*/ 7486022 w 11851944"/>
                  <a:gd name="connsiteY23" fmla="*/ 2818908 h 2934038"/>
                  <a:gd name="connsiteX24" fmla="*/ 6863024 w 11851944"/>
                  <a:gd name="connsiteY24" fmla="*/ 2839004 h 2934038"/>
                  <a:gd name="connsiteX25" fmla="*/ 6722347 w 11851944"/>
                  <a:gd name="connsiteY25" fmla="*/ 2828956 h 2934038"/>
                  <a:gd name="connsiteX26" fmla="*/ 4903596 w 11851944"/>
                  <a:gd name="connsiteY26" fmla="*/ 2879198 h 2934038"/>
                  <a:gd name="connsiteX27" fmla="*/ 4059534 w 11851944"/>
                  <a:gd name="connsiteY27" fmla="*/ 2859101 h 2934038"/>
                  <a:gd name="connsiteX28" fmla="*/ 3064747 w 11851944"/>
                  <a:gd name="connsiteY28" fmla="*/ 2839004 h 2934038"/>
                  <a:gd name="connsiteX29" fmla="*/ 2009670 w 11851944"/>
                  <a:gd name="connsiteY29" fmla="*/ 2849053 h 2934038"/>
                  <a:gd name="connsiteX30" fmla="*/ 1205803 w 11851944"/>
                  <a:gd name="connsiteY30" fmla="*/ 2929437 h 2934038"/>
                  <a:gd name="connsiteX31" fmla="*/ 944545 w 11851944"/>
                  <a:gd name="connsiteY31" fmla="*/ 2919391 h 2934038"/>
                  <a:gd name="connsiteX32" fmla="*/ 723481 w 11851944"/>
                  <a:gd name="connsiteY32" fmla="*/ 2879198 h 2934038"/>
                  <a:gd name="connsiteX33" fmla="*/ 643095 w 11851944"/>
                  <a:gd name="connsiteY33" fmla="*/ 2869149 h 2934038"/>
                  <a:gd name="connsiteX34" fmla="*/ 371789 w 11851944"/>
                  <a:gd name="connsiteY34" fmla="*/ 2828956 h 2934038"/>
                  <a:gd name="connsiteX35" fmla="*/ 0 w 11851944"/>
                  <a:gd name="connsiteY35" fmla="*/ 2818908 h 2934038"/>
                  <a:gd name="connsiteX0" fmla="*/ 120580 w 11851944"/>
                  <a:gd name="connsiteY0" fmla="*/ 55611 h 2919923"/>
                  <a:gd name="connsiteX1" fmla="*/ 281354 w 11851944"/>
                  <a:gd name="connsiteY1" fmla="*/ 45562 h 2919923"/>
                  <a:gd name="connsiteX2" fmla="*/ 673240 w 11851944"/>
                  <a:gd name="connsiteY2" fmla="*/ 35514 h 2919923"/>
                  <a:gd name="connsiteX3" fmla="*/ 1356528 w 11851944"/>
                  <a:gd name="connsiteY3" fmla="*/ 85756 h 2919923"/>
                  <a:gd name="connsiteX4" fmla="*/ 1758462 w 11851944"/>
                  <a:gd name="connsiteY4" fmla="*/ 45562 h 2919923"/>
                  <a:gd name="connsiteX5" fmla="*/ 2140299 w 11851944"/>
                  <a:gd name="connsiteY5" fmla="*/ 45562 h 2919923"/>
                  <a:gd name="connsiteX6" fmla="*/ 4652387 w 11851944"/>
                  <a:gd name="connsiteY6" fmla="*/ 65659 h 2919923"/>
                  <a:gd name="connsiteX7" fmla="*/ 4692580 w 11851944"/>
                  <a:gd name="connsiteY7" fmla="*/ 75708 h 2919923"/>
                  <a:gd name="connsiteX8" fmla="*/ 6420897 w 11851944"/>
                  <a:gd name="connsiteY8" fmla="*/ 95804 h 2919923"/>
                  <a:gd name="connsiteX9" fmla="*/ 7184571 w 11851944"/>
                  <a:gd name="connsiteY9" fmla="*/ 65659 h 2919923"/>
                  <a:gd name="connsiteX10" fmla="*/ 7928150 w 11851944"/>
                  <a:gd name="connsiteY10" fmla="*/ 65659 h 2919923"/>
                  <a:gd name="connsiteX11" fmla="*/ 8219552 w 11851944"/>
                  <a:gd name="connsiteY11" fmla="*/ 95804 h 2919923"/>
                  <a:gd name="connsiteX12" fmla="*/ 9606224 w 11851944"/>
                  <a:gd name="connsiteY12" fmla="*/ 95804 h 2919923"/>
                  <a:gd name="connsiteX13" fmla="*/ 9947868 w 11851944"/>
                  <a:gd name="connsiteY13" fmla="*/ 65659 h 2919923"/>
                  <a:gd name="connsiteX14" fmla="*/ 10791930 w 11851944"/>
                  <a:gd name="connsiteY14" fmla="*/ 35514 h 2919923"/>
                  <a:gd name="connsiteX15" fmla="*/ 11736475 w 11851944"/>
                  <a:gd name="connsiteY15" fmla="*/ 55611 h 2919923"/>
                  <a:gd name="connsiteX16" fmla="*/ 11806813 w 11851944"/>
                  <a:gd name="connsiteY16" fmla="*/ 769044 h 2919923"/>
                  <a:gd name="connsiteX17" fmla="*/ 11816862 w 11851944"/>
                  <a:gd name="connsiteY17" fmla="*/ 2336587 h 2919923"/>
                  <a:gd name="connsiteX18" fmla="*/ 11806813 w 11851944"/>
                  <a:gd name="connsiteY18" fmla="*/ 2828956 h 2919923"/>
                  <a:gd name="connsiteX19" fmla="*/ 11033090 w 11851944"/>
                  <a:gd name="connsiteY19" fmla="*/ 2859101 h 2919923"/>
                  <a:gd name="connsiteX20" fmla="*/ 10128739 w 11851944"/>
                  <a:gd name="connsiteY20" fmla="*/ 2859101 h 2919923"/>
                  <a:gd name="connsiteX21" fmla="*/ 9555982 w 11851944"/>
                  <a:gd name="connsiteY21" fmla="*/ 2859101 h 2919923"/>
                  <a:gd name="connsiteX22" fmla="*/ 9204290 w 11851944"/>
                  <a:gd name="connsiteY22" fmla="*/ 2808859 h 2919923"/>
                  <a:gd name="connsiteX23" fmla="*/ 7486022 w 11851944"/>
                  <a:gd name="connsiteY23" fmla="*/ 2818908 h 2919923"/>
                  <a:gd name="connsiteX24" fmla="*/ 6863024 w 11851944"/>
                  <a:gd name="connsiteY24" fmla="*/ 2839004 h 2919923"/>
                  <a:gd name="connsiteX25" fmla="*/ 6722347 w 11851944"/>
                  <a:gd name="connsiteY25" fmla="*/ 2828956 h 2919923"/>
                  <a:gd name="connsiteX26" fmla="*/ 4903596 w 11851944"/>
                  <a:gd name="connsiteY26" fmla="*/ 2879198 h 2919923"/>
                  <a:gd name="connsiteX27" fmla="*/ 4059534 w 11851944"/>
                  <a:gd name="connsiteY27" fmla="*/ 2859101 h 2919923"/>
                  <a:gd name="connsiteX28" fmla="*/ 3064747 w 11851944"/>
                  <a:gd name="connsiteY28" fmla="*/ 2839004 h 2919923"/>
                  <a:gd name="connsiteX29" fmla="*/ 2009670 w 11851944"/>
                  <a:gd name="connsiteY29" fmla="*/ 2849053 h 2919923"/>
                  <a:gd name="connsiteX30" fmla="*/ 944545 w 11851944"/>
                  <a:gd name="connsiteY30" fmla="*/ 2919391 h 2919923"/>
                  <a:gd name="connsiteX31" fmla="*/ 723481 w 11851944"/>
                  <a:gd name="connsiteY31" fmla="*/ 2879198 h 2919923"/>
                  <a:gd name="connsiteX32" fmla="*/ 643095 w 11851944"/>
                  <a:gd name="connsiteY32" fmla="*/ 2869149 h 2919923"/>
                  <a:gd name="connsiteX33" fmla="*/ 371789 w 11851944"/>
                  <a:gd name="connsiteY33" fmla="*/ 2828956 h 2919923"/>
                  <a:gd name="connsiteX34" fmla="*/ 0 w 11851944"/>
                  <a:gd name="connsiteY34" fmla="*/ 2818908 h 2919923"/>
                  <a:gd name="connsiteX0" fmla="*/ 120580 w 11851944"/>
                  <a:gd name="connsiteY0" fmla="*/ 55611 h 2890922"/>
                  <a:gd name="connsiteX1" fmla="*/ 281354 w 11851944"/>
                  <a:gd name="connsiteY1" fmla="*/ 45562 h 2890922"/>
                  <a:gd name="connsiteX2" fmla="*/ 673240 w 11851944"/>
                  <a:gd name="connsiteY2" fmla="*/ 35514 h 2890922"/>
                  <a:gd name="connsiteX3" fmla="*/ 1356528 w 11851944"/>
                  <a:gd name="connsiteY3" fmla="*/ 85756 h 2890922"/>
                  <a:gd name="connsiteX4" fmla="*/ 1758462 w 11851944"/>
                  <a:gd name="connsiteY4" fmla="*/ 45562 h 2890922"/>
                  <a:gd name="connsiteX5" fmla="*/ 2140299 w 11851944"/>
                  <a:gd name="connsiteY5" fmla="*/ 45562 h 2890922"/>
                  <a:gd name="connsiteX6" fmla="*/ 4652387 w 11851944"/>
                  <a:gd name="connsiteY6" fmla="*/ 65659 h 2890922"/>
                  <a:gd name="connsiteX7" fmla="*/ 4692580 w 11851944"/>
                  <a:gd name="connsiteY7" fmla="*/ 75708 h 2890922"/>
                  <a:gd name="connsiteX8" fmla="*/ 6420897 w 11851944"/>
                  <a:gd name="connsiteY8" fmla="*/ 95804 h 2890922"/>
                  <a:gd name="connsiteX9" fmla="*/ 7184571 w 11851944"/>
                  <a:gd name="connsiteY9" fmla="*/ 65659 h 2890922"/>
                  <a:gd name="connsiteX10" fmla="*/ 7928150 w 11851944"/>
                  <a:gd name="connsiteY10" fmla="*/ 65659 h 2890922"/>
                  <a:gd name="connsiteX11" fmla="*/ 8219552 w 11851944"/>
                  <a:gd name="connsiteY11" fmla="*/ 95804 h 2890922"/>
                  <a:gd name="connsiteX12" fmla="*/ 9606224 w 11851944"/>
                  <a:gd name="connsiteY12" fmla="*/ 95804 h 2890922"/>
                  <a:gd name="connsiteX13" fmla="*/ 9947868 w 11851944"/>
                  <a:gd name="connsiteY13" fmla="*/ 65659 h 2890922"/>
                  <a:gd name="connsiteX14" fmla="*/ 10791930 w 11851944"/>
                  <a:gd name="connsiteY14" fmla="*/ 35514 h 2890922"/>
                  <a:gd name="connsiteX15" fmla="*/ 11736475 w 11851944"/>
                  <a:gd name="connsiteY15" fmla="*/ 55611 h 2890922"/>
                  <a:gd name="connsiteX16" fmla="*/ 11806813 w 11851944"/>
                  <a:gd name="connsiteY16" fmla="*/ 769044 h 2890922"/>
                  <a:gd name="connsiteX17" fmla="*/ 11816862 w 11851944"/>
                  <a:gd name="connsiteY17" fmla="*/ 2336587 h 2890922"/>
                  <a:gd name="connsiteX18" fmla="*/ 11806813 w 11851944"/>
                  <a:gd name="connsiteY18" fmla="*/ 2828956 h 2890922"/>
                  <a:gd name="connsiteX19" fmla="*/ 11033090 w 11851944"/>
                  <a:gd name="connsiteY19" fmla="*/ 2859101 h 2890922"/>
                  <a:gd name="connsiteX20" fmla="*/ 10128739 w 11851944"/>
                  <a:gd name="connsiteY20" fmla="*/ 2859101 h 2890922"/>
                  <a:gd name="connsiteX21" fmla="*/ 9555982 w 11851944"/>
                  <a:gd name="connsiteY21" fmla="*/ 2859101 h 2890922"/>
                  <a:gd name="connsiteX22" fmla="*/ 9204290 w 11851944"/>
                  <a:gd name="connsiteY22" fmla="*/ 2808859 h 2890922"/>
                  <a:gd name="connsiteX23" fmla="*/ 7486022 w 11851944"/>
                  <a:gd name="connsiteY23" fmla="*/ 2818908 h 2890922"/>
                  <a:gd name="connsiteX24" fmla="*/ 6863024 w 11851944"/>
                  <a:gd name="connsiteY24" fmla="*/ 2839004 h 2890922"/>
                  <a:gd name="connsiteX25" fmla="*/ 6722347 w 11851944"/>
                  <a:gd name="connsiteY25" fmla="*/ 2828956 h 2890922"/>
                  <a:gd name="connsiteX26" fmla="*/ 4903596 w 11851944"/>
                  <a:gd name="connsiteY26" fmla="*/ 2879198 h 2890922"/>
                  <a:gd name="connsiteX27" fmla="*/ 4059534 w 11851944"/>
                  <a:gd name="connsiteY27" fmla="*/ 2859101 h 2890922"/>
                  <a:gd name="connsiteX28" fmla="*/ 3064747 w 11851944"/>
                  <a:gd name="connsiteY28" fmla="*/ 2839004 h 2890922"/>
                  <a:gd name="connsiteX29" fmla="*/ 2009670 w 11851944"/>
                  <a:gd name="connsiteY29" fmla="*/ 2849053 h 2890922"/>
                  <a:gd name="connsiteX30" fmla="*/ 723481 w 11851944"/>
                  <a:gd name="connsiteY30" fmla="*/ 2879198 h 2890922"/>
                  <a:gd name="connsiteX31" fmla="*/ 643095 w 11851944"/>
                  <a:gd name="connsiteY31" fmla="*/ 2869149 h 2890922"/>
                  <a:gd name="connsiteX32" fmla="*/ 371789 w 11851944"/>
                  <a:gd name="connsiteY32" fmla="*/ 2828956 h 2890922"/>
                  <a:gd name="connsiteX33" fmla="*/ 0 w 11851944"/>
                  <a:gd name="connsiteY33" fmla="*/ 2818908 h 2890922"/>
                  <a:gd name="connsiteX0" fmla="*/ 120580 w 11851944"/>
                  <a:gd name="connsiteY0" fmla="*/ 55611 h 2890922"/>
                  <a:gd name="connsiteX1" fmla="*/ 281354 w 11851944"/>
                  <a:gd name="connsiteY1" fmla="*/ 45562 h 2890922"/>
                  <a:gd name="connsiteX2" fmla="*/ 673240 w 11851944"/>
                  <a:gd name="connsiteY2" fmla="*/ 35514 h 2890922"/>
                  <a:gd name="connsiteX3" fmla="*/ 1356528 w 11851944"/>
                  <a:gd name="connsiteY3" fmla="*/ 85756 h 2890922"/>
                  <a:gd name="connsiteX4" fmla="*/ 1758462 w 11851944"/>
                  <a:gd name="connsiteY4" fmla="*/ 45562 h 2890922"/>
                  <a:gd name="connsiteX5" fmla="*/ 2140299 w 11851944"/>
                  <a:gd name="connsiteY5" fmla="*/ 45562 h 2890922"/>
                  <a:gd name="connsiteX6" fmla="*/ 4652387 w 11851944"/>
                  <a:gd name="connsiteY6" fmla="*/ 65659 h 2890922"/>
                  <a:gd name="connsiteX7" fmla="*/ 4692580 w 11851944"/>
                  <a:gd name="connsiteY7" fmla="*/ 75708 h 2890922"/>
                  <a:gd name="connsiteX8" fmla="*/ 6420897 w 11851944"/>
                  <a:gd name="connsiteY8" fmla="*/ 95804 h 2890922"/>
                  <a:gd name="connsiteX9" fmla="*/ 7184571 w 11851944"/>
                  <a:gd name="connsiteY9" fmla="*/ 65659 h 2890922"/>
                  <a:gd name="connsiteX10" fmla="*/ 7928150 w 11851944"/>
                  <a:gd name="connsiteY10" fmla="*/ 65659 h 2890922"/>
                  <a:gd name="connsiteX11" fmla="*/ 8219552 w 11851944"/>
                  <a:gd name="connsiteY11" fmla="*/ 95804 h 2890922"/>
                  <a:gd name="connsiteX12" fmla="*/ 9606224 w 11851944"/>
                  <a:gd name="connsiteY12" fmla="*/ 95804 h 2890922"/>
                  <a:gd name="connsiteX13" fmla="*/ 9947868 w 11851944"/>
                  <a:gd name="connsiteY13" fmla="*/ 65659 h 2890922"/>
                  <a:gd name="connsiteX14" fmla="*/ 10791930 w 11851944"/>
                  <a:gd name="connsiteY14" fmla="*/ 35514 h 2890922"/>
                  <a:gd name="connsiteX15" fmla="*/ 11736475 w 11851944"/>
                  <a:gd name="connsiteY15" fmla="*/ 55611 h 2890922"/>
                  <a:gd name="connsiteX16" fmla="*/ 11806813 w 11851944"/>
                  <a:gd name="connsiteY16" fmla="*/ 769044 h 2890922"/>
                  <a:gd name="connsiteX17" fmla="*/ 11816862 w 11851944"/>
                  <a:gd name="connsiteY17" fmla="*/ 2336587 h 2890922"/>
                  <a:gd name="connsiteX18" fmla="*/ 11806813 w 11851944"/>
                  <a:gd name="connsiteY18" fmla="*/ 2828956 h 2890922"/>
                  <a:gd name="connsiteX19" fmla="*/ 11033090 w 11851944"/>
                  <a:gd name="connsiteY19" fmla="*/ 2859101 h 2890922"/>
                  <a:gd name="connsiteX20" fmla="*/ 10128739 w 11851944"/>
                  <a:gd name="connsiteY20" fmla="*/ 2859101 h 2890922"/>
                  <a:gd name="connsiteX21" fmla="*/ 9555982 w 11851944"/>
                  <a:gd name="connsiteY21" fmla="*/ 2859101 h 2890922"/>
                  <a:gd name="connsiteX22" fmla="*/ 9204290 w 11851944"/>
                  <a:gd name="connsiteY22" fmla="*/ 2808859 h 2890922"/>
                  <a:gd name="connsiteX23" fmla="*/ 7486022 w 11851944"/>
                  <a:gd name="connsiteY23" fmla="*/ 2818908 h 2890922"/>
                  <a:gd name="connsiteX24" fmla="*/ 6863024 w 11851944"/>
                  <a:gd name="connsiteY24" fmla="*/ 2839004 h 2890922"/>
                  <a:gd name="connsiteX25" fmla="*/ 6722347 w 11851944"/>
                  <a:gd name="connsiteY25" fmla="*/ 2828956 h 2890922"/>
                  <a:gd name="connsiteX26" fmla="*/ 4903596 w 11851944"/>
                  <a:gd name="connsiteY26" fmla="*/ 2879198 h 2890922"/>
                  <a:gd name="connsiteX27" fmla="*/ 4059534 w 11851944"/>
                  <a:gd name="connsiteY27" fmla="*/ 2859101 h 2890922"/>
                  <a:gd name="connsiteX28" fmla="*/ 3064747 w 11851944"/>
                  <a:gd name="connsiteY28" fmla="*/ 2839004 h 2890922"/>
                  <a:gd name="connsiteX29" fmla="*/ 2009670 w 11851944"/>
                  <a:gd name="connsiteY29" fmla="*/ 2849053 h 2890922"/>
                  <a:gd name="connsiteX30" fmla="*/ 643095 w 11851944"/>
                  <a:gd name="connsiteY30" fmla="*/ 2869149 h 2890922"/>
                  <a:gd name="connsiteX31" fmla="*/ 371789 w 11851944"/>
                  <a:gd name="connsiteY31" fmla="*/ 2828956 h 2890922"/>
                  <a:gd name="connsiteX32" fmla="*/ 0 w 11851944"/>
                  <a:gd name="connsiteY32" fmla="*/ 2818908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9083710 w 11731364"/>
                  <a:gd name="connsiteY22" fmla="*/ 2808859 h 2890922"/>
                  <a:gd name="connsiteX23" fmla="*/ 7365442 w 11731364"/>
                  <a:gd name="connsiteY23" fmla="*/ 2818908 h 2890922"/>
                  <a:gd name="connsiteX24" fmla="*/ 6742444 w 11731364"/>
                  <a:gd name="connsiteY24" fmla="*/ 2839004 h 2890922"/>
                  <a:gd name="connsiteX25" fmla="*/ 6601767 w 11731364"/>
                  <a:gd name="connsiteY25" fmla="*/ 2828956 h 2890922"/>
                  <a:gd name="connsiteX26" fmla="*/ 4783016 w 11731364"/>
                  <a:gd name="connsiteY26" fmla="*/ 2879198 h 2890922"/>
                  <a:gd name="connsiteX27" fmla="*/ 3938954 w 11731364"/>
                  <a:gd name="connsiteY27" fmla="*/ 2859101 h 2890922"/>
                  <a:gd name="connsiteX28" fmla="*/ 2944167 w 11731364"/>
                  <a:gd name="connsiteY28" fmla="*/ 2839004 h 2890922"/>
                  <a:gd name="connsiteX29" fmla="*/ 1889090 w 11731364"/>
                  <a:gd name="connsiteY29" fmla="*/ 2849053 h 2890922"/>
                  <a:gd name="connsiteX30" fmla="*/ 522515 w 11731364"/>
                  <a:gd name="connsiteY30" fmla="*/ 2869149 h 2890922"/>
                  <a:gd name="connsiteX31" fmla="*/ 251209 w 11731364"/>
                  <a:gd name="connsiteY31" fmla="*/ 2828956 h 2890922"/>
                  <a:gd name="connsiteX32" fmla="*/ 10048 w 11731364"/>
                  <a:gd name="connsiteY32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7365442 w 11731364"/>
                  <a:gd name="connsiteY22" fmla="*/ 2818908 h 2890922"/>
                  <a:gd name="connsiteX23" fmla="*/ 6742444 w 11731364"/>
                  <a:gd name="connsiteY23" fmla="*/ 2839004 h 2890922"/>
                  <a:gd name="connsiteX24" fmla="*/ 6601767 w 11731364"/>
                  <a:gd name="connsiteY24" fmla="*/ 2828956 h 2890922"/>
                  <a:gd name="connsiteX25" fmla="*/ 4783016 w 11731364"/>
                  <a:gd name="connsiteY25" fmla="*/ 2879198 h 2890922"/>
                  <a:gd name="connsiteX26" fmla="*/ 3938954 w 11731364"/>
                  <a:gd name="connsiteY26" fmla="*/ 2859101 h 2890922"/>
                  <a:gd name="connsiteX27" fmla="*/ 2944167 w 11731364"/>
                  <a:gd name="connsiteY27" fmla="*/ 2839004 h 2890922"/>
                  <a:gd name="connsiteX28" fmla="*/ 1889090 w 11731364"/>
                  <a:gd name="connsiteY28" fmla="*/ 2849053 h 2890922"/>
                  <a:gd name="connsiteX29" fmla="*/ 522515 w 11731364"/>
                  <a:gd name="connsiteY29" fmla="*/ 2869149 h 2890922"/>
                  <a:gd name="connsiteX30" fmla="*/ 251209 w 11731364"/>
                  <a:gd name="connsiteY30" fmla="*/ 2828956 h 2890922"/>
                  <a:gd name="connsiteX31" fmla="*/ 10048 w 11731364"/>
                  <a:gd name="connsiteY31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7365442 w 11731364"/>
                  <a:gd name="connsiteY22" fmla="*/ 2818908 h 2890922"/>
                  <a:gd name="connsiteX23" fmla="*/ 6742444 w 11731364"/>
                  <a:gd name="connsiteY23" fmla="*/ 2839004 h 2890922"/>
                  <a:gd name="connsiteX24" fmla="*/ 6601767 w 11731364"/>
                  <a:gd name="connsiteY24" fmla="*/ 2828956 h 2890922"/>
                  <a:gd name="connsiteX25" fmla="*/ 4783016 w 11731364"/>
                  <a:gd name="connsiteY25" fmla="*/ 2879198 h 2890922"/>
                  <a:gd name="connsiteX26" fmla="*/ 3938954 w 11731364"/>
                  <a:gd name="connsiteY26" fmla="*/ 2859101 h 2890922"/>
                  <a:gd name="connsiteX27" fmla="*/ 2944167 w 11731364"/>
                  <a:gd name="connsiteY27" fmla="*/ 2839004 h 2890922"/>
                  <a:gd name="connsiteX28" fmla="*/ 1889090 w 11731364"/>
                  <a:gd name="connsiteY28" fmla="*/ 2849053 h 2890922"/>
                  <a:gd name="connsiteX29" fmla="*/ 522515 w 11731364"/>
                  <a:gd name="connsiteY29" fmla="*/ 2869149 h 2890922"/>
                  <a:gd name="connsiteX30" fmla="*/ 10048 w 11731364"/>
                  <a:gd name="connsiteY30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637882 w 11731364"/>
                  <a:gd name="connsiteY3" fmla="*/ 45562 h 2890922"/>
                  <a:gd name="connsiteX4" fmla="*/ 2019719 w 11731364"/>
                  <a:gd name="connsiteY4" fmla="*/ 45562 h 2890922"/>
                  <a:gd name="connsiteX5" fmla="*/ 4531807 w 11731364"/>
                  <a:gd name="connsiteY5" fmla="*/ 65659 h 2890922"/>
                  <a:gd name="connsiteX6" fmla="*/ 4572000 w 11731364"/>
                  <a:gd name="connsiteY6" fmla="*/ 75708 h 2890922"/>
                  <a:gd name="connsiteX7" fmla="*/ 6300317 w 11731364"/>
                  <a:gd name="connsiteY7" fmla="*/ 95804 h 2890922"/>
                  <a:gd name="connsiteX8" fmla="*/ 7063991 w 11731364"/>
                  <a:gd name="connsiteY8" fmla="*/ 65659 h 2890922"/>
                  <a:gd name="connsiteX9" fmla="*/ 7807570 w 11731364"/>
                  <a:gd name="connsiteY9" fmla="*/ 65659 h 2890922"/>
                  <a:gd name="connsiteX10" fmla="*/ 8098972 w 11731364"/>
                  <a:gd name="connsiteY10" fmla="*/ 95804 h 2890922"/>
                  <a:gd name="connsiteX11" fmla="*/ 9485644 w 11731364"/>
                  <a:gd name="connsiteY11" fmla="*/ 95804 h 2890922"/>
                  <a:gd name="connsiteX12" fmla="*/ 9827288 w 11731364"/>
                  <a:gd name="connsiteY12" fmla="*/ 65659 h 2890922"/>
                  <a:gd name="connsiteX13" fmla="*/ 10671350 w 11731364"/>
                  <a:gd name="connsiteY13" fmla="*/ 35514 h 2890922"/>
                  <a:gd name="connsiteX14" fmla="*/ 11615895 w 11731364"/>
                  <a:gd name="connsiteY14" fmla="*/ 55611 h 2890922"/>
                  <a:gd name="connsiteX15" fmla="*/ 11686233 w 11731364"/>
                  <a:gd name="connsiteY15" fmla="*/ 769044 h 2890922"/>
                  <a:gd name="connsiteX16" fmla="*/ 11696282 w 11731364"/>
                  <a:gd name="connsiteY16" fmla="*/ 2336587 h 2890922"/>
                  <a:gd name="connsiteX17" fmla="*/ 11686233 w 11731364"/>
                  <a:gd name="connsiteY17" fmla="*/ 2828956 h 2890922"/>
                  <a:gd name="connsiteX18" fmla="*/ 10912510 w 11731364"/>
                  <a:gd name="connsiteY18" fmla="*/ 2859101 h 2890922"/>
                  <a:gd name="connsiteX19" fmla="*/ 10008159 w 11731364"/>
                  <a:gd name="connsiteY19" fmla="*/ 2859101 h 2890922"/>
                  <a:gd name="connsiteX20" fmla="*/ 9435402 w 11731364"/>
                  <a:gd name="connsiteY20" fmla="*/ 2859101 h 2890922"/>
                  <a:gd name="connsiteX21" fmla="*/ 7365442 w 11731364"/>
                  <a:gd name="connsiteY21" fmla="*/ 2818908 h 2890922"/>
                  <a:gd name="connsiteX22" fmla="*/ 6742444 w 11731364"/>
                  <a:gd name="connsiteY22" fmla="*/ 2839004 h 2890922"/>
                  <a:gd name="connsiteX23" fmla="*/ 6601767 w 11731364"/>
                  <a:gd name="connsiteY23" fmla="*/ 2828956 h 2890922"/>
                  <a:gd name="connsiteX24" fmla="*/ 4783016 w 11731364"/>
                  <a:gd name="connsiteY24" fmla="*/ 2879198 h 2890922"/>
                  <a:gd name="connsiteX25" fmla="*/ 3938954 w 11731364"/>
                  <a:gd name="connsiteY25" fmla="*/ 2859101 h 2890922"/>
                  <a:gd name="connsiteX26" fmla="*/ 2944167 w 11731364"/>
                  <a:gd name="connsiteY26" fmla="*/ 2839004 h 2890922"/>
                  <a:gd name="connsiteX27" fmla="*/ 1889090 w 11731364"/>
                  <a:gd name="connsiteY27" fmla="*/ 2849053 h 2890922"/>
                  <a:gd name="connsiteX28" fmla="*/ 522515 w 11731364"/>
                  <a:gd name="connsiteY28" fmla="*/ 2869149 h 2890922"/>
                  <a:gd name="connsiteX29" fmla="*/ 10048 w 11731364"/>
                  <a:gd name="connsiteY29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4572000 w 11731364"/>
                  <a:gd name="connsiteY5" fmla="*/ 75708 h 2890922"/>
                  <a:gd name="connsiteX6" fmla="*/ 6300317 w 11731364"/>
                  <a:gd name="connsiteY6" fmla="*/ 95804 h 2890922"/>
                  <a:gd name="connsiteX7" fmla="*/ 7063991 w 11731364"/>
                  <a:gd name="connsiteY7" fmla="*/ 65659 h 2890922"/>
                  <a:gd name="connsiteX8" fmla="*/ 7807570 w 11731364"/>
                  <a:gd name="connsiteY8" fmla="*/ 65659 h 2890922"/>
                  <a:gd name="connsiteX9" fmla="*/ 8098972 w 11731364"/>
                  <a:gd name="connsiteY9" fmla="*/ 95804 h 2890922"/>
                  <a:gd name="connsiteX10" fmla="*/ 9485644 w 11731364"/>
                  <a:gd name="connsiteY10" fmla="*/ 95804 h 2890922"/>
                  <a:gd name="connsiteX11" fmla="*/ 9827288 w 11731364"/>
                  <a:gd name="connsiteY11" fmla="*/ 65659 h 2890922"/>
                  <a:gd name="connsiteX12" fmla="*/ 10671350 w 11731364"/>
                  <a:gd name="connsiteY12" fmla="*/ 35514 h 2890922"/>
                  <a:gd name="connsiteX13" fmla="*/ 11615895 w 11731364"/>
                  <a:gd name="connsiteY13" fmla="*/ 55611 h 2890922"/>
                  <a:gd name="connsiteX14" fmla="*/ 11686233 w 11731364"/>
                  <a:gd name="connsiteY14" fmla="*/ 769044 h 2890922"/>
                  <a:gd name="connsiteX15" fmla="*/ 11696282 w 11731364"/>
                  <a:gd name="connsiteY15" fmla="*/ 2336587 h 2890922"/>
                  <a:gd name="connsiteX16" fmla="*/ 11686233 w 11731364"/>
                  <a:gd name="connsiteY16" fmla="*/ 2828956 h 2890922"/>
                  <a:gd name="connsiteX17" fmla="*/ 10912510 w 11731364"/>
                  <a:gd name="connsiteY17" fmla="*/ 2859101 h 2890922"/>
                  <a:gd name="connsiteX18" fmla="*/ 10008159 w 11731364"/>
                  <a:gd name="connsiteY18" fmla="*/ 2859101 h 2890922"/>
                  <a:gd name="connsiteX19" fmla="*/ 9435402 w 11731364"/>
                  <a:gd name="connsiteY19" fmla="*/ 2859101 h 2890922"/>
                  <a:gd name="connsiteX20" fmla="*/ 7365442 w 11731364"/>
                  <a:gd name="connsiteY20" fmla="*/ 2818908 h 2890922"/>
                  <a:gd name="connsiteX21" fmla="*/ 6742444 w 11731364"/>
                  <a:gd name="connsiteY21" fmla="*/ 2839004 h 2890922"/>
                  <a:gd name="connsiteX22" fmla="*/ 6601767 w 11731364"/>
                  <a:gd name="connsiteY22" fmla="*/ 2828956 h 2890922"/>
                  <a:gd name="connsiteX23" fmla="*/ 4783016 w 11731364"/>
                  <a:gd name="connsiteY23" fmla="*/ 2879198 h 2890922"/>
                  <a:gd name="connsiteX24" fmla="*/ 3938954 w 11731364"/>
                  <a:gd name="connsiteY24" fmla="*/ 2859101 h 2890922"/>
                  <a:gd name="connsiteX25" fmla="*/ 2944167 w 11731364"/>
                  <a:gd name="connsiteY25" fmla="*/ 2839004 h 2890922"/>
                  <a:gd name="connsiteX26" fmla="*/ 1889090 w 11731364"/>
                  <a:gd name="connsiteY26" fmla="*/ 2849053 h 2890922"/>
                  <a:gd name="connsiteX27" fmla="*/ 522515 w 11731364"/>
                  <a:gd name="connsiteY27" fmla="*/ 2869149 h 2890922"/>
                  <a:gd name="connsiteX28" fmla="*/ 10048 w 11731364"/>
                  <a:gd name="connsiteY28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6300317 w 11731364"/>
                  <a:gd name="connsiteY5" fmla="*/ 95804 h 2890922"/>
                  <a:gd name="connsiteX6" fmla="*/ 7063991 w 11731364"/>
                  <a:gd name="connsiteY6" fmla="*/ 65659 h 2890922"/>
                  <a:gd name="connsiteX7" fmla="*/ 7807570 w 11731364"/>
                  <a:gd name="connsiteY7" fmla="*/ 65659 h 2890922"/>
                  <a:gd name="connsiteX8" fmla="*/ 8098972 w 11731364"/>
                  <a:gd name="connsiteY8" fmla="*/ 95804 h 2890922"/>
                  <a:gd name="connsiteX9" fmla="*/ 9485644 w 11731364"/>
                  <a:gd name="connsiteY9" fmla="*/ 95804 h 2890922"/>
                  <a:gd name="connsiteX10" fmla="*/ 9827288 w 11731364"/>
                  <a:gd name="connsiteY10" fmla="*/ 65659 h 2890922"/>
                  <a:gd name="connsiteX11" fmla="*/ 10671350 w 11731364"/>
                  <a:gd name="connsiteY11" fmla="*/ 35514 h 2890922"/>
                  <a:gd name="connsiteX12" fmla="*/ 11615895 w 11731364"/>
                  <a:gd name="connsiteY12" fmla="*/ 55611 h 2890922"/>
                  <a:gd name="connsiteX13" fmla="*/ 11686233 w 11731364"/>
                  <a:gd name="connsiteY13" fmla="*/ 769044 h 2890922"/>
                  <a:gd name="connsiteX14" fmla="*/ 11696282 w 11731364"/>
                  <a:gd name="connsiteY14" fmla="*/ 2336587 h 2890922"/>
                  <a:gd name="connsiteX15" fmla="*/ 11686233 w 11731364"/>
                  <a:gd name="connsiteY15" fmla="*/ 2828956 h 2890922"/>
                  <a:gd name="connsiteX16" fmla="*/ 10912510 w 11731364"/>
                  <a:gd name="connsiteY16" fmla="*/ 2859101 h 2890922"/>
                  <a:gd name="connsiteX17" fmla="*/ 10008159 w 11731364"/>
                  <a:gd name="connsiteY17" fmla="*/ 2859101 h 2890922"/>
                  <a:gd name="connsiteX18" fmla="*/ 9435402 w 11731364"/>
                  <a:gd name="connsiteY18" fmla="*/ 2859101 h 2890922"/>
                  <a:gd name="connsiteX19" fmla="*/ 7365442 w 11731364"/>
                  <a:gd name="connsiteY19" fmla="*/ 2818908 h 2890922"/>
                  <a:gd name="connsiteX20" fmla="*/ 6742444 w 11731364"/>
                  <a:gd name="connsiteY20" fmla="*/ 2839004 h 2890922"/>
                  <a:gd name="connsiteX21" fmla="*/ 6601767 w 11731364"/>
                  <a:gd name="connsiteY21" fmla="*/ 2828956 h 2890922"/>
                  <a:gd name="connsiteX22" fmla="*/ 4783016 w 11731364"/>
                  <a:gd name="connsiteY22" fmla="*/ 2879198 h 2890922"/>
                  <a:gd name="connsiteX23" fmla="*/ 3938954 w 11731364"/>
                  <a:gd name="connsiteY23" fmla="*/ 2859101 h 2890922"/>
                  <a:gd name="connsiteX24" fmla="*/ 2944167 w 11731364"/>
                  <a:gd name="connsiteY24" fmla="*/ 2839004 h 2890922"/>
                  <a:gd name="connsiteX25" fmla="*/ 1889090 w 11731364"/>
                  <a:gd name="connsiteY25" fmla="*/ 2849053 h 2890922"/>
                  <a:gd name="connsiteX26" fmla="*/ 522515 w 11731364"/>
                  <a:gd name="connsiteY26" fmla="*/ 2869149 h 2890922"/>
                  <a:gd name="connsiteX27" fmla="*/ 10048 w 11731364"/>
                  <a:gd name="connsiteY27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6300317 w 11731364"/>
                  <a:gd name="connsiteY5" fmla="*/ 95804 h 2890922"/>
                  <a:gd name="connsiteX6" fmla="*/ 7063991 w 11731364"/>
                  <a:gd name="connsiteY6" fmla="*/ 65659 h 2890922"/>
                  <a:gd name="connsiteX7" fmla="*/ 8098972 w 11731364"/>
                  <a:gd name="connsiteY7" fmla="*/ 95804 h 2890922"/>
                  <a:gd name="connsiteX8" fmla="*/ 9485644 w 11731364"/>
                  <a:gd name="connsiteY8" fmla="*/ 95804 h 2890922"/>
                  <a:gd name="connsiteX9" fmla="*/ 9827288 w 11731364"/>
                  <a:gd name="connsiteY9" fmla="*/ 65659 h 2890922"/>
                  <a:gd name="connsiteX10" fmla="*/ 10671350 w 11731364"/>
                  <a:gd name="connsiteY10" fmla="*/ 35514 h 2890922"/>
                  <a:gd name="connsiteX11" fmla="*/ 11615895 w 11731364"/>
                  <a:gd name="connsiteY11" fmla="*/ 55611 h 2890922"/>
                  <a:gd name="connsiteX12" fmla="*/ 11686233 w 11731364"/>
                  <a:gd name="connsiteY12" fmla="*/ 769044 h 2890922"/>
                  <a:gd name="connsiteX13" fmla="*/ 11696282 w 11731364"/>
                  <a:gd name="connsiteY13" fmla="*/ 2336587 h 2890922"/>
                  <a:gd name="connsiteX14" fmla="*/ 11686233 w 11731364"/>
                  <a:gd name="connsiteY14" fmla="*/ 2828956 h 2890922"/>
                  <a:gd name="connsiteX15" fmla="*/ 10912510 w 11731364"/>
                  <a:gd name="connsiteY15" fmla="*/ 2859101 h 2890922"/>
                  <a:gd name="connsiteX16" fmla="*/ 10008159 w 11731364"/>
                  <a:gd name="connsiteY16" fmla="*/ 2859101 h 2890922"/>
                  <a:gd name="connsiteX17" fmla="*/ 9435402 w 11731364"/>
                  <a:gd name="connsiteY17" fmla="*/ 2859101 h 2890922"/>
                  <a:gd name="connsiteX18" fmla="*/ 7365442 w 11731364"/>
                  <a:gd name="connsiteY18" fmla="*/ 2818908 h 2890922"/>
                  <a:gd name="connsiteX19" fmla="*/ 6742444 w 11731364"/>
                  <a:gd name="connsiteY19" fmla="*/ 2839004 h 2890922"/>
                  <a:gd name="connsiteX20" fmla="*/ 6601767 w 11731364"/>
                  <a:gd name="connsiteY20" fmla="*/ 2828956 h 2890922"/>
                  <a:gd name="connsiteX21" fmla="*/ 4783016 w 11731364"/>
                  <a:gd name="connsiteY21" fmla="*/ 2879198 h 2890922"/>
                  <a:gd name="connsiteX22" fmla="*/ 3938954 w 11731364"/>
                  <a:gd name="connsiteY22" fmla="*/ 2859101 h 2890922"/>
                  <a:gd name="connsiteX23" fmla="*/ 2944167 w 11731364"/>
                  <a:gd name="connsiteY23" fmla="*/ 2839004 h 2890922"/>
                  <a:gd name="connsiteX24" fmla="*/ 1889090 w 11731364"/>
                  <a:gd name="connsiteY24" fmla="*/ 2849053 h 2890922"/>
                  <a:gd name="connsiteX25" fmla="*/ 522515 w 11731364"/>
                  <a:gd name="connsiteY25" fmla="*/ 2869149 h 2890922"/>
                  <a:gd name="connsiteX26" fmla="*/ 10048 w 11731364"/>
                  <a:gd name="connsiteY26" fmla="*/ 2839005 h 2890922"/>
                  <a:gd name="connsiteX0" fmla="*/ 0 w 11731364"/>
                  <a:gd name="connsiteY0" fmla="*/ 36371 h 2871682"/>
                  <a:gd name="connsiteX1" fmla="*/ 552660 w 11731364"/>
                  <a:gd name="connsiteY1" fmla="*/ 16274 h 2871682"/>
                  <a:gd name="connsiteX2" fmla="*/ 1637882 w 11731364"/>
                  <a:gd name="connsiteY2" fmla="*/ 26322 h 2871682"/>
                  <a:gd name="connsiteX3" fmla="*/ 2019719 w 11731364"/>
                  <a:gd name="connsiteY3" fmla="*/ 26322 h 2871682"/>
                  <a:gd name="connsiteX4" fmla="*/ 4531807 w 11731364"/>
                  <a:gd name="connsiteY4" fmla="*/ 46419 h 2871682"/>
                  <a:gd name="connsiteX5" fmla="*/ 6300317 w 11731364"/>
                  <a:gd name="connsiteY5" fmla="*/ 76564 h 2871682"/>
                  <a:gd name="connsiteX6" fmla="*/ 7063991 w 11731364"/>
                  <a:gd name="connsiteY6" fmla="*/ 46419 h 2871682"/>
                  <a:gd name="connsiteX7" fmla="*/ 8098972 w 11731364"/>
                  <a:gd name="connsiteY7" fmla="*/ 76564 h 2871682"/>
                  <a:gd name="connsiteX8" fmla="*/ 9485644 w 11731364"/>
                  <a:gd name="connsiteY8" fmla="*/ 76564 h 2871682"/>
                  <a:gd name="connsiteX9" fmla="*/ 9827288 w 11731364"/>
                  <a:gd name="connsiteY9" fmla="*/ 46419 h 2871682"/>
                  <a:gd name="connsiteX10" fmla="*/ 10671350 w 11731364"/>
                  <a:gd name="connsiteY10" fmla="*/ 16274 h 2871682"/>
                  <a:gd name="connsiteX11" fmla="*/ 11615895 w 11731364"/>
                  <a:gd name="connsiteY11" fmla="*/ 66517 h 2871682"/>
                  <a:gd name="connsiteX12" fmla="*/ 11686233 w 11731364"/>
                  <a:gd name="connsiteY12" fmla="*/ 749804 h 2871682"/>
                  <a:gd name="connsiteX13" fmla="*/ 11696282 w 11731364"/>
                  <a:gd name="connsiteY13" fmla="*/ 2317347 h 2871682"/>
                  <a:gd name="connsiteX14" fmla="*/ 11686233 w 11731364"/>
                  <a:gd name="connsiteY14" fmla="*/ 2809716 h 2871682"/>
                  <a:gd name="connsiteX15" fmla="*/ 10912510 w 11731364"/>
                  <a:gd name="connsiteY15" fmla="*/ 2839861 h 2871682"/>
                  <a:gd name="connsiteX16" fmla="*/ 10008159 w 11731364"/>
                  <a:gd name="connsiteY16" fmla="*/ 2839861 h 2871682"/>
                  <a:gd name="connsiteX17" fmla="*/ 9435402 w 11731364"/>
                  <a:gd name="connsiteY17" fmla="*/ 2839861 h 2871682"/>
                  <a:gd name="connsiteX18" fmla="*/ 7365442 w 11731364"/>
                  <a:gd name="connsiteY18" fmla="*/ 2799668 h 2871682"/>
                  <a:gd name="connsiteX19" fmla="*/ 6742444 w 11731364"/>
                  <a:gd name="connsiteY19" fmla="*/ 2819764 h 2871682"/>
                  <a:gd name="connsiteX20" fmla="*/ 6601767 w 11731364"/>
                  <a:gd name="connsiteY20" fmla="*/ 2809716 h 2871682"/>
                  <a:gd name="connsiteX21" fmla="*/ 4783016 w 11731364"/>
                  <a:gd name="connsiteY21" fmla="*/ 2859958 h 2871682"/>
                  <a:gd name="connsiteX22" fmla="*/ 3938954 w 11731364"/>
                  <a:gd name="connsiteY22" fmla="*/ 2839861 h 2871682"/>
                  <a:gd name="connsiteX23" fmla="*/ 2944167 w 11731364"/>
                  <a:gd name="connsiteY23" fmla="*/ 2819764 h 2871682"/>
                  <a:gd name="connsiteX24" fmla="*/ 1889090 w 11731364"/>
                  <a:gd name="connsiteY24" fmla="*/ 2829813 h 2871682"/>
                  <a:gd name="connsiteX25" fmla="*/ 522515 w 11731364"/>
                  <a:gd name="connsiteY25" fmla="*/ 2849909 h 2871682"/>
                  <a:gd name="connsiteX26" fmla="*/ 10048 w 11731364"/>
                  <a:gd name="connsiteY26" fmla="*/ 2819765 h 2871682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522515 w 11731364"/>
                  <a:gd name="connsiteY25" fmla="*/ 2853113 h 2874886"/>
                  <a:gd name="connsiteX26" fmla="*/ 10048 w 11731364"/>
                  <a:gd name="connsiteY26" fmla="*/ 2822969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522515 w 11731364"/>
                  <a:gd name="connsiteY25" fmla="*/ 2853113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1311934 w 11731364"/>
                  <a:gd name="connsiteY25" fmla="*/ 2812919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72846 w 11731364"/>
                  <a:gd name="connsiteY25" fmla="*/ 2772725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22882 w 11731364"/>
                  <a:gd name="connsiteY25" fmla="*/ 2843063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12890 w 11731364"/>
                  <a:gd name="connsiteY25" fmla="*/ 2812918 h 2874886"/>
                  <a:gd name="connsiteX0" fmla="*/ 0 w 11795893"/>
                  <a:gd name="connsiteY0" fmla="*/ 28410 h 2863721"/>
                  <a:gd name="connsiteX1" fmla="*/ 552660 w 11795893"/>
                  <a:gd name="connsiteY1" fmla="*/ 8313 h 2863721"/>
                  <a:gd name="connsiteX2" fmla="*/ 1637882 w 11795893"/>
                  <a:gd name="connsiteY2" fmla="*/ 18361 h 2863721"/>
                  <a:gd name="connsiteX3" fmla="*/ 2019719 w 11795893"/>
                  <a:gd name="connsiteY3" fmla="*/ 18361 h 2863721"/>
                  <a:gd name="connsiteX4" fmla="*/ 4531807 w 11795893"/>
                  <a:gd name="connsiteY4" fmla="*/ 38458 h 2863721"/>
                  <a:gd name="connsiteX5" fmla="*/ 6300317 w 11795893"/>
                  <a:gd name="connsiteY5" fmla="*/ 68603 h 2863721"/>
                  <a:gd name="connsiteX6" fmla="*/ 7063991 w 11795893"/>
                  <a:gd name="connsiteY6" fmla="*/ 38458 h 2863721"/>
                  <a:gd name="connsiteX7" fmla="*/ 8098972 w 11795893"/>
                  <a:gd name="connsiteY7" fmla="*/ 68603 h 2863721"/>
                  <a:gd name="connsiteX8" fmla="*/ 9485644 w 11795893"/>
                  <a:gd name="connsiteY8" fmla="*/ 68603 h 2863721"/>
                  <a:gd name="connsiteX9" fmla="*/ 9827288 w 11795893"/>
                  <a:gd name="connsiteY9" fmla="*/ 38458 h 2863721"/>
                  <a:gd name="connsiteX10" fmla="*/ 10671350 w 11795893"/>
                  <a:gd name="connsiteY10" fmla="*/ 8313 h 2863721"/>
                  <a:gd name="connsiteX11" fmla="*/ 11615895 w 11795893"/>
                  <a:gd name="connsiteY11" fmla="*/ 58556 h 2863721"/>
                  <a:gd name="connsiteX12" fmla="*/ 11686233 w 11795893"/>
                  <a:gd name="connsiteY12" fmla="*/ 741843 h 2863721"/>
                  <a:gd name="connsiteX13" fmla="*/ 11696282 w 11795893"/>
                  <a:gd name="connsiteY13" fmla="*/ 2309386 h 2863721"/>
                  <a:gd name="connsiteX14" fmla="*/ 11686233 w 11795893"/>
                  <a:gd name="connsiteY14" fmla="*/ 2801755 h 2863721"/>
                  <a:gd name="connsiteX15" fmla="*/ 10912510 w 11795893"/>
                  <a:gd name="connsiteY15" fmla="*/ 2831900 h 2863721"/>
                  <a:gd name="connsiteX16" fmla="*/ 10008159 w 11795893"/>
                  <a:gd name="connsiteY16" fmla="*/ 2831900 h 2863721"/>
                  <a:gd name="connsiteX17" fmla="*/ 9435402 w 11795893"/>
                  <a:gd name="connsiteY17" fmla="*/ 2831900 h 2863721"/>
                  <a:gd name="connsiteX18" fmla="*/ 7365442 w 11795893"/>
                  <a:gd name="connsiteY18" fmla="*/ 2791707 h 2863721"/>
                  <a:gd name="connsiteX19" fmla="*/ 6742444 w 11795893"/>
                  <a:gd name="connsiteY19" fmla="*/ 2811803 h 2863721"/>
                  <a:gd name="connsiteX20" fmla="*/ 6601767 w 11795893"/>
                  <a:gd name="connsiteY20" fmla="*/ 2801755 h 2863721"/>
                  <a:gd name="connsiteX21" fmla="*/ 4783016 w 11795893"/>
                  <a:gd name="connsiteY21" fmla="*/ 2851997 h 2863721"/>
                  <a:gd name="connsiteX22" fmla="*/ 3938954 w 11795893"/>
                  <a:gd name="connsiteY22" fmla="*/ 2831900 h 2863721"/>
                  <a:gd name="connsiteX23" fmla="*/ 2944167 w 11795893"/>
                  <a:gd name="connsiteY23" fmla="*/ 2811803 h 2863721"/>
                  <a:gd name="connsiteX24" fmla="*/ 1889090 w 11795893"/>
                  <a:gd name="connsiteY24" fmla="*/ 2821852 h 2863721"/>
                  <a:gd name="connsiteX25" fmla="*/ 12890 w 11795893"/>
                  <a:gd name="connsiteY25" fmla="*/ 2801753 h 2863721"/>
                  <a:gd name="connsiteX0" fmla="*/ 0 w 11731364"/>
                  <a:gd name="connsiteY0" fmla="*/ 152690 h 2988001"/>
                  <a:gd name="connsiteX1" fmla="*/ 552660 w 11731364"/>
                  <a:gd name="connsiteY1" fmla="*/ 132593 h 2988001"/>
                  <a:gd name="connsiteX2" fmla="*/ 1637882 w 11731364"/>
                  <a:gd name="connsiteY2" fmla="*/ 142641 h 2988001"/>
                  <a:gd name="connsiteX3" fmla="*/ 2019719 w 11731364"/>
                  <a:gd name="connsiteY3" fmla="*/ 142641 h 2988001"/>
                  <a:gd name="connsiteX4" fmla="*/ 4531807 w 11731364"/>
                  <a:gd name="connsiteY4" fmla="*/ 162738 h 2988001"/>
                  <a:gd name="connsiteX5" fmla="*/ 6300317 w 11731364"/>
                  <a:gd name="connsiteY5" fmla="*/ 192883 h 2988001"/>
                  <a:gd name="connsiteX6" fmla="*/ 7063991 w 11731364"/>
                  <a:gd name="connsiteY6" fmla="*/ 162738 h 2988001"/>
                  <a:gd name="connsiteX7" fmla="*/ 8098972 w 11731364"/>
                  <a:gd name="connsiteY7" fmla="*/ 192883 h 2988001"/>
                  <a:gd name="connsiteX8" fmla="*/ 9485644 w 11731364"/>
                  <a:gd name="connsiteY8" fmla="*/ 192883 h 2988001"/>
                  <a:gd name="connsiteX9" fmla="*/ 9827288 w 11731364"/>
                  <a:gd name="connsiteY9" fmla="*/ 162738 h 2988001"/>
                  <a:gd name="connsiteX10" fmla="*/ 10671350 w 11731364"/>
                  <a:gd name="connsiteY10" fmla="*/ 132593 h 2988001"/>
                  <a:gd name="connsiteX11" fmla="*/ 11615895 w 11731364"/>
                  <a:gd name="connsiteY11" fmla="*/ 182836 h 2988001"/>
                  <a:gd name="connsiteX12" fmla="*/ 11696282 w 11731364"/>
                  <a:gd name="connsiteY12" fmla="*/ 2433666 h 2988001"/>
                  <a:gd name="connsiteX13" fmla="*/ 11686233 w 11731364"/>
                  <a:gd name="connsiteY13" fmla="*/ 2926035 h 2988001"/>
                  <a:gd name="connsiteX14" fmla="*/ 10912510 w 11731364"/>
                  <a:gd name="connsiteY14" fmla="*/ 2956180 h 2988001"/>
                  <a:gd name="connsiteX15" fmla="*/ 10008159 w 11731364"/>
                  <a:gd name="connsiteY15" fmla="*/ 2956180 h 2988001"/>
                  <a:gd name="connsiteX16" fmla="*/ 9435402 w 11731364"/>
                  <a:gd name="connsiteY16" fmla="*/ 2956180 h 2988001"/>
                  <a:gd name="connsiteX17" fmla="*/ 7365442 w 11731364"/>
                  <a:gd name="connsiteY17" fmla="*/ 2915987 h 2988001"/>
                  <a:gd name="connsiteX18" fmla="*/ 6742444 w 11731364"/>
                  <a:gd name="connsiteY18" fmla="*/ 2936083 h 2988001"/>
                  <a:gd name="connsiteX19" fmla="*/ 6601767 w 11731364"/>
                  <a:gd name="connsiteY19" fmla="*/ 2926035 h 2988001"/>
                  <a:gd name="connsiteX20" fmla="*/ 4783016 w 11731364"/>
                  <a:gd name="connsiteY20" fmla="*/ 2976277 h 2988001"/>
                  <a:gd name="connsiteX21" fmla="*/ 3938954 w 11731364"/>
                  <a:gd name="connsiteY21" fmla="*/ 2956180 h 2988001"/>
                  <a:gd name="connsiteX22" fmla="*/ 2944167 w 11731364"/>
                  <a:gd name="connsiteY22" fmla="*/ 2936083 h 2988001"/>
                  <a:gd name="connsiteX23" fmla="*/ 1889090 w 11731364"/>
                  <a:gd name="connsiteY23" fmla="*/ 2946132 h 2988001"/>
                  <a:gd name="connsiteX24" fmla="*/ 12890 w 11731364"/>
                  <a:gd name="connsiteY24" fmla="*/ 2926033 h 2988001"/>
                  <a:gd name="connsiteX0" fmla="*/ 0 w 11761041"/>
                  <a:gd name="connsiteY0" fmla="*/ 189003 h 3175501"/>
                  <a:gd name="connsiteX1" fmla="*/ 552660 w 11761041"/>
                  <a:gd name="connsiteY1" fmla="*/ 168906 h 3175501"/>
                  <a:gd name="connsiteX2" fmla="*/ 1637882 w 11761041"/>
                  <a:gd name="connsiteY2" fmla="*/ 178954 h 3175501"/>
                  <a:gd name="connsiteX3" fmla="*/ 2019719 w 11761041"/>
                  <a:gd name="connsiteY3" fmla="*/ 178954 h 3175501"/>
                  <a:gd name="connsiteX4" fmla="*/ 4531807 w 11761041"/>
                  <a:gd name="connsiteY4" fmla="*/ 199051 h 3175501"/>
                  <a:gd name="connsiteX5" fmla="*/ 6300317 w 11761041"/>
                  <a:gd name="connsiteY5" fmla="*/ 229196 h 3175501"/>
                  <a:gd name="connsiteX6" fmla="*/ 7063991 w 11761041"/>
                  <a:gd name="connsiteY6" fmla="*/ 199051 h 3175501"/>
                  <a:gd name="connsiteX7" fmla="*/ 8098972 w 11761041"/>
                  <a:gd name="connsiteY7" fmla="*/ 229196 h 3175501"/>
                  <a:gd name="connsiteX8" fmla="*/ 9485644 w 11761041"/>
                  <a:gd name="connsiteY8" fmla="*/ 229196 h 3175501"/>
                  <a:gd name="connsiteX9" fmla="*/ 9827288 w 11761041"/>
                  <a:gd name="connsiteY9" fmla="*/ 199051 h 3175501"/>
                  <a:gd name="connsiteX10" fmla="*/ 10671350 w 11761041"/>
                  <a:gd name="connsiteY10" fmla="*/ 168906 h 3175501"/>
                  <a:gd name="connsiteX11" fmla="*/ 11615895 w 11761041"/>
                  <a:gd name="connsiteY11" fmla="*/ 219149 h 3175501"/>
                  <a:gd name="connsiteX12" fmla="*/ 11686233 w 11761041"/>
                  <a:gd name="connsiteY12" fmla="*/ 2962348 h 3175501"/>
                  <a:gd name="connsiteX13" fmla="*/ 10912510 w 11761041"/>
                  <a:gd name="connsiteY13" fmla="*/ 2992493 h 3175501"/>
                  <a:gd name="connsiteX14" fmla="*/ 10008159 w 11761041"/>
                  <a:gd name="connsiteY14" fmla="*/ 2992493 h 3175501"/>
                  <a:gd name="connsiteX15" fmla="*/ 9435402 w 11761041"/>
                  <a:gd name="connsiteY15" fmla="*/ 2992493 h 3175501"/>
                  <a:gd name="connsiteX16" fmla="*/ 7365442 w 11761041"/>
                  <a:gd name="connsiteY16" fmla="*/ 2952300 h 3175501"/>
                  <a:gd name="connsiteX17" fmla="*/ 6742444 w 11761041"/>
                  <a:gd name="connsiteY17" fmla="*/ 2972396 h 3175501"/>
                  <a:gd name="connsiteX18" fmla="*/ 6601767 w 11761041"/>
                  <a:gd name="connsiteY18" fmla="*/ 2962348 h 3175501"/>
                  <a:gd name="connsiteX19" fmla="*/ 4783016 w 11761041"/>
                  <a:gd name="connsiteY19" fmla="*/ 3012590 h 3175501"/>
                  <a:gd name="connsiteX20" fmla="*/ 3938954 w 11761041"/>
                  <a:gd name="connsiteY20" fmla="*/ 2992493 h 3175501"/>
                  <a:gd name="connsiteX21" fmla="*/ 2944167 w 11761041"/>
                  <a:gd name="connsiteY21" fmla="*/ 2972396 h 3175501"/>
                  <a:gd name="connsiteX22" fmla="*/ 1889090 w 11761041"/>
                  <a:gd name="connsiteY22" fmla="*/ 2982445 h 3175501"/>
                  <a:gd name="connsiteX23" fmla="*/ 12890 w 11761041"/>
                  <a:gd name="connsiteY23" fmla="*/ 2962346 h 3175501"/>
                  <a:gd name="connsiteX0" fmla="*/ 0 w 11837985"/>
                  <a:gd name="connsiteY0" fmla="*/ 32082 h 2997028"/>
                  <a:gd name="connsiteX1" fmla="*/ 552660 w 11837985"/>
                  <a:gd name="connsiteY1" fmla="*/ 11985 h 2997028"/>
                  <a:gd name="connsiteX2" fmla="*/ 1637882 w 11837985"/>
                  <a:gd name="connsiteY2" fmla="*/ 22033 h 2997028"/>
                  <a:gd name="connsiteX3" fmla="*/ 2019719 w 11837985"/>
                  <a:gd name="connsiteY3" fmla="*/ 22033 h 2997028"/>
                  <a:gd name="connsiteX4" fmla="*/ 4531807 w 11837985"/>
                  <a:gd name="connsiteY4" fmla="*/ 42130 h 2997028"/>
                  <a:gd name="connsiteX5" fmla="*/ 6300317 w 11837985"/>
                  <a:gd name="connsiteY5" fmla="*/ 72275 h 2997028"/>
                  <a:gd name="connsiteX6" fmla="*/ 7063991 w 11837985"/>
                  <a:gd name="connsiteY6" fmla="*/ 42130 h 2997028"/>
                  <a:gd name="connsiteX7" fmla="*/ 8098972 w 11837985"/>
                  <a:gd name="connsiteY7" fmla="*/ 72275 h 2997028"/>
                  <a:gd name="connsiteX8" fmla="*/ 9485644 w 11837985"/>
                  <a:gd name="connsiteY8" fmla="*/ 72275 h 2997028"/>
                  <a:gd name="connsiteX9" fmla="*/ 9827288 w 11837985"/>
                  <a:gd name="connsiteY9" fmla="*/ 42130 h 2997028"/>
                  <a:gd name="connsiteX10" fmla="*/ 10671350 w 11837985"/>
                  <a:gd name="connsiteY10" fmla="*/ 11985 h 2997028"/>
                  <a:gd name="connsiteX11" fmla="*/ 11745799 w 11837985"/>
                  <a:gd name="connsiteY11" fmla="*/ 353631 h 2997028"/>
                  <a:gd name="connsiteX12" fmla="*/ 11686233 w 11837985"/>
                  <a:gd name="connsiteY12" fmla="*/ 2805427 h 2997028"/>
                  <a:gd name="connsiteX13" fmla="*/ 10912510 w 11837985"/>
                  <a:gd name="connsiteY13" fmla="*/ 2835572 h 2997028"/>
                  <a:gd name="connsiteX14" fmla="*/ 10008159 w 11837985"/>
                  <a:gd name="connsiteY14" fmla="*/ 2835572 h 2997028"/>
                  <a:gd name="connsiteX15" fmla="*/ 9435402 w 11837985"/>
                  <a:gd name="connsiteY15" fmla="*/ 2835572 h 2997028"/>
                  <a:gd name="connsiteX16" fmla="*/ 7365442 w 11837985"/>
                  <a:gd name="connsiteY16" fmla="*/ 2795379 h 2997028"/>
                  <a:gd name="connsiteX17" fmla="*/ 6742444 w 11837985"/>
                  <a:gd name="connsiteY17" fmla="*/ 2815475 h 2997028"/>
                  <a:gd name="connsiteX18" fmla="*/ 6601767 w 11837985"/>
                  <a:gd name="connsiteY18" fmla="*/ 2805427 h 2997028"/>
                  <a:gd name="connsiteX19" fmla="*/ 4783016 w 11837985"/>
                  <a:gd name="connsiteY19" fmla="*/ 2855669 h 2997028"/>
                  <a:gd name="connsiteX20" fmla="*/ 3938954 w 11837985"/>
                  <a:gd name="connsiteY20" fmla="*/ 2835572 h 2997028"/>
                  <a:gd name="connsiteX21" fmla="*/ 2944167 w 11837985"/>
                  <a:gd name="connsiteY21" fmla="*/ 2815475 h 2997028"/>
                  <a:gd name="connsiteX22" fmla="*/ 1889090 w 11837985"/>
                  <a:gd name="connsiteY22" fmla="*/ 2825524 h 2997028"/>
                  <a:gd name="connsiteX23" fmla="*/ 12890 w 11837985"/>
                  <a:gd name="connsiteY23" fmla="*/ 2805425 h 2997028"/>
                  <a:gd name="connsiteX0" fmla="*/ 0 w 11890507"/>
                  <a:gd name="connsiteY0" fmla="*/ 20097 h 2985043"/>
                  <a:gd name="connsiteX1" fmla="*/ 552660 w 11890507"/>
                  <a:gd name="connsiteY1" fmla="*/ 0 h 2985043"/>
                  <a:gd name="connsiteX2" fmla="*/ 1637882 w 11890507"/>
                  <a:gd name="connsiteY2" fmla="*/ 10048 h 2985043"/>
                  <a:gd name="connsiteX3" fmla="*/ 2019719 w 11890507"/>
                  <a:gd name="connsiteY3" fmla="*/ 10048 h 2985043"/>
                  <a:gd name="connsiteX4" fmla="*/ 4531807 w 11890507"/>
                  <a:gd name="connsiteY4" fmla="*/ 30145 h 2985043"/>
                  <a:gd name="connsiteX5" fmla="*/ 6300317 w 11890507"/>
                  <a:gd name="connsiteY5" fmla="*/ 60290 h 2985043"/>
                  <a:gd name="connsiteX6" fmla="*/ 7063991 w 11890507"/>
                  <a:gd name="connsiteY6" fmla="*/ 30145 h 2985043"/>
                  <a:gd name="connsiteX7" fmla="*/ 8098972 w 11890507"/>
                  <a:gd name="connsiteY7" fmla="*/ 60290 h 2985043"/>
                  <a:gd name="connsiteX8" fmla="*/ 9485644 w 11890507"/>
                  <a:gd name="connsiteY8" fmla="*/ 60290 h 2985043"/>
                  <a:gd name="connsiteX9" fmla="*/ 9827288 w 11890507"/>
                  <a:gd name="connsiteY9" fmla="*/ 30145 h 2985043"/>
                  <a:gd name="connsiteX10" fmla="*/ 10671350 w 11890507"/>
                  <a:gd name="connsiteY10" fmla="*/ 0 h 2985043"/>
                  <a:gd name="connsiteX11" fmla="*/ 11745799 w 11890507"/>
                  <a:gd name="connsiteY11" fmla="*/ 341646 h 2985043"/>
                  <a:gd name="connsiteX12" fmla="*/ 11686233 w 11890507"/>
                  <a:gd name="connsiteY12" fmla="*/ 2793442 h 2985043"/>
                  <a:gd name="connsiteX13" fmla="*/ 10912510 w 11890507"/>
                  <a:gd name="connsiteY13" fmla="*/ 2823587 h 2985043"/>
                  <a:gd name="connsiteX14" fmla="*/ 10008159 w 11890507"/>
                  <a:gd name="connsiteY14" fmla="*/ 2823587 h 2985043"/>
                  <a:gd name="connsiteX15" fmla="*/ 9435402 w 11890507"/>
                  <a:gd name="connsiteY15" fmla="*/ 2823587 h 2985043"/>
                  <a:gd name="connsiteX16" fmla="*/ 7365442 w 11890507"/>
                  <a:gd name="connsiteY16" fmla="*/ 2783394 h 2985043"/>
                  <a:gd name="connsiteX17" fmla="*/ 6742444 w 11890507"/>
                  <a:gd name="connsiteY17" fmla="*/ 2803490 h 2985043"/>
                  <a:gd name="connsiteX18" fmla="*/ 6601767 w 11890507"/>
                  <a:gd name="connsiteY18" fmla="*/ 2793442 h 2985043"/>
                  <a:gd name="connsiteX19" fmla="*/ 4783016 w 11890507"/>
                  <a:gd name="connsiteY19" fmla="*/ 2843684 h 2985043"/>
                  <a:gd name="connsiteX20" fmla="*/ 3938954 w 11890507"/>
                  <a:gd name="connsiteY20" fmla="*/ 2823587 h 2985043"/>
                  <a:gd name="connsiteX21" fmla="*/ 2944167 w 11890507"/>
                  <a:gd name="connsiteY21" fmla="*/ 2803490 h 2985043"/>
                  <a:gd name="connsiteX22" fmla="*/ 1889090 w 11890507"/>
                  <a:gd name="connsiteY22" fmla="*/ 2813539 h 2985043"/>
                  <a:gd name="connsiteX23" fmla="*/ 12890 w 11890507"/>
                  <a:gd name="connsiteY23" fmla="*/ 2793440 h 2985043"/>
                  <a:gd name="connsiteX0" fmla="*/ 0 w 11888066"/>
                  <a:gd name="connsiteY0" fmla="*/ 24726 h 2863208"/>
                  <a:gd name="connsiteX1" fmla="*/ 552660 w 11888066"/>
                  <a:gd name="connsiteY1" fmla="*/ 4629 h 2863208"/>
                  <a:gd name="connsiteX2" fmla="*/ 1637882 w 11888066"/>
                  <a:gd name="connsiteY2" fmla="*/ 14677 h 2863208"/>
                  <a:gd name="connsiteX3" fmla="*/ 2019719 w 11888066"/>
                  <a:gd name="connsiteY3" fmla="*/ 14677 h 2863208"/>
                  <a:gd name="connsiteX4" fmla="*/ 4531807 w 11888066"/>
                  <a:gd name="connsiteY4" fmla="*/ 34774 h 2863208"/>
                  <a:gd name="connsiteX5" fmla="*/ 6300317 w 11888066"/>
                  <a:gd name="connsiteY5" fmla="*/ 64919 h 2863208"/>
                  <a:gd name="connsiteX6" fmla="*/ 7063991 w 11888066"/>
                  <a:gd name="connsiteY6" fmla="*/ 34774 h 2863208"/>
                  <a:gd name="connsiteX7" fmla="*/ 8098972 w 11888066"/>
                  <a:gd name="connsiteY7" fmla="*/ 64919 h 2863208"/>
                  <a:gd name="connsiteX8" fmla="*/ 9485644 w 11888066"/>
                  <a:gd name="connsiteY8" fmla="*/ 64919 h 2863208"/>
                  <a:gd name="connsiteX9" fmla="*/ 9827288 w 11888066"/>
                  <a:gd name="connsiteY9" fmla="*/ 34774 h 2863208"/>
                  <a:gd name="connsiteX10" fmla="*/ 10671350 w 11888066"/>
                  <a:gd name="connsiteY10" fmla="*/ 4629 h 2863208"/>
                  <a:gd name="connsiteX11" fmla="*/ 11745799 w 11888066"/>
                  <a:gd name="connsiteY11" fmla="*/ 346275 h 2863208"/>
                  <a:gd name="connsiteX12" fmla="*/ 11786160 w 11888066"/>
                  <a:gd name="connsiteY12" fmla="*/ 2587055 h 2863208"/>
                  <a:gd name="connsiteX13" fmla="*/ 10912510 w 11888066"/>
                  <a:gd name="connsiteY13" fmla="*/ 2828216 h 2863208"/>
                  <a:gd name="connsiteX14" fmla="*/ 10008159 w 11888066"/>
                  <a:gd name="connsiteY14" fmla="*/ 2828216 h 2863208"/>
                  <a:gd name="connsiteX15" fmla="*/ 9435402 w 11888066"/>
                  <a:gd name="connsiteY15" fmla="*/ 2828216 h 2863208"/>
                  <a:gd name="connsiteX16" fmla="*/ 7365442 w 11888066"/>
                  <a:gd name="connsiteY16" fmla="*/ 2788023 h 2863208"/>
                  <a:gd name="connsiteX17" fmla="*/ 6742444 w 11888066"/>
                  <a:gd name="connsiteY17" fmla="*/ 2808119 h 2863208"/>
                  <a:gd name="connsiteX18" fmla="*/ 6601767 w 11888066"/>
                  <a:gd name="connsiteY18" fmla="*/ 2798071 h 2863208"/>
                  <a:gd name="connsiteX19" fmla="*/ 4783016 w 11888066"/>
                  <a:gd name="connsiteY19" fmla="*/ 2848313 h 2863208"/>
                  <a:gd name="connsiteX20" fmla="*/ 3938954 w 11888066"/>
                  <a:gd name="connsiteY20" fmla="*/ 2828216 h 2863208"/>
                  <a:gd name="connsiteX21" fmla="*/ 2944167 w 11888066"/>
                  <a:gd name="connsiteY21" fmla="*/ 2808119 h 2863208"/>
                  <a:gd name="connsiteX22" fmla="*/ 1889090 w 11888066"/>
                  <a:gd name="connsiteY22" fmla="*/ 2818168 h 2863208"/>
                  <a:gd name="connsiteX23" fmla="*/ 12890 w 11888066"/>
                  <a:gd name="connsiteY23" fmla="*/ 2798069 h 2863208"/>
                  <a:gd name="connsiteX0" fmla="*/ 0 w 11848891"/>
                  <a:gd name="connsiteY0" fmla="*/ 24726 h 2849235"/>
                  <a:gd name="connsiteX1" fmla="*/ 552660 w 11848891"/>
                  <a:gd name="connsiteY1" fmla="*/ 4629 h 2849235"/>
                  <a:gd name="connsiteX2" fmla="*/ 1637882 w 11848891"/>
                  <a:gd name="connsiteY2" fmla="*/ 14677 h 2849235"/>
                  <a:gd name="connsiteX3" fmla="*/ 2019719 w 11848891"/>
                  <a:gd name="connsiteY3" fmla="*/ 14677 h 2849235"/>
                  <a:gd name="connsiteX4" fmla="*/ 4531807 w 11848891"/>
                  <a:gd name="connsiteY4" fmla="*/ 34774 h 2849235"/>
                  <a:gd name="connsiteX5" fmla="*/ 6300317 w 11848891"/>
                  <a:gd name="connsiteY5" fmla="*/ 64919 h 2849235"/>
                  <a:gd name="connsiteX6" fmla="*/ 7063991 w 11848891"/>
                  <a:gd name="connsiteY6" fmla="*/ 34774 h 2849235"/>
                  <a:gd name="connsiteX7" fmla="*/ 8098972 w 11848891"/>
                  <a:gd name="connsiteY7" fmla="*/ 64919 h 2849235"/>
                  <a:gd name="connsiteX8" fmla="*/ 9485644 w 11848891"/>
                  <a:gd name="connsiteY8" fmla="*/ 64919 h 2849235"/>
                  <a:gd name="connsiteX9" fmla="*/ 9827288 w 11848891"/>
                  <a:gd name="connsiteY9" fmla="*/ 34774 h 2849235"/>
                  <a:gd name="connsiteX10" fmla="*/ 10671350 w 11848891"/>
                  <a:gd name="connsiteY10" fmla="*/ 4629 h 2849235"/>
                  <a:gd name="connsiteX11" fmla="*/ 11745799 w 11848891"/>
                  <a:gd name="connsiteY11" fmla="*/ 346275 h 2849235"/>
                  <a:gd name="connsiteX12" fmla="*/ 11786160 w 11848891"/>
                  <a:gd name="connsiteY12" fmla="*/ 2587055 h 2849235"/>
                  <a:gd name="connsiteX13" fmla="*/ 10912510 w 11848891"/>
                  <a:gd name="connsiteY13" fmla="*/ 2828216 h 2849235"/>
                  <a:gd name="connsiteX14" fmla="*/ 10008159 w 11848891"/>
                  <a:gd name="connsiteY14" fmla="*/ 2828216 h 2849235"/>
                  <a:gd name="connsiteX15" fmla="*/ 9435402 w 11848891"/>
                  <a:gd name="connsiteY15" fmla="*/ 2828216 h 2849235"/>
                  <a:gd name="connsiteX16" fmla="*/ 7365442 w 11848891"/>
                  <a:gd name="connsiteY16" fmla="*/ 2788023 h 2849235"/>
                  <a:gd name="connsiteX17" fmla="*/ 6742444 w 11848891"/>
                  <a:gd name="connsiteY17" fmla="*/ 2808119 h 2849235"/>
                  <a:gd name="connsiteX18" fmla="*/ 6601767 w 11848891"/>
                  <a:gd name="connsiteY18" fmla="*/ 2798071 h 2849235"/>
                  <a:gd name="connsiteX19" fmla="*/ 4783016 w 11848891"/>
                  <a:gd name="connsiteY19" fmla="*/ 2848313 h 2849235"/>
                  <a:gd name="connsiteX20" fmla="*/ 3938954 w 11848891"/>
                  <a:gd name="connsiteY20" fmla="*/ 2828216 h 2849235"/>
                  <a:gd name="connsiteX21" fmla="*/ 2944167 w 11848891"/>
                  <a:gd name="connsiteY21" fmla="*/ 2808119 h 2849235"/>
                  <a:gd name="connsiteX22" fmla="*/ 1889090 w 11848891"/>
                  <a:gd name="connsiteY22" fmla="*/ 2818168 h 2849235"/>
                  <a:gd name="connsiteX23" fmla="*/ 12890 w 11848891"/>
                  <a:gd name="connsiteY23" fmla="*/ 2798069 h 2849235"/>
                  <a:gd name="connsiteX0" fmla="*/ 0 w 11916572"/>
                  <a:gd name="connsiteY0" fmla="*/ 24726 h 2849235"/>
                  <a:gd name="connsiteX1" fmla="*/ 552660 w 11916572"/>
                  <a:gd name="connsiteY1" fmla="*/ 4629 h 2849235"/>
                  <a:gd name="connsiteX2" fmla="*/ 1637882 w 11916572"/>
                  <a:gd name="connsiteY2" fmla="*/ 14677 h 2849235"/>
                  <a:gd name="connsiteX3" fmla="*/ 2019719 w 11916572"/>
                  <a:gd name="connsiteY3" fmla="*/ 14677 h 2849235"/>
                  <a:gd name="connsiteX4" fmla="*/ 4531807 w 11916572"/>
                  <a:gd name="connsiteY4" fmla="*/ 34774 h 2849235"/>
                  <a:gd name="connsiteX5" fmla="*/ 6300317 w 11916572"/>
                  <a:gd name="connsiteY5" fmla="*/ 64919 h 2849235"/>
                  <a:gd name="connsiteX6" fmla="*/ 7063991 w 11916572"/>
                  <a:gd name="connsiteY6" fmla="*/ 34774 h 2849235"/>
                  <a:gd name="connsiteX7" fmla="*/ 8098972 w 11916572"/>
                  <a:gd name="connsiteY7" fmla="*/ 64919 h 2849235"/>
                  <a:gd name="connsiteX8" fmla="*/ 9485644 w 11916572"/>
                  <a:gd name="connsiteY8" fmla="*/ 64919 h 2849235"/>
                  <a:gd name="connsiteX9" fmla="*/ 9827288 w 11916572"/>
                  <a:gd name="connsiteY9" fmla="*/ 34774 h 2849235"/>
                  <a:gd name="connsiteX10" fmla="*/ 10671350 w 11916572"/>
                  <a:gd name="connsiteY10" fmla="*/ 4629 h 2849235"/>
                  <a:gd name="connsiteX11" fmla="*/ 11745799 w 11916572"/>
                  <a:gd name="connsiteY11" fmla="*/ 346275 h 2849235"/>
                  <a:gd name="connsiteX12" fmla="*/ 11786160 w 11916572"/>
                  <a:gd name="connsiteY12" fmla="*/ 2587055 h 2849235"/>
                  <a:gd name="connsiteX13" fmla="*/ 10912510 w 11916572"/>
                  <a:gd name="connsiteY13" fmla="*/ 2828216 h 2849235"/>
                  <a:gd name="connsiteX14" fmla="*/ 10008159 w 11916572"/>
                  <a:gd name="connsiteY14" fmla="*/ 2828216 h 2849235"/>
                  <a:gd name="connsiteX15" fmla="*/ 9435402 w 11916572"/>
                  <a:gd name="connsiteY15" fmla="*/ 2828216 h 2849235"/>
                  <a:gd name="connsiteX16" fmla="*/ 7365442 w 11916572"/>
                  <a:gd name="connsiteY16" fmla="*/ 2788023 h 2849235"/>
                  <a:gd name="connsiteX17" fmla="*/ 6742444 w 11916572"/>
                  <a:gd name="connsiteY17" fmla="*/ 2808119 h 2849235"/>
                  <a:gd name="connsiteX18" fmla="*/ 6601767 w 11916572"/>
                  <a:gd name="connsiteY18" fmla="*/ 2798071 h 2849235"/>
                  <a:gd name="connsiteX19" fmla="*/ 4783016 w 11916572"/>
                  <a:gd name="connsiteY19" fmla="*/ 2848313 h 2849235"/>
                  <a:gd name="connsiteX20" fmla="*/ 3938954 w 11916572"/>
                  <a:gd name="connsiteY20" fmla="*/ 2828216 h 2849235"/>
                  <a:gd name="connsiteX21" fmla="*/ 2944167 w 11916572"/>
                  <a:gd name="connsiteY21" fmla="*/ 2808119 h 2849235"/>
                  <a:gd name="connsiteX22" fmla="*/ 1889090 w 11916572"/>
                  <a:gd name="connsiteY22" fmla="*/ 2818168 h 2849235"/>
                  <a:gd name="connsiteX23" fmla="*/ 12890 w 11916572"/>
                  <a:gd name="connsiteY23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9485644 w 11936930"/>
                  <a:gd name="connsiteY8" fmla="*/ 64919 h 2849235"/>
                  <a:gd name="connsiteX9" fmla="*/ 9827288 w 11936930"/>
                  <a:gd name="connsiteY9" fmla="*/ 34774 h 2849235"/>
                  <a:gd name="connsiteX10" fmla="*/ 10311615 w 11936930"/>
                  <a:gd name="connsiteY10" fmla="*/ 4629 h 2849235"/>
                  <a:gd name="connsiteX11" fmla="*/ 11745799 w 11936930"/>
                  <a:gd name="connsiteY11" fmla="*/ 346275 h 2849235"/>
                  <a:gd name="connsiteX12" fmla="*/ 11786160 w 11936930"/>
                  <a:gd name="connsiteY12" fmla="*/ 2587055 h 2849235"/>
                  <a:gd name="connsiteX13" fmla="*/ 10912510 w 11936930"/>
                  <a:gd name="connsiteY13" fmla="*/ 2828216 h 2849235"/>
                  <a:gd name="connsiteX14" fmla="*/ 10008159 w 11936930"/>
                  <a:gd name="connsiteY14" fmla="*/ 2828216 h 2849235"/>
                  <a:gd name="connsiteX15" fmla="*/ 9435402 w 11936930"/>
                  <a:gd name="connsiteY15" fmla="*/ 2828216 h 2849235"/>
                  <a:gd name="connsiteX16" fmla="*/ 7365442 w 11936930"/>
                  <a:gd name="connsiteY16" fmla="*/ 2788023 h 2849235"/>
                  <a:gd name="connsiteX17" fmla="*/ 6742444 w 11936930"/>
                  <a:gd name="connsiteY17" fmla="*/ 2808119 h 2849235"/>
                  <a:gd name="connsiteX18" fmla="*/ 6601767 w 11936930"/>
                  <a:gd name="connsiteY18" fmla="*/ 2798071 h 2849235"/>
                  <a:gd name="connsiteX19" fmla="*/ 4783016 w 11936930"/>
                  <a:gd name="connsiteY19" fmla="*/ 2848313 h 2849235"/>
                  <a:gd name="connsiteX20" fmla="*/ 3938954 w 11936930"/>
                  <a:gd name="connsiteY20" fmla="*/ 2828216 h 2849235"/>
                  <a:gd name="connsiteX21" fmla="*/ 2944167 w 11936930"/>
                  <a:gd name="connsiteY21" fmla="*/ 2808119 h 2849235"/>
                  <a:gd name="connsiteX22" fmla="*/ 1889090 w 11936930"/>
                  <a:gd name="connsiteY22" fmla="*/ 2818168 h 2849235"/>
                  <a:gd name="connsiteX23" fmla="*/ 12890 w 11936930"/>
                  <a:gd name="connsiteY23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9485644 w 11936930"/>
                  <a:gd name="connsiteY8" fmla="*/ 64919 h 2849235"/>
                  <a:gd name="connsiteX9" fmla="*/ 10311615 w 11936930"/>
                  <a:gd name="connsiteY9" fmla="*/ 4629 h 2849235"/>
                  <a:gd name="connsiteX10" fmla="*/ 11745799 w 11936930"/>
                  <a:gd name="connsiteY10" fmla="*/ 346275 h 2849235"/>
                  <a:gd name="connsiteX11" fmla="*/ 11786160 w 11936930"/>
                  <a:gd name="connsiteY11" fmla="*/ 2587055 h 2849235"/>
                  <a:gd name="connsiteX12" fmla="*/ 10912510 w 11936930"/>
                  <a:gd name="connsiteY12" fmla="*/ 2828216 h 2849235"/>
                  <a:gd name="connsiteX13" fmla="*/ 10008159 w 11936930"/>
                  <a:gd name="connsiteY13" fmla="*/ 2828216 h 2849235"/>
                  <a:gd name="connsiteX14" fmla="*/ 9435402 w 11936930"/>
                  <a:gd name="connsiteY14" fmla="*/ 2828216 h 2849235"/>
                  <a:gd name="connsiteX15" fmla="*/ 7365442 w 11936930"/>
                  <a:gd name="connsiteY15" fmla="*/ 2788023 h 2849235"/>
                  <a:gd name="connsiteX16" fmla="*/ 6742444 w 11936930"/>
                  <a:gd name="connsiteY16" fmla="*/ 2808119 h 2849235"/>
                  <a:gd name="connsiteX17" fmla="*/ 6601767 w 11936930"/>
                  <a:gd name="connsiteY17" fmla="*/ 2798071 h 2849235"/>
                  <a:gd name="connsiteX18" fmla="*/ 4783016 w 11936930"/>
                  <a:gd name="connsiteY18" fmla="*/ 2848313 h 2849235"/>
                  <a:gd name="connsiteX19" fmla="*/ 3938954 w 11936930"/>
                  <a:gd name="connsiteY19" fmla="*/ 2828216 h 2849235"/>
                  <a:gd name="connsiteX20" fmla="*/ 2944167 w 11936930"/>
                  <a:gd name="connsiteY20" fmla="*/ 2808119 h 2849235"/>
                  <a:gd name="connsiteX21" fmla="*/ 1889090 w 11936930"/>
                  <a:gd name="connsiteY21" fmla="*/ 2818168 h 2849235"/>
                  <a:gd name="connsiteX22" fmla="*/ 12890 w 11936930"/>
                  <a:gd name="connsiteY22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8956033 w 11936930"/>
                  <a:gd name="connsiteY8" fmla="*/ 64919 h 2849235"/>
                  <a:gd name="connsiteX9" fmla="*/ 10311615 w 11936930"/>
                  <a:gd name="connsiteY9" fmla="*/ 4629 h 2849235"/>
                  <a:gd name="connsiteX10" fmla="*/ 11745799 w 11936930"/>
                  <a:gd name="connsiteY10" fmla="*/ 346275 h 2849235"/>
                  <a:gd name="connsiteX11" fmla="*/ 11786160 w 11936930"/>
                  <a:gd name="connsiteY11" fmla="*/ 2587055 h 2849235"/>
                  <a:gd name="connsiteX12" fmla="*/ 10912510 w 11936930"/>
                  <a:gd name="connsiteY12" fmla="*/ 2828216 h 2849235"/>
                  <a:gd name="connsiteX13" fmla="*/ 10008159 w 11936930"/>
                  <a:gd name="connsiteY13" fmla="*/ 2828216 h 2849235"/>
                  <a:gd name="connsiteX14" fmla="*/ 9435402 w 11936930"/>
                  <a:gd name="connsiteY14" fmla="*/ 2828216 h 2849235"/>
                  <a:gd name="connsiteX15" fmla="*/ 7365442 w 11936930"/>
                  <a:gd name="connsiteY15" fmla="*/ 2788023 h 2849235"/>
                  <a:gd name="connsiteX16" fmla="*/ 6742444 w 11936930"/>
                  <a:gd name="connsiteY16" fmla="*/ 2808119 h 2849235"/>
                  <a:gd name="connsiteX17" fmla="*/ 6601767 w 11936930"/>
                  <a:gd name="connsiteY17" fmla="*/ 2798071 h 2849235"/>
                  <a:gd name="connsiteX18" fmla="*/ 4783016 w 11936930"/>
                  <a:gd name="connsiteY18" fmla="*/ 2848313 h 2849235"/>
                  <a:gd name="connsiteX19" fmla="*/ 3938954 w 11936930"/>
                  <a:gd name="connsiteY19" fmla="*/ 2828216 h 2849235"/>
                  <a:gd name="connsiteX20" fmla="*/ 2944167 w 11936930"/>
                  <a:gd name="connsiteY20" fmla="*/ 2808119 h 2849235"/>
                  <a:gd name="connsiteX21" fmla="*/ 1889090 w 11936930"/>
                  <a:gd name="connsiteY21" fmla="*/ 2818168 h 2849235"/>
                  <a:gd name="connsiteX22" fmla="*/ 12890 w 11936930"/>
                  <a:gd name="connsiteY22" fmla="*/ 2798069 h 2849235"/>
                  <a:gd name="connsiteX0" fmla="*/ 0 w 11949661"/>
                  <a:gd name="connsiteY0" fmla="*/ 24726 h 2849235"/>
                  <a:gd name="connsiteX1" fmla="*/ 552660 w 11949661"/>
                  <a:gd name="connsiteY1" fmla="*/ 4629 h 2849235"/>
                  <a:gd name="connsiteX2" fmla="*/ 1637882 w 11949661"/>
                  <a:gd name="connsiteY2" fmla="*/ 14677 h 2849235"/>
                  <a:gd name="connsiteX3" fmla="*/ 2019719 w 11949661"/>
                  <a:gd name="connsiteY3" fmla="*/ 14677 h 2849235"/>
                  <a:gd name="connsiteX4" fmla="*/ 4531807 w 11949661"/>
                  <a:gd name="connsiteY4" fmla="*/ 34774 h 2849235"/>
                  <a:gd name="connsiteX5" fmla="*/ 6300317 w 11949661"/>
                  <a:gd name="connsiteY5" fmla="*/ 64919 h 2849235"/>
                  <a:gd name="connsiteX6" fmla="*/ 7063991 w 11949661"/>
                  <a:gd name="connsiteY6" fmla="*/ 34774 h 2849235"/>
                  <a:gd name="connsiteX7" fmla="*/ 8098972 w 11949661"/>
                  <a:gd name="connsiteY7" fmla="*/ 64919 h 2849235"/>
                  <a:gd name="connsiteX8" fmla="*/ 8956033 w 11949661"/>
                  <a:gd name="connsiteY8" fmla="*/ 64919 h 2849235"/>
                  <a:gd name="connsiteX9" fmla="*/ 10101769 w 11949661"/>
                  <a:gd name="connsiteY9" fmla="*/ 4629 h 2849235"/>
                  <a:gd name="connsiteX10" fmla="*/ 11745799 w 11949661"/>
                  <a:gd name="connsiteY10" fmla="*/ 346275 h 2849235"/>
                  <a:gd name="connsiteX11" fmla="*/ 11786160 w 11949661"/>
                  <a:gd name="connsiteY11" fmla="*/ 2587055 h 2849235"/>
                  <a:gd name="connsiteX12" fmla="*/ 10912510 w 11949661"/>
                  <a:gd name="connsiteY12" fmla="*/ 2828216 h 2849235"/>
                  <a:gd name="connsiteX13" fmla="*/ 10008159 w 11949661"/>
                  <a:gd name="connsiteY13" fmla="*/ 2828216 h 2849235"/>
                  <a:gd name="connsiteX14" fmla="*/ 9435402 w 11949661"/>
                  <a:gd name="connsiteY14" fmla="*/ 2828216 h 2849235"/>
                  <a:gd name="connsiteX15" fmla="*/ 7365442 w 11949661"/>
                  <a:gd name="connsiteY15" fmla="*/ 2788023 h 2849235"/>
                  <a:gd name="connsiteX16" fmla="*/ 6742444 w 11949661"/>
                  <a:gd name="connsiteY16" fmla="*/ 2808119 h 2849235"/>
                  <a:gd name="connsiteX17" fmla="*/ 6601767 w 11949661"/>
                  <a:gd name="connsiteY17" fmla="*/ 2798071 h 2849235"/>
                  <a:gd name="connsiteX18" fmla="*/ 4783016 w 11949661"/>
                  <a:gd name="connsiteY18" fmla="*/ 2848313 h 2849235"/>
                  <a:gd name="connsiteX19" fmla="*/ 3938954 w 11949661"/>
                  <a:gd name="connsiteY19" fmla="*/ 2828216 h 2849235"/>
                  <a:gd name="connsiteX20" fmla="*/ 2944167 w 11949661"/>
                  <a:gd name="connsiteY20" fmla="*/ 2808119 h 2849235"/>
                  <a:gd name="connsiteX21" fmla="*/ 1889090 w 11949661"/>
                  <a:gd name="connsiteY21" fmla="*/ 2818168 h 2849235"/>
                  <a:gd name="connsiteX22" fmla="*/ 12890 w 11949661"/>
                  <a:gd name="connsiteY22" fmla="*/ 2798069 h 2849235"/>
                  <a:gd name="connsiteX0" fmla="*/ 0 w 11981169"/>
                  <a:gd name="connsiteY0" fmla="*/ 24726 h 2849235"/>
                  <a:gd name="connsiteX1" fmla="*/ 552660 w 11981169"/>
                  <a:gd name="connsiteY1" fmla="*/ 4629 h 2849235"/>
                  <a:gd name="connsiteX2" fmla="*/ 1637882 w 11981169"/>
                  <a:gd name="connsiteY2" fmla="*/ 14677 h 2849235"/>
                  <a:gd name="connsiteX3" fmla="*/ 2019719 w 11981169"/>
                  <a:gd name="connsiteY3" fmla="*/ 14677 h 2849235"/>
                  <a:gd name="connsiteX4" fmla="*/ 4531807 w 11981169"/>
                  <a:gd name="connsiteY4" fmla="*/ 34774 h 2849235"/>
                  <a:gd name="connsiteX5" fmla="*/ 6300317 w 11981169"/>
                  <a:gd name="connsiteY5" fmla="*/ 64919 h 2849235"/>
                  <a:gd name="connsiteX6" fmla="*/ 7063991 w 11981169"/>
                  <a:gd name="connsiteY6" fmla="*/ 34774 h 2849235"/>
                  <a:gd name="connsiteX7" fmla="*/ 8098972 w 11981169"/>
                  <a:gd name="connsiteY7" fmla="*/ 64919 h 2849235"/>
                  <a:gd name="connsiteX8" fmla="*/ 8956033 w 11981169"/>
                  <a:gd name="connsiteY8" fmla="*/ 64919 h 2849235"/>
                  <a:gd name="connsiteX9" fmla="*/ 10101769 w 11981169"/>
                  <a:gd name="connsiteY9" fmla="*/ 4629 h 2849235"/>
                  <a:gd name="connsiteX10" fmla="*/ 11745799 w 11981169"/>
                  <a:gd name="connsiteY10" fmla="*/ 346275 h 2849235"/>
                  <a:gd name="connsiteX11" fmla="*/ 11786160 w 11981169"/>
                  <a:gd name="connsiteY11" fmla="*/ 2587055 h 2849235"/>
                  <a:gd name="connsiteX12" fmla="*/ 10008159 w 11981169"/>
                  <a:gd name="connsiteY12" fmla="*/ 2828216 h 2849235"/>
                  <a:gd name="connsiteX13" fmla="*/ 9435402 w 11981169"/>
                  <a:gd name="connsiteY13" fmla="*/ 2828216 h 2849235"/>
                  <a:gd name="connsiteX14" fmla="*/ 7365442 w 11981169"/>
                  <a:gd name="connsiteY14" fmla="*/ 2788023 h 2849235"/>
                  <a:gd name="connsiteX15" fmla="*/ 6742444 w 11981169"/>
                  <a:gd name="connsiteY15" fmla="*/ 2808119 h 2849235"/>
                  <a:gd name="connsiteX16" fmla="*/ 6601767 w 11981169"/>
                  <a:gd name="connsiteY16" fmla="*/ 2798071 h 2849235"/>
                  <a:gd name="connsiteX17" fmla="*/ 4783016 w 11981169"/>
                  <a:gd name="connsiteY17" fmla="*/ 2848313 h 2849235"/>
                  <a:gd name="connsiteX18" fmla="*/ 3938954 w 11981169"/>
                  <a:gd name="connsiteY18" fmla="*/ 2828216 h 2849235"/>
                  <a:gd name="connsiteX19" fmla="*/ 2944167 w 11981169"/>
                  <a:gd name="connsiteY19" fmla="*/ 2808119 h 2849235"/>
                  <a:gd name="connsiteX20" fmla="*/ 1889090 w 11981169"/>
                  <a:gd name="connsiteY20" fmla="*/ 2818168 h 2849235"/>
                  <a:gd name="connsiteX21" fmla="*/ 12890 w 11981169"/>
                  <a:gd name="connsiteY21" fmla="*/ 2798069 h 2849235"/>
                  <a:gd name="connsiteX0" fmla="*/ 0 w 11940760"/>
                  <a:gd name="connsiteY0" fmla="*/ 24144 h 2848653"/>
                  <a:gd name="connsiteX1" fmla="*/ 552660 w 11940760"/>
                  <a:gd name="connsiteY1" fmla="*/ 4047 h 2848653"/>
                  <a:gd name="connsiteX2" fmla="*/ 1637882 w 11940760"/>
                  <a:gd name="connsiteY2" fmla="*/ 14095 h 2848653"/>
                  <a:gd name="connsiteX3" fmla="*/ 2019719 w 11940760"/>
                  <a:gd name="connsiteY3" fmla="*/ 14095 h 2848653"/>
                  <a:gd name="connsiteX4" fmla="*/ 4531807 w 11940760"/>
                  <a:gd name="connsiteY4" fmla="*/ 34192 h 2848653"/>
                  <a:gd name="connsiteX5" fmla="*/ 6300317 w 11940760"/>
                  <a:gd name="connsiteY5" fmla="*/ 64337 h 2848653"/>
                  <a:gd name="connsiteX6" fmla="*/ 7063991 w 11940760"/>
                  <a:gd name="connsiteY6" fmla="*/ 34192 h 2848653"/>
                  <a:gd name="connsiteX7" fmla="*/ 8098972 w 11940760"/>
                  <a:gd name="connsiteY7" fmla="*/ 64337 h 2848653"/>
                  <a:gd name="connsiteX8" fmla="*/ 8956033 w 11940760"/>
                  <a:gd name="connsiteY8" fmla="*/ 64337 h 2848653"/>
                  <a:gd name="connsiteX9" fmla="*/ 10101769 w 11940760"/>
                  <a:gd name="connsiteY9" fmla="*/ 4047 h 2848653"/>
                  <a:gd name="connsiteX10" fmla="*/ 11745799 w 11940760"/>
                  <a:gd name="connsiteY10" fmla="*/ 345693 h 2848653"/>
                  <a:gd name="connsiteX11" fmla="*/ 11716211 w 11940760"/>
                  <a:gd name="connsiteY11" fmla="*/ 2566377 h 2848653"/>
                  <a:gd name="connsiteX12" fmla="*/ 10008159 w 11940760"/>
                  <a:gd name="connsiteY12" fmla="*/ 2827634 h 2848653"/>
                  <a:gd name="connsiteX13" fmla="*/ 9435402 w 11940760"/>
                  <a:gd name="connsiteY13" fmla="*/ 2827634 h 2848653"/>
                  <a:gd name="connsiteX14" fmla="*/ 7365442 w 11940760"/>
                  <a:gd name="connsiteY14" fmla="*/ 2787441 h 2848653"/>
                  <a:gd name="connsiteX15" fmla="*/ 6742444 w 11940760"/>
                  <a:gd name="connsiteY15" fmla="*/ 2807537 h 2848653"/>
                  <a:gd name="connsiteX16" fmla="*/ 6601767 w 11940760"/>
                  <a:gd name="connsiteY16" fmla="*/ 2797489 h 2848653"/>
                  <a:gd name="connsiteX17" fmla="*/ 4783016 w 11940760"/>
                  <a:gd name="connsiteY17" fmla="*/ 2847731 h 2848653"/>
                  <a:gd name="connsiteX18" fmla="*/ 3938954 w 11940760"/>
                  <a:gd name="connsiteY18" fmla="*/ 2827634 h 2848653"/>
                  <a:gd name="connsiteX19" fmla="*/ 2944167 w 11940760"/>
                  <a:gd name="connsiteY19" fmla="*/ 2807537 h 2848653"/>
                  <a:gd name="connsiteX20" fmla="*/ 1889090 w 11940760"/>
                  <a:gd name="connsiteY20" fmla="*/ 2817586 h 2848653"/>
                  <a:gd name="connsiteX21" fmla="*/ 12890 w 11940760"/>
                  <a:gd name="connsiteY21" fmla="*/ 2797487 h 2848653"/>
                  <a:gd name="connsiteX0" fmla="*/ 0 w 12001276"/>
                  <a:gd name="connsiteY0" fmla="*/ 24144 h 2848653"/>
                  <a:gd name="connsiteX1" fmla="*/ 552660 w 12001276"/>
                  <a:gd name="connsiteY1" fmla="*/ 4047 h 2848653"/>
                  <a:gd name="connsiteX2" fmla="*/ 1637882 w 12001276"/>
                  <a:gd name="connsiteY2" fmla="*/ 14095 h 2848653"/>
                  <a:gd name="connsiteX3" fmla="*/ 2019719 w 12001276"/>
                  <a:gd name="connsiteY3" fmla="*/ 14095 h 2848653"/>
                  <a:gd name="connsiteX4" fmla="*/ 4531807 w 12001276"/>
                  <a:gd name="connsiteY4" fmla="*/ 34192 h 2848653"/>
                  <a:gd name="connsiteX5" fmla="*/ 6300317 w 12001276"/>
                  <a:gd name="connsiteY5" fmla="*/ 64337 h 2848653"/>
                  <a:gd name="connsiteX6" fmla="*/ 7063991 w 12001276"/>
                  <a:gd name="connsiteY6" fmla="*/ 34192 h 2848653"/>
                  <a:gd name="connsiteX7" fmla="*/ 8098972 w 12001276"/>
                  <a:gd name="connsiteY7" fmla="*/ 64337 h 2848653"/>
                  <a:gd name="connsiteX8" fmla="*/ 8956033 w 12001276"/>
                  <a:gd name="connsiteY8" fmla="*/ 64337 h 2848653"/>
                  <a:gd name="connsiteX9" fmla="*/ 10101769 w 12001276"/>
                  <a:gd name="connsiteY9" fmla="*/ 4047 h 2848653"/>
                  <a:gd name="connsiteX10" fmla="*/ 11745799 w 12001276"/>
                  <a:gd name="connsiteY10" fmla="*/ 345693 h 2848653"/>
                  <a:gd name="connsiteX11" fmla="*/ 11716211 w 12001276"/>
                  <a:gd name="connsiteY11" fmla="*/ 2566377 h 2848653"/>
                  <a:gd name="connsiteX12" fmla="*/ 10008159 w 12001276"/>
                  <a:gd name="connsiteY12" fmla="*/ 2827634 h 2848653"/>
                  <a:gd name="connsiteX13" fmla="*/ 9435402 w 12001276"/>
                  <a:gd name="connsiteY13" fmla="*/ 2827634 h 2848653"/>
                  <a:gd name="connsiteX14" fmla="*/ 7365442 w 12001276"/>
                  <a:gd name="connsiteY14" fmla="*/ 2787441 h 2848653"/>
                  <a:gd name="connsiteX15" fmla="*/ 6742444 w 12001276"/>
                  <a:gd name="connsiteY15" fmla="*/ 2807537 h 2848653"/>
                  <a:gd name="connsiteX16" fmla="*/ 6601767 w 12001276"/>
                  <a:gd name="connsiteY16" fmla="*/ 2797489 h 2848653"/>
                  <a:gd name="connsiteX17" fmla="*/ 4783016 w 12001276"/>
                  <a:gd name="connsiteY17" fmla="*/ 2847731 h 2848653"/>
                  <a:gd name="connsiteX18" fmla="*/ 3938954 w 12001276"/>
                  <a:gd name="connsiteY18" fmla="*/ 2827634 h 2848653"/>
                  <a:gd name="connsiteX19" fmla="*/ 2944167 w 12001276"/>
                  <a:gd name="connsiteY19" fmla="*/ 2807537 h 2848653"/>
                  <a:gd name="connsiteX20" fmla="*/ 1889090 w 12001276"/>
                  <a:gd name="connsiteY20" fmla="*/ 2817586 h 2848653"/>
                  <a:gd name="connsiteX21" fmla="*/ 12890 w 12001276"/>
                  <a:gd name="connsiteY21" fmla="*/ 2797487 h 2848653"/>
                  <a:gd name="connsiteX0" fmla="*/ 0 w 11892644"/>
                  <a:gd name="connsiteY0" fmla="*/ 20953 h 2845462"/>
                  <a:gd name="connsiteX1" fmla="*/ 552660 w 11892644"/>
                  <a:gd name="connsiteY1" fmla="*/ 856 h 2845462"/>
                  <a:gd name="connsiteX2" fmla="*/ 1637882 w 11892644"/>
                  <a:gd name="connsiteY2" fmla="*/ 10904 h 2845462"/>
                  <a:gd name="connsiteX3" fmla="*/ 2019719 w 11892644"/>
                  <a:gd name="connsiteY3" fmla="*/ 10904 h 2845462"/>
                  <a:gd name="connsiteX4" fmla="*/ 4531807 w 11892644"/>
                  <a:gd name="connsiteY4" fmla="*/ 31001 h 2845462"/>
                  <a:gd name="connsiteX5" fmla="*/ 6300317 w 11892644"/>
                  <a:gd name="connsiteY5" fmla="*/ 61146 h 2845462"/>
                  <a:gd name="connsiteX6" fmla="*/ 7063991 w 11892644"/>
                  <a:gd name="connsiteY6" fmla="*/ 31001 h 2845462"/>
                  <a:gd name="connsiteX7" fmla="*/ 8098972 w 11892644"/>
                  <a:gd name="connsiteY7" fmla="*/ 61146 h 2845462"/>
                  <a:gd name="connsiteX8" fmla="*/ 8956033 w 11892644"/>
                  <a:gd name="connsiteY8" fmla="*/ 61146 h 2845462"/>
                  <a:gd name="connsiteX9" fmla="*/ 10101769 w 11892644"/>
                  <a:gd name="connsiteY9" fmla="*/ 856 h 2845462"/>
                  <a:gd name="connsiteX10" fmla="*/ 11655866 w 11892644"/>
                  <a:gd name="connsiteY10" fmla="*/ 362598 h 2845462"/>
                  <a:gd name="connsiteX11" fmla="*/ 11716211 w 11892644"/>
                  <a:gd name="connsiteY11" fmla="*/ 2563186 h 2845462"/>
                  <a:gd name="connsiteX12" fmla="*/ 10008159 w 11892644"/>
                  <a:gd name="connsiteY12" fmla="*/ 2824443 h 2845462"/>
                  <a:gd name="connsiteX13" fmla="*/ 9435402 w 11892644"/>
                  <a:gd name="connsiteY13" fmla="*/ 2824443 h 2845462"/>
                  <a:gd name="connsiteX14" fmla="*/ 7365442 w 11892644"/>
                  <a:gd name="connsiteY14" fmla="*/ 2784250 h 2845462"/>
                  <a:gd name="connsiteX15" fmla="*/ 6742444 w 11892644"/>
                  <a:gd name="connsiteY15" fmla="*/ 2804346 h 2845462"/>
                  <a:gd name="connsiteX16" fmla="*/ 6601767 w 11892644"/>
                  <a:gd name="connsiteY16" fmla="*/ 2794298 h 2845462"/>
                  <a:gd name="connsiteX17" fmla="*/ 4783016 w 11892644"/>
                  <a:gd name="connsiteY17" fmla="*/ 2844540 h 2845462"/>
                  <a:gd name="connsiteX18" fmla="*/ 3938954 w 11892644"/>
                  <a:gd name="connsiteY18" fmla="*/ 2824443 h 2845462"/>
                  <a:gd name="connsiteX19" fmla="*/ 2944167 w 11892644"/>
                  <a:gd name="connsiteY19" fmla="*/ 2804346 h 2845462"/>
                  <a:gd name="connsiteX20" fmla="*/ 1889090 w 11892644"/>
                  <a:gd name="connsiteY20" fmla="*/ 2814395 h 2845462"/>
                  <a:gd name="connsiteX21" fmla="*/ 12890 w 11892644"/>
                  <a:gd name="connsiteY21" fmla="*/ 2794296 h 2845462"/>
                  <a:gd name="connsiteX0" fmla="*/ 0 w 11834291"/>
                  <a:gd name="connsiteY0" fmla="*/ 20767 h 2845276"/>
                  <a:gd name="connsiteX1" fmla="*/ 552660 w 11834291"/>
                  <a:gd name="connsiteY1" fmla="*/ 670 h 2845276"/>
                  <a:gd name="connsiteX2" fmla="*/ 1637882 w 11834291"/>
                  <a:gd name="connsiteY2" fmla="*/ 10718 h 2845276"/>
                  <a:gd name="connsiteX3" fmla="*/ 2019719 w 11834291"/>
                  <a:gd name="connsiteY3" fmla="*/ 10718 h 2845276"/>
                  <a:gd name="connsiteX4" fmla="*/ 4531807 w 11834291"/>
                  <a:gd name="connsiteY4" fmla="*/ 30815 h 2845276"/>
                  <a:gd name="connsiteX5" fmla="*/ 6300317 w 11834291"/>
                  <a:gd name="connsiteY5" fmla="*/ 60960 h 2845276"/>
                  <a:gd name="connsiteX6" fmla="*/ 7063991 w 11834291"/>
                  <a:gd name="connsiteY6" fmla="*/ 30815 h 2845276"/>
                  <a:gd name="connsiteX7" fmla="*/ 8098972 w 11834291"/>
                  <a:gd name="connsiteY7" fmla="*/ 60960 h 2845276"/>
                  <a:gd name="connsiteX8" fmla="*/ 8956033 w 11834291"/>
                  <a:gd name="connsiteY8" fmla="*/ 60960 h 2845276"/>
                  <a:gd name="connsiteX9" fmla="*/ 10101769 w 11834291"/>
                  <a:gd name="connsiteY9" fmla="*/ 670 h 2845276"/>
                  <a:gd name="connsiteX10" fmla="*/ 11655866 w 11834291"/>
                  <a:gd name="connsiteY10" fmla="*/ 362412 h 2845276"/>
                  <a:gd name="connsiteX11" fmla="*/ 11616285 w 11834291"/>
                  <a:gd name="connsiteY11" fmla="*/ 2552952 h 2845276"/>
                  <a:gd name="connsiteX12" fmla="*/ 10008159 w 11834291"/>
                  <a:gd name="connsiteY12" fmla="*/ 2824257 h 2845276"/>
                  <a:gd name="connsiteX13" fmla="*/ 9435402 w 11834291"/>
                  <a:gd name="connsiteY13" fmla="*/ 2824257 h 2845276"/>
                  <a:gd name="connsiteX14" fmla="*/ 7365442 w 11834291"/>
                  <a:gd name="connsiteY14" fmla="*/ 2784064 h 2845276"/>
                  <a:gd name="connsiteX15" fmla="*/ 6742444 w 11834291"/>
                  <a:gd name="connsiteY15" fmla="*/ 2804160 h 2845276"/>
                  <a:gd name="connsiteX16" fmla="*/ 6601767 w 11834291"/>
                  <a:gd name="connsiteY16" fmla="*/ 2794112 h 2845276"/>
                  <a:gd name="connsiteX17" fmla="*/ 4783016 w 11834291"/>
                  <a:gd name="connsiteY17" fmla="*/ 2844354 h 2845276"/>
                  <a:gd name="connsiteX18" fmla="*/ 3938954 w 11834291"/>
                  <a:gd name="connsiteY18" fmla="*/ 2824257 h 2845276"/>
                  <a:gd name="connsiteX19" fmla="*/ 2944167 w 11834291"/>
                  <a:gd name="connsiteY19" fmla="*/ 2804160 h 2845276"/>
                  <a:gd name="connsiteX20" fmla="*/ 1889090 w 11834291"/>
                  <a:gd name="connsiteY20" fmla="*/ 2814209 h 2845276"/>
                  <a:gd name="connsiteX21" fmla="*/ 12890 w 11834291"/>
                  <a:gd name="connsiteY21" fmla="*/ 2794110 h 2845276"/>
                  <a:gd name="connsiteX0" fmla="*/ 0 w 11903126"/>
                  <a:gd name="connsiteY0" fmla="*/ 20767 h 2845276"/>
                  <a:gd name="connsiteX1" fmla="*/ 552660 w 11903126"/>
                  <a:gd name="connsiteY1" fmla="*/ 670 h 2845276"/>
                  <a:gd name="connsiteX2" fmla="*/ 1637882 w 11903126"/>
                  <a:gd name="connsiteY2" fmla="*/ 10718 h 2845276"/>
                  <a:gd name="connsiteX3" fmla="*/ 2019719 w 11903126"/>
                  <a:gd name="connsiteY3" fmla="*/ 10718 h 2845276"/>
                  <a:gd name="connsiteX4" fmla="*/ 4531807 w 11903126"/>
                  <a:gd name="connsiteY4" fmla="*/ 30815 h 2845276"/>
                  <a:gd name="connsiteX5" fmla="*/ 6300317 w 11903126"/>
                  <a:gd name="connsiteY5" fmla="*/ 60960 h 2845276"/>
                  <a:gd name="connsiteX6" fmla="*/ 7063991 w 11903126"/>
                  <a:gd name="connsiteY6" fmla="*/ 30815 h 2845276"/>
                  <a:gd name="connsiteX7" fmla="*/ 8098972 w 11903126"/>
                  <a:gd name="connsiteY7" fmla="*/ 60960 h 2845276"/>
                  <a:gd name="connsiteX8" fmla="*/ 8956033 w 11903126"/>
                  <a:gd name="connsiteY8" fmla="*/ 60960 h 2845276"/>
                  <a:gd name="connsiteX9" fmla="*/ 10101769 w 11903126"/>
                  <a:gd name="connsiteY9" fmla="*/ 670 h 2845276"/>
                  <a:gd name="connsiteX10" fmla="*/ 11655866 w 11903126"/>
                  <a:gd name="connsiteY10" fmla="*/ 362412 h 2845276"/>
                  <a:gd name="connsiteX11" fmla="*/ 11616285 w 11903126"/>
                  <a:gd name="connsiteY11" fmla="*/ 2552952 h 2845276"/>
                  <a:gd name="connsiteX12" fmla="*/ 10008159 w 11903126"/>
                  <a:gd name="connsiteY12" fmla="*/ 2824257 h 2845276"/>
                  <a:gd name="connsiteX13" fmla="*/ 9435402 w 11903126"/>
                  <a:gd name="connsiteY13" fmla="*/ 2824257 h 2845276"/>
                  <a:gd name="connsiteX14" fmla="*/ 7365442 w 11903126"/>
                  <a:gd name="connsiteY14" fmla="*/ 2784064 h 2845276"/>
                  <a:gd name="connsiteX15" fmla="*/ 6742444 w 11903126"/>
                  <a:gd name="connsiteY15" fmla="*/ 2804160 h 2845276"/>
                  <a:gd name="connsiteX16" fmla="*/ 6601767 w 11903126"/>
                  <a:gd name="connsiteY16" fmla="*/ 2794112 h 2845276"/>
                  <a:gd name="connsiteX17" fmla="*/ 4783016 w 11903126"/>
                  <a:gd name="connsiteY17" fmla="*/ 2844354 h 2845276"/>
                  <a:gd name="connsiteX18" fmla="*/ 3938954 w 11903126"/>
                  <a:gd name="connsiteY18" fmla="*/ 2824257 h 2845276"/>
                  <a:gd name="connsiteX19" fmla="*/ 2944167 w 11903126"/>
                  <a:gd name="connsiteY19" fmla="*/ 2804160 h 2845276"/>
                  <a:gd name="connsiteX20" fmla="*/ 1889090 w 11903126"/>
                  <a:gd name="connsiteY20" fmla="*/ 2814209 h 2845276"/>
                  <a:gd name="connsiteX21" fmla="*/ 12890 w 11903126"/>
                  <a:gd name="connsiteY21" fmla="*/ 2794110 h 2845276"/>
                  <a:gd name="connsiteX0" fmla="*/ 0 w 11949884"/>
                  <a:gd name="connsiteY0" fmla="*/ 20097 h 2844606"/>
                  <a:gd name="connsiteX1" fmla="*/ 552660 w 11949884"/>
                  <a:gd name="connsiteY1" fmla="*/ 0 h 2844606"/>
                  <a:gd name="connsiteX2" fmla="*/ 1637882 w 11949884"/>
                  <a:gd name="connsiteY2" fmla="*/ 10048 h 2844606"/>
                  <a:gd name="connsiteX3" fmla="*/ 2019719 w 11949884"/>
                  <a:gd name="connsiteY3" fmla="*/ 10048 h 2844606"/>
                  <a:gd name="connsiteX4" fmla="*/ 4531807 w 11949884"/>
                  <a:gd name="connsiteY4" fmla="*/ 30145 h 2844606"/>
                  <a:gd name="connsiteX5" fmla="*/ 6300317 w 11949884"/>
                  <a:gd name="connsiteY5" fmla="*/ 60290 h 2844606"/>
                  <a:gd name="connsiteX6" fmla="*/ 7063991 w 11949884"/>
                  <a:gd name="connsiteY6" fmla="*/ 30145 h 2844606"/>
                  <a:gd name="connsiteX7" fmla="*/ 8098972 w 11949884"/>
                  <a:gd name="connsiteY7" fmla="*/ 60290 h 2844606"/>
                  <a:gd name="connsiteX8" fmla="*/ 8956033 w 11949884"/>
                  <a:gd name="connsiteY8" fmla="*/ 60290 h 2844606"/>
                  <a:gd name="connsiteX9" fmla="*/ 10101769 w 11949884"/>
                  <a:gd name="connsiteY9" fmla="*/ 0 h 2844606"/>
                  <a:gd name="connsiteX10" fmla="*/ 11655866 w 11949884"/>
                  <a:gd name="connsiteY10" fmla="*/ 361742 h 2844606"/>
                  <a:gd name="connsiteX11" fmla="*/ 11616285 w 11949884"/>
                  <a:gd name="connsiteY11" fmla="*/ 2552282 h 2844606"/>
                  <a:gd name="connsiteX12" fmla="*/ 10008159 w 11949884"/>
                  <a:gd name="connsiteY12" fmla="*/ 2823587 h 2844606"/>
                  <a:gd name="connsiteX13" fmla="*/ 9435402 w 11949884"/>
                  <a:gd name="connsiteY13" fmla="*/ 2823587 h 2844606"/>
                  <a:gd name="connsiteX14" fmla="*/ 7365442 w 11949884"/>
                  <a:gd name="connsiteY14" fmla="*/ 2783394 h 2844606"/>
                  <a:gd name="connsiteX15" fmla="*/ 6742444 w 11949884"/>
                  <a:gd name="connsiteY15" fmla="*/ 2803490 h 2844606"/>
                  <a:gd name="connsiteX16" fmla="*/ 6601767 w 11949884"/>
                  <a:gd name="connsiteY16" fmla="*/ 2793442 h 2844606"/>
                  <a:gd name="connsiteX17" fmla="*/ 4783016 w 11949884"/>
                  <a:gd name="connsiteY17" fmla="*/ 2843684 h 2844606"/>
                  <a:gd name="connsiteX18" fmla="*/ 3938954 w 11949884"/>
                  <a:gd name="connsiteY18" fmla="*/ 2823587 h 2844606"/>
                  <a:gd name="connsiteX19" fmla="*/ 2944167 w 11949884"/>
                  <a:gd name="connsiteY19" fmla="*/ 2803490 h 2844606"/>
                  <a:gd name="connsiteX20" fmla="*/ 1889090 w 11949884"/>
                  <a:gd name="connsiteY20" fmla="*/ 2813539 h 2844606"/>
                  <a:gd name="connsiteX21" fmla="*/ 12890 w 11949884"/>
                  <a:gd name="connsiteY21" fmla="*/ 2793440 h 2844606"/>
                  <a:gd name="connsiteX0" fmla="*/ 0 w 11868023"/>
                  <a:gd name="connsiteY0" fmla="*/ 20097 h 2844606"/>
                  <a:gd name="connsiteX1" fmla="*/ 552660 w 11868023"/>
                  <a:gd name="connsiteY1" fmla="*/ 0 h 2844606"/>
                  <a:gd name="connsiteX2" fmla="*/ 1637882 w 11868023"/>
                  <a:gd name="connsiteY2" fmla="*/ 10048 h 2844606"/>
                  <a:gd name="connsiteX3" fmla="*/ 2019719 w 11868023"/>
                  <a:gd name="connsiteY3" fmla="*/ 10048 h 2844606"/>
                  <a:gd name="connsiteX4" fmla="*/ 4531807 w 11868023"/>
                  <a:gd name="connsiteY4" fmla="*/ 30145 h 2844606"/>
                  <a:gd name="connsiteX5" fmla="*/ 6300317 w 11868023"/>
                  <a:gd name="connsiteY5" fmla="*/ 60290 h 2844606"/>
                  <a:gd name="connsiteX6" fmla="*/ 7063991 w 11868023"/>
                  <a:gd name="connsiteY6" fmla="*/ 30145 h 2844606"/>
                  <a:gd name="connsiteX7" fmla="*/ 8098972 w 11868023"/>
                  <a:gd name="connsiteY7" fmla="*/ 60290 h 2844606"/>
                  <a:gd name="connsiteX8" fmla="*/ 8956033 w 11868023"/>
                  <a:gd name="connsiteY8" fmla="*/ 60290 h 2844606"/>
                  <a:gd name="connsiteX9" fmla="*/ 10101769 w 11868023"/>
                  <a:gd name="connsiteY9" fmla="*/ 0 h 2844606"/>
                  <a:gd name="connsiteX10" fmla="*/ 11625888 w 11868023"/>
                  <a:gd name="connsiteY10" fmla="*/ 351694 h 2844606"/>
                  <a:gd name="connsiteX11" fmla="*/ 11616285 w 11868023"/>
                  <a:gd name="connsiteY11" fmla="*/ 2552282 h 2844606"/>
                  <a:gd name="connsiteX12" fmla="*/ 10008159 w 11868023"/>
                  <a:gd name="connsiteY12" fmla="*/ 2823587 h 2844606"/>
                  <a:gd name="connsiteX13" fmla="*/ 9435402 w 11868023"/>
                  <a:gd name="connsiteY13" fmla="*/ 2823587 h 2844606"/>
                  <a:gd name="connsiteX14" fmla="*/ 7365442 w 11868023"/>
                  <a:gd name="connsiteY14" fmla="*/ 2783394 h 2844606"/>
                  <a:gd name="connsiteX15" fmla="*/ 6742444 w 11868023"/>
                  <a:gd name="connsiteY15" fmla="*/ 2803490 h 2844606"/>
                  <a:gd name="connsiteX16" fmla="*/ 6601767 w 11868023"/>
                  <a:gd name="connsiteY16" fmla="*/ 2793442 h 2844606"/>
                  <a:gd name="connsiteX17" fmla="*/ 4783016 w 11868023"/>
                  <a:gd name="connsiteY17" fmla="*/ 2843684 h 2844606"/>
                  <a:gd name="connsiteX18" fmla="*/ 3938954 w 11868023"/>
                  <a:gd name="connsiteY18" fmla="*/ 2823587 h 2844606"/>
                  <a:gd name="connsiteX19" fmla="*/ 2944167 w 11868023"/>
                  <a:gd name="connsiteY19" fmla="*/ 2803490 h 2844606"/>
                  <a:gd name="connsiteX20" fmla="*/ 1889090 w 11868023"/>
                  <a:gd name="connsiteY20" fmla="*/ 2813539 h 2844606"/>
                  <a:gd name="connsiteX21" fmla="*/ 12890 w 11868023"/>
                  <a:gd name="connsiteY21" fmla="*/ 2793440 h 2844606"/>
                  <a:gd name="connsiteX0" fmla="*/ 0 w 11911375"/>
                  <a:gd name="connsiteY0" fmla="*/ 20097 h 2844606"/>
                  <a:gd name="connsiteX1" fmla="*/ 552660 w 11911375"/>
                  <a:gd name="connsiteY1" fmla="*/ 0 h 2844606"/>
                  <a:gd name="connsiteX2" fmla="*/ 1637882 w 11911375"/>
                  <a:gd name="connsiteY2" fmla="*/ 10048 h 2844606"/>
                  <a:gd name="connsiteX3" fmla="*/ 2019719 w 11911375"/>
                  <a:gd name="connsiteY3" fmla="*/ 10048 h 2844606"/>
                  <a:gd name="connsiteX4" fmla="*/ 4531807 w 11911375"/>
                  <a:gd name="connsiteY4" fmla="*/ 30145 h 2844606"/>
                  <a:gd name="connsiteX5" fmla="*/ 6300317 w 11911375"/>
                  <a:gd name="connsiteY5" fmla="*/ 60290 h 2844606"/>
                  <a:gd name="connsiteX6" fmla="*/ 7063991 w 11911375"/>
                  <a:gd name="connsiteY6" fmla="*/ 30145 h 2844606"/>
                  <a:gd name="connsiteX7" fmla="*/ 8098972 w 11911375"/>
                  <a:gd name="connsiteY7" fmla="*/ 60290 h 2844606"/>
                  <a:gd name="connsiteX8" fmla="*/ 8956033 w 11911375"/>
                  <a:gd name="connsiteY8" fmla="*/ 60290 h 2844606"/>
                  <a:gd name="connsiteX9" fmla="*/ 10101769 w 11911375"/>
                  <a:gd name="connsiteY9" fmla="*/ 0 h 2844606"/>
                  <a:gd name="connsiteX10" fmla="*/ 11625888 w 11911375"/>
                  <a:gd name="connsiteY10" fmla="*/ 351694 h 2844606"/>
                  <a:gd name="connsiteX11" fmla="*/ 11616285 w 11911375"/>
                  <a:gd name="connsiteY11" fmla="*/ 2552282 h 2844606"/>
                  <a:gd name="connsiteX12" fmla="*/ 10008159 w 11911375"/>
                  <a:gd name="connsiteY12" fmla="*/ 2823587 h 2844606"/>
                  <a:gd name="connsiteX13" fmla="*/ 9435402 w 11911375"/>
                  <a:gd name="connsiteY13" fmla="*/ 2823587 h 2844606"/>
                  <a:gd name="connsiteX14" fmla="*/ 7365442 w 11911375"/>
                  <a:gd name="connsiteY14" fmla="*/ 2783394 h 2844606"/>
                  <a:gd name="connsiteX15" fmla="*/ 6742444 w 11911375"/>
                  <a:gd name="connsiteY15" fmla="*/ 2803490 h 2844606"/>
                  <a:gd name="connsiteX16" fmla="*/ 6601767 w 11911375"/>
                  <a:gd name="connsiteY16" fmla="*/ 2793442 h 2844606"/>
                  <a:gd name="connsiteX17" fmla="*/ 4783016 w 11911375"/>
                  <a:gd name="connsiteY17" fmla="*/ 2843684 h 2844606"/>
                  <a:gd name="connsiteX18" fmla="*/ 3938954 w 11911375"/>
                  <a:gd name="connsiteY18" fmla="*/ 2823587 h 2844606"/>
                  <a:gd name="connsiteX19" fmla="*/ 2944167 w 11911375"/>
                  <a:gd name="connsiteY19" fmla="*/ 2803490 h 2844606"/>
                  <a:gd name="connsiteX20" fmla="*/ 1889090 w 11911375"/>
                  <a:gd name="connsiteY20" fmla="*/ 2813539 h 2844606"/>
                  <a:gd name="connsiteX21" fmla="*/ 12890 w 11911375"/>
                  <a:gd name="connsiteY21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9435402 w 11932818"/>
                  <a:gd name="connsiteY13" fmla="*/ 2823587 h 2844606"/>
                  <a:gd name="connsiteX14" fmla="*/ 7365442 w 11932818"/>
                  <a:gd name="connsiteY14" fmla="*/ 2783394 h 2844606"/>
                  <a:gd name="connsiteX15" fmla="*/ 6742444 w 11932818"/>
                  <a:gd name="connsiteY15" fmla="*/ 2803490 h 2844606"/>
                  <a:gd name="connsiteX16" fmla="*/ 6601767 w 11932818"/>
                  <a:gd name="connsiteY16" fmla="*/ 2793442 h 2844606"/>
                  <a:gd name="connsiteX17" fmla="*/ 4783016 w 11932818"/>
                  <a:gd name="connsiteY17" fmla="*/ 2843684 h 2844606"/>
                  <a:gd name="connsiteX18" fmla="*/ 3938954 w 11932818"/>
                  <a:gd name="connsiteY18" fmla="*/ 2823587 h 2844606"/>
                  <a:gd name="connsiteX19" fmla="*/ 2944167 w 11932818"/>
                  <a:gd name="connsiteY19" fmla="*/ 2803490 h 2844606"/>
                  <a:gd name="connsiteX20" fmla="*/ 1889090 w 11932818"/>
                  <a:gd name="connsiteY20" fmla="*/ 2813539 h 2844606"/>
                  <a:gd name="connsiteX21" fmla="*/ 12890 w 11932818"/>
                  <a:gd name="connsiteY21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9435402 w 11932818"/>
                  <a:gd name="connsiteY13" fmla="*/ 2823587 h 2844606"/>
                  <a:gd name="connsiteX14" fmla="*/ 8174614 w 11932818"/>
                  <a:gd name="connsiteY14" fmla="*/ 2820454 h 2844606"/>
                  <a:gd name="connsiteX15" fmla="*/ 7365442 w 11932818"/>
                  <a:gd name="connsiteY15" fmla="*/ 2783394 h 2844606"/>
                  <a:gd name="connsiteX16" fmla="*/ 6742444 w 11932818"/>
                  <a:gd name="connsiteY16" fmla="*/ 2803490 h 2844606"/>
                  <a:gd name="connsiteX17" fmla="*/ 6601767 w 11932818"/>
                  <a:gd name="connsiteY17" fmla="*/ 2793442 h 2844606"/>
                  <a:gd name="connsiteX18" fmla="*/ 4783016 w 11932818"/>
                  <a:gd name="connsiteY18" fmla="*/ 2843684 h 2844606"/>
                  <a:gd name="connsiteX19" fmla="*/ 3938954 w 11932818"/>
                  <a:gd name="connsiteY19" fmla="*/ 2823587 h 2844606"/>
                  <a:gd name="connsiteX20" fmla="*/ 2944167 w 11932818"/>
                  <a:gd name="connsiteY20" fmla="*/ 2803490 h 2844606"/>
                  <a:gd name="connsiteX21" fmla="*/ 1889090 w 11932818"/>
                  <a:gd name="connsiteY21" fmla="*/ 2813539 h 2844606"/>
                  <a:gd name="connsiteX22" fmla="*/ 12890 w 11932818"/>
                  <a:gd name="connsiteY22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8174614 w 11932818"/>
                  <a:gd name="connsiteY13" fmla="*/ 2820454 h 2844606"/>
                  <a:gd name="connsiteX14" fmla="*/ 7365442 w 11932818"/>
                  <a:gd name="connsiteY14" fmla="*/ 2783394 h 2844606"/>
                  <a:gd name="connsiteX15" fmla="*/ 6742444 w 11932818"/>
                  <a:gd name="connsiteY15" fmla="*/ 2803490 h 2844606"/>
                  <a:gd name="connsiteX16" fmla="*/ 6601767 w 11932818"/>
                  <a:gd name="connsiteY16" fmla="*/ 2793442 h 2844606"/>
                  <a:gd name="connsiteX17" fmla="*/ 4783016 w 11932818"/>
                  <a:gd name="connsiteY17" fmla="*/ 2843684 h 2844606"/>
                  <a:gd name="connsiteX18" fmla="*/ 3938954 w 11932818"/>
                  <a:gd name="connsiteY18" fmla="*/ 2823587 h 2844606"/>
                  <a:gd name="connsiteX19" fmla="*/ 2944167 w 11932818"/>
                  <a:gd name="connsiteY19" fmla="*/ 2803490 h 2844606"/>
                  <a:gd name="connsiteX20" fmla="*/ 1889090 w 11932818"/>
                  <a:gd name="connsiteY20" fmla="*/ 2813539 h 2844606"/>
                  <a:gd name="connsiteX21" fmla="*/ 12890 w 11932818"/>
                  <a:gd name="connsiteY21" fmla="*/ 2793440 h 2844606"/>
                  <a:gd name="connsiteX0" fmla="*/ 0 w 12002404"/>
                  <a:gd name="connsiteY0" fmla="*/ 20097 h 2844606"/>
                  <a:gd name="connsiteX1" fmla="*/ 552660 w 12002404"/>
                  <a:gd name="connsiteY1" fmla="*/ 0 h 2844606"/>
                  <a:gd name="connsiteX2" fmla="*/ 1637882 w 12002404"/>
                  <a:gd name="connsiteY2" fmla="*/ 10048 h 2844606"/>
                  <a:gd name="connsiteX3" fmla="*/ 2019719 w 12002404"/>
                  <a:gd name="connsiteY3" fmla="*/ 10048 h 2844606"/>
                  <a:gd name="connsiteX4" fmla="*/ 4531807 w 12002404"/>
                  <a:gd name="connsiteY4" fmla="*/ 30145 h 2844606"/>
                  <a:gd name="connsiteX5" fmla="*/ 6300317 w 12002404"/>
                  <a:gd name="connsiteY5" fmla="*/ 60290 h 2844606"/>
                  <a:gd name="connsiteX6" fmla="*/ 7063991 w 12002404"/>
                  <a:gd name="connsiteY6" fmla="*/ 30145 h 2844606"/>
                  <a:gd name="connsiteX7" fmla="*/ 8098972 w 12002404"/>
                  <a:gd name="connsiteY7" fmla="*/ 60290 h 2844606"/>
                  <a:gd name="connsiteX8" fmla="*/ 8956033 w 12002404"/>
                  <a:gd name="connsiteY8" fmla="*/ 60290 h 2844606"/>
                  <a:gd name="connsiteX9" fmla="*/ 10101769 w 12002404"/>
                  <a:gd name="connsiteY9" fmla="*/ 0 h 2844606"/>
                  <a:gd name="connsiteX10" fmla="*/ 11625888 w 12002404"/>
                  <a:gd name="connsiteY10" fmla="*/ 351694 h 2844606"/>
                  <a:gd name="connsiteX11" fmla="*/ 11616285 w 12002404"/>
                  <a:gd name="connsiteY11" fmla="*/ 2552282 h 2844606"/>
                  <a:gd name="connsiteX12" fmla="*/ 8174614 w 12002404"/>
                  <a:gd name="connsiteY12" fmla="*/ 2820454 h 2844606"/>
                  <a:gd name="connsiteX13" fmla="*/ 7365442 w 12002404"/>
                  <a:gd name="connsiteY13" fmla="*/ 2783394 h 2844606"/>
                  <a:gd name="connsiteX14" fmla="*/ 6742444 w 12002404"/>
                  <a:gd name="connsiteY14" fmla="*/ 2803490 h 2844606"/>
                  <a:gd name="connsiteX15" fmla="*/ 6601767 w 12002404"/>
                  <a:gd name="connsiteY15" fmla="*/ 2793442 h 2844606"/>
                  <a:gd name="connsiteX16" fmla="*/ 4783016 w 12002404"/>
                  <a:gd name="connsiteY16" fmla="*/ 2843684 h 2844606"/>
                  <a:gd name="connsiteX17" fmla="*/ 3938954 w 12002404"/>
                  <a:gd name="connsiteY17" fmla="*/ 2823587 h 2844606"/>
                  <a:gd name="connsiteX18" fmla="*/ 2944167 w 12002404"/>
                  <a:gd name="connsiteY18" fmla="*/ 2803490 h 2844606"/>
                  <a:gd name="connsiteX19" fmla="*/ 1889090 w 12002404"/>
                  <a:gd name="connsiteY19" fmla="*/ 2813539 h 2844606"/>
                  <a:gd name="connsiteX20" fmla="*/ 12890 w 12002404"/>
                  <a:gd name="connsiteY20" fmla="*/ 2793440 h 2844606"/>
                  <a:gd name="connsiteX0" fmla="*/ 0 w 11669928"/>
                  <a:gd name="connsiteY0" fmla="*/ 30402 h 2854911"/>
                  <a:gd name="connsiteX1" fmla="*/ 552660 w 11669928"/>
                  <a:gd name="connsiteY1" fmla="*/ 10305 h 2854911"/>
                  <a:gd name="connsiteX2" fmla="*/ 1637882 w 11669928"/>
                  <a:gd name="connsiteY2" fmla="*/ 20353 h 2854911"/>
                  <a:gd name="connsiteX3" fmla="*/ 2019719 w 11669928"/>
                  <a:gd name="connsiteY3" fmla="*/ 20353 h 2854911"/>
                  <a:gd name="connsiteX4" fmla="*/ 4531807 w 11669928"/>
                  <a:gd name="connsiteY4" fmla="*/ 40450 h 2854911"/>
                  <a:gd name="connsiteX5" fmla="*/ 6300317 w 11669928"/>
                  <a:gd name="connsiteY5" fmla="*/ 70595 h 2854911"/>
                  <a:gd name="connsiteX6" fmla="*/ 7063991 w 11669928"/>
                  <a:gd name="connsiteY6" fmla="*/ 40450 h 2854911"/>
                  <a:gd name="connsiteX7" fmla="*/ 8098972 w 11669928"/>
                  <a:gd name="connsiteY7" fmla="*/ 70595 h 2854911"/>
                  <a:gd name="connsiteX8" fmla="*/ 8956033 w 11669928"/>
                  <a:gd name="connsiteY8" fmla="*/ 70595 h 2854911"/>
                  <a:gd name="connsiteX9" fmla="*/ 10101769 w 11669928"/>
                  <a:gd name="connsiteY9" fmla="*/ 10305 h 2854911"/>
                  <a:gd name="connsiteX10" fmla="*/ 11625888 w 11669928"/>
                  <a:gd name="connsiteY10" fmla="*/ 361999 h 2854911"/>
                  <a:gd name="connsiteX11" fmla="*/ 8174614 w 11669928"/>
                  <a:gd name="connsiteY11" fmla="*/ 2830759 h 2854911"/>
                  <a:gd name="connsiteX12" fmla="*/ 7365442 w 11669928"/>
                  <a:gd name="connsiteY12" fmla="*/ 2793699 h 2854911"/>
                  <a:gd name="connsiteX13" fmla="*/ 6742444 w 11669928"/>
                  <a:gd name="connsiteY13" fmla="*/ 2813795 h 2854911"/>
                  <a:gd name="connsiteX14" fmla="*/ 6601767 w 11669928"/>
                  <a:gd name="connsiteY14" fmla="*/ 2803747 h 2854911"/>
                  <a:gd name="connsiteX15" fmla="*/ 4783016 w 11669928"/>
                  <a:gd name="connsiteY15" fmla="*/ 2853989 h 2854911"/>
                  <a:gd name="connsiteX16" fmla="*/ 3938954 w 11669928"/>
                  <a:gd name="connsiteY16" fmla="*/ 2833892 h 2854911"/>
                  <a:gd name="connsiteX17" fmla="*/ 2944167 w 11669928"/>
                  <a:gd name="connsiteY17" fmla="*/ 2813795 h 2854911"/>
                  <a:gd name="connsiteX18" fmla="*/ 1889090 w 11669928"/>
                  <a:gd name="connsiteY18" fmla="*/ 2823844 h 2854911"/>
                  <a:gd name="connsiteX19" fmla="*/ 12890 w 11669928"/>
                  <a:gd name="connsiteY19" fmla="*/ 2803745 h 2854911"/>
                  <a:gd name="connsiteX0" fmla="*/ 0 w 10101769"/>
                  <a:gd name="connsiteY0" fmla="*/ 20097 h 2844606"/>
                  <a:gd name="connsiteX1" fmla="*/ 552660 w 10101769"/>
                  <a:gd name="connsiteY1" fmla="*/ 0 h 2844606"/>
                  <a:gd name="connsiteX2" fmla="*/ 1637882 w 10101769"/>
                  <a:gd name="connsiteY2" fmla="*/ 10048 h 2844606"/>
                  <a:gd name="connsiteX3" fmla="*/ 2019719 w 10101769"/>
                  <a:gd name="connsiteY3" fmla="*/ 10048 h 2844606"/>
                  <a:gd name="connsiteX4" fmla="*/ 4531807 w 10101769"/>
                  <a:gd name="connsiteY4" fmla="*/ 30145 h 2844606"/>
                  <a:gd name="connsiteX5" fmla="*/ 6300317 w 10101769"/>
                  <a:gd name="connsiteY5" fmla="*/ 60290 h 2844606"/>
                  <a:gd name="connsiteX6" fmla="*/ 7063991 w 10101769"/>
                  <a:gd name="connsiteY6" fmla="*/ 30145 h 2844606"/>
                  <a:gd name="connsiteX7" fmla="*/ 8098972 w 10101769"/>
                  <a:gd name="connsiteY7" fmla="*/ 60290 h 2844606"/>
                  <a:gd name="connsiteX8" fmla="*/ 8956033 w 10101769"/>
                  <a:gd name="connsiteY8" fmla="*/ 60290 h 2844606"/>
                  <a:gd name="connsiteX9" fmla="*/ 10101769 w 10101769"/>
                  <a:gd name="connsiteY9" fmla="*/ 0 h 2844606"/>
                  <a:gd name="connsiteX10" fmla="*/ 8174614 w 10101769"/>
                  <a:gd name="connsiteY10" fmla="*/ 2820454 h 2844606"/>
                  <a:gd name="connsiteX11" fmla="*/ 7365442 w 10101769"/>
                  <a:gd name="connsiteY11" fmla="*/ 2783394 h 2844606"/>
                  <a:gd name="connsiteX12" fmla="*/ 6742444 w 10101769"/>
                  <a:gd name="connsiteY12" fmla="*/ 2803490 h 2844606"/>
                  <a:gd name="connsiteX13" fmla="*/ 6601767 w 10101769"/>
                  <a:gd name="connsiteY13" fmla="*/ 2793442 h 2844606"/>
                  <a:gd name="connsiteX14" fmla="*/ 4783016 w 10101769"/>
                  <a:gd name="connsiteY14" fmla="*/ 2843684 h 2844606"/>
                  <a:gd name="connsiteX15" fmla="*/ 3938954 w 10101769"/>
                  <a:gd name="connsiteY15" fmla="*/ 2823587 h 2844606"/>
                  <a:gd name="connsiteX16" fmla="*/ 2944167 w 10101769"/>
                  <a:gd name="connsiteY16" fmla="*/ 2803490 h 2844606"/>
                  <a:gd name="connsiteX17" fmla="*/ 1889090 w 10101769"/>
                  <a:gd name="connsiteY17" fmla="*/ 2813539 h 2844606"/>
                  <a:gd name="connsiteX18" fmla="*/ 12890 w 10101769"/>
                  <a:gd name="connsiteY18" fmla="*/ 2793440 h 2844606"/>
                  <a:gd name="connsiteX0" fmla="*/ 0 w 10101769"/>
                  <a:gd name="connsiteY0" fmla="*/ 210999 h 3035508"/>
                  <a:gd name="connsiteX1" fmla="*/ 552660 w 10101769"/>
                  <a:gd name="connsiteY1" fmla="*/ 190902 h 3035508"/>
                  <a:gd name="connsiteX2" fmla="*/ 1637882 w 10101769"/>
                  <a:gd name="connsiteY2" fmla="*/ 200950 h 3035508"/>
                  <a:gd name="connsiteX3" fmla="*/ 2019719 w 10101769"/>
                  <a:gd name="connsiteY3" fmla="*/ 200950 h 3035508"/>
                  <a:gd name="connsiteX4" fmla="*/ 4531807 w 10101769"/>
                  <a:gd name="connsiteY4" fmla="*/ 221047 h 3035508"/>
                  <a:gd name="connsiteX5" fmla="*/ 6300317 w 10101769"/>
                  <a:gd name="connsiteY5" fmla="*/ 251192 h 3035508"/>
                  <a:gd name="connsiteX6" fmla="*/ 7063991 w 10101769"/>
                  <a:gd name="connsiteY6" fmla="*/ 221047 h 3035508"/>
                  <a:gd name="connsiteX7" fmla="*/ 8098972 w 10101769"/>
                  <a:gd name="connsiteY7" fmla="*/ 251192 h 3035508"/>
                  <a:gd name="connsiteX8" fmla="*/ 10101769 w 10101769"/>
                  <a:gd name="connsiteY8" fmla="*/ 190902 h 3035508"/>
                  <a:gd name="connsiteX9" fmla="*/ 8174614 w 10101769"/>
                  <a:gd name="connsiteY9" fmla="*/ 3011356 h 3035508"/>
                  <a:gd name="connsiteX10" fmla="*/ 7365442 w 10101769"/>
                  <a:gd name="connsiteY10" fmla="*/ 2974296 h 3035508"/>
                  <a:gd name="connsiteX11" fmla="*/ 6742444 w 10101769"/>
                  <a:gd name="connsiteY11" fmla="*/ 2994392 h 3035508"/>
                  <a:gd name="connsiteX12" fmla="*/ 6601767 w 10101769"/>
                  <a:gd name="connsiteY12" fmla="*/ 2984344 h 3035508"/>
                  <a:gd name="connsiteX13" fmla="*/ 4783016 w 10101769"/>
                  <a:gd name="connsiteY13" fmla="*/ 3034586 h 3035508"/>
                  <a:gd name="connsiteX14" fmla="*/ 3938954 w 10101769"/>
                  <a:gd name="connsiteY14" fmla="*/ 3014489 h 3035508"/>
                  <a:gd name="connsiteX15" fmla="*/ 2944167 w 10101769"/>
                  <a:gd name="connsiteY15" fmla="*/ 2994392 h 3035508"/>
                  <a:gd name="connsiteX16" fmla="*/ 1889090 w 10101769"/>
                  <a:gd name="connsiteY16" fmla="*/ 3004441 h 3035508"/>
                  <a:gd name="connsiteX17" fmla="*/ 12890 w 10101769"/>
                  <a:gd name="connsiteY17" fmla="*/ 2984342 h 3035508"/>
                  <a:gd name="connsiteX0" fmla="*/ 0 w 8254452"/>
                  <a:gd name="connsiteY0" fmla="*/ 174612 h 2999121"/>
                  <a:gd name="connsiteX1" fmla="*/ 552660 w 8254452"/>
                  <a:gd name="connsiteY1" fmla="*/ 154515 h 2999121"/>
                  <a:gd name="connsiteX2" fmla="*/ 1637882 w 8254452"/>
                  <a:gd name="connsiteY2" fmla="*/ 164563 h 2999121"/>
                  <a:gd name="connsiteX3" fmla="*/ 2019719 w 8254452"/>
                  <a:gd name="connsiteY3" fmla="*/ 164563 h 2999121"/>
                  <a:gd name="connsiteX4" fmla="*/ 4531807 w 8254452"/>
                  <a:gd name="connsiteY4" fmla="*/ 184660 h 2999121"/>
                  <a:gd name="connsiteX5" fmla="*/ 6300317 w 8254452"/>
                  <a:gd name="connsiteY5" fmla="*/ 214805 h 2999121"/>
                  <a:gd name="connsiteX6" fmla="*/ 7063991 w 8254452"/>
                  <a:gd name="connsiteY6" fmla="*/ 184660 h 2999121"/>
                  <a:gd name="connsiteX7" fmla="*/ 8098972 w 8254452"/>
                  <a:gd name="connsiteY7" fmla="*/ 214805 h 2999121"/>
                  <a:gd name="connsiteX8" fmla="*/ 8174614 w 8254452"/>
                  <a:gd name="connsiteY8" fmla="*/ 2974969 h 2999121"/>
                  <a:gd name="connsiteX9" fmla="*/ 7365442 w 8254452"/>
                  <a:gd name="connsiteY9" fmla="*/ 2937909 h 2999121"/>
                  <a:gd name="connsiteX10" fmla="*/ 6742444 w 8254452"/>
                  <a:gd name="connsiteY10" fmla="*/ 2958005 h 2999121"/>
                  <a:gd name="connsiteX11" fmla="*/ 6601767 w 8254452"/>
                  <a:gd name="connsiteY11" fmla="*/ 2947957 h 2999121"/>
                  <a:gd name="connsiteX12" fmla="*/ 4783016 w 8254452"/>
                  <a:gd name="connsiteY12" fmla="*/ 2998199 h 2999121"/>
                  <a:gd name="connsiteX13" fmla="*/ 3938954 w 8254452"/>
                  <a:gd name="connsiteY13" fmla="*/ 2978102 h 2999121"/>
                  <a:gd name="connsiteX14" fmla="*/ 2944167 w 8254452"/>
                  <a:gd name="connsiteY14" fmla="*/ 2958005 h 2999121"/>
                  <a:gd name="connsiteX15" fmla="*/ 1889090 w 8254452"/>
                  <a:gd name="connsiteY15" fmla="*/ 2968054 h 2999121"/>
                  <a:gd name="connsiteX16" fmla="*/ 12890 w 8254452"/>
                  <a:gd name="connsiteY16" fmla="*/ 2947955 h 2999121"/>
                  <a:gd name="connsiteX0" fmla="*/ 0 w 8254452"/>
                  <a:gd name="connsiteY0" fmla="*/ 174612 h 2999121"/>
                  <a:gd name="connsiteX1" fmla="*/ 552660 w 8254452"/>
                  <a:gd name="connsiteY1" fmla="*/ 154515 h 2999121"/>
                  <a:gd name="connsiteX2" fmla="*/ 1637882 w 8254452"/>
                  <a:gd name="connsiteY2" fmla="*/ 164563 h 2999121"/>
                  <a:gd name="connsiteX3" fmla="*/ 2019719 w 8254452"/>
                  <a:gd name="connsiteY3" fmla="*/ 164563 h 2999121"/>
                  <a:gd name="connsiteX4" fmla="*/ 4531807 w 8254452"/>
                  <a:gd name="connsiteY4" fmla="*/ 184660 h 2999121"/>
                  <a:gd name="connsiteX5" fmla="*/ 7063991 w 8254452"/>
                  <a:gd name="connsiteY5" fmla="*/ 184660 h 2999121"/>
                  <a:gd name="connsiteX6" fmla="*/ 8098972 w 8254452"/>
                  <a:gd name="connsiteY6" fmla="*/ 214805 h 2999121"/>
                  <a:gd name="connsiteX7" fmla="*/ 8174614 w 8254452"/>
                  <a:gd name="connsiteY7" fmla="*/ 2974969 h 2999121"/>
                  <a:gd name="connsiteX8" fmla="*/ 7365442 w 8254452"/>
                  <a:gd name="connsiteY8" fmla="*/ 2937909 h 2999121"/>
                  <a:gd name="connsiteX9" fmla="*/ 6742444 w 8254452"/>
                  <a:gd name="connsiteY9" fmla="*/ 2958005 h 2999121"/>
                  <a:gd name="connsiteX10" fmla="*/ 6601767 w 8254452"/>
                  <a:gd name="connsiteY10" fmla="*/ 2947957 h 2999121"/>
                  <a:gd name="connsiteX11" fmla="*/ 4783016 w 8254452"/>
                  <a:gd name="connsiteY11" fmla="*/ 2998199 h 2999121"/>
                  <a:gd name="connsiteX12" fmla="*/ 3938954 w 8254452"/>
                  <a:gd name="connsiteY12" fmla="*/ 2978102 h 2999121"/>
                  <a:gd name="connsiteX13" fmla="*/ 2944167 w 8254452"/>
                  <a:gd name="connsiteY13" fmla="*/ 2958005 h 2999121"/>
                  <a:gd name="connsiteX14" fmla="*/ 1889090 w 8254452"/>
                  <a:gd name="connsiteY14" fmla="*/ 2968054 h 2999121"/>
                  <a:gd name="connsiteX15" fmla="*/ 12890 w 8254452"/>
                  <a:gd name="connsiteY15" fmla="*/ 2947955 h 2999121"/>
                  <a:gd name="connsiteX0" fmla="*/ 0 w 8254452"/>
                  <a:gd name="connsiteY0" fmla="*/ 174612 h 2999121"/>
                  <a:gd name="connsiteX1" fmla="*/ 552660 w 8254452"/>
                  <a:gd name="connsiteY1" fmla="*/ 154515 h 2999121"/>
                  <a:gd name="connsiteX2" fmla="*/ 1637882 w 8254452"/>
                  <a:gd name="connsiteY2" fmla="*/ 164563 h 2999121"/>
                  <a:gd name="connsiteX3" fmla="*/ 4531807 w 8254452"/>
                  <a:gd name="connsiteY3" fmla="*/ 184660 h 2999121"/>
                  <a:gd name="connsiteX4" fmla="*/ 7063991 w 8254452"/>
                  <a:gd name="connsiteY4" fmla="*/ 184660 h 2999121"/>
                  <a:gd name="connsiteX5" fmla="*/ 8098972 w 8254452"/>
                  <a:gd name="connsiteY5" fmla="*/ 214805 h 2999121"/>
                  <a:gd name="connsiteX6" fmla="*/ 8174614 w 8254452"/>
                  <a:gd name="connsiteY6" fmla="*/ 2974969 h 2999121"/>
                  <a:gd name="connsiteX7" fmla="*/ 7365442 w 8254452"/>
                  <a:gd name="connsiteY7" fmla="*/ 2937909 h 2999121"/>
                  <a:gd name="connsiteX8" fmla="*/ 6742444 w 8254452"/>
                  <a:gd name="connsiteY8" fmla="*/ 2958005 h 2999121"/>
                  <a:gd name="connsiteX9" fmla="*/ 6601767 w 8254452"/>
                  <a:gd name="connsiteY9" fmla="*/ 2947957 h 2999121"/>
                  <a:gd name="connsiteX10" fmla="*/ 4783016 w 8254452"/>
                  <a:gd name="connsiteY10" fmla="*/ 2998199 h 2999121"/>
                  <a:gd name="connsiteX11" fmla="*/ 3938954 w 8254452"/>
                  <a:gd name="connsiteY11" fmla="*/ 2978102 h 2999121"/>
                  <a:gd name="connsiteX12" fmla="*/ 2944167 w 8254452"/>
                  <a:gd name="connsiteY12" fmla="*/ 2958005 h 2999121"/>
                  <a:gd name="connsiteX13" fmla="*/ 1889090 w 8254452"/>
                  <a:gd name="connsiteY13" fmla="*/ 2968054 h 2999121"/>
                  <a:gd name="connsiteX14" fmla="*/ 12890 w 8254452"/>
                  <a:gd name="connsiteY14" fmla="*/ 2947955 h 2999121"/>
                  <a:gd name="connsiteX0" fmla="*/ 0 w 8254452"/>
                  <a:gd name="connsiteY0" fmla="*/ 174612 h 2999121"/>
                  <a:gd name="connsiteX1" fmla="*/ 552660 w 8254452"/>
                  <a:gd name="connsiteY1" fmla="*/ 154515 h 2999121"/>
                  <a:gd name="connsiteX2" fmla="*/ 4531807 w 8254452"/>
                  <a:gd name="connsiteY2" fmla="*/ 184660 h 2999121"/>
                  <a:gd name="connsiteX3" fmla="*/ 7063991 w 8254452"/>
                  <a:gd name="connsiteY3" fmla="*/ 184660 h 2999121"/>
                  <a:gd name="connsiteX4" fmla="*/ 8098972 w 8254452"/>
                  <a:gd name="connsiteY4" fmla="*/ 214805 h 2999121"/>
                  <a:gd name="connsiteX5" fmla="*/ 8174614 w 8254452"/>
                  <a:gd name="connsiteY5" fmla="*/ 2974969 h 2999121"/>
                  <a:gd name="connsiteX6" fmla="*/ 7365442 w 8254452"/>
                  <a:gd name="connsiteY6" fmla="*/ 2937909 h 2999121"/>
                  <a:gd name="connsiteX7" fmla="*/ 6742444 w 8254452"/>
                  <a:gd name="connsiteY7" fmla="*/ 2958005 h 2999121"/>
                  <a:gd name="connsiteX8" fmla="*/ 6601767 w 8254452"/>
                  <a:gd name="connsiteY8" fmla="*/ 2947957 h 2999121"/>
                  <a:gd name="connsiteX9" fmla="*/ 4783016 w 8254452"/>
                  <a:gd name="connsiteY9" fmla="*/ 2998199 h 2999121"/>
                  <a:gd name="connsiteX10" fmla="*/ 3938954 w 8254452"/>
                  <a:gd name="connsiteY10" fmla="*/ 2978102 h 2999121"/>
                  <a:gd name="connsiteX11" fmla="*/ 2944167 w 8254452"/>
                  <a:gd name="connsiteY11" fmla="*/ 2958005 h 2999121"/>
                  <a:gd name="connsiteX12" fmla="*/ 1889090 w 8254452"/>
                  <a:gd name="connsiteY12" fmla="*/ 2968054 h 2999121"/>
                  <a:gd name="connsiteX13" fmla="*/ 12890 w 8254452"/>
                  <a:gd name="connsiteY13" fmla="*/ 2947955 h 2999121"/>
                  <a:gd name="connsiteX0" fmla="*/ 0 w 8254452"/>
                  <a:gd name="connsiteY0" fmla="*/ 174612 h 2999121"/>
                  <a:gd name="connsiteX1" fmla="*/ 4531807 w 8254452"/>
                  <a:gd name="connsiteY1" fmla="*/ 184660 h 2999121"/>
                  <a:gd name="connsiteX2" fmla="*/ 7063991 w 8254452"/>
                  <a:gd name="connsiteY2" fmla="*/ 184660 h 2999121"/>
                  <a:gd name="connsiteX3" fmla="*/ 8098972 w 8254452"/>
                  <a:gd name="connsiteY3" fmla="*/ 214805 h 2999121"/>
                  <a:gd name="connsiteX4" fmla="*/ 8174614 w 8254452"/>
                  <a:gd name="connsiteY4" fmla="*/ 2974969 h 2999121"/>
                  <a:gd name="connsiteX5" fmla="*/ 7365442 w 8254452"/>
                  <a:gd name="connsiteY5" fmla="*/ 2937909 h 2999121"/>
                  <a:gd name="connsiteX6" fmla="*/ 6742444 w 8254452"/>
                  <a:gd name="connsiteY6" fmla="*/ 2958005 h 2999121"/>
                  <a:gd name="connsiteX7" fmla="*/ 6601767 w 8254452"/>
                  <a:gd name="connsiteY7" fmla="*/ 2947957 h 2999121"/>
                  <a:gd name="connsiteX8" fmla="*/ 4783016 w 8254452"/>
                  <a:gd name="connsiteY8" fmla="*/ 2998199 h 2999121"/>
                  <a:gd name="connsiteX9" fmla="*/ 3938954 w 8254452"/>
                  <a:gd name="connsiteY9" fmla="*/ 2978102 h 2999121"/>
                  <a:gd name="connsiteX10" fmla="*/ 2944167 w 8254452"/>
                  <a:gd name="connsiteY10" fmla="*/ 2958005 h 2999121"/>
                  <a:gd name="connsiteX11" fmla="*/ 1889090 w 8254452"/>
                  <a:gd name="connsiteY11" fmla="*/ 2968054 h 2999121"/>
                  <a:gd name="connsiteX12" fmla="*/ 12890 w 8254452"/>
                  <a:gd name="connsiteY12" fmla="*/ 2947955 h 2999121"/>
                  <a:gd name="connsiteX0" fmla="*/ 4518917 w 8241562"/>
                  <a:gd name="connsiteY0" fmla="*/ 184660 h 2999121"/>
                  <a:gd name="connsiteX1" fmla="*/ 7051101 w 8241562"/>
                  <a:gd name="connsiteY1" fmla="*/ 184660 h 2999121"/>
                  <a:gd name="connsiteX2" fmla="*/ 8086082 w 8241562"/>
                  <a:gd name="connsiteY2" fmla="*/ 214805 h 2999121"/>
                  <a:gd name="connsiteX3" fmla="*/ 8161724 w 8241562"/>
                  <a:gd name="connsiteY3" fmla="*/ 2974969 h 2999121"/>
                  <a:gd name="connsiteX4" fmla="*/ 7352552 w 8241562"/>
                  <a:gd name="connsiteY4" fmla="*/ 2937909 h 2999121"/>
                  <a:gd name="connsiteX5" fmla="*/ 6729554 w 8241562"/>
                  <a:gd name="connsiteY5" fmla="*/ 2958005 h 2999121"/>
                  <a:gd name="connsiteX6" fmla="*/ 6588877 w 8241562"/>
                  <a:gd name="connsiteY6" fmla="*/ 2947957 h 2999121"/>
                  <a:gd name="connsiteX7" fmla="*/ 4770126 w 8241562"/>
                  <a:gd name="connsiteY7" fmla="*/ 2998199 h 2999121"/>
                  <a:gd name="connsiteX8" fmla="*/ 3926064 w 8241562"/>
                  <a:gd name="connsiteY8" fmla="*/ 2978102 h 2999121"/>
                  <a:gd name="connsiteX9" fmla="*/ 2931277 w 8241562"/>
                  <a:gd name="connsiteY9" fmla="*/ 2958005 h 2999121"/>
                  <a:gd name="connsiteX10" fmla="*/ 1876200 w 8241562"/>
                  <a:gd name="connsiteY10" fmla="*/ 2968054 h 2999121"/>
                  <a:gd name="connsiteX11" fmla="*/ 0 w 8241562"/>
                  <a:gd name="connsiteY11" fmla="*/ 2947955 h 2999121"/>
                  <a:gd name="connsiteX0" fmla="*/ 7051101 w 8241562"/>
                  <a:gd name="connsiteY0" fmla="*/ 184660 h 2999121"/>
                  <a:gd name="connsiteX1" fmla="*/ 8086082 w 8241562"/>
                  <a:gd name="connsiteY1" fmla="*/ 214805 h 2999121"/>
                  <a:gd name="connsiteX2" fmla="*/ 8161724 w 8241562"/>
                  <a:gd name="connsiteY2" fmla="*/ 2974969 h 2999121"/>
                  <a:gd name="connsiteX3" fmla="*/ 7352552 w 8241562"/>
                  <a:gd name="connsiteY3" fmla="*/ 2937909 h 2999121"/>
                  <a:gd name="connsiteX4" fmla="*/ 6729554 w 8241562"/>
                  <a:gd name="connsiteY4" fmla="*/ 2958005 h 2999121"/>
                  <a:gd name="connsiteX5" fmla="*/ 6588877 w 8241562"/>
                  <a:gd name="connsiteY5" fmla="*/ 2947957 h 2999121"/>
                  <a:gd name="connsiteX6" fmla="*/ 4770126 w 8241562"/>
                  <a:gd name="connsiteY6" fmla="*/ 2998199 h 2999121"/>
                  <a:gd name="connsiteX7" fmla="*/ 3926064 w 8241562"/>
                  <a:gd name="connsiteY7" fmla="*/ 2978102 h 2999121"/>
                  <a:gd name="connsiteX8" fmla="*/ 2931277 w 8241562"/>
                  <a:gd name="connsiteY8" fmla="*/ 2958005 h 2999121"/>
                  <a:gd name="connsiteX9" fmla="*/ 1876200 w 8241562"/>
                  <a:gd name="connsiteY9" fmla="*/ 2968054 h 2999121"/>
                  <a:gd name="connsiteX10" fmla="*/ 0 w 8241562"/>
                  <a:gd name="connsiteY10" fmla="*/ 2947955 h 2999121"/>
                  <a:gd name="connsiteX0" fmla="*/ 8086082 w 8241562"/>
                  <a:gd name="connsiteY0" fmla="*/ 0 h 2784316"/>
                  <a:gd name="connsiteX1" fmla="*/ 8161724 w 8241562"/>
                  <a:gd name="connsiteY1" fmla="*/ 2760164 h 2784316"/>
                  <a:gd name="connsiteX2" fmla="*/ 7352552 w 8241562"/>
                  <a:gd name="connsiteY2" fmla="*/ 2723104 h 2784316"/>
                  <a:gd name="connsiteX3" fmla="*/ 6729554 w 8241562"/>
                  <a:gd name="connsiteY3" fmla="*/ 2743200 h 2784316"/>
                  <a:gd name="connsiteX4" fmla="*/ 6588877 w 8241562"/>
                  <a:gd name="connsiteY4" fmla="*/ 2733152 h 2784316"/>
                  <a:gd name="connsiteX5" fmla="*/ 4770126 w 8241562"/>
                  <a:gd name="connsiteY5" fmla="*/ 2783394 h 2784316"/>
                  <a:gd name="connsiteX6" fmla="*/ 3926064 w 8241562"/>
                  <a:gd name="connsiteY6" fmla="*/ 2763297 h 2784316"/>
                  <a:gd name="connsiteX7" fmla="*/ 2931277 w 8241562"/>
                  <a:gd name="connsiteY7" fmla="*/ 2743200 h 2784316"/>
                  <a:gd name="connsiteX8" fmla="*/ 1876200 w 8241562"/>
                  <a:gd name="connsiteY8" fmla="*/ 2753249 h 2784316"/>
                  <a:gd name="connsiteX9" fmla="*/ 0 w 8241562"/>
                  <a:gd name="connsiteY9" fmla="*/ 2733150 h 2784316"/>
                  <a:gd name="connsiteX0" fmla="*/ 8161724 w 8161724"/>
                  <a:gd name="connsiteY0" fmla="*/ 37498 h 61650"/>
                  <a:gd name="connsiteX1" fmla="*/ 7352552 w 8161724"/>
                  <a:gd name="connsiteY1" fmla="*/ 438 h 61650"/>
                  <a:gd name="connsiteX2" fmla="*/ 6729554 w 8161724"/>
                  <a:gd name="connsiteY2" fmla="*/ 20534 h 61650"/>
                  <a:gd name="connsiteX3" fmla="*/ 6588877 w 8161724"/>
                  <a:gd name="connsiteY3" fmla="*/ 10486 h 61650"/>
                  <a:gd name="connsiteX4" fmla="*/ 4770126 w 8161724"/>
                  <a:gd name="connsiteY4" fmla="*/ 60728 h 61650"/>
                  <a:gd name="connsiteX5" fmla="*/ 3926064 w 8161724"/>
                  <a:gd name="connsiteY5" fmla="*/ 40631 h 61650"/>
                  <a:gd name="connsiteX6" fmla="*/ 2931277 w 8161724"/>
                  <a:gd name="connsiteY6" fmla="*/ 20534 h 61650"/>
                  <a:gd name="connsiteX7" fmla="*/ 1876200 w 8161724"/>
                  <a:gd name="connsiteY7" fmla="*/ 30583 h 61650"/>
                  <a:gd name="connsiteX8" fmla="*/ 0 w 8161724"/>
                  <a:gd name="connsiteY8" fmla="*/ 10484 h 61650"/>
                  <a:gd name="connsiteX0" fmla="*/ 8161724 w 8161724"/>
                  <a:gd name="connsiteY0" fmla="*/ 37498 h 75874"/>
                  <a:gd name="connsiteX1" fmla="*/ 7352552 w 8161724"/>
                  <a:gd name="connsiteY1" fmla="*/ 438 h 75874"/>
                  <a:gd name="connsiteX2" fmla="*/ 6729554 w 8161724"/>
                  <a:gd name="connsiteY2" fmla="*/ 20534 h 75874"/>
                  <a:gd name="connsiteX3" fmla="*/ 6588877 w 8161724"/>
                  <a:gd name="connsiteY3" fmla="*/ 10486 h 75874"/>
                  <a:gd name="connsiteX4" fmla="*/ 4770126 w 8161724"/>
                  <a:gd name="connsiteY4" fmla="*/ 60728 h 75874"/>
                  <a:gd name="connsiteX5" fmla="*/ 4437577 w 8161724"/>
                  <a:gd name="connsiteY5" fmla="*/ 75023 h 75874"/>
                  <a:gd name="connsiteX6" fmla="*/ 3926064 w 8161724"/>
                  <a:gd name="connsiteY6" fmla="*/ 40631 h 75874"/>
                  <a:gd name="connsiteX7" fmla="*/ 2931277 w 8161724"/>
                  <a:gd name="connsiteY7" fmla="*/ 20534 h 75874"/>
                  <a:gd name="connsiteX8" fmla="*/ 1876200 w 8161724"/>
                  <a:gd name="connsiteY8" fmla="*/ 30583 h 75874"/>
                  <a:gd name="connsiteX9" fmla="*/ 0 w 8161724"/>
                  <a:gd name="connsiteY9" fmla="*/ 10484 h 75874"/>
                  <a:gd name="connsiteX0" fmla="*/ 8161724 w 8161724"/>
                  <a:gd name="connsiteY0" fmla="*/ 37498 h 75023"/>
                  <a:gd name="connsiteX1" fmla="*/ 7352552 w 8161724"/>
                  <a:gd name="connsiteY1" fmla="*/ 438 h 75023"/>
                  <a:gd name="connsiteX2" fmla="*/ 6729554 w 8161724"/>
                  <a:gd name="connsiteY2" fmla="*/ 20534 h 75023"/>
                  <a:gd name="connsiteX3" fmla="*/ 6588877 w 8161724"/>
                  <a:gd name="connsiteY3" fmla="*/ 10486 h 75023"/>
                  <a:gd name="connsiteX4" fmla="*/ 4437577 w 8161724"/>
                  <a:gd name="connsiteY4" fmla="*/ 75023 h 75023"/>
                  <a:gd name="connsiteX5" fmla="*/ 3926064 w 8161724"/>
                  <a:gd name="connsiteY5" fmla="*/ 40631 h 75023"/>
                  <a:gd name="connsiteX6" fmla="*/ 2931277 w 8161724"/>
                  <a:gd name="connsiteY6" fmla="*/ 20534 h 75023"/>
                  <a:gd name="connsiteX7" fmla="*/ 1876200 w 8161724"/>
                  <a:gd name="connsiteY7" fmla="*/ 30583 h 75023"/>
                  <a:gd name="connsiteX8" fmla="*/ 0 w 8161724"/>
                  <a:gd name="connsiteY8" fmla="*/ 10484 h 75023"/>
                  <a:gd name="connsiteX0" fmla="*/ 8161724 w 8161724"/>
                  <a:gd name="connsiteY0" fmla="*/ 37498 h 75023"/>
                  <a:gd name="connsiteX1" fmla="*/ 7352552 w 8161724"/>
                  <a:gd name="connsiteY1" fmla="*/ 438 h 75023"/>
                  <a:gd name="connsiteX2" fmla="*/ 6729554 w 8161724"/>
                  <a:gd name="connsiteY2" fmla="*/ 20534 h 75023"/>
                  <a:gd name="connsiteX3" fmla="*/ 4437577 w 8161724"/>
                  <a:gd name="connsiteY3" fmla="*/ 75023 h 75023"/>
                  <a:gd name="connsiteX4" fmla="*/ 3926064 w 8161724"/>
                  <a:gd name="connsiteY4" fmla="*/ 40631 h 75023"/>
                  <a:gd name="connsiteX5" fmla="*/ 2931277 w 8161724"/>
                  <a:gd name="connsiteY5" fmla="*/ 20534 h 75023"/>
                  <a:gd name="connsiteX6" fmla="*/ 1876200 w 8161724"/>
                  <a:gd name="connsiteY6" fmla="*/ 30583 h 75023"/>
                  <a:gd name="connsiteX7" fmla="*/ 0 w 8161724"/>
                  <a:gd name="connsiteY7" fmla="*/ 10484 h 75023"/>
                  <a:gd name="connsiteX0" fmla="*/ 8161724 w 8161724"/>
                  <a:gd name="connsiteY0" fmla="*/ 37060 h 74585"/>
                  <a:gd name="connsiteX1" fmla="*/ 7352552 w 8161724"/>
                  <a:gd name="connsiteY1" fmla="*/ 0 h 74585"/>
                  <a:gd name="connsiteX2" fmla="*/ 4437577 w 8161724"/>
                  <a:gd name="connsiteY2" fmla="*/ 74585 h 74585"/>
                  <a:gd name="connsiteX3" fmla="*/ 3926064 w 8161724"/>
                  <a:gd name="connsiteY3" fmla="*/ 40193 h 74585"/>
                  <a:gd name="connsiteX4" fmla="*/ 2931277 w 8161724"/>
                  <a:gd name="connsiteY4" fmla="*/ 20096 h 74585"/>
                  <a:gd name="connsiteX5" fmla="*/ 1876200 w 8161724"/>
                  <a:gd name="connsiteY5" fmla="*/ 30145 h 74585"/>
                  <a:gd name="connsiteX6" fmla="*/ 0 w 8161724"/>
                  <a:gd name="connsiteY6" fmla="*/ 10046 h 74585"/>
                  <a:gd name="connsiteX0" fmla="*/ 8161724 w 8161724"/>
                  <a:gd name="connsiteY0" fmla="*/ 27014 h 64539"/>
                  <a:gd name="connsiteX1" fmla="*/ 4437577 w 8161724"/>
                  <a:gd name="connsiteY1" fmla="*/ 64539 h 64539"/>
                  <a:gd name="connsiteX2" fmla="*/ 3926064 w 8161724"/>
                  <a:gd name="connsiteY2" fmla="*/ 30147 h 64539"/>
                  <a:gd name="connsiteX3" fmla="*/ 2931277 w 8161724"/>
                  <a:gd name="connsiteY3" fmla="*/ 10050 h 64539"/>
                  <a:gd name="connsiteX4" fmla="*/ 1876200 w 8161724"/>
                  <a:gd name="connsiteY4" fmla="*/ 20099 h 64539"/>
                  <a:gd name="connsiteX5" fmla="*/ 0 w 8161724"/>
                  <a:gd name="connsiteY5" fmla="*/ 0 h 64539"/>
                  <a:gd name="connsiteX0" fmla="*/ 4437577 w 4437577"/>
                  <a:gd name="connsiteY0" fmla="*/ 64539 h 64539"/>
                  <a:gd name="connsiteX1" fmla="*/ 3926064 w 4437577"/>
                  <a:gd name="connsiteY1" fmla="*/ 30147 h 64539"/>
                  <a:gd name="connsiteX2" fmla="*/ 2931277 w 4437577"/>
                  <a:gd name="connsiteY2" fmla="*/ 10050 h 64539"/>
                  <a:gd name="connsiteX3" fmla="*/ 1876200 w 4437577"/>
                  <a:gd name="connsiteY3" fmla="*/ 20099 h 64539"/>
                  <a:gd name="connsiteX4" fmla="*/ 0 w 4437577"/>
                  <a:gd name="connsiteY4" fmla="*/ 0 h 64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7577" h="64539">
                    <a:moveTo>
                      <a:pt x="4437577" y="64539"/>
                    </a:moveTo>
                    <a:cubicBezTo>
                      <a:pt x="4296900" y="61190"/>
                      <a:pt x="4177114" y="39229"/>
                      <a:pt x="3926064" y="30147"/>
                    </a:cubicBezTo>
                    <a:lnTo>
                      <a:pt x="2931277" y="10050"/>
                    </a:lnTo>
                    <a:lnTo>
                      <a:pt x="1876200" y="20099"/>
                    </a:lnTo>
                    <a:lnTo>
                      <a:pt x="0" y="0"/>
                    </a:lnTo>
                  </a:path>
                </a:pathLst>
              </a:custGeom>
              <a:noFill/>
              <a:ln w="2000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52" name="Freeform: Shape 120">
                <a:extLst>
                  <a:ext uri="{FF2B5EF4-FFF2-40B4-BE49-F238E27FC236}">
                    <a16:creationId xmlns:a16="http://schemas.microsoft.com/office/drawing/2014/main" id="{37593E83-0BE6-C162-33DD-87BE6E8C3DB8}"/>
                  </a:ext>
                </a:extLst>
              </p:cNvPr>
              <p:cNvSpPr/>
              <p:nvPr/>
            </p:nvSpPr>
            <p:spPr>
              <a:xfrm rot="10800000">
                <a:off x="96386" y="1275535"/>
                <a:ext cx="4310514" cy="73776"/>
              </a:xfrm>
              <a:custGeom>
                <a:avLst/>
                <a:gdLst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964642 w 11867103"/>
                  <a:gd name="connsiteY6" fmla="*/ 70339 h 2964609"/>
                  <a:gd name="connsiteX7" fmla="*/ 994787 w 11867103"/>
                  <a:gd name="connsiteY7" fmla="*/ 80387 h 2964609"/>
                  <a:gd name="connsiteX8" fmla="*/ 1356528 w 11867103"/>
                  <a:gd name="connsiteY8" fmla="*/ 80387 h 2964609"/>
                  <a:gd name="connsiteX9" fmla="*/ 1758462 w 11867103"/>
                  <a:gd name="connsiteY9" fmla="*/ 40193 h 2964609"/>
                  <a:gd name="connsiteX10" fmla="*/ 1889090 w 11867103"/>
                  <a:gd name="connsiteY10" fmla="*/ 20097 h 2964609"/>
                  <a:gd name="connsiteX11" fmla="*/ 2140299 w 11867103"/>
                  <a:gd name="connsiteY11" fmla="*/ 40193 h 2964609"/>
                  <a:gd name="connsiteX12" fmla="*/ 2200589 w 11867103"/>
                  <a:gd name="connsiteY12" fmla="*/ 50242 h 2964609"/>
                  <a:gd name="connsiteX13" fmla="*/ 4652387 w 11867103"/>
                  <a:gd name="connsiteY13" fmla="*/ 60290 h 2964609"/>
                  <a:gd name="connsiteX14" fmla="*/ 4692580 w 11867103"/>
                  <a:gd name="connsiteY14" fmla="*/ 70339 h 2964609"/>
                  <a:gd name="connsiteX15" fmla="*/ 4843306 w 11867103"/>
                  <a:gd name="connsiteY15" fmla="*/ 90435 h 2964609"/>
                  <a:gd name="connsiteX16" fmla="*/ 5677319 w 11867103"/>
                  <a:gd name="connsiteY16" fmla="*/ 80387 h 2964609"/>
                  <a:gd name="connsiteX17" fmla="*/ 6169688 w 11867103"/>
                  <a:gd name="connsiteY17" fmla="*/ 110532 h 2964609"/>
                  <a:gd name="connsiteX18" fmla="*/ 6420897 w 11867103"/>
                  <a:gd name="connsiteY18" fmla="*/ 90435 h 2964609"/>
                  <a:gd name="connsiteX19" fmla="*/ 6511332 w 11867103"/>
                  <a:gd name="connsiteY19" fmla="*/ 30145 h 2964609"/>
                  <a:gd name="connsiteX20" fmla="*/ 6571622 w 11867103"/>
                  <a:gd name="connsiteY20" fmla="*/ 20097 h 2964609"/>
                  <a:gd name="connsiteX21" fmla="*/ 6641961 w 11867103"/>
                  <a:gd name="connsiteY21" fmla="*/ 0 h 2964609"/>
                  <a:gd name="connsiteX22" fmla="*/ 7204668 w 11867103"/>
                  <a:gd name="connsiteY22" fmla="*/ 10048 h 2964609"/>
                  <a:gd name="connsiteX23" fmla="*/ 7285055 w 11867103"/>
                  <a:gd name="connsiteY23" fmla="*/ 30145 h 2964609"/>
                  <a:gd name="connsiteX24" fmla="*/ 7375490 w 11867103"/>
                  <a:gd name="connsiteY24" fmla="*/ 40193 h 2964609"/>
                  <a:gd name="connsiteX25" fmla="*/ 7928150 w 11867103"/>
                  <a:gd name="connsiteY25" fmla="*/ 60290 h 2964609"/>
                  <a:gd name="connsiteX26" fmla="*/ 8109020 w 11867103"/>
                  <a:gd name="connsiteY26" fmla="*/ 80387 h 2964609"/>
                  <a:gd name="connsiteX27" fmla="*/ 8219552 w 11867103"/>
                  <a:gd name="connsiteY27" fmla="*/ 90435 h 2964609"/>
                  <a:gd name="connsiteX28" fmla="*/ 8299939 w 11867103"/>
                  <a:gd name="connsiteY28" fmla="*/ 100484 h 2964609"/>
                  <a:gd name="connsiteX29" fmla="*/ 8521002 w 11867103"/>
                  <a:gd name="connsiteY29" fmla="*/ 110532 h 2964609"/>
                  <a:gd name="connsiteX30" fmla="*/ 9515789 w 11867103"/>
                  <a:gd name="connsiteY30" fmla="*/ 100484 h 2964609"/>
                  <a:gd name="connsiteX31" fmla="*/ 9606224 w 11867103"/>
                  <a:gd name="connsiteY31" fmla="*/ 90435 h 2964609"/>
                  <a:gd name="connsiteX32" fmla="*/ 9716756 w 11867103"/>
                  <a:gd name="connsiteY32" fmla="*/ 80387 h 2964609"/>
                  <a:gd name="connsiteX33" fmla="*/ 9797143 w 11867103"/>
                  <a:gd name="connsiteY33" fmla="*/ 70339 h 2964609"/>
                  <a:gd name="connsiteX34" fmla="*/ 9947868 w 11867103"/>
                  <a:gd name="connsiteY34" fmla="*/ 60290 h 2964609"/>
                  <a:gd name="connsiteX35" fmla="*/ 10791930 w 11867103"/>
                  <a:gd name="connsiteY35" fmla="*/ 30145 h 2964609"/>
                  <a:gd name="connsiteX36" fmla="*/ 11736475 w 11867103"/>
                  <a:gd name="connsiteY36" fmla="*/ 50242 h 2964609"/>
                  <a:gd name="connsiteX37" fmla="*/ 11766620 w 11867103"/>
                  <a:gd name="connsiteY37" fmla="*/ 80387 h 2964609"/>
                  <a:gd name="connsiteX38" fmla="*/ 11786717 w 11867103"/>
                  <a:gd name="connsiteY38" fmla="*/ 120580 h 2964609"/>
                  <a:gd name="connsiteX39" fmla="*/ 11806813 w 11867103"/>
                  <a:gd name="connsiteY39" fmla="*/ 211015 h 2964609"/>
                  <a:gd name="connsiteX40" fmla="*/ 11816862 w 11867103"/>
                  <a:gd name="connsiteY40" fmla="*/ 251209 h 2964609"/>
                  <a:gd name="connsiteX41" fmla="*/ 11826910 w 11867103"/>
                  <a:gd name="connsiteY41" fmla="*/ 341644 h 2964609"/>
                  <a:gd name="connsiteX42" fmla="*/ 11836958 w 11867103"/>
                  <a:gd name="connsiteY42" fmla="*/ 422031 h 2964609"/>
                  <a:gd name="connsiteX43" fmla="*/ 11826910 w 11867103"/>
                  <a:gd name="connsiteY43" fmla="*/ 733530 h 2964609"/>
                  <a:gd name="connsiteX44" fmla="*/ 11816862 w 11867103"/>
                  <a:gd name="connsiteY44" fmla="*/ 793820 h 2964609"/>
                  <a:gd name="connsiteX45" fmla="*/ 11806813 w 11867103"/>
                  <a:gd name="connsiteY45" fmla="*/ 864158 h 2964609"/>
                  <a:gd name="connsiteX46" fmla="*/ 11816862 w 11867103"/>
                  <a:gd name="connsiteY46" fmla="*/ 2331218 h 2964609"/>
                  <a:gd name="connsiteX47" fmla="*/ 11826910 w 11867103"/>
                  <a:gd name="connsiteY47" fmla="*/ 2401556 h 2964609"/>
                  <a:gd name="connsiteX48" fmla="*/ 11836958 w 11867103"/>
                  <a:gd name="connsiteY48" fmla="*/ 2431701 h 2964609"/>
                  <a:gd name="connsiteX49" fmla="*/ 11857055 w 11867103"/>
                  <a:gd name="connsiteY49" fmla="*/ 2562330 h 2964609"/>
                  <a:gd name="connsiteX50" fmla="*/ 11867103 w 11867103"/>
                  <a:gd name="connsiteY50" fmla="*/ 2602523 h 2964609"/>
                  <a:gd name="connsiteX51" fmla="*/ 11857055 w 11867103"/>
                  <a:gd name="connsiteY51" fmla="*/ 2833635 h 2964609"/>
                  <a:gd name="connsiteX52" fmla="*/ 11836958 w 11867103"/>
                  <a:gd name="connsiteY52" fmla="*/ 2863780 h 2964609"/>
                  <a:gd name="connsiteX53" fmla="*/ 11033090 w 11867103"/>
                  <a:gd name="connsiteY53" fmla="*/ 2853732 h 2964609"/>
                  <a:gd name="connsiteX54" fmla="*/ 10621108 w 11867103"/>
                  <a:gd name="connsiteY54" fmla="*/ 2843684 h 2964609"/>
                  <a:gd name="connsiteX55" fmla="*/ 10128739 w 11867103"/>
                  <a:gd name="connsiteY55" fmla="*/ 2853732 h 2964609"/>
                  <a:gd name="connsiteX56" fmla="*/ 10048352 w 11867103"/>
                  <a:gd name="connsiteY56" fmla="*/ 2863780 h 2964609"/>
                  <a:gd name="connsiteX57" fmla="*/ 9555982 w 11867103"/>
                  <a:gd name="connsiteY57" fmla="*/ 2853732 h 2964609"/>
                  <a:gd name="connsiteX58" fmla="*/ 9445451 w 11867103"/>
                  <a:gd name="connsiteY58" fmla="*/ 2843684 h 2964609"/>
                  <a:gd name="connsiteX59" fmla="*/ 9415306 w 11867103"/>
                  <a:gd name="connsiteY59" fmla="*/ 2823587 h 2964609"/>
                  <a:gd name="connsiteX60" fmla="*/ 9204290 w 11867103"/>
                  <a:gd name="connsiteY60" fmla="*/ 2803490 h 2964609"/>
                  <a:gd name="connsiteX61" fmla="*/ 9073662 w 11867103"/>
                  <a:gd name="connsiteY61" fmla="*/ 2783393 h 2964609"/>
                  <a:gd name="connsiteX62" fmla="*/ 8812404 w 11867103"/>
                  <a:gd name="connsiteY62" fmla="*/ 2773345 h 2964609"/>
                  <a:gd name="connsiteX63" fmla="*/ 8400422 w 11867103"/>
                  <a:gd name="connsiteY63" fmla="*/ 2763297 h 2964609"/>
                  <a:gd name="connsiteX64" fmla="*/ 8269793 w 11867103"/>
                  <a:gd name="connsiteY64" fmla="*/ 2753248 h 2964609"/>
                  <a:gd name="connsiteX65" fmla="*/ 7797521 w 11867103"/>
                  <a:gd name="connsiteY65" fmla="*/ 2773345 h 2964609"/>
                  <a:gd name="connsiteX66" fmla="*/ 7717134 w 11867103"/>
                  <a:gd name="connsiteY66" fmla="*/ 2783393 h 2964609"/>
                  <a:gd name="connsiteX67" fmla="*/ 7486022 w 11867103"/>
                  <a:gd name="connsiteY67" fmla="*/ 2813539 h 2964609"/>
                  <a:gd name="connsiteX68" fmla="*/ 7395587 w 11867103"/>
                  <a:gd name="connsiteY68" fmla="*/ 2833635 h 2964609"/>
                  <a:gd name="connsiteX69" fmla="*/ 7325248 w 11867103"/>
                  <a:gd name="connsiteY69" fmla="*/ 2843684 h 2964609"/>
                  <a:gd name="connsiteX70" fmla="*/ 6863024 w 11867103"/>
                  <a:gd name="connsiteY70" fmla="*/ 2833635 h 2964609"/>
                  <a:gd name="connsiteX71" fmla="*/ 6722347 w 11867103"/>
                  <a:gd name="connsiteY71" fmla="*/ 2823587 h 2964609"/>
                  <a:gd name="connsiteX72" fmla="*/ 4903596 w 11867103"/>
                  <a:gd name="connsiteY72" fmla="*/ 2873829 h 2964609"/>
                  <a:gd name="connsiteX73" fmla="*/ 4722725 w 11867103"/>
                  <a:gd name="connsiteY73" fmla="*/ 2914022 h 2964609"/>
                  <a:gd name="connsiteX74" fmla="*/ 4300695 w 11867103"/>
                  <a:gd name="connsiteY74" fmla="*/ 2893925 h 2964609"/>
                  <a:gd name="connsiteX75" fmla="*/ 4059534 w 11867103"/>
                  <a:gd name="connsiteY75" fmla="*/ 2853732 h 2964609"/>
                  <a:gd name="connsiteX76" fmla="*/ 3768132 w 11867103"/>
                  <a:gd name="connsiteY76" fmla="*/ 2823587 h 2964609"/>
                  <a:gd name="connsiteX77" fmla="*/ 3627455 w 11867103"/>
                  <a:gd name="connsiteY77" fmla="*/ 2813539 h 2964609"/>
                  <a:gd name="connsiteX78" fmla="*/ 3125037 w 11867103"/>
                  <a:gd name="connsiteY78" fmla="*/ 2823587 h 2964609"/>
                  <a:gd name="connsiteX79" fmla="*/ 3064747 w 11867103"/>
                  <a:gd name="connsiteY79" fmla="*/ 2833635 h 2964609"/>
                  <a:gd name="connsiteX80" fmla="*/ 2009670 w 11867103"/>
                  <a:gd name="connsiteY80" fmla="*/ 2843684 h 2964609"/>
                  <a:gd name="connsiteX81" fmla="*/ 1678075 w 11867103"/>
                  <a:gd name="connsiteY81" fmla="*/ 2934119 h 2964609"/>
                  <a:gd name="connsiteX82" fmla="*/ 1607736 w 11867103"/>
                  <a:gd name="connsiteY82" fmla="*/ 2964264 h 2964609"/>
                  <a:gd name="connsiteX83" fmla="*/ 1135464 w 11867103"/>
                  <a:gd name="connsiteY83" fmla="*/ 2944167 h 2964609"/>
                  <a:gd name="connsiteX84" fmla="*/ 944545 w 11867103"/>
                  <a:gd name="connsiteY84" fmla="*/ 2914022 h 2964609"/>
                  <a:gd name="connsiteX85" fmla="*/ 723481 w 11867103"/>
                  <a:gd name="connsiteY85" fmla="*/ 2873829 h 2964609"/>
                  <a:gd name="connsiteX86" fmla="*/ 643095 w 11867103"/>
                  <a:gd name="connsiteY86" fmla="*/ 2863780 h 2964609"/>
                  <a:gd name="connsiteX87" fmla="*/ 371789 w 11867103"/>
                  <a:gd name="connsiteY87" fmla="*/ 2823587 h 2964609"/>
                  <a:gd name="connsiteX88" fmla="*/ 0 w 11867103"/>
                  <a:gd name="connsiteY88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964642 w 11867103"/>
                  <a:gd name="connsiteY6" fmla="*/ 70339 h 2964609"/>
                  <a:gd name="connsiteX7" fmla="*/ 1356528 w 11867103"/>
                  <a:gd name="connsiteY7" fmla="*/ 80387 h 2964609"/>
                  <a:gd name="connsiteX8" fmla="*/ 1758462 w 11867103"/>
                  <a:gd name="connsiteY8" fmla="*/ 40193 h 2964609"/>
                  <a:gd name="connsiteX9" fmla="*/ 1889090 w 11867103"/>
                  <a:gd name="connsiteY9" fmla="*/ 20097 h 2964609"/>
                  <a:gd name="connsiteX10" fmla="*/ 2140299 w 11867103"/>
                  <a:gd name="connsiteY10" fmla="*/ 40193 h 2964609"/>
                  <a:gd name="connsiteX11" fmla="*/ 2200589 w 11867103"/>
                  <a:gd name="connsiteY11" fmla="*/ 50242 h 2964609"/>
                  <a:gd name="connsiteX12" fmla="*/ 4652387 w 11867103"/>
                  <a:gd name="connsiteY12" fmla="*/ 60290 h 2964609"/>
                  <a:gd name="connsiteX13" fmla="*/ 4692580 w 11867103"/>
                  <a:gd name="connsiteY13" fmla="*/ 70339 h 2964609"/>
                  <a:gd name="connsiteX14" fmla="*/ 4843306 w 11867103"/>
                  <a:gd name="connsiteY14" fmla="*/ 90435 h 2964609"/>
                  <a:gd name="connsiteX15" fmla="*/ 5677319 w 11867103"/>
                  <a:gd name="connsiteY15" fmla="*/ 80387 h 2964609"/>
                  <a:gd name="connsiteX16" fmla="*/ 6169688 w 11867103"/>
                  <a:gd name="connsiteY16" fmla="*/ 110532 h 2964609"/>
                  <a:gd name="connsiteX17" fmla="*/ 6420897 w 11867103"/>
                  <a:gd name="connsiteY17" fmla="*/ 90435 h 2964609"/>
                  <a:gd name="connsiteX18" fmla="*/ 6511332 w 11867103"/>
                  <a:gd name="connsiteY18" fmla="*/ 30145 h 2964609"/>
                  <a:gd name="connsiteX19" fmla="*/ 6571622 w 11867103"/>
                  <a:gd name="connsiteY19" fmla="*/ 20097 h 2964609"/>
                  <a:gd name="connsiteX20" fmla="*/ 6641961 w 11867103"/>
                  <a:gd name="connsiteY20" fmla="*/ 0 h 2964609"/>
                  <a:gd name="connsiteX21" fmla="*/ 7204668 w 11867103"/>
                  <a:gd name="connsiteY21" fmla="*/ 10048 h 2964609"/>
                  <a:gd name="connsiteX22" fmla="*/ 7285055 w 11867103"/>
                  <a:gd name="connsiteY22" fmla="*/ 30145 h 2964609"/>
                  <a:gd name="connsiteX23" fmla="*/ 7375490 w 11867103"/>
                  <a:gd name="connsiteY23" fmla="*/ 40193 h 2964609"/>
                  <a:gd name="connsiteX24" fmla="*/ 7928150 w 11867103"/>
                  <a:gd name="connsiteY24" fmla="*/ 60290 h 2964609"/>
                  <a:gd name="connsiteX25" fmla="*/ 8109020 w 11867103"/>
                  <a:gd name="connsiteY25" fmla="*/ 80387 h 2964609"/>
                  <a:gd name="connsiteX26" fmla="*/ 8219552 w 11867103"/>
                  <a:gd name="connsiteY26" fmla="*/ 90435 h 2964609"/>
                  <a:gd name="connsiteX27" fmla="*/ 8299939 w 11867103"/>
                  <a:gd name="connsiteY27" fmla="*/ 100484 h 2964609"/>
                  <a:gd name="connsiteX28" fmla="*/ 8521002 w 11867103"/>
                  <a:gd name="connsiteY28" fmla="*/ 110532 h 2964609"/>
                  <a:gd name="connsiteX29" fmla="*/ 9515789 w 11867103"/>
                  <a:gd name="connsiteY29" fmla="*/ 100484 h 2964609"/>
                  <a:gd name="connsiteX30" fmla="*/ 9606224 w 11867103"/>
                  <a:gd name="connsiteY30" fmla="*/ 90435 h 2964609"/>
                  <a:gd name="connsiteX31" fmla="*/ 9716756 w 11867103"/>
                  <a:gd name="connsiteY31" fmla="*/ 80387 h 2964609"/>
                  <a:gd name="connsiteX32" fmla="*/ 9797143 w 11867103"/>
                  <a:gd name="connsiteY32" fmla="*/ 70339 h 2964609"/>
                  <a:gd name="connsiteX33" fmla="*/ 9947868 w 11867103"/>
                  <a:gd name="connsiteY33" fmla="*/ 60290 h 2964609"/>
                  <a:gd name="connsiteX34" fmla="*/ 10791930 w 11867103"/>
                  <a:gd name="connsiteY34" fmla="*/ 30145 h 2964609"/>
                  <a:gd name="connsiteX35" fmla="*/ 11736475 w 11867103"/>
                  <a:gd name="connsiteY35" fmla="*/ 50242 h 2964609"/>
                  <a:gd name="connsiteX36" fmla="*/ 11766620 w 11867103"/>
                  <a:gd name="connsiteY36" fmla="*/ 80387 h 2964609"/>
                  <a:gd name="connsiteX37" fmla="*/ 11786717 w 11867103"/>
                  <a:gd name="connsiteY37" fmla="*/ 120580 h 2964609"/>
                  <a:gd name="connsiteX38" fmla="*/ 11806813 w 11867103"/>
                  <a:gd name="connsiteY38" fmla="*/ 211015 h 2964609"/>
                  <a:gd name="connsiteX39" fmla="*/ 11816862 w 11867103"/>
                  <a:gd name="connsiteY39" fmla="*/ 251209 h 2964609"/>
                  <a:gd name="connsiteX40" fmla="*/ 11826910 w 11867103"/>
                  <a:gd name="connsiteY40" fmla="*/ 341644 h 2964609"/>
                  <a:gd name="connsiteX41" fmla="*/ 11836958 w 11867103"/>
                  <a:gd name="connsiteY41" fmla="*/ 422031 h 2964609"/>
                  <a:gd name="connsiteX42" fmla="*/ 11826910 w 11867103"/>
                  <a:gd name="connsiteY42" fmla="*/ 733530 h 2964609"/>
                  <a:gd name="connsiteX43" fmla="*/ 11816862 w 11867103"/>
                  <a:gd name="connsiteY43" fmla="*/ 793820 h 2964609"/>
                  <a:gd name="connsiteX44" fmla="*/ 11806813 w 11867103"/>
                  <a:gd name="connsiteY44" fmla="*/ 864158 h 2964609"/>
                  <a:gd name="connsiteX45" fmla="*/ 11816862 w 11867103"/>
                  <a:gd name="connsiteY45" fmla="*/ 2331218 h 2964609"/>
                  <a:gd name="connsiteX46" fmla="*/ 11826910 w 11867103"/>
                  <a:gd name="connsiteY46" fmla="*/ 2401556 h 2964609"/>
                  <a:gd name="connsiteX47" fmla="*/ 11836958 w 11867103"/>
                  <a:gd name="connsiteY47" fmla="*/ 2431701 h 2964609"/>
                  <a:gd name="connsiteX48" fmla="*/ 11857055 w 11867103"/>
                  <a:gd name="connsiteY48" fmla="*/ 2562330 h 2964609"/>
                  <a:gd name="connsiteX49" fmla="*/ 11867103 w 11867103"/>
                  <a:gd name="connsiteY49" fmla="*/ 2602523 h 2964609"/>
                  <a:gd name="connsiteX50" fmla="*/ 11857055 w 11867103"/>
                  <a:gd name="connsiteY50" fmla="*/ 2833635 h 2964609"/>
                  <a:gd name="connsiteX51" fmla="*/ 11836958 w 11867103"/>
                  <a:gd name="connsiteY51" fmla="*/ 2863780 h 2964609"/>
                  <a:gd name="connsiteX52" fmla="*/ 11033090 w 11867103"/>
                  <a:gd name="connsiteY52" fmla="*/ 2853732 h 2964609"/>
                  <a:gd name="connsiteX53" fmla="*/ 10621108 w 11867103"/>
                  <a:gd name="connsiteY53" fmla="*/ 2843684 h 2964609"/>
                  <a:gd name="connsiteX54" fmla="*/ 10128739 w 11867103"/>
                  <a:gd name="connsiteY54" fmla="*/ 2853732 h 2964609"/>
                  <a:gd name="connsiteX55" fmla="*/ 10048352 w 11867103"/>
                  <a:gd name="connsiteY55" fmla="*/ 2863780 h 2964609"/>
                  <a:gd name="connsiteX56" fmla="*/ 9555982 w 11867103"/>
                  <a:gd name="connsiteY56" fmla="*/ 2853732 h 2964609"/>
                  <a:gd name="connsiteX57" fmla="*/ 9445451 w 11867103"/>
                  <a:gd name="connsiteY57" fmla="*/ 2843684 h 2964609"/>
                  <a:gd name="connsiteX58" fmla="*/ 9415306 w 11867103"/>
                  <a:gd name="connsiteY58" fmla="*/ 2823587 h 2964609"/>
                  <a:gd name="connsiteX59" fmla="*/ 9204290 w 11867103"/>
                  <a:gd name="connsiteY59" fmla="*/ 2803490 h 2964609"/>
                  <a:gd name="connsiteX60" fmla="*/ 9073662 w 11867103"/>
                  <a:gd name="connsiteY60" fmla="*/ 2783393 h 2964609"/>
                  <a:gd name="connsiteX61" fmla="*/ 8812404 w 11867103"/>
                  <a:gd name="connsiteY61" fmla="*/ 2773345 h 2964609"/>
                  <a:gd name="connsiteX62" fmla="*/ 8400422 w 11867103"/>
                  <a:gd name="connsiteY62" fmla="*/ 2763297 h 2964609"/>
                  <a:gd name="connsiteX63" fmla="*/ 8269793 w 11867103"/>
                  <a:gd name="connsiteY63" fmla="*/ 2753248 h 2964609"/>
                  <a:gd name="connsiteX64" fmla="*/ 7797521 w 11867103"/>
                  <a:gd name="connsiteY64" fmla="*/ 2773345 h 2964609"/>
                  <a:gd name="connsiteX65" fmla="*/ 7717134 w 11867103"/>
                  <a:gd name="connsiteY65" fmla="*/ 2783393 h 2964609"/>
                  <a:gd name="connsiteX66" fmla="*/ 7486022 w 11867103"/>
                  <a:gd name="connsiteY66" fmla="*/ 2813539 h 2964609"/>
                  <a:gd name="connsiteX67" fmla="*/ 7395587 w 11867103"/>
                  <a:gd name="connsiteY67" fmla="*/ 2833635 h 2964609"/>
                  <a:gd name="connsiteX68" fmla="*/ 7325248 w 11867103"/>
                  <a:gd name="connsiteY68" fmla="*/ 2843684 h 2964609"/>
                  <a:gd name="connsiteX69" fmla="*/ 6863024 w 11867103"/>
                  <a:gd name="connsiteY69" fmla="*/ 2833635 h 2964609"/>
                  <a:gd name="connsiteX70" fmla="*/ 6722347 w 11867103"/>
                  <a:gd name="connsiteY70" fmla="*/ 2823587 h 2964609"/>
                  <a:gd name="connsiteX71" fmla="*/ 4903596 w 11867103"/>
                  <a:gd name="connsiteY71" fmla="*/ 2873829 h 2964609"/>
                  <a:gd name="connsiteX72" fmla="*/ 4722725 w 11867103"/>
                  <a:gd name="connsiteY72" fmla="*/ 2914022 h 2964609"/>
                  <a:gd name="connsiteX73" fmla="*/ 4300695 w 11867103"/>
                  <a:gd name="connsiteY73" fmla="*/ 2893925 h 2964609"/>
                  <a:gd name="connsiteX74" fmla="*/ 4059534 w 11867103"/>
                  <a:gd name="connsiteY74" fmla="*/ 2853732 h 2964609"/>
                  <a:gd name="connsiteX75" fmla="*/ 3768132 w 11867103"/>
                  <a:gd name="connsiteY75" fmla="*/ 2823587 h 2964609"/>
                  <a:gd name="connsiteX76" fmla="*/ 3627455 w 11867103"/>
                  <a:gd name="connsiteY76" fmla="*/ 2813539 h 2964609"/>
                  <a:gd name="connsiteX77" fmla="*/ 3125037 w 11867103"/>
                  <a:gd name="connsiteY77" fmla="*/ 2823587 h 2964609"/>
                  <a:gd name="connsiteX78" fmla="*/ 3064747 w 11867103"/>
                  <a:gd name="connsiteY78" fmla="*/ 2833635 h 2964609"/>
                  <a:gd name="connsiteX79" fmla="*/ 2009670 w 11867103"/>
                  <a:gd name="connsiteY79" fmla="*/ 2843684 h 2964609"/>
                  <a:gd name="connsiteX80" fmla="*/ 1678075 w 11867103"/>
                  <a:gd name="connsiteY80" fmla="*/ 2934119 h 2964609"/>
                  <a:gd name="connsiteX81" fmla="*/ 1607736 w 11867103"/>
                  <a:gd name="connsiteY81" fmla="*/ 2964264 h 2964609"/>
                  <a:gd name="connsiteX82" fmla="*/ 1135464 w 11867103"/>
                  <a:gd name="connsiteY82" fmla="*/ 2944167 h 2964609"/>
                  <a:gd name="connsiteX83" fmla="*/ 944545 w 11867103"/>
                  <a:gd name="connsiteY83" fmla="*/ 2914022 h 2964609"/>
                  <a:gd name="connsiteX84" fmla="*/ 723481 w 11867103"/>
                  <a:gd name="connsiteY84" fmla="*/ 2873829 h 2964609"/>
                  <a:gd name="connsiteX85" fmla="*/ 643095 w 11867103"/>
                  <a:gd name="connsiteY85" fmla="*/ 2863780 h 2964609"/>
                  <a:gd name="connsiteX86" fmla="*/ 371789 w 11867103"/>
                  <a:gd name="connsiteY86" fmla="*/ 2823587 h 2964609"/>
                  <a:gd name="connsiteX87" fmla="*/ 0 w 11867103"/>
                  <a:gd name="connsiteY87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884255 w 11867103"/>
                  <a:gd name="connsiteY5" fmla="*/ 60290 h 2964609"/>
                  <a:gd name="connsiteX6" fmla="*/ 1356528 w 11867103"/>
                  <a:gd name="connsiteY6" fmla="*/ 80387 h 2964609"/>
                  <a:gd name="connsiteX7" fmla="*/ 1758462 w 11867103"/>
                  <a:gd name="connsiteY7" fmla="*/ 40193 h 2964609"/>
                  <a:gd name="connsiteX8" fmla="*/ 1889090 w 11867103"/>
                  <a:gd name="connsiteY8" fmla="*/ 20097 h 2964609"/>
                  <a:gd name="connsiteX9" fmla="*/ 2140299 w 11867103"/>
                  <a:gd name="connsiteY9" fmla="*/ 40193 h 2964609"/>
                  <a:gd name="connsiteX10" fmla="*/ 2200589 w 11867103"/>
                  <a:gd name="connsiteY10" fmla="*/ 50242 h 2964609"/>
                  <a:gd name="connsiteX11" fmla="*/ 4652387 w 11867103"/>
                  <a:gd name="connsiteY11" fmla="*/ 60290 h 2964609"/>
                  <a:gd name="connsiteX12" fmla="*/ 4692580 w 11867103"/>
                  <a:gd name="connsiteY12" fmla="*/ 70339 h 2964609"/>
                  <a:gd name="connsiteX13" fmla="*/ 4843306 w 11867103"/>
                  <a:gd name="connsiteY13" fmla="*/ 90435 h 2964609"/>
                  <a:gd name="connsiteX14" fmla="*/ 5677319 w 11867103"/>
                  <a:gd name="connsiteY14" fmla="*/ 80387 h 2964609"/>
                  <a:gd name="connsiteX15" fmla="*/ 6169688 w 11867103"/>
                  <a:gd name="connsiteY15" fmla="*/ 110532 h 2964609"/>
                  <a:gd name="connsiteX16" fmla="*/ 6420897 w 11867103"/>
                  <a:gd name="connsiteY16" fmla="*/ 90435 h 2964609"/>
                  <a:gd name="connsiteX17" fmla="*/ 6511332 w 11867103"/>
                  <a:gd name="connsiteY17" fmla="*/ 30145 h 2964609"/>
                  <a:gd name="connsiteX18" fmla="*/ 6571622 w 11867103"/>
                  <a:gd name="connsiteY18" fmla="*/ 20097 h 2964609"/>
                  <a:gd name="connsiteX19" fmla="*/ 6641961 w 11867103"/>
                  <a:gd name="connsiteY19" fmla="*/ 0 h 2964609"/>
                  <a:gd name="connsiteX20" fmla="*/ 7204668 w 11867103"/>
                  <a:gd name="connsiteY20" fmla="*/ 10048 h 2964609"/>
                  <a:gd name="connsiteX21" fmla="*/ 7285055 w 11867103"/>
                  <a:gd name="connsiteY21" fmla="*/ 30145 h 2964609"/>
                  <a:gd name="connsiteX22" fmla="*/ 7375490 w 11867103"/>
                  <a:gd name="connsiteY22" fmla="*/ 40193 h 2964609"/>
                  <a:gd name="connsiteX23" fmla="*/ 7928150 w 11867103"/>
                  <a:gd name="connsiteY23" fmla="*/ 60290 h 2964609"/>
                  <a:gd name="connsiteX24" fmla="*/ 8109020 w 11867103"/>
                  <a:gd name="connsiteY24" fmla="*/ 80387 h 2964609"/>
                  <a:gd name="connsiteX25" fmla="*/ 8219552 w 11867103"/>
                  <a:gd name="connsiteY25" fmla="*/ 90435 h 2964609"/>
                  <a:gd name="connsiteX26" fmla="*/ 8299939 w 11867103"/>
                  <a:gd name="connsiteY26" fmla="*/ 100484 h 2964609"/>
                  <a:gd name="connsiteX27" fmla="*/ 8521002 w 11867103"/>
                  <a:gd name="connsiteY27" fmla="*/ 110532 h 2964609"/>
                  <a:gd name="connsiteX28" fmla="*/ 9515789 w 11867103"/>
                  <a:gd name="connsiteY28" fmla="*/ 100484 h 2964609"/>
                  <a:gd name="connsiteX29" fmla="*/ 9606224 w 11867103"/>
                  <a:gd name="connsiteY29" fmla="*/ 90435 h 2964609"/>
                  <a:gd name="connsiteX30" fmla="*/ 9716756 w 11867103"/>
                  <a:gd name="connsiteY30" fmla="*/ 80387 h 2964609"/>
                  <a:gd name="connsiteX31" fmla="*/ 9797143 w 11867103"/>
                  <a:gd name="connsiteY31" fmla="*/ 70339 h 2964609"/>
                  <a:gd name="connsiteX32" fmla="*/ 9947868 w 11867103"/>
                  <a:gd name="connsiteY32" fmla="*/ 60290 h 2964609"/>
                  <a:gd name="connsiteX33" fmla="*/ 10791930 w 11867103"/>
                  <a:gd name="connsiteY33" fmla="*/ 30145 h 2964609"/>
                  <a:gd name="connsiteX34" fmla="*/ 11736475 w 11867103"/>
                  <a:gd name="connsiteY34" fmla="*/ 50242 h 2964609"/>
                  <a:gd name="connsiteX35" fmla="*/ 11766620 w 11867103"/>
                  <a:gd name="connsiteY35" fmla="*/ 80387 h 2964609"/>
                  <a:gd name="connsiteX36" fmla="*/ 11786717 w 11867103"/>
                  <a:gd name="connsiteY36" fmla="*/ 120580 h 2964609"/>
                  <a:gd name="connsiteX37" fmla="*/ 11806813 w 11867103"/>
                  <a:gd name="connsiteY37" fmla="*/ 211015 h 2964609"/>
                  <a:gd name="connsiteX38" fmla="*/ 11816862 w 11867103"/>
                  <a:gd name="connsiteY38" fmla="*/ 251209 h 2964609"/>
                  <a:gd name="connsiteX39" fmla="*/ 11826910 w 11867103"/>
                  <a:gd name="connsiteY39" fmla="*/ 341644 h 2964609"/>
                  <a:gd name="connsiteX40" fmla="*/ 11836958 w 11867103"/>
                  <a:gd name="connsiteY40" fmla="*/ 422031 h 2964609"/>
                  <a:gd name="connsiteX41" fmla="*/ 11826910 w 11867103"/>
                  <a:gd name="connsiteY41" fmla="*/ 733530 h 2964609"/>
                  <a:gd name="connsiteX42" fmla="*/ 11816862 w 11867103"/>
                  <a:gd name="connsiteY42" fmla="*/ 793820 h 2964609"/>
                  <a:gd name="connsiteX43" fmla="*/ 11806813 w 11867103"/>
                  <a:gd name="connsiteY43" fmla="*/ 864158 h 2964609"/>
                  <a:gd name="connsiteX44" fmla="*/ 11816862 w 11867103"/>
                  <a:gd name="connsiteY44" fmla="*/ 2331218 h 2964609"/>
                  <a:gd name="connsiteX45" fmla="*/ 11826910 w 11867103"/>
                  <a:gd name="connsiteY45" fmla="*/ 2401556 h 2964609"/>
                  <a:gd name="connsiteX46" fmla="*/ 11836958 w 11867103"/>
                  <a:gd name="connsiteY46" fmla="*/ 2431701 h 2964609"/>
                  <a:gd name="connsiteX47" fmla="*/ 11857055 w 11867103"/>
                  <a:gd name="connsiteY47" fmla="*/ 2562330 h 2964609"/>
                  <a:gd name="connsiteX48" fmla="*/ 11867103 w 11867103"/>
                  <a:gd name="connsiteY48" fmla="*/ 2602523 h 2964609"/>
                  <a:gd name="connsiteX49" fmla="*/ 11857055 w 11867103"/>
                  <a:gd name="connsiteY49" fmla="*/ 2833635 h 2964609"/>
                  <a:gd name="connsiteX50" fmla="*/ 11836958 w 11867103"/>
                  <a:gd name="connsiteY50" fmla="*/ 2863780 h 2964609"/>
                  <a:gd name="connsiteX51" fmla="*/ 11033090 w 11867103"/>
                  <a:gd name="connsiteY51" fmla="*/ 2853732 h 2964609"/>
                  <a:gd name="connsiteX52" fmla="*/ 10621108 w 11867103"/>
                  <a:gd name="connsiteY52" fmla="*/ 2843684 h 2964609"/>
                  <a:gd name="connsiteX53" fmla="*/ 10128739 w 11867103"/>
                  <a:gd name="connsiteY53" fmla="*/ 2853732 h 2964609"/>
                  <a:gd name="connsiteX54" fmla="*/ 10048352 w 11867103"/>
                  <a:gd name="connsiteY54" fmla="*/ 2863780 h 2964609"/>
                  <a:gd name="connsiteX55" fmla="*/ 9555982 w 11867103"/>
                  <a:gd name="connsiteY55" fmla="*/ 2853732 h 2964609"/>
                  <a:gd name="connsiteX56" fmla="*/ 9445451 w 11867103"/>
                  <a:gd name="connsiteY56" fmla="*/ 2843684 h 2964609"/>
                  <a:gd name="connsiteX57" fmla="*/ 9415306 w 11867103"/>
                  <a:gd name="connsiteY57" fmla="*/ 2823587 h 2964609"/>
                  <a:gd name="connsiteX58" fmla="*/ 9204290 w 11867103"/>
                  <a:gd name="connsiteY58" fmla="*/ 2803490 h 2964609"/>
                  <a:gd name="connsiteX59" fmla="*/ 9073662 w 11867103"/>
                  <a:gd name="connsiteY59" fmla="*/ 2783393 h 2964609"/>
                  <a:gd name="connsiteX60" fmla="*/ 8812404 w 11867103"/>
                  <a:gd name="connsiteY60" fmla="*/ 2773345 h 2964609"/>
                  <a:gd name="connsiteX61" fmla="*/ 8400422 w 11867103"/>
                  <a:gd name="connsiteY61" fmla="*/ 2763297 h 2964609"/>
                  <a:gd name="connsiteX62" fmla="*/ 8269793 w 11867103"/>
                  <a:gd name="connsiteY62" fmla="*/ 2753248 h 2964609"/>
                  <a:gd name="connsiteX63" fmla="*/ 7797521 w 11867103"/>
                  <a:gd name="connsiteY63" fmla="*/ 2773345 h 2964609"/>
                  <a:gd name="connsiteX64" fmla="*/ 7717134 w 11867103"/>
                  <a:gd name="connsiteY64" fmla="*/ 2783393 h 2964609"/>
                  <a:gd name="connsiteX65" fmla="*/ 7486022 w 11867103"/>
                  <a:gd name="connsiteY65" fmla="*/ 2813539 h 2964609"/>
                  <a:gd name="connsiteX66" fmla="*/ 7395587 w 11867103"/>
                  <a:gd name="connsiteY66" fmla="*/ 2833635 h 2964609"/>
                  <a:gd name="connsiteX67" fmla="*/ 7325248 w 11867103"/>
                  <a:gd name="connsiteY67" fmla="*/ 2843684 h 2964609"/>
                  <a:gd name="connsiteX68" fmla="*/ 6863024 w 11867103"/>
                  <a:gd name="connsiteY68" fmla="*/ 2833635 h 2964609"/>
                  <a:gd name="connsiteX69" fmla="*/ 6722347 w 11867103"/>
                  <a:gd name="connsiteY69" fmla="*/ 2823587 h 2964609"/>
                  <a:gd name="connsiteX70" fmla="*/ 4903596 w 11867103"/>
                  <a:gd name="connsiteY70" fmla="*/ 2873829 h 2964609"/>
                  <a:gd name="connsiteX71" fmla="*/ 4722725 w 11867103"/>
                  <a:gd name="connsiteY71" fmla="*/ 2914022 h 2964609"/>
                  <a:gd name="connsiteX72" fmla="*/ 4300695 w 11867103"/>
                  <a:gd name="connsiteY72" fmla="*/ 2893925 h 2964609"/>
                  <a:gd name="connsiteX73" fmla="*/ 4059534 w 11867103"/>
                  <a:gd name="connsiteY73" fmla="*/ 2853732 h 2964609"/>
                  <a:gd name="connsiteX74" fmla="*/ 3768132 w 11867103"/>
                  <a:gd name="connsiteY74" fmla="*/ 2823587 h 2964609"/>
                  <a:gd name="connsiteX75" fmla="*/ 3627455 w 11867103"/>
                  <a:gd name="connsiteY75" fmla="*/ 2813539 h 2964609"/>
                  <a:gd name="connsiteX76" fmla="*/ 3125037 w 11867103"/>
                  <a:gd name="connsiteY76" fmla="*/ 2823587 h 2964609"/>
                  <a:gd name="connsiteX77" fmla="*/ 3064747 w 11867103"/>
                  <a:gd name="connsiteY77" fmla="*/ 2833635 h 2964609"/>
                  <a:gd name="connsiteX78" fmla="*/ 2009670 w 11867103"/>
                  <a:gd name="connsiteY78" fmla="*/ 2843684 h 2964609"/>
                  <a:gd name="connsiteX79" fmla="*/ 1678075 w 11867103"/>
                  <a:gd name="connsiteY79" fmla="*/ 2934119 h 2964609"/>
                  <a:gd name="connsiteX80" fmla="*/ 1607736 w 11867103"/>
                  <a:gd name="connsiteY80" fmla="*/ 2964264 h 2964609"/>
                  <a:gd name="connsiteX81" fmla="*/ 1135464 w 11867103"/>
                  <a:gd name="connsiteY81" fmla="*/ 2944167 h 2964609"/>
                  <a:gd name="connsiteX82" fmla="*/ 944545 w 11867103"/>
                  <a:gd name="connsiteY82" fmla="*/ 2914022 h 2964609"/>
                  <a:gd name="connsiteX83" fmla="*/ 723481 w 11867103"/>
                  <a:gd name="connsiteY83" fmla="*/ 2873829 h 2964609"/>
                  <a:gd name="connsiteX84" fmla="*/ 643095 w 11867103"/>
                  <a:gd name="connsiteY84" fmla="*/ 2863780 h 2964609"/>
                  <a:gd name="connsiteX85" fmla="*/ 371789 w 11867103"/>
                  <a:gd name="connsiteY85" fmla="*/ 2823587 h 2964609"/>
                  <a:gd name="connsiteX86" fmla="*/ 0 w 11867103"/>
                  <a:gd name="connsiteY86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854110 w 11867103"/>
                  <a:gd name="connsiteY4" fmla="*/ 50242 h 2964609"/>
                  <a:gd name="connsiteX5" fmla="*/ 1356528 w 11867103"/>
                  <a:gd name="connsiteY5" fmla="*/ 80387 h 2964609"/>
                  <a:gd name="connsiteX6" fmla="*/ 1758462 w 11867103"/>
                  <a:gd name="connsiteY6" fmla="*/ 40193 h 2964609"/>
                  <a:gd name="connsiteX7" fmla="*/ 1889090 w 11867103"/>
                  <a:gd name="connsiteY7" fmla="*/ 20097 h 2964609"/>
                  <a:gd name="connsiteX8" fmla="*/ 2140299 w 11867103"/>
                  <a:gd name="connsiteY8" fmla="*/ 40193 h 2964609"/>
                  <a:gd name="connsiteX9" fmla="*/ 2200589 w 11867103"/>
                  <a:gd name="connsiteY9" fmla="*/ 50242 h 2964609"/>
                  <a:gd name="connsiteX10" fmla="*/ 4652387 w 11867103"/>
                  <a:gd name="connsiteY10" fmla="*/ 60290 h 2964609"/>
                  <a:gd name="connsiteX11" fmla="*/ 4692580 w 11867103"/>
                  <a:gd name="connsiteY11" fmla="*/ 70339 h 2964609"/>
                  <a:gd name="connsiteX12" fmla="*/ 4843306 w 11867103"/>
                  <a:gd name="connsiteY12" fmla="*/ 90435 h 2964609"/>
                  <a:gd name="connsiteX13" fmla="*/ 5677319 w 11867103"/>
                  <a:gd name="connsiteY13" fmla="*/ 80387 h 2964609"/>
                  <a:gd name="connsiteX14" fmla="*/ 6169688 w 11867103"/>
                  <a:gd name="connsiteY14" fmla="*/ 110532 h 2964609"/>
                  <a:gd name="connsiteX15" fmla="*/ 6420897 w 11867103"/>
                  <a:gd name="connsiteY15" fmla="*/ 90435 h 2964609"/>
                  <a:gd name="connsiteX16" fmla="*/ 6511332 w 11867103"/>
                  <a:gd name="connsiteY16" fmla="*/ 30145 h 2964609"/>
                  <a:gd name="connsiteX17" fmla="*/ 6571622 w 11867103"/>
                  <a:gd name="connsiteY17" fmla="*/ 20097 h 2964609"/>
                  <a:gd name="connsiteX18" fmla="*/ 6641961 w 11867103"/>
                  <a:gd name="connsiteY18" fmla="*/ 0 h 2964609"/>
                  <a:gd name="connsiteX19" fmla="*/ 7204668 w 11867103"/>
                  <a:gd name="connsiteY19" fmla="*/ 10048 h 2964609"/>
                  <a:gd name="connsiteX20" fmla="*/ 7285055 w 11867103"/>
                  <a:gd name="connsiteY20" fmla="*/ 30145 h 2964609"/>
                  <a:gd name="connsiteX21" fmla="*/ 7375490 w 11867103"/>
                  <a:gd name="connsiteY21" fmla="*/ 40193 h 2964609"/>
                  <a:gd name="connsiteX22" fmla="*/ 7928150 w 11867103"/>
                  <a:gd name="connsiteY22" fmla="*/ 60290 h 2964609"/>
                  <a:gd name="connsiteX23" fmla="*/ 8109020 w 11867103"/>
                  <a:gd name="connsiteY23" fmla="*/ 80387 h 2964609"/>
                  <a:gd name="connsiteX24" fmla="*/ 8219552 w 11867103"/>
                  <a:gd name="connsiteY24" fmla="*/ 90435 h 2964609"/>
                  <a:gd name="connsiteX25" fmla="*/ 8299939 w 11867103"/>
                  <a:gd name="connsiteY25" fmla="*/ 100484 h 2964609"/>
                  <a:gd name="connsiteX26" fmla="*/ 8521002 w 11867103"/>
                  <a:gd name="connsiteY26" fmla="*/ 110532 h 2964609"/>
                  <a:gd name="connsiteX27" fmla="*/ 9515789 w 11867103"/>
                  <a:gd name="connsiteY27" fmla="*/ 100484 h 2964609"/>
                  <a:gd name="connsiteX28" fmla="*/ 9606224 w 11867103"/>
                  <a:gd name="connsiteY28" fmla="*/ 90435 h 2964609"/>
                  <a:gd name="connsiteX29" fmla="*/ 9716756 w 11867103"/>
                  <a:gd name="connsiteY29" fmla="*/ 80387 h 2964609"/>
                  <a:gd name="connsiteX30" fmla="*/ 9797143 w 11867103"/>
                  <a:gd name="connsiteY30" fmla="*/ 70339 h 2964609"/>
                  <a:gd name="connsiteX31" fmla="*/ 9947868 w 11867103"/>
                  <a:gd name="connsiteY31" fmla="*/ 60290 h 2964609"/>
                  <a:gd name="connsiteX32" fmla="*/ 10791930 w 11867103"/>
                  <a:gd name="connsiteY32" fmla="*/ 30145 h 2964609"/>
                  <a:gd name="connsiteX33" fmla="*/ 11736475 w 11867103"/>
                  <a:gd name="connsiteY33" fmla="*/ 50242 h 2964609"/>
                  <a:gd name="connsiteX34" fmla="*/ 11766620 w 11867103"/>
                  <a:gd name="connsiteY34" fmla="*/ 80387 h 2964609"/>
                  <a:gd name="connsiteX35" fmla="*/ 11786717 w 11867103"/>
                  <a:gd name="connsiteY35" fmla="*/ 120580 h 2964609"/>
                  <a:gd name="connsiteX36" fmla="*/ 11806813 w 11867103"/>
                  <a:gd name="connsiteY36" fmla="*/ 211015 h 2964609"/>
                  <a:gd name="connsiteX37" fmla="*/ 11816862 w 11867103"/>
                  <a:gd name="connsiteY37" fmla="*/ 251209 h 2964609"/>
                  <a:gd name="connsiteX38" fmla="*/ 11826910 w 11867103"/>
                  <a:gd name="connsiteY38" fmla="*/ 341644 h 2964609"/>
                  <a:gd name="connsiteX39" fmla="*/ 11836958 w 11867103"/>
                  <a:gd name="connsiteY39" fmla="*/ 422031 h 2964609"/>
                  <a:gd name="connsiteX40" fmla="*/ 11826910 w 11867103"/>
                  <a:gd name="connsiteY40" fmla="*/ 733530 h 2964609"/>
                  <a:gd name="connsiteX41" fmla="*/ 11816862 w 11867103"/>
                  <a:gd name="connsiteY41" fmla="*/ 793820 h 2964609"/>
                  <a:gd name="connsiteX42" fmla="*/ 11806813 w 11867103"/>
                  <a:gd name="connsiteY42" fmla="*/ 864158 h 2964609"/>
                  <a:gd name="connsiteX43" fmla="*/ 11816862 w 11867103"/>
                  <a:gd name="connsiteY43" fmla="*/ 2331218 h 2964609"/>
                  <a:gd name="connsiteX44" fmla="*/ 11826910 w 11867103"/>
                  <a:gd name="connsiteY44" fmla="*/ 2401556 h 2964609"/>
                  <a:gd name="connsiteX45" fmla="*/ 11836958 w 11867103"/>
                  <a:gd name="connsiteY45" fmla="*/ 2431701 h 2964609"/>
                  <a:gd name="connsiteX46" fmla="*/ 11857055 w 11867103"/>
                  <a:gd name="connsiteY46" fmla="*/ 2562330 h 2964609"/>
                  <a:gd name="connsiteX47" fmla="*/ 11867103 w 11867103"/>
                  <a:gd name="connsiteY47" fmla="*/ 2602523 h 2964609"/>
                  <a:gd name="connsiteX48" fmla="*/ 11857055 w 11867103"/>
                  <a:gd name="connsiteY48" fmla="*/ 2833635 h 2964609"/>
                  <a:gd name="connsiteX49" fmla="*/ 11836958 w 11867103"/>
                  <a:gd name="connsiteY49" fmla="*/ 2863780 h 2964609"/>
                  <a:gd name="connsiteX50" fmla="*/ 11033090 w 11867103"/>
                  <a:gd name="connsiteY50" fmla="*/ 2853732 h 2964609"/>
                  <a:gd name="connsiteX51" fmla="*/ 10621108 w 11867103"/>
                  <a:gd name="connsiteY51" fmla="*/ 2843684 h 2964609"/>
                  <a:gd name="connsiteX52" fmla="*/ 10128739 w 11867103"/>
                  <a:gd name="connsiteY52" fmla="*/ 2853732 h 2964609"/>
                  <a:gd name="connsiteX53" fmla="*/ 10048352 w 11867103"/>
                  <a:gd name="connsiteY53" fmla="*/ 2863780 h 2964609"/>
                  <a:gd name="connsiteX54" fmla="*/ 9555982 w 11867103"/>
                  <a:gd name="connsiteY54" fmla="*/ 2853732 h 2964609"/>
                  <a:gd name="connsiteX55" fmla="*/ 9445451 w 11867103"/>
                  <a:gd name="connsiteY55" fmla="*/ 2843684 h 2964609"/>
                  <a:gd name="connsiteX56" fmla="*/ 9415306 w 11867103"/>
                  <a:gd name="connsiteY56" fmla="*/ 2823587 h 2964609"/>
                  <a:gd name="connsiteX57" fmla="*/ 9204290 w 11867103"/>
                  <a:gd name="connsiteY57" fmla="*/ 2803490 h 2964609"/>
                  <a:gd name="connsiteX58" fmla="*/ 9073662 w 11867103"/>
                  <a:gd name="connsiteY58" fmla="*/ 2783393 h 2964609"/>
                  <a:gd name="connsiteX59" fmla="*/ 8812404 w 11867103"/>
                  <a:gd name="connsiteY59" fmla="*/ 2773345 h 2964609"/>
                  <a:gd name="connsiteX60" fmla="*/ 8400422 w 11867103"/>
                  <a:gd name="connsiteY60" fmla="*/ 2763297 h 2964609"/>
                  <a:gd name="connsiteX61" fmla="*/ 8269793 w 11867103"/>
                  <a:gd name="connsiteY61" fmla="*/ 2753248 h 2964609"/>
                  <a:gd name="connsiteX62" fmla="*/ 7797521 w 11867103"/>
                  <a:gd name="connsiteY62" fmla="*/ 2773345 h 2964609"/>
                  <a:gd name="connsiteX63" fmla="*/ 7717134 w 11867103"/>
                  <a:gd name="connsiteY63" fmla="*/ 2783393 h 2964609"/>
                  <a:gd name="connsiteX64" fmla="*/ 7486022 w 11867103"/>
                  <a:gd name="connsiteY64" fmla="*/ 2813539 h 2964609"/>
                  <a:gd name="connsiteX65" fmla="*/ 7395587 w 11867103"/>
                  <a:gd name="connsiteY65" fmla="*/ 2833635 h 2964609"/>
                  <a:gd name="connsiteX66" fmla="*/ 7325248 w 11867103"/>
                  <a:gd name="connsiteY66" fmla="*/ 2843684 h 2964609"/>
                  <a:gd name="connsiteX67" fmla="*/ 6863024 w 11867103"/>
                  <a:gd name="connsiteY67" fmla="*/ 2833635 h 2964609"/>
                  <a:gd name="connsiteX68" fmla="*/ 6722347 w 11867103"/>
                  <a:gd name="connsiteY68" fmla="*/ 2823587 h 2964609"/>
                  <a:gd name="connsiteX69" fmla="*/ 4903596 w 11867103"/>
                  <a:gd name="connsiteY69" fmla="*/ 2873829 h 2964609"/>
                  <a:gd name="connsiteX70" fmla="*/ 4722725 w 11867103"/>
                  <a:gd name="connsiteY70" fmla="*/ 2914022 h 2964609"/>
                  <a:gd name="connsiteX71" fmla="*/ 4300695 w 11867103"/>
                  <a:gd name="connsiteY71" fmla="*/ 2893925 h 2964609"/>
                  <a:gd name="connsiteX72" fmla="*/ 4059534 w 11867103"/>
                  <a:gd name="connsiteY72" fmla="*/ 2853732 h 2964609"/>
                  <a:gd name="connsiteX73" fmla="*/ 3768132 w 11867103"/>
                  <a:gd name="connsiteY73" fmla="*/ 2823587 h 2964609"/>
                  <a:gd name="connsiteX74" fmla="*/ 3627455 w 11867103"/>
                  <a:gd name="connsiteY74" fmla="*/ 2813539 h 2964609"/>
                  <a:gd name="connsiteX75" fmla="*/ 3125037 w 11867103"/>
                  <a:gd name="connsiteY75" fmla="*/ 2823587 h 2964609"/>
                  <a:gd name="connsiteX76" fmla="*/ 3064747 w 11867103"/>
                  <a:gd name="connsiteY76" fmla="*/ 2833635 h 2964609"/>
                  <a:gd name="connsiteX77" fmla="*/ 2009670 w 11867103"/>
                  <a:gd name="connsiteY77" fmla="*/ 2843684 h 2964609"/>
                  <a:gd name="connsiteX78" fmla="*/ 1678075 w 11867103"/>
                  <a:gd name="connsiteY78" fmla="*/ 2934119 h 2964609"/>
                  <a:gd name="connsiteX79" fmla="*/ 1607736 w 11867103"/>
                  <a:gd name="connsiteY79" fmla="*/ 2964264 h 2964609"/>
                  <a:gd name="connsiteX80" fmla="*/ 1135464 w 11867103"/>
                  <a:gd name="connsiteY80" fmla="*/ 2944167 h 2964609"/>
                  <a:gd name="connsiteX81" fmla="*/ 944545 w 11867103"/>
                  <a:gd name="connsiteY81" fmla="*/ 2914022 h 2964609"/>
                  <a:gd name="connsiteX82" fmla="*/ 723481 w 11867103"/>
                  <a:gd name="connsiteY82" fmla="*/ 2873829 h 2964609"/>
                  <a:gd name="connsiteX83" fmla="*/ 643095 w 11867103"/>
                  <a:gd name="connsiteY83" fmla="*/ 2863780 h 2964609"/>
                  <a:gd name="connsiteX84" fmla="*/ 371789 w 11867103"/>
                  <a:gd name="connsiteY84" fmla="*/ 2823587 h 2964609"/>
                  <a:gd name="connsiteX85" fmla="*/ 0 w 11867103"/>
                  <a:gd name="connsiteY85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331596 w 11867103"/>
                  <a:gd name="connsiteY2" fmla="*/ 20097 h 2964609"/>
                  <a:gd name="connsiteX3" fmla="*/ 673240 w 11867103"/>
                  <a:gd name="connsiteY3" fmla="*/ 30145 h 2964609"/>
                  <a:gd name="connsiteX4" fmla="*/ 1356528 w 11867103"/>
                  <a:gd name="connsiteY4" fmla="*/ 80387 h 2964609"/>
                  <a:gd name="connsiteX5" fmla="*/ 1758462 w 11867103"/>
                  <a:gd name="connsiteY5" fmla="*/ 40193 h 2964609"/>
                  <a:gd name="connsiteX6" fmla="*/ 1889090 w 11867103"/>
                  <a:gd name="connsiteY6" fmla="*/ 20097 h 2964609"/>
                  <a:gd name="connsiteX7" fmla="*/ 2140299 w 11867103"/>
                  <a:gd name="connsiteY7" fmla="*/ 40193 h 2964609"/>
                  <a:gd name="connsiteX8" fmla="*/ 2200589 w 11867103"/>
                  <a:gd name="connsiteY8" fmla="*/ 50242 h 2964609"/>
                  <a:gd name="connsiteX9" fmla="*/ 4652387 w 11867103"/>
                  <a:gd name="connsiteY9" fmla="*/ 60290 h 2964609"/>
                  <a:gd name="connsiteX10" fmla="*/ 4692580 w 11867103"/>
                  <a:gd name="connsiteY10" fmla="*/ 70339 h 2964609"/>
                  <a:gd name="connsiteX11" fmla="*/ 4843306 w 11867103"/>
                  <a:gd name="connsiteY11" fmla="*/ 90435 h 2964609"/>
                  <a:gd name="connsiteX12" fmla="*/ 5677319 w 11867103"/>
                  <a:gd name="connsiteY12" fmla="*/ 80387 h 2964609"/>
                  <a:gd name="connsiteX13" fmla="*/ 6169688 w 11867103"/>
                  <a:gd name="connsiteY13" fmla="*/ 110532 h 2964609"/>
                  <a:gd name="connsiteX14" fmla="*/ 6420897 w 11867103"/>
                  <a:gd name="connsiteY14" fmla="*/ 90435 h 2964609"/>
                  <a:gd name="connsiteX15" fmla="*/ 6511332 w 11867103"/>
                  <a:gd name="connsiteY15" fmla="*/ 30145 h 2964609"/>
                  <a:gd name="connsiteX16" fmla="*/ 6571622 w 11867103"/>
                  <a:gd name="connsiteY16" fmla="*/ 20097 h 2964609"/>
                  <a:gd name="connsiteX17" fmla="*/ 6641961 w 11867103"/>
                  <a:gd name="connsiteY17" fmla="*/ 0 h 2964609"/>
                  <a:gd name="connsiteX18" fmla="*/ 7204668 w 11867103"/>
                  <a:gd name="connsiteY18" fmla="*/ 10048 h 2964609"/>
                  <a:gd name="connsiteX19" fmla="*/ 7285055 w 11867103"/>
                  <a:gd name="connsiteY19" fmla="*/ 30145 h 2964609"/>
                  <a:gd name="connsiteX20" fmla="*/ 7375490 w 11867103"/>
                  <a:gd name="connsiteY20" fmla="*/ 40193 h 2964609"/>
                  <a:gd name="connsiteX21" fmla="*/ 7928150 w 11867103"/>
                  <a:gd name="connsiteY21" fmla="*/ 60290 h 2964609"/>
                  <a:gd name="connsiteX22" fmla="*/ 8109020 w 11867103"/>
                  <a:gd name="connsiteY22" fmla="*/ 80387 h 2964609"/>
                  <a:gd name="connsiteX23" fmla="*/ 8219552 w 11867103"/>
                  <a:gd name="connsiteY23" fmla="*/ 90435 h 2964609"/>
                  <a:gd name="connsiteX24" fmla="*/ 8299939 w 11867103"/>
                  <a:gd name="connsiteY24" fmla="*/ 100484 h 2964609"/>
                  <a:gd name="connsiteX25" fmla="*/ 8521002 w 11867103"/>
                  <a:gd name="connsiteY25" fmla="*/ 110532 h 2964609"/>
                  <a:gd name="connsiteX26" fmla="*/ 9515789 w 11867103"/>
                  <a:gd name="connsiteY26" fmla="*/ 100484 h 2964609"/>
                  <a:gd name="connsiteX27" fmla="*/ 9606224 w 11867103"/>
                  <a:gd name="connsiteY27" fmla="*/ 90435 h 2964609"/>
                  <a:gd name="connsiteX28" fmla="*/ 9716756 w 11867103"/>
                  <a:gd name="connsiteY28" fmla="*/ 80387 h 2964609"/>
                  <a:gd name="connsiteX29" fmla="*/ 9797143 w 11867103"/>
                  <a:gd name="connsiteY29" fmla="*/ 70339 h 2964609"/>
                  <a:gd name="connsiteX30" fmla="*/ 9947868 w 11867103"/>
                  <a:gd name="connsiteY30" fmla="*/ 60290 h 2964609"/>
                  <a:gd name="connsiteX31" fmla="*/ 10791930 w 11867103"/>
                  <a:gd name="connsiteY31" fmla="*/ 30145 h 2964609"/>
                  <a:gd name="connsiteX32" fmla="*/ 11736475 w 11867103"/>
                  <a:gd name="connsiteY32" fmla="*/ 50242 h 2964609"/>
                  <a:gd name="connsiteX33" fmla="*/ 11766620 w 11867103"/>
                  <a:gd name="connsiteY33" fmla="*/ 80387 h 2964609"/>
                  <a:gd name="connsiteX34" fmla="*/ 11786717 w 11867103"/>
                  <a:gd name="connsiteY34" fmla="*/ 120580 h 2964609"/>
                  <a:gd name="connsiteX35" fmla="*/ 11806813 w 11867103"/>
                  <a:gd name="connsiteY35" fmla="*/ 211015 h 2964609"/>
                  <a:gd name="connsiteX36" fmla="*/ 11816862 w 11867103"/>
                  <a:gd name="connsiteY36" fmla="*/ 251209 h 2964609"/>
                  <a:gd name="connsiteX37" fmla="*/ 11826910 w 11867103"/>
                  <a:gd name="connsiteY37" fmla="*/ 341644 h 2964609"/>
                  <a:gd name="connsiteX38" fmla="*/ 11836958 w 11867103"/>
                  <a:gd name="connsiteY38" fmla="*/ 422031 h 2964609"/>
                  <a:gd name="connsiteX39" fmla="*/ 11826910 w 11867103"/>
                  <a:gd name="connsiteY39" fmla="*/ 733530 h 2964609"/>
                  <a:gd name="connsiteX40" fmla="*/ 11816862 w 11867103"/>
                  <a:gd name="connsiteY40" fmla="*/ 793820 h 2964609"/>
                  <a:gd name="connsiteX41" fmla="*/ 11806813 w 11867103"/>
                  <a:gd name="connsiteY41" fmla="*/ 864158 h 2964609"/>
                  <a:gd name="connsiteX42" fmla="*/ 11816862 w 11867103"/>
                  <a:gd name="connsiteY42" fmla="*/ 2331218 h 2964609"/>
                  <a:gd name="connsiteX43" fmla="*/ 11826910 w 11867103"/>
                  <a:gd name="connsiteY43" fmla="*/ 2401556 h 2964609"/>
                  <a:gd name="connsiteX44" fmla="*/ 11836958 w 11867103"/>
                  <a:gd name="connsiteY44" fmla="*/ 2431701 h 2964609"/>
                  <a:gd name="connsiteX45" fmla="*/ 11857055 w 11867103"/>
                  <a:gd name="connsiteY45" fmla="*/ 2562330 h 2964609"/>
                  <a:gd name="connsiteX46" fmla="*/ 11867103 w 11867103"/>
                  <a:gd name="connsiteY46" fmla="*/ 2602523 h 2964609"/>
                  <a:gd name="connsiteX47" fmla="*/ 11857055 w 11867103"/>
                  <a:gd name="connsiteY47" fmla="*/ 2833635 h 2964609"/>
                  <a:gd name="connsiteX48" fmla="*/ 11836958 w 11867103"/>
                  <a:gd name="connsiteY48" fmla="*/ 2863780 h 2964609"/>
                  <a:gd name="connsiteX49" fmla="*/ 11033090 w 11867103"/>
                  <a:gd name="connsiteY49" fmla="*/ 2853732 h 2964609"/>
                  <a:gd name="connsiteX50" fmla="*/ 10621108 w 11867103"/>
                  <a:gd name="connsiteY50" fmla="*/ 2843684 h 2964609"/>
                  <a:gd name="connsiteX51" fmla="*/ 10128739 w 11867103"/>
                  <a:gd name="connsiteY51" fmla="*/ 2853732 h 2964609"/>
                  <a:gd name="connsiteX52" fmla="*/ 10048352 w 11867103"/>
                  <a:gd name="connsiteY52" fmla="*/ 2863780 h 2964609"/>
                  <a:gd name="connsiteX53" fmla="*/ 9555982 w 11867103"/>
                  <a:gd name="connsiteY53" fmla="*/ 2853732 h 2964609"/>
                  <a:gd name="connsiteX54" fmla="*/ 9445451 w 11867103"/>
                  <a:gd name="connsiteY54" fmla="*/ 2843684 h 2964609"/>
                  <a:gd name="connsiteX55" fmla="*/ 9415306 w 11867103"/>
                  <a:gd name="connsiteY55" fmla="*/ 2823587 h 2964609"/>
                  <a:gd name="connsiteX56" fmla="*/ 9204290 w 11867103"/>
                  <a:gd name="connsiteY56" fmla="*/ 2803490 h 2964609"/>
                  <a:gd name="connsiteX57" fmla="*/ 9073662 w 11867103"/>
                  <a:gd name="connsiteY57" fmla="*/ 2783393 h 2964609"/>
                  <a:gd name="connsiteX58" fmla="*/ 8812404 w 11867103"/>
                  <a:gd name="connsiteY58" fmla="*/ 2773345 h 2964609"/>
                  <a:gd name="connsiteX59" fmla="*/ 8400422 w 11867103"/>
                  <a:gd name="connsiteY59" fmla="*/ 2763297 h 2964609"/>
                  <a:gd name="connsiteX60" fmla="*/ 8269793 w 11867103"/>
                  <a:gd name="connsiteY60" fmla="*/ 2753248 h 2964609"/>
                  <a:gd name="connsiteX61" fmla="*/ 7797521 w 11867103"/>
                  <a:gd name="connsiteY61" fmla="*/ 2773345 h 2964609"/>
                  <a:gd name="connsiteX62" fmla="*/ 7717134 w 11867103"/>
                  <a:gd name="connsiteY62" fmla="*/ 2783393 h 2964609"/>
                  <a:gd name="connsiteX63" fmla="*/ 7486022 w 11867103"/>
                  <a:gd name="connsiteY63" fmla="*/ 2813539 h 2964609"/>
                  <a:gd name="connsiteX64" fmla="*/ 7395587 w 11867103"/>
                  <a:gd name="connsiteY64" fmla="*/ 2833635 h 2964609"/>
                  <a:gd name="connsiteX65" fmla="*/ 7325248 w 11867103"/>
                  <a:gd name="connsiteY65" fmla="*/ 2843684 h 2964609"/>
                  <a:gd name="connsiteX66" fmla="*/ 6863024 w 11867103"/>
                  <a:gd name="connsiteY66" fmla="*/ 2833635 h 2964609"/>
                  <a:gd name="connsiteX67" fmla="*/ 6722347 w 11867103"/>
                  <a:gd name="connsiteY67" fmla="*/ 2823587 h 2964609"/>
                  <a:gd name="connsiteX68" fmla="*/ 4903596 w 11867103"/>
                  <a:gd name="connsiteY68" fmla="*/ 2873829 h 2964609"/>
                  <a:gd name="connsiteX69" fmla="*/ 4722725 w 11867103"/>
                  <a:gd name="connsiteY69" fmla="*/ 2914022 h 2964609"/>
                  <a:gd name="connsiteX70" fmla="*/ 4300695 w 11867103"/>
                  <a:gd name="connsiteY70" fmla="*/ 2893925 h 2964609"/>
                  <a:gd name="connsiteX71" fmla="*/ 4059534 w 11867103"/>
                  <a:gd name="connsiteY71" fmla="*/ 2853732 h 2964609"/>
                  <a:gd name="connsiteX72" fmla="*/ 3768132 w 11867103"/>
                  <a:gd name="connsiteY72" fmla="*/ 2823587 h 2964609"/>
                  <a:gd name="connsiteX73" fmla="*/ 3627455 w 11867103"/>
                  <a:gd name="connsiteY73" fmla="*/ 2813539 h 2964609"/>
                  <a:gd name="connsiteX74" fmla="*/ 3125037 w 11867103"/>
                  <a:gd name="connsiteY74" fmla="*/ 2823587 h 2964609"/>
                  <a:gd name="connsiteX75" fmla="*/ 3064747 w 11867103"/>
                  <a:gd name="connsiteY75" fmla="*/ 2833635 h 2964609"/>
                  <a:gd name="connsiteX76" fmla="*/ 2009670 w 11867103"/>
                  <a:gd name="connsiteY76" fmla="*/ 2843684 h 2964609"/>
                  <a:gd name="connsiteX77" fmla="*/ 1678075 w 11867103"/>
                  <a:gd name="connsiteY77" fmla="*/ 2934119 h 2964609"/>
                  <a:gd name="connsiteX78" fmla="*/ 1607736 w 11867103"/>
                  <a:gd name="connsiteY78" fmla="*/ 2964264 h 2964609"/>
                  <a:gd name="connsiteX79" fmla="*/ 1135464 w 11867103"/>
                  <a:gd name="connsiteY79" fmla="*/ 2944167 h 2964609"/>
                  <a:gd name="connsiteX80" fmla="*/ 944545 w 11867103"/>
                  <a:gd name="connsiteY80" fmla="*/ 2914022 h 2964609"/>
                  <a:gd name="connsiteX81" fmla="*/ 723481 w 11867103"/>
                  <a:gd name="connsiteY81" fmla="*/ 2873829 h 2964609"/>
                  <a:gd name="connsiteX82" fmla="*/ 643095 w 11867103"/>
                  <a:gd name="connsiteY82" fmla="*/ 2863780 h 2964609"/>
                  <a:gd name="connsiteX83" fmla="*/ 371789 w 11867103"/>
                  <a:gd name="connsiteY83" fmla="*/ 2823587 h 2964609"/>
                  <a:gd name="connsiteX84" fmla="*/ 0 w 11867103"/>
                  <a:gd name="connsiteY84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1889090 w 11867103"/>
                  <a:gd name="connsiteY5" fmla="*/ 20097 h 2964609"/>
                  <a:gd name="connsiteX6" fmla="*/ 2140299 w 11867103"/>
                  <a:gd name="connsiteY6" fmla="*/ 40193 h 2964609"/>
                  <a:gd name="connsiteX7" fmla="*/ 2200589 w 11867103"/>
                  <a:gd name="connsiteY7" fmla="*/ 50242 h 2964609"/>
                  <a:gd name="connsiteX8" fmla="*/ 4652387 w 11867103"/>
                  <a:gd name="connsiteY8" fmla="*/ 60290 h 2964609"/>
                  <a:gd name="connsiteX9" fmla="*/ 4692580 w 11867103"/>
                  <a:gd name="connsiteY9" fmla="*/ 70339 h 2964609"/>
                  <a:gd name="connsiteX10" fmla="*/ 4843306 w 11867103"/>
                  <a:gd name="connsiteY10" fmla="*/ 90435 h 2964609"/>
                  <a:gd name="connsiteX11" fmla="*/ 5677319 w 11867103"/>
                  <a:gd name="connsiteY11" fmla="*/ 80387 h 2964609"/>
                  <a:gd name="connsiteX12" fmla="*/ 6169688 w 11867103"/>
                  <a:gd name="connsiteY12" fmla="*/ 110532 h 2964609"/>
                  <a:gd name="connsiteX13" fmla="*/ 6420897 w 11867103"/>
                  <a:gd name="connsiteY13" fmla="*/ 90435 h 2964609"/>
                  <a:gd name="connsiteX14" fmla="*/ 6511332 w 11867103"/>
                  <a:gd name="connsiteY14" fmla="*/ 30145 h 2964609"/>
                  <a:gd name="connsiteX15" fmla="*/ 6571622 w 11867103"/>
                  <a:gd name="connsiteY15" fmla="*/ 20097 h 2964609"/>
                  <a:gd name="connsiteX16" fmla="*/ 6641961 w 11867103"/>
                  <a:gd name="connsiteY16" fmla="*/ 0 h 2964609"/>
                  <a:gd name="connsiteX17" fmla="*/ 7204668 w 11867103"/>
                  <a:gd name="connsiteY17" fmla="*/ 10048 h 2964609"/>
                  <a:gd name="connsiteX18" fmla="*/ 7285055 w 11867103"/>
                  <a:gd name="connsiteY18" fmla="*/ 30145 h 2964609"/>
                  <a:gd name="connsiteX19" fmla="*/ 7375490 w 11867103"/>
                  <a:gd name="connsiteY19" fmla="*/ 40193 h 2964609"/>
                  <a:gd name="connsiteX20" fmla="*/ 7928150 w 11867103"/>
                  <a:gd name="connsiteY20" fmla="*/ 60290 h 2964609"/>
                  <a:gd name="connsiteX21" fmla="*/ 8109020 w 11867103"/>
                  <a:gd name="connsiteY21" fmla="*/ 80387 h 2964609"/>
                  <a:gd name="connsiteX22" fmla="*/ 8219552 w 11867103"/>
                  <a:gd name="connsiteY22" fmla="*/ 90435 h 2964609"/>
                  <a:gd name="connsiteX23" fmla="*/ 8299939 w 11867103"/>
                  <a:gd name="connsiteY23" fmla="*/ 100484 h 2964609"/>
                  <a:gd name="connsiteX24" fmla="*/ 8521002 w 11867103"/>
                  <a:gd name="connsiteY24" fmla="*/ 110532 h 2964609"/>
                  <a:gd name="connsiteX25" fmla="*/ 9515789 w 11867103"/>
                  <a:gd name="connsiteY25" fmla="*/ 100484 h 2964609"/>
                  <a:gd name="connsiteX26" fmla="*/ 9606224 w 11867103"/>
                  <a:gd name="connsiteY26" fmla="*/ 90435 h 2964609"/>
                  <a:gd name="connsiteX27" fmla="*/ 9716756 w 11867103"/>
                  <a:gd name="connsiteY27" fmla="*/ 80387 h 2964609"/>
                  <a:gd name="connsiteX28" fmla="*/ 9797143 w 11867103"/>
                  <a:gd name="connsiteY28" fmla="*/ 70339 h 2964609"/>
                  <a:gd name="connsiteX29" fmla="*/ 9947868 w 11867103"/>
                  <a:gd name="connsiteY29" fmla="*/ 60290 h 2964609"/>
                  <a:gd name="connsiteX30" fmla="*/ 10791930 w 11867103"/>
                  <a:gd name="connsiteY30" fmla="*/ 30145 h 2964609"/>
                  <a:gd name="connsiteX31" fmla="*/ 11736475 w 11867103"/>
                  <a:gd name="connsiteY31" fmla="*/ 50242 h 2964609"/>
                  <a:gd name="connsiteX32" fmla="*/ 11766620 w 11867103"/>
                  <a:gd name="connsiteY32" fmla="*/ 80387 h 2964609"/>
                  <a:gd name="connsiteX33" fmla="*/ 11786717 w 11867103"/>
                  <a:gd name="connsiteY33" fmla="*/ 120580 h 2964609"/>
                  <a:gd name="connsiteX34" fmla="*/ 11806813 w 11867103"/>
                  <a:gd name="connsiteY34" fmla="*/ 211015 h 2964609"/>
                  <a:gd name="connsiteX35" fmla="*/ 11816862 w 11867103"/>
                  <a:gd name="connsiteY35" fmla="*/ 251209 h 2964609"/>
                  <a:gd name="connsiteX36" fmla="*/ 11826910 w 11867103"/>
                  <a:gd name="connsiteY36" fmla="*/ 341644 h 2964609"/>
                  <a:gd name="connsiteX37" fmla="*/ 11836958 w 11867103"/>
                  <a:gd name="connsiteY37" fmla="*/ 422031 h 2964609"/>
                  <a:gd name="connsiteX38" fmla="*/ 11826910 w 11867103"/>
                  <a:gd name="connsiteY38" fmla="*/ 733530 h 2964609"/>
                  <a:gd name="connsiteX39" fmla="*/ 11816862 w 11867103"/>
                  <a:gd name="connsiteY39" fmla="*/ 793820 h 2964609"/>
                  <a:gd name="connsiteX40" fmla="*/ 11806813 w 11867103"/>
                  <a:gd name="connsiteY40" fmla="*/ 864158 h 2964609"/>
                  <a:gd name="connsiteX41" fmla="*/ 11816862 w 11867103"/>
                  <a:gd name="connsiteY41" fmla="*/ 2331218 h 2964609"/>
                  <a:gd name="connsiteX42" fmla="*/ 11826910 w 11867103"/>
                  <a:gd name="connsiteY42" fmla="*/ 2401556 h 2964609"/>
                  <a:gd name="connsiteX43" fmla="*/ 11836958 w 11867103"/>
                  <a:gd name="connsiteY43" fmla="*/ 2431701 h 2964609"/>
                  <a:gd name="connsiteX44" fmla="*/ 11857055 w 11867103"/>
                  <a:gd name="connsiteY44" fmla="*/ 2562330 h 2964609"/>
                  <a:gd name="connsiteX45" fmla="*/ 11867103 w 11867103"/>
                  <a:gd name="connsiteY45" fmla="*/ 2602523 h 2964609"/>
                  <a:gd name="connsiteX46" fmla="*/ 11857055 w 11867103"/>
                  <a:gd name="connsiteY46" fmla="*/ 2833635 h 2964609"/>
                  <a:gd name="connsiteX47" fmla="*/ 11836958 w 11867103"/>
                  <a:gd name="connsiteY47" fmla="*/ 2863780 h 2964609"/>
                  <a:gd name="connsiteX48" fmla="*/ 11033090 w 11867103"/>
                  <a:gd name="connsiteY48" fmla="*/ 2853732 h 2964609"/>
                  <a:gd name="connsiteX49" fmla="*/ 10621108 w 11867103"/>
                  <a:gd name="connsiteY49" fmla="*/ 2843684 h 2964609"/>
                  <a:gd name="connsiteX50" fmla="*/ 10128739 w 11867103"/>
                  <a:gd name="connsiteY50" fmla="*/ 2853732 h 2964609"/>
                  <a:gd name="connsiteX51" fmla="*/ 10048352 w 11867103"/>
                  <a:gd name="connsiteY51" fmla="*/ 2863780 h 2964609"/>
                  <a:gd name="connsiteX52" fmla="*/ 9555982 w 11867103"/>
                  <a:gd name="connsiteY52" fmla="*/ 2853732 h 2964609"/>
                  <a:gd name="connsiteX53" fmla="*/ 9445451 w 11867103"/>
                  <a:gd name="connsiteY53" fmla="*/ 2843684 h 2964609"/>
                  <a:gd name="connsiteX54" fmla="*/ 9415306 w 11867103"/>
                  <a:gd name="connsiteY54" fmla="*/ 2823587 h 2964609"/>
                  <a:gd name="connsiteX55" fmla="*/ 9204290 w 11867103"/>
                  <a:gd name="connsiteY55" fmla="*/ 2803490 h 2964609"/>
                  <a:gd name="connsiteX56" fmla="*/ 9073662 w 11867103"/>
                  <a:gd name="connsiteY56" fmla="*/ 2783393 h 2964609"/>
                  <a:gd name="connsiteX57" fmla="*/ 8812404 w 11867103"/>
                  <a:gd name="connsiteY57" fmla="*/ 2773345 h 2964609"/>
                  <a:gd name="connsiteX58" fmla="*/ 8400422 w 11867103"/>
                  <a:gd name="connsiteY58" fmla="*/ 2763297 h 2964609"/>
                  <a:gd name="connsiteX59" fmla="*/ 8269793 w 11867103"/>
                  <a:gd name="connsiteY59" fmla="*/ 2753248 h 2964609"/>
                  <a:gd name="connsiteX60" fmla="*/ 7797521 w 11867103"/>
                  <a:gd name="connsiteY60" fmla="*/ 2773345 h 2964609"/>
                  <a:gd name="connsiteX61" fmla="*/ 7717134 w 11867103"/>
                  <a:gd name="connsiteY61" fmla="*/ 2783393 h 2964609"/>
                  <a:gd name="connsiteX62" fmla="*/ 7486022 w 11867103"/>
                  <a:gd name="connsiteY62" fmla="*/ 2813539 h 2964609"/>
                  <a:gd name="connsiteX63" fmla="*/ 7395587 w 11867103"/>
                  <a:gd name="connsiteY63" fmla="*/ 2833635 h 2964609"/>
                  <a:gd name="connsiteX64" fmla="*/ 7325248 w 11867103"/>
                  <a:gd name="connsiteY64" fmla="*/ 2843684 h 2964609"/>
                  <a:gd name="connsiteX65" fmla="*/ 6863024 w 11867103"/>
                  <a:gd name="connsiteY65" fmla="*/ 2833635 h 2964609"/>
                  <a:gd name="connsiteX66" fmla="*/ 6722347 w 11867103"/>
                  <a:gd name="connsiteY66" fmla="*/ 2823587 h 2964609"/>
                  <a:gd name="connsiteX67" fmla="*/ 4903596 w 11867103"/>
                  <a:gd name="connsiteY67" fmla="*/ 2873829 h 2964609"/>
                  <a:gd name="connsiteX68" fmla="*/ 4722725 w 11867103"/>
                  <a:gd name="connsiteY68" fmla="*/ 2914022 h 2964609"/>
                  <a:gd name="connsiteX69" fmla="*/ 4300695 w 11867103"/>
                  <a:gd name="connsiteY69" fmla="*/ 2893925 h 2964609"/>
                  <a:gd name="connsiteX70" fmla="*/ 4059534 w 11867103"/>
                  <a:gd name="connsiteY70" fmla="*/ 2853732 h 2964609"/>
                  <a:gd name="connsiteX71" fmla="*/ 3768132 w 11867103"/>
                  <a:gd name="connsiteY71" fmla="*/ 2823587 h 2964609"/>
                  <a:gd name="connsiteX72" fmla="*/ 3627455 w 11867103"/>
                  <a:gd name="connsiteY72" fmla="*/ 2813539 h 2964609"/>
                  <a:gd name="connsiteX73" fmla="*/ 3125037 w 11867103"/>
                  <a:gd name="connsiteY73" fmla="*/ 2823587 h 2964609"/>
                  <a:gd name="connsiteX74" fmla="*/ 3064747 w 11867103"/>
                  <a:gd name="connsiteY74" fmla="*/ 2833635 h 2964609"/>
                  <a:gd name="connsiteX75" fmla="*/ 2009670 w 11867103"/>
                  <a:gd name="connsiteY75" fmla="*/ 2843684 h 2964609"/>
                  <a:gd name="connsiteX76" fmla="*/ 1678075 w 11867103"/>
                  <a:gd name="connsiteY76" fmla="*/ 2934119 h 2964609"/>
                  <a:gd name="connsiteX77" fmla="*/ 1607736 w 11867103"/>
                  <a:gd name="connsiteY77" fmla="*/ 2964264 h 2964609"/>
                  <a:gd name="connsiteX78" fmla="*/ 1135464 w 11867103"/>
                  <a:gd name="connsiteY78" fmla="*/ 2944167 h 2964609"/>
                  <a:gd name="connsiteX79" fmla="*/ 944545 w 11867103"/>
                  <a:gd name="connsiteY79" fmla="*/ 2914022 h 2964609"/>
                  <a:gd name="connsiteX80" fmla="*/ 723481 w 11867103"/>
                  <a:gd name="connsiteY80" fmla="*/ 2873829 h 2964609"/>
                  <a:gd name="connsiteX81" fmla="*/ 643095 w 11867103"/>
                  <a:gd name="connsiteY81" fmla="*/ 2863780 h 2964609"/>
                  <a:gd name="connsiteX82" fmla="*/ 371789 w 11867103"/>
                  <a:gd name="connsiteY82" fmla="*/ 2823587 h 2964609"/>
                  <a:gd name="connsiteX83" fmla="*/ 0 w 11867103"/>
                  <a:gd name="connsiteY83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2200589 w 11867103"/>
                  <a:gd name="connsiteY6" fmla="*/ 50242 h 2964609"/>
                  <a:gd name="connsiteX7" fmla="*/ 4652387 w 11867103"/>
                  <a:gd name="connsiteY7" fmla="*/ 60290 h 2964609"/>
                  <a:gd name="connsiteX8" fmla="*/ 4692580 w 11867103"/>
                  <a:gd name="connsiteY8" fmla="*/ 70339 h 2964609"/>
                  <a:gd name="connsiteX9" fmla="*/ 4843306 w 11867103"/>
                  <a:gd name="connsiteY9" fmla="*/ 90435 h 2964609"/>
                  <a:gd name="connsiteX10" fmla="*/ 5677319 w 11867103"/>
                  <a:gd name="connsiteY10" fmla="*/ 80387 h 2964609"/>
                  <a:gd name="connsiteX11" fmla="*/ 6169688 w 11867103"/>
                  <a:gd name="connsiteY11" fmla="*/ 110532 h 2964609"/>
                  <a:gd name="connsiteX12" fmla="*/ 6420897 w 11867103"/>
                  <a:gd name="connsiteY12" fmla="*/ 90435 h 2964609"/>
                  <a:gd name="connsiteX13" fmla="*/ 6511332 w 11867103"/>
                  <a:gd name="connsiteY13" fmla="*/ 30145 h 2964609"/>
                  <a:gd name="connsiteX14" fmla="*/ 6571622 w 11867103"/>
                  <a:gd name="connsiteY14" fmla="*/ 20097 h 2964609"/>
                  <a:gd name="connsiteX15" fmla="*/ 6641961 w 11867103"/>
                  <a:gd name="connsiteY15" fmla="*/ 0 h 2964609"/>
                  <a:gd name="connsiteX16" fmla="*/ 7204668 w 11867103"/>
                  <a:gd name="connsiteY16" fmla="*/ 10048 h 2964609"/>
                  <a:gd name="connsiteX17" fmla="*/ 7285055 w 11867103"/>
                  <a:gd name="connsiteY17" fmla="*/ 30145 h 2964609"/>
                  <a:gd name="connsiteX18" fmla="*/ 7375490 w 11867103"/>
                  <a:gd name="connsiteY18" fmla="*/ 40193 h 2964609"/>
                  <a:gd name="connsiteX19" fmla="*/ 7928150 w 11867103"/>
                  <a:gd name="connsiteY19" fmla="*/ 60290 h 2964609"/>
                  <a:gd name="connsiteX20" fmla="*/ 8109020 w 11867103"/>
                  <a:gd name="connsiteY20" fmla="*/ 80387 h 2964609"/>
                  <a:gd name="connsiteX21" fmla="*/ 8219552 w 11867103"/>
                  <a:gd name="connsiteY21" fmla="*/ 90435 h 2964609"/>
                  <a:gd name="connsiteX22" fmla="*/ 8299939 w 11867103"/>
                  <a:gd name="connsiteY22" fmla="*/ 100484 h 2964609"/>
                  <a:gd name="connsiteX23" fmla="*/ 8521002 w 11867103"/>
                  <a:gd name="connsiteY23" fmla="*/ 110532 h 2964609"/>
                  <a:gd name="connsiteX24" fmla="*/ 9515789 w 11867103"/>
                  <a:gd name="connsiteY24" fmla="*/ 100484 h 2964609"/>
                  <a:gd name="connsiteX25" fmla="*/ 9606224 w 11867103"/>
                  <a:gd name="connsiteY25" fmla="*/ 90435 h 2964609"/>
                  <a:gd name="connsiteX26" fmla="*/ 9716756 w 11867103"/>
                  <a:gd name="connsiteY26" fmla="*/ 80387 h 2964609"/>
                  <a:gd name="connsiteX27" fmla="*/ 9797143 w 11867103"/>
                  <a:gd name="connsiteY27" fmla="*/ 70339 h 2964609"/>
                  <a:gd name="connsiteX28" fmla="*/ 9947868 w 11867103"/>
                  <a:gd name="connsiteY28" fmla="*/ 60290 h 2964609"/>
                  <a:gd name="connsiteX29" fmla="*/ 10791930 w 11867103"/>
                  <a:gd name="connsiteY29" fmla="*/ 30145 h 2964609"/>
                  <a:gd name="connsiteX30" fmla="*/ 11736475 w 11867103"/>
                  <a:gd name="connsiteY30" fmla="*/ 50242 h 2964609"/>
                  <a:gd name="connsiteX31" fmla="*/ 11766620 w 11867103"/>
                  <a:gd name="connsiteY31" fmla="*/ 80387 h 2964609"/>
                  <a:gd name="connsiteX32" fmla="*/ 11786717 w 11867103"/>
                  <a:gd name="connsiteY32" fmla="*/ 120580 h 2964609"/>
                  <a:gd name="connsiteX33" fmla="*/ 11806813 w 11867103"/>
                  <a:gd name="connsiteY33" fmla="*/ 211015 h 2964609"/>
                  <a:gd name="connsiteX34" fmla="*/ 11816862 w 11867103"/>
                  <a:gd name="connsiteY34" fmla="*/ 251209 h 2964609"/>
                  <a:gd name="connsiteX35" fmla="*/ 11826910 w 11867103"/>
                  <a:gd name="connsiteY35" fmla="*/ 341644 h 2964609"/>
                  <a:gd name="connsiteX36" fmla="*/ 11836958 w 11867103"/>
                  <a:gd name="connsiteY36" fmla="*/ 422031 h 2964609"/>
                  <a:gd name="connsiteX37" fmla="*/ 11826910 w 11867103"/>
                  <a:gd name="connsiteY37" fmla="*/ 733530 h 2964609"/>
                  <a:gd name="connsiteX38" fmla="*/ 11816862 w 11867103"/>
                  <a:gd name="connsiteY38" fmla="*/ 793820 h 2964609"/>
                  <a:gd name="connsiteX39" fmla="*/ 11806813 w 11867103"/>
                  <a:gd name="connsiteY39" fmla="*/ 864158 h 2964609"/>
                  <a:gd name="connsiteX40" fmla="*/ 11816862 w 11867103"/>
                  <a:gd name="connsiteY40" fmla="*/ 2331218 h 2964609"/>
                  <a:gd name="connsiteX41" fmla="*/ 11826910 w 11867103"/>
                  <a:gd name="connsiteY41" fmla="*/ 2401556 h 2964609"/>
                  <a:gd name="connsiteX42" fmla="*/ 11836958 w 11867103"/>
                  <a:gd name="connsiteY42" fmla="*/ 2431701 h 2964609"/>
                  <a:gd name="connsiteX43" fmla="*/ 11857055 w 11867103"/>
                  <a:gd name="connsiteY43" fmla="*/ 2562330 h 2964609"/>
                  <a:gd name="connsiteX44" fmla="*/ 11867103 w 11867103"/>
                  <a:gd name="connsiteY44" fmla="*/ 2602523 h 2964609"/>
                  <a:gd name="connsiteX45" fmla="*/ 11857055 w 11867103"/>
                  <a:gd name="connsiteY45" fmla="*/ 2833635 h 2964609"/>
                  <a:gd name="connsiteX46" fmla="*/ 11836958 w 11867103"/>
                  <a:gd name="connsiteY46" fmla="*/ 2863780 h 2964609"/>
                  <a:gd name="connsiteX47" fmla="*/ 11033090 w 11867103"/>
                  <a:gd name="connsiteY47" fmla="*/ 2853732 h 2964609"/>
                  <a:gd name="connsiteX48" fmla="*/ 10621108 w 11867103"/>
                  <a:gd name="connsiteY48" fmla="*/ 2843684 h 2964609"/>
                  <a:gd name="connsiteX49" fmla="*/ 10128739 w 11867103"/>
                  <a:gd name="connsiteY49" fmla="*/ 2853732 h 2964609"/>
                  <a:gd name="connsiteX50" fmla="*/ 10048352 w 11867103"/>
                  <a:gd name="connsiteY50" fmla="*/ 2863780 h 2964609"/>
                  <a:gd name="connsiteX51" fmla="*/ 9555982 w 11867103"/>
                  <a:gd name="connsiteY51" fmla="*/ 2853732 h 2964609"/>
                  <a:gd name="connsiteX52" fmla="*/ 9445451 w 11867103"/>
                  <a:gd name="connsiteY52" fmla="*/ 2843684 h 2964609"/>
                  <a:gd name="connsiteX53" fmla="*/ 9415306 w 11867103"/>
                  <a:gd name="connsiteY53" fmla="*/ 2823587 h 2964609"/>
                  <a:gd name="connsiteX54" fmla="*/ 9204290 w 11867103"/>
                  <a:gd name="connsiteY54" fmla="*/ 2803490 h 2964609"/>
                  <a:gd name="connsiteX55" fmla="*/ 9073662 w 11867103"/>
                  <a:gd name="connsiteY55" fmla="*/ 2783393 h 2964609"/>
                  <a:gd name="connsiteX56" fmla="*/ 8812404 w 11867103"/>
                  <a:gd name="connsiteY56" fmla="*/ 2773345 h 2964609"/>
                  <a:gd name="connsiteX57" fmla="*/ 8400422 w 11867103"/>
                  <a:gd name="connsiteY57" fmla="*/ 2763297 h 2964609"/>
                  <a:gd name="connsiteX58" fmla="*/ 8269793 w 11867103"/>
                  <a:gd name="connsiteY58" fmla="*/ 2753248 h 2964609"/>
                  <a:gd name="connsiteX59" fmla="*/ 7797521 w 11867103"/>
                  <a:gd name="connsiteY59" fmla="*/ 2773345 h 2964609"/>
                  <a:gd name="connsiteX60" fmla="*/ 7717134 w 11867103"/>
                  <a:gd name="connsiteY60" fmla="*/ 2783393 h 2964609"/>
                  <a:gd name="connsiteX61" fmla="*/ 7486022 w 11867103"/>
                  <a:gd name="connsiteY61" fmla="*/ 2813539 h 2964609"/>
                  <a:gd name="connsiteX62" fmla="*/ 7395587 w 11867103"/>
                  <a:gd name="connsiteY62" fmla="*/ 2833635 h 2964609"/>
                  <a:gd name="connsiteX63" fmla="*/ 7325248 w 11867103"/>
                  <a:gd name="connsiteY63" fmla="*/ 2843684 h 2964609"/>
                  <a:gd name="connsiteX64" fmla="*/ 6863024 w 11867103"/>
                  <a:gd name="connsiteY64" fmla="*/ 2833635 h 2964609"/>
                  <a:gd name="connsiteX65" fmla="*/ 6722347 w 11867103"/>
                  <a:gd name="connsiteY65" fmla="*/ 2823587 h 2964609"/>
                  <a:gd name="connsiteX66" fmla="*/ 4903596 w 11867103"/>
                  <a:gd name="connsiteY66" fmla="*/ 2873829 h 2964609"/>
                  <a:gd name="connsiteX67" fmla="*/ 4722725 w 11867103"/>
                  <a:gd name="connsiteY67" fmla="*/ 2914022 h 2964609"/>
                  <a:gd name="connsiteX68" fmla="*/ 4300695 w 11867103"/>
                  <a:gd name="connsiteY68" fmla="*/ 2893925 h 2964609"/>
                  <a:gd name="connsiteX69" fmla="*/ 4059534 w 11867103"/>
                  <a:gd name="connsiteY69" fmla="*/ 2853732 h 2964609"/>
                  <a:gd name="connsiteX70" fmla="*/ 3768132 w 11867103"/>
                  <a:gd name="connsiteY70" fmla="*/ 2823587 h 2964609"/>
                  <a:gd name="connsiteX71" fmla="*/ 3627455 w 11867103"/>
                  <a:gd name="connsiteY71" fmla="*/ 2813539 h 2964609"/>
                  <a:gd name="connsiteX72" fmla="*/ 3125037 w 11867103"/>
                  <a:gd name="connsiteY72" fmla="*/ 2823587 h 2964609"/>
                  <a:gd name="connsiteX73" fmla="*/ 3064747 w 11867103"/>
                  <a:gd name="connsiteY73" fmla="*/ 2833635 h 2964609"/>
                  <a:gd name="connsiteX74" fmla="*/ 2009670 w 11867103"/>
                  <a:gd name="connsiteY74" fmla="*/ 2843684 h 2964609"/>
                  <a:gd name="connsiteX75" fmla="*/ 1678075 w 11867103"/>
                  <a:gd name="connsiteY75" fmla="*/ 2934119 h 2964609"/>
                  <a:gd name="connsiteX76" fmla="*/ 1607736 w 11867103"/>
                  <a:gd name="connsiteY76" fmla="*/ 2964264 h 2964609"/>
                  <a:gd name="connsiteX77" fmla="*/ 1135464 w 11867103"/>
                  <a:gd name="connsiteY77" fmla="*/ 2944167 h 2964609"/>
                  <a:gd name="connsiteX78" fmla="*/ 944545 w 11867103"/>
                  <a:gd name="connsiteY78" fmla="*/ 2914022 h 2964609"/>
                  <a:gd name="connsiteX79" fmla="*/ 723481 w 11867103"/>
                  <a:gd name="connsiteY79" fmla="*/ 2873829 h 2964609"/>
                  <a:gd name="connsiteX80" fmla="*/ 643095 w 11867103"/>
                  <a:gd name="connsiteY80" fmla="*/ 2863780 h 2964609"/>
                  <a:gd name="connsiteX81" fmla="*/ 371789 w 11867103"/>
                  <a:gd name="connsiteY81" fmla="*/ 2823587 h 2964609"/>
                  <a:gd name="connsiteX82" fmla="*/ 0 w 11867103"/>
                  <a:gd name="connsiteY82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4843306 w 11867103"/>
                  <a:gd name="connsiteY8" fmla="*/ 90435 h 2964609"/>
                  <a:gd name="connsiteX9" fmla="*/ 5677319 w 11867103"/>
                  <a:gd name="connsiteY9" fmla="*/ 80387 h 2964609"/>
                  <a:gd name="connsiteX10" fmla="*/ 6169688 w 11867103"/>
                  <a:gd name="connsiteY10" fmla="*/ 110532 h 2964609"/>
                  <a:gd name="connsiteX11" fmla="*/ 6420897 w 11867103"/>
                  <a:gd name="connsiteY11" fmla="*/ 90435 h 2964609"/>
                  <a:gd name="connsiteX12" fmla="*/ 6511332 w 11867103"/>
                  <a:gd name="connsiteY12" fmla="*/ 30145 h 2964609"/>
                  <a:gd name="connsiteX13" fmla="*/ 6571622 w 11867103"/>
                  <a:gd name="connsiteY13" fmla="*/ 20097 h 2964609"/>
                  <a:gd name="connsiteX14" fmla="*/ 6641961 w 11867103"/>
                  <a:gd name="connsiteY14" fmla="*/ 0 h 2964609"/>
                  <a:gd name="connsiteX15" fmla="*/ 7204668 w 11867103"/>
                  <a:gd name="connsiteY15" fmla="*/ 10048 h 2964609"/>
                  <a:gd name="connsiteX16" fmla="*/ 7285055 w 11867103"/>
                  <a:gd name="connsiteY16" fmla="*/ 30145 h 2964609"/>
                  <a:gd name="connsiteX17" fmla="*/ 7375490 w 11867103"/>
                  <a:gd name="connsiteY17" fmla="*/ 40193 h 2964609"/>
                  <a:gd name="connsiteX18" fmla="*/ 7928150 w 11867103"/>
                  <a:gd name="connsiteY18" fmla="*/ 60290 h 2964609"/>
                  <a:gd name="connsiteX19" fmla="*/ 8109020 w 11867103"/>
                  <a:gd name="connsiteY19" fmla="*/ 80387 h 2964609"/>
                  <a:gd name="connsiteX20" fmla="*/ 8219552 w 11867103"/>
                  <a:gd name="connsiteY20" fmla="*/ 90435 h 2964609"/>
                  <a:gd name="connsiteX21" fmla="*/ 8299939 w 11867103"/>
                  <a:gd name="connsiteY21" fmla="*/ 100484 h 2964609"/>
                  <a:gd name="connsiteX22" fmla="*/ 8521002 w 11867103"/>
                  <a:gd name="connsiteY22" fmla="*/ 110532 h 2964609"/>
                  <a:gd name="connsiteX23" fmla="*/ 9515789 w 11867103"/>
                  <a:gd name="connsiteY23" fmla="*/ 100484 h 2964609"/>
                  <a:gd name="connsiteX24" fmla="*/ 9606224 w 11867103"/>
                  <a:gd name="connsiteY24" fmla="*/ 90435 h 2964609"/>
                  <a:gd name="connsiteX25" fmla="*/ 9716756 w 11867103"/>
                  <a:gd name="connsiteY25" fmla="*/ 80387 h 2964609"/>
                  <a:gd name="connsiteX26" fmla="*/ 9797143 w 11867103"/>
                  <a:gd name="connsiteY26" fmla="*/ 70339 h 2964609"/>
                  <a:gd name="connsiteX27" fmla="*/ 9947868 w 11867103"/>
                  <a:gd name="connsiteY27" fmla="*/ 60290 h 2964609"/>
                  <a:gd name="connsiteX28" fmla="*/ 10791930 w 11867103"/>
                  <a:gd name="connsiteY28" fmla="*/ 30145 h 2964609"/>
                  <a:gd name="connsiteX29" fmla="*/ 11736475 w 11867103"/>
                  <a:gd name="connsiteY29" fmla="*/ 50242 h 2964609"/>
                  <a:gd name="connsiteX30" fmla="*/ 11766620 w 11867103"/>
                  <a:gd name="connsiteY30" fmla="*/ 80387 h 2964609"/>
                  <a:gd name="connsiteX31" fmla="*/ 11786717 w 11867103"/>
                  <a:gd name="connsiteY31" fmla="*/ 120580 h 2964609"/>
                  <a:gd name="connsiteX32" fmla="*/ 11806813 w 11867103"/>
                  <a:gd name="connsiteY32" fmla="*/ 211015 h 2964609"/>
                  <a:gd name="connsiteX33" fmla="*/ 11816862 w 11867103"/>
                  <a:gd name="connsiteY33" fmla="*/ 251209 h 2964609"/>
                  <a:gd name="connsiteX34" fmla="*/ 11826910 w 11867103"/>
                  <a:gd name="connsiteY34" fmla="*/ 341644 h 2964609"/>
                  <a:gd name="connsiteX35" fmla="*/ 11836958 w 11867103"/>
                  <a:gd name="connsiteY35" fmla="*/ 422031 h 2964609"/>
                  <a:gd name="connsiteX36" fmla="*/ 11826910 w 11867103"/>
                  <a:gd name="connsiteY36" fmla="*/ 733530 h 2964609"/>
                  <a:gd name="connsiteX37" fmla="*/ 11816862 w 11867103"/>
                  <a:gd name="connsiteY37" fmla="*/ 793820 h 2964609"/>
                  <a:gd name="connsiteX38" fmla="*/ 11806813 w 11867103"/>
                  <a:gd name="connsiteY38" fmla="*/ 864158 h 2964609"/>
                  <a:gd name="connsiteX39" fmla="*/ 11816862 w 11867103"/>
                  <a:gd name="connsiteY39" fmla="*/ 2331218 h 2964609"/>
                  <a:gd name="connsiteX40" fmla="*/ 11826910 w 11867103"/>
                  <a:gd name="connsiteY40" fmla="*/ 2401556 h 2964609"/>
                  <a:gd name="connsiteX41" fmla="*/ 11836958 w 11867103"/>
                  <a:gd name="connsiteY41" fmla="*/ 2431701 h 2964609"/>
                  <a:gd name="connsiteX42" fmla="*/ 11857055 w 11867103"/>
                  <a:gd name="connsiteY42" fmla="*/ 2562330 h 2964609"/>
                  <a:gd name="connsiteX43" fmla="*/ 11867103 w 11867103"/>
                  <a:gd name="connsiteY43" fmla="*/ 2602523 h 2964609"/>
                  <a:gd name="connsiteX44" fmla="*/ 11857055 w 11867103"/>
                  <a:gd name="connsiteY44" fmla="*/ 2833635 h 2964609"/>
                  <a:gd name="connsiteX45" fmla="*/ 11836958 w 11867103"/>
                  <a:gd name="connsiteY45" fmla="*/ 2863780 h 2964609"/>
                  <a:gd name="connsiteX46" fmla="*/ 11033090 w 11867103"/>
                  <a:gd name="connsiteY46" fmla="*/ 2853732 h 2964609"/>
                  <a:gd name="connsiteX47" fmla="*/ 10621108 w 11867103"/>
                  <a:gd name="connsiteY47" fmla="*/ 2843684 h 2964609"/>
                  <a:gd name="connsiteX48" fmla="*/ 10128739 w 11867103"/>
                  <a:gd name="connsiteY48" fmla="*/ 2853732 h 2964609"/>
                  <a:gd name="connsiteX49" fmla="*/ 10048352 w 11867103"/>
                  <a:gd name="connsiteY49" fmla="*/ 2863780 h 2964609"/>
                  <a:gd name="connsiteX50" fmla="*/ 9555982 w 11867103"/>
                  <a:gd name="connsiteY50" fmla="*/ 2853732 h 2964609"/>
                  <a:gd name="connsiteX51" fmla="*/ 9445451 w 11867103"/>
                  <a:gd name="connsiteY51" fmla="*/ 2843684 h 2964609"/>
                  <a:gd name="connsiteX52" fmla="*/ 9415306 w 11867103"/>
                  <a:gd name="connsiteY52" fmla="*/ 2823587 h 2964609"/>
                  <a:gd name="connsiteX53" fmla="*/ 9204290 w 11867103"/>
                  <a:gd name="connsiteY53" fmla="*/ 2803490 h 2964609"/>
                  <a:gd name="connsiteX54" fmla="*/ 9073662 w 11867103"/>
                  <a:gd name="connsiteY54" fmla="*/ 2783393 h 2964609"/>
                  <a:gd name="connsiteX55" fmla="*/ 8812404 w 11867103"/>
                  <a:gd name="connsiteY55" fmla="*/ 2773345 h 2964609"/>
                  <a:gd name="connsiteX56" fmla="*/ 8400422 w 11867103"/>
                  <a:gd name="connsiteY56" fmla="*/ 2763297 h 2964609"/>
                  <a:gd name="connsiteX57" fmla="*/ 8269793 w 11867103"/>
                  <a:gd name="connsiteY57" fmla="*/ 2753248 h 2964609"/>
                  <a:gd name="connsiteX58" fmla="*/ 7797521 w 11867103"/>
                  <a:gd name="connsiteY58" fmla="*/ 2773345 h 2964609"/>
                  <a:gd name="connsiteX59" fmla="*/ 7717134 w 11867103"/>
                  <a:gd name="connsiteY59" fmla="*/ 2783393 h 2964609"/>
                  <a:gd name="connsiteX60" fmla="*/ 7486022 w 11867103"/>
                  <a:gd name="connsiteY60" fmla="*/ 2813539 h 2964609"/>
                  <a:gd name="connsiteX61" fmla="*/ 7395587 w 11867103"/>
                  <a:gd name="connsiteY61" fmla="*/ 2833635 h 2964609"/>
                  <a:gd name="connsiteX62" fmla="*/ 7325248 w 11867103"/>
                  <a:gd name="connsiteY62" fmla="*/ 2843684 h 2964609"/>
                  <a:gd name="connsiteX63" fmla="*/ 6863024 w 11867103"/>
                  <a:gd name="connsiteY63" fmla="*/ 2833635 h 2964609"/>
                  <a:gd name="connsiteX64" fmla="*/ 6722347 w 11867103"/>
                  <a:gd name="connsiteY64" fmla="*/ 2823587 h 2964609"/>
                  <a:gd name="connsiteX65" fmla="*/ 4903596 w 11867103"/>
                  <a:gd name="connsiteY65" fmla="*/ 2873829 h 2964609"/>
                  <a:gd name="connsiteX66" fmla="*/ 4722725 w 11867103"/>
                  <a:gd name="connsiteY66" fmla="*/ 2914022 h 2964609"/>
                  <a:gd name="connsiteX67" fmla="*/ 4300695 w 11867103"/>
                  <a:gd name="connsiteY67" fmla="*/ 2893925 h 2964609"/>
                  <a:gd name="connsiteX68" fmla="*/ 4059534 w 11867103"/>
                  <a:gd name="connsiteY68" fmla="*/ 2853732 h 2964609"/>
                  <a:gd name="connsiteX69" fmla="*/ 3768132 w 11867103"/>
                  <a:gd name="connsiteY69" fmla="*/ 2823587 h 2964609"/>
                  <a:gd name="connsiteX70" fmla="*/ 3627455 w 11867103"/>
                  <a:gd name="connsiteY70" fmla="*/ 2813539 h 2964609"/>
                  <a:gd name="connsiteX71" fmla="*/ 3125037 w 11867103"/>
                  <a:gd name="connsiteY71" fmla="*/ 2823587 h 2964609"/>
                  <a:gd name="connsiteX72" fmla="*/ 3064747 w 11867103"/>
                  <a:gd name="connsiteY72" fmla="*/ 2833635 h 2964609"/>
                  <a:gd name="connsiteX73" fmla="*/ 2009670 w 11867103"/>
                  <a:gd name="connsiteY73" fmla="*/ 2843684 h 2964609"/>
                  <a:gd name="connsiteX74" fmla="*/ 1678075 w 11867103"/>
                  <a:gd name="connsiteY74" fmla="*/ 2934119 h 2964609"/>
                  <a:gd name="connsiteX75" fmla="*/ 1607736 w 11867103"/>
                  <a:gd name="connsiteY75" fmla="*/ 2964264 h 2964609"/>
                  <a:gd name="connsiteX76" fmla="*/ 1135464 w 11867103"/>
                  <a:gd name="connsiteY76" fmla="*/ 2944167 h 2964609"/>
                  <a:gd name="connsiteX77" fmla="*/ 944545 w 11867103"/>
                  <a:gd name="connsiteY77" fmla="*/ 2914022 h 2964609"/>
                  <a:gd name="connsiteX78" fmla="*/ 723481 w 11867103"/>
                  <a:gd name="connsiteY78" fmla="*/ 2873829 h 2964609"/>
                  <a:gd name="connsiteX79" fmla="*/ 643095 w 11867103"/>
                  <a:gd name="connsiteY79" fmla="*/ 2863780 h 2964609"/>
                  <a:gd name="connsiteX80" fmla="*/ 371789 w 11867103"/>
                  <a:gd name="connsiteY80" fmla="*/ 2823587 h 2964609"/>
                  <a:gd name="connsiteX81" fmla="*/ 0 w 11867103"/>
                  <a:gd name="connsiteY81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5677319 w 11867103"/>
                  <a:gd name="connsiteY8" fmla="*/ 80387 h 2964609"/>
                  <a:gd name="connsiteX9" fmla="*/ 6169688 w 11867103"/>
                  <a:gd name="connsiteY9" fmla="*/ 110532 h 2964609"/>
                  <a:gd name="connsiteX10" fmla="*/ 6420897 w 11867103"/>
                  <a:gd name="connsiteY10" fmla="*/ 90435 h 2964609"/>
                  <a:gd name="connsiteX11" fmla="*/ 6511332 w 11867103"/>
                  <a:gd name="connsiteY11" fmla="*/ 30145 h 2964609"/>
                  <a:gd name="connsiteX12" fmla="*/ 6571622 w 11867103"/>
                  <a:gd name="connsiteY12" fmla="*/ 20097 h 2964609"/>
                  <a:gd name="connsiteX13" fmla="*/ 6641961 w 11867103"/>
                  <a:gd name="connsiteY13" fmla="*/ 0 h 2964609"/>
                  <a:gd name="connsiteX14" fmla="*/ 7204668 w 11867103"/>
                  <a:gd name="connsiteY14" fmla="*/ 10048 h 2964609"/>
                  <a:gd name="connsiteX15" fmla="*/ 7285055 w 11867103"/>
                  <a:gd name="connsiteY15" fmla="*/ 30145 h 2964609"/>
                  <a:gd name="connsiteX16" fmla="*/ 7375490 w 11867103"/>
                  <a:gd name="connsiteY16" fmla="*/ 40193 h 2964609"/>
                  <a:gd name="connsiteX17" fmla="*/ 7928150 w 11867103"/>
                  <a:gd name="connsiteY17" fmla="*/ 60290 h 2964609"/>
                  <a:gd name="connsiteX18" fmla="*/ 8109020 w 11867103"/>
                  <a:gd name="connsiteY18" fmla="*/ 80387 h 2964609"/>
                  <a:gd name="connsiteX19" fmla="*/ 8219552 w 11867103"/>
                  <a:gd name="connsiteY19" fmla="*/ 90435 h 2964609"/>
                  <a:gd name="connsiteX20" fmla="*/ 8299939 w 11867103"/>
                  <a:gd name="connsiteY20" fmla="*/ 100484 h 2964609"/>
                  <a:gd name="connsiteX21" fmla="*/ 8521002 w 11867103"/>
                  <a:gd name="connsiteY21" fmla="*/ 110532 h 2964609"/>
                  <a:gd name="connsiteX22" fmla="*/ 9515789 w 11867103"/>
                  <a:gd name="connsiteY22" fmla="*/ 100484 h 2964609"/>
                  <a:gd name="connsiteX23" fmla="*/ 9606224 w 11867103"/>
                  <a:gd name="connsiteY23" fmla="*/ 90435 h 2964609"/>
                  <a:gd name="connsiteX24" fmla="*/ 9716756 w 11867103"/>
                  <a:gd name="connsiteY24" fmla="*/ 80387 h 2964609"/>
                  <a:gd name="connsiteX25" fmla="*/ 9797143 w 11867103"/>
                  <a:gd name="connsiteY25" fmla="*/ 70339 h 2964609"/>
                  <a:gd name="connsiteX26" fmla="*/ 9947868 w 11867103"/>
                  <a:gd name="connsiteY26" fmla="*/ 60290 h 2964609"/>
                  <a:gd name="connsiteX27" fmla="*/ 10791930 w 11867103"/>
                  <a:gd name="connsiteY27" fmla="*/ 30145 h 2964609"/>
                  <a:gd name="connsiteX28" fmla="*/ 11736475 w 11867103"/>
                  <a:gd name="connsiteY28" fmla="*/ 50242 h 2964609"/>
                  <a:gd name="connsiteX29" fmla="*/ 11766620 w 11867103"/>
                  <a:gd name="connsiteY29" fmla="*/ 80387 h 2964609"/>
                  <a:gd name="connsiteX30" fmla="*/ 11786717 w 11867103"/>
                  <a:gd name="connsiteY30" fmla="*/ 120580 h 2964609"/>
                  <a:gd name="connsiteX31" fmla="*/ 11806813 w 11867103"/>
                  <a:gd name="connsiteY31" fmla="*/ 211015 h 2964609"/>
                  <a:gd name="connsiteX32" fmla="*/ 11816862 w 11867103"/>
                  <a:gd name="connsiteY32" fmla="*/ 251209 h 2964609"/>
                  <a:gd name="connsiteX33" fmla="*/ 11826910 w 11867103"/>
                  <a:gd name="connsiteY33" fmla="*/ 341644 h 2964609"/>
                  <a:gd name="connsiteX34" fmla="*/ 11836958 w 11867103"/>
                  <a:gd name="connsiteY34" fmla="*/ 422031 h 2964609"/>
                  <a:gd name="connsiteX35" fmla="*/ 11826910 w 11867103"/>
                  <a:gd name="connsiteY35" fmla="*/ 733530 h 2964609"/>
                  <a:gd name="connsiteX36" fmla="*/ 11816862 w 11867103"/>
                  <a:gd name="connsiteY36" fmla="*/ 793820 h 2964609"/>
                  <a:gd name="connsiteX37" fmla="*/ 11806813 w 11867103"/>
                  <a:gd name="connsiteY37" fmla="*/ 864158 h 2964609"/>
                  <a:gd name="connsiteX38" fmla="*/ 11816862 w 11867103"/>
                  <a:gd name="connsiteY38" fmla="*/ 2331218 h 2964609"/>
                  <a:gd name="connsiteX39" fmla="*/ 11826910 w 11867103"/>
                  <a:gd name="connsiteY39" fmla="*/ 2401556 h 2964609"/>
                  <a:gd name="connsiteX40" fmla="*/ 11836958 w 11867103"/>
                  <a:gd name="connsiteY40" fmla="*/ 2431701 h 2964609"/>
                  <a:gd name="connsiteX41" fmla="*/ 11857055 w 11867103"/>
                  <a:gd name="connsiteY41" fmla="*/ 2562330 h 2964609"/>
                  <a:gd name="connsiteX42" fmla="*/ 11867103 w 11867103"/>
                  <a:gd name="connsiteY42" fmla="*/ 2602523 h 2964609"/>
                  <a:gd name="connsiteX43" fmla="*/ 11857055 w 11867103"/>
                  <a:gd name="connsiteY43" fmla="*/ 2833635 h 2964609"/>
                  <a:gd name="connsiteX44" fmla="*/ 11836958 w 11867103"/>
                  <a:gd name="connsiteY44" fmla="*/ 2863780 h 2964609"/>
                  <a:gd name="connsiteX45" fmla="*/ 11033090 w 11867103"/>
                  <a:gd name="connsiteY45" fmla="*/ 2853732 h 2964609"/>
                  <a:gd name="connsiteX46" fmla="*/ 10621108 w 11867103"/>
                  <a:gd name="connsiteY46" fmla="*/ 2843684 h 2964609"/>
                  <a:gd name="connsiteX47" fmla="*/ 10128739 w 11867103"/>
                  <a:gd name="connsiteY47" fmla="*/ 2853732 h 2964609"/>
                  <a:gd name="connsiteX48" fmla="*/ 10048352 w 11867103"/>
                  <a:gd name="connsiteY48" fmla="*/ 2863780 h 2964609"/>
                  <a:gd name="connsiteX49" fmla="*/ 9555982 w 11867103"/>
                  <a:gd name="connsiteY49" fmla="*/ 2853732 h 2964609"/>
                  <a:gd name="connsiteX50" fmla="*/ 9445451 w 11867103"/>
                  <a:gd name="connsiteY50" fmla="*/ 2843684 h 2964609"/>
                  <a:gd name="connsiteX51" fmla="*/ 9415306 w 11867103"/>
                  <a:gd name="connsiteY51" fmla="*/ 2823587 h 2964609"/>
                  <a:gd name="connsiteX52" fmla="*/ 9204290 w 11867103"/>
                  <a:gd name="connsiteY52" fmla="*/ 2803490 h 2964609"/>
                  <a:gd name="connsiteX53" fmla="*/ 9073662 w 11867103"/>
                  <a:gd name="connsiteY53" fmla="*/ 2783393 h 2964609"/>
                  <a:gd name="connsiteX54" fmla="*/ 8812404 w 11867103"/>
                  <a:gd name="connsiteY54" fmla="*/ 2773345 h 2964609"/>
                  <a:gd name="connsiteX55" fmla="*/ 8400422 w 11867103"/>
                  <a:gd name="connsiteY55" fmla="*/ 2763297 h 2964609"/>
                  <a:gd name="connsiteX56" fmla="*/ 8269793 w 11867103"/>
                  <a:gd name="connsiteY56" fmla="*/ 2753248 h 2964609"/>
                  <a:gd name="connsiteX57" fmla="*/ 7797521 w 11867103"/>
                  <a:gd name="connsiteY57" fmla="*/ 2773345 h 2964609"/>
                  <a:gd name="connsiteX58" fmla="*/ 7717134 w 11867103"/>
                  <a:gd name="connsiteY58" fmla="*/ 2783393 h 2964609"/>
                  <a:gd name="connsiteX59" fmla="*/ 7486022 w 11867103"/>
                  <a:gd name="connsiteY59" fmla="*/ 2813539 h 2964609"/>
                  <a:gd name="connsiteX60" fmla="*/ 7395587 w 11867103"/>
                  <a:gd name="connsiteY60" fmla="*/ 2833635 h 2964609"/>
                  <a:gd name="connsiteX61" fmla="*/ 7325248 w 11867103"/>
                  <a:gd name="connsiteY61" fmla="*/ 2843684 h 2964609"/>
                  <a:gd name="connsiteX62" fmla="*/ 6863024 w 11867103"/>
                  <a:gd name="connsiteY62" fmla="*/ 2833635 h 2964609"/>
                  <a:gd name="connsiteX63" fmla="*/ 6722347 w 11867103"/>
                  <a:gd name="connsiteY63" fmla="*/ 2823587 h 2964609"/>
                  <a:gd name="connsiteX64" fmla="*/ 4903596 w 11867103"/>
                  <a:gd name="connsiteY64" fmla="*/ 2873829 h 2964609"/>
                  <a:gd name="connsiteX65" fmla="*/ 4722725 w 11867103"/>
                  <a:gd name="connsiteY65" fmla="*/ 2914022 h 2964609"/>
                  <a:gd name="connsiteX66" fmla="*/ 4300695 w 11867103"/>
                  <a:gd name="connsiteY66" fmla="*/ 2893925 h 2964609"/>
                  <a:gd name="connsiteX67" fmla="*/ 4059534 w 11867103"/>
                  <a:gd name="connsiteY67" fmla="*/ 2853732 h 2964609"/>
                  <a:gd name="connsiteX68" fmla="*/ 3768132 w 11867103"/>
                  <a:gd name="connsiteY68" fmla="*/ 2823587 h 2964609"/>
                  <a:gd name="connsiteX69" fmla="*/ 3627455 w 11867103"/>
                  <a:gd name="connsiteY69" fmla="*/ 2813539 h 2964609"/>
                  <a:gd name="connsiteX70" fmla="*/ 3125037 w 11867103"/>
                  <a:gd name="connsiteY70" fmla="*/ 2823587 h 2964609"/>
                  <a:gd name="connsiteX71" fmla="*/ 3064747 w 11867103"/>
                  <a:gd name="connsiteY71" fmla="*/ 2833635 h 2964609"/>
                  <a:gd name="connsiteX72" fmla="*/ 2009670 w 11867103"/>
                  <a:gd name="connsiteY72" fmla="*/ 2843684 h 2964609"/>
                  <a:gd name="connsiteX73" fmla="*/ 1678075 w 11867103"/>
                  <a:gd name="connsiteY73" fmla="*/ 2934119 h 2964609"/>
                  <a:gd name="connsiteX74" fmla="*/ 1607736 w 11867103"/>
                  <a:gd name="connsiteY74" fmla="*/ 2964264 h 2964609"/>
                  <a:gd name="connsiteX75" fmla="*/ 1135464 w 11867103"/>
                  <a:gd name="connsiteY75" fmla="*/ 2944167 h 2964609"/>
                  <a:gd name="connsiteX76" fmla="*/ 944545 w 11867103"/>
                  <a:gd name="connsiteY76" fmla="*/ 2914022 h 2964609"/>
                  <a:gd name="connsiteX77" fmla="*/ 723481 w 11867103"/>
                  <a:gd name="connsiteY77" fmla="*/ 2873829 h 2964609"/>
                  <a:gd name="connsiteX78" fmla="*/ 643095 w 11867103"/>
                  <a:gd name="connsiteY78" fmla="*/ 2863780 h 2964609"/>
                  <a:gd name="connsiteX79" fmla="*/ 371789 w 11867103"/>
                  <a:gd name="connsiteY79" fmla="*/ 2823587 h 2964609"/>
                  <a:gd name="connsiteX80" fmla="*/ 0 w 11867103"/>
                  <a:gd name="connsiteY80" fmla="*/ 2813539 h 2964609"/>
                  <a:gd name="connsiteX0" fmla="*/ 120580 w 11867103"/>
                  <a:gd name="connsiteY0" fmla="*/ 50242 h 2964609"/>
                  <a:gd name="connsiteX1" fmla="*/ 281354 w 11867103"/>
                  <a:gd name="connsiteY1" fmla="*/ 40193 h 2964609"/>
                  <a:gd name="connsiteX2" fmla="*/ 673240 w 11867103"/>
                  <a:gd name="connsiteY2" fmla="*/ 30145 h 2964609"/>
                  <a:gd name="connsiteX3" fmla="*/ 1356528 w 11867103"/>
                  <a:gd name="connsiteY3" fmla="*/ 80387 h 2964609"/>
                  <a:gd name="connsiteX4" fmla="*/ 1758462 w 11867103"/>
                  <a:gd name="connsiteY4" fmla="*/ 40193 h 2964609"/>
                  <a:gd name="connsiteX5" fmla="*/ 2140299 w 11867103"/>
                  <a:gd name="connsiteY5" fmla="*/ 40193 h 2964609"/>
                  <a:gd name="connsiteX6" fmla="*/ 4652387 w 11867103"/>
                  <a:gd name="connsiteY6" fmla="*/ 60290 h 2964609"/>
                  <a:gd name="connsiteX7" fmla="*/ 4692580 w 11867103"/>
                  <a:gd name="connsiteY7" fmla="*/ 70339 h 2964609"/>
                  <a:gd name="connsiteX8" fmla="*/ 6169688 w 11867103"/>
                  <a:gd name="connsiteY8" fmla="*/ 110532 h 2964609"/>
                  <a:gd name="connsiteX9" fmla="*/ 6420897 w 11867103"/>
                  <a:gd name="connsiteY9" fmla="*/ 90435 h 2964609"/>
                  <a:gd name="connsiteX10" fmla="*/ 6511332 w 11867103"/>
                  <a:gd name="connsiteY10" fmla="*/ 30145 h 2964609"/>
                  <a:gd name="connsiteX11" fmla="*/ 6571622 w 11867103"/>
                  <a:gd name="connsiteY11" fmla="*/ 20097 h 2964609"/>
                  <a:gd name="connsiteX12" fmla="*/ 6641961 w 11867103"/>
                  <a:gd name="connsiteY12" fmla="*/ 0 h 2964609"/>
                  <a:gd name="connsiteX13" fmla="*/ 7204668 w 11867103"/>
                  <a:gd name="connsiteY13" fmla="*/ 10048 h 2964609"/>
                  <a:gd name="connsiteX14" fmla="*/ 7285055 w 11867103"/>
                  <a:gd name="connsiteY14" fmla="*/ 30145 h 2964609"/>
                  <a:gd name="connsiteX15" fmla="*/ 7375490 w 11867103"/>
                  <a:gd name="connsiteY15" fmla="*/ 40193 h 2964609"/>
                  <a:gd name="connsiteX16" fmla="*/ 7928150 w 11867103"/>
                  <a:gd name="connsiteY16" fmla="*/ 60290 h 2964609"/>
                  <a:gd name="connsiteX17" fmla="*/ 8109020 w 11867103"/>
                  <a:gd name="connsiteY17" fmla="*/ 80387 h 2964609"/>
                  <a:gd name="connsiteX18" fmla="*/ 8219552 w 11867103"/>
                  <a:gd name="connsiteY18" fmla="*/ 90435 h 2964609"/>
                  <a:gd name="connsiteX19" fmla="*/ 8299939 w 11867103"/>
                  <a:gd name="connsiteY19" fmla="*/ 100484 h 2964609"/>
                  <a:gd name="connsiteX20" fmla="*/ 8521002 w 11867103"/>
                  <a:gd name="connsiteY20" fmla="*/ 110532 h 2964609"/>
                  <a:gd name="connsiteX21" fmla="*/ 9515789 w 11867103"/>
                  <a:gd name="connsiteY21" fmla="*/ 100484 h 2964609"/>
                  <a:gd name="connsiteX22" fmla="*/ 9606224 w 11867103"/>
                  <a:gd name="connsiteY22" fmla="*/ 90435 h 2964609"/>
                  <a:gd name="connsiteX23" fmla="*/ 9716756 w 11867103"/>
                  <a:gd name="connsiteY23" fmla="*/ 80387 h 2964609"/>
                  <a:gd name="connsiteX24" fmla="*/ 9797143 w 11867103"/>
                  <a:gd name="connsiteY24" fmla="*/ 70339 h 2964609"/>
                  <a:gd name="connsiteX25" fmla="*/ 9947868 w 11867103"/>
                  <a:gd name="connsiteY25" fmla="*/ 60290 h 2964609"/>
                  <a:gd name="connsiteX26" fmla="*/ 10791930 w 11867103"/>
                  <a:gd name="connsiteY26" fmla="*/ 30145 h 2964609"/>
                  <a:gd name="connsiteX27" fmla="*/ 11736475 w 11867103"/>
                  <a:gd name="connsiteY27" fmla="*/ 50242 h 2964609"/>
                  <a:gd name="connsiteX28" fmla="*/ 11766620 w 11867103"/>
                  <a:gd name="connsiteY28" fmla="*/ 80387 h 2964609"/>
                  <a:gd name="connsiteX29" fmla="*/ 11786717 w 11867103"/>
                  <a:gd name="connsiteY29" fmla="*/ 120580 h 2964609"/>
                  <a:gd name="connsiteX30" fmla="*/ 11806813 w 11867103"/>
                  <a:gd name="connsiteY30" fmla="*/ 211015 h 2964609"/>
                  <a:gd name="connsiteX31" fmla="*/ 11816862 w 11867103"/>
                  <a:gd name="connsiteY31" fmla="*/ 251209 h 2964609"/>
                  <a:gd name="connsiteX32" fmla="*/ 11826910 w 11867103"/>
                  <a:gd name="connsiteY32" fmla="*/ 341644 h 2964609"/>
                  <a:gd name="connsiteX33" fmla="*/ 11836958 w 11867103"/>
                  <a:gd name="connsiteY33" fmla="*/ 422031 h 2964609"/>
                  <a:gd name="connsiteX34" fmla="*/ 11826910 w 11867103"/>
                  <a:gd name="connsiteY34" fmla="*/ 733530 h 2964609"/>
                  <a:gd name="connsiteX35" fmla="*/ 11816862 w 11867103"/>
                  <a:gd name="connsiteY35" fmla="*/ 793820 h 2964609"/>
                  <a:gd name="connsiteX36" fmla="*/ 11806813 w 11867103"/>
                  <a:gd name="connsiteY36" fmla="*/ 864158 h 2964609"/>
                  <a:gd name="connsiteX37" fmla="*/ 11816862 w 11867103"/>
                  <a:gd name="connsiteY37" fmla="*/ 2331218 h 2964609"/>
                  <a:gd name="connsiteX38" fmla="*/ 11826910 w 11867103"/>
                  <a:gd name="connsiteY38" fmla="*/ 2401556 h 2964609"/>
                  <a:gd name="connsiteX39" fmla="*/ 11836958 w 11867103"/>
                  <a:gd name="connsiteY39" fmla="*/ 2431701 h 2964609"/>
                  <a:gd name="connsiteX40" fmla="*/ 11857055 w 11867103"/>
                  <a:gd name="connsiteY40" fmla="*/ 2562330 h 2964609"/>
                  <a:gd name="connsiteX41" fmla="*/ 11867103 w 11867103"/>
                  <a:gd name="connsiteY41" fmla="*/ 2602523 h 2964609"/>
                  <a:gd name="connsiteX42" fmla="*/ 11857055 w 11867103"/>
                  <a:gd name="connsiteY42" fmla="*/ 2833635 h 2964609"/>
                  <a:gd name="connsiteX43" fmla="*/ 11836958 w 11867103"/>
                  <a:gd name="connsiteY43" fmla="*/ 2863780 h 2964609"/>
                  <a:gd name="connsiteX44" fmla="*/ 11033090 w 11867103"/>
                  <a:gd name="connsiteY44" fmla="*/ 2853732 h 2964609"/>
                  <a:gd name="connsiteX45" fmla="*/ 10621108 w 11867103"/>
                  <a:gd name="connsiteY45" fmla="*/ 2843684 h 2964609"/>
                  <a:gd name="connsiteX46" fmla="*/ 10128739 w 11867103"/>
                  <a:gd name="connsiteY46" fmla="*/ 2853732 h 2964609"/>
                  <a:gd name="connsiteX47" fmla="*/ 10048352 w 11867103"/>
                  <a:gd name="connsiteY47" fmla="*/ 2863780 h 2964609"/>
                  <a:gd name="connsiteX48" fmla="*/ 9555982 w 11867103"/>
                  <a:gd name="connsiteY48" fmla="*/ 2853732 h 2964609"/>
                  <a:gd name="connsiteX49" fmla="*/ 9445451 w 11867103"/>
                  <a:gd name="connsiteY49" fmla="*/ 2843684 h 2964609"/>
                  <a:gd name="connsiteX50" fmla="*/ 9415306 w 11867103"/>
                  <a:gd name="connsiteY50" fmla="*/ 2823587 h 2964609"/>
                  <a:gd name="connsiteX51" fmla="*/ 9204290 w 11867103"/>
                  <a:gd name="connsiteY51" fmla="*/ 2803490 h 2964609"/>
                  <a:gd name="connsiteX52" fmla="*/ 9073662 w 11867103"/>
                  <a:gd name="connsiteY52" fmla="*/ 2783393 h 2964609"/>
                  <a:gd name="connsiteX53" fmla="*/ 8812404 w 11867103"/>
                  <a:gd name="connsiteY53" fmla="*/ 2773345 h 2964609"/>
                  <a:gd name="connsiteX54" fmla="*/ 8400422 w 11867103"/>
                  <a:gd name="connsiteY54" fmla="*/ 2763297 h 2964609"/>
                  <a:gd name="connsiteX55" fmla="*/ 8269793 w 11867103"/>
                  <a:gd name="connsiteY55" fmla="*/ 2753248 h 2964609"/>
                  <a:gd name="connsiteX56" fmla="*/ 7797521 w 11867103"/>
                  <a:gd name="connsiteY56" fmla="*/ 2773345 h 2964609"/>
                  <a:gd name="connsiteX57" fmla="*/ 7717134 w 11867103"/>
                  <a:gd name="connsiteY57" fmla="*/ 2783393 h 2964609"/>
                  <a:gd name="connsiteX58" fmla="*/ 7486022 w 11867103"/>
                  <a:gd name="connsiteY58" fmla="*/ 2813539 h 2964609"/>
                  <a:gd name="connsiteX59" fmla="*/ 7395587 w 11867103"/>
                  <a:gd name="connsiteY59" fmla="*/ 2833635 h 2964609"/>
                  <a:gd name="connsiteX60" fmla="*/ 7325248 w 11867103"/>
                  <a:gd name="connsiteY60" fmla="*/ 2843684 h 2964609"/>
                  <a:gd name="connsiteX61" fmla="*/ 6863024 w 11867103"/>
                  <a:gd name="connsiteY61" fmla="*/ 2833635 h 2964609"/>
                  <a:gd name="connsiteX62" fmla="*/ 6722347 w 11867103"/>
                  <a:gd name="connsiteY62" fmla="*/ 2823587 h 2964609"/>
                  <a:gd name="connsiteX63" fmla="*/ 4903596 w 11867103"/>
                  <a:gd name="connsiteY63" fmla="*/ 2873829 h 2964609"/>
                  <a:gd name="connsiteX64" fmla="*/ 4722725 w 11867103"/>
                  <a:gd name="connsiteY64" fmla="*/ 2914022 h 2964609"/>
                  <a:gd name="connsiteX65" fmla="*/ 4300695 w 11867103"/>
                  <a:gd name="connsiteY65" fmla="*/ 2893925 h 2964609"/>
                  <a:gd name="connsiteX66" fmla="*/ 4059534 w 11867103"/>
                  <a:gd name="connsiteY66" fmla="*/ 2853732 h 2964609"/>
                  <a:gd name="connsiteX67" fmla="*/ 3768132 w 11867103"/>
                  <a:gd name="connsiteY67" fmla="*/ 2823587 h 2964609"/>
                  <a:gd name="connsiteX68" fmla="*/ 3627455 w 11867103"/>
                  <a:gd name="connsiteY68" fmla="*/ 2813539 h 2964609"/>
                  <a:gd name="connsiteX69" fmla="*/ 3125037 w 11867103"/>
                  <a:gd name="connsiteY69" fmla="*/ 2823587 h 2964609"/>
                  <a:gd name="connsiteX70" fmla="*/ 3064747 w 11867103"/>
                  <a:gd name="connsiteY70" fmla="*/ 2833635 h 2964609"/>
                  <a:gd name="connsiteX71" fmla="*/ 2009670 w 11867103"/>
                  <a:gd name="connsiteY71" fmla="*/ 2843684 h 2964609"/>
                  <a:gd name="connsiteX72" fmla="*/ 1678075 w 11867103"/>
                  <a:gd name="connsiteY72" fmla="*/ 2934119 h 2964609"/>
                  <a:gd name="connsiteX73" fmla="*/ 1607736 w 11867103"/>
                  <a:gd name="connsiteY73" fmla="*/ 2964264 h 2964609"/>
                  <a:gd name="connsiteX74" fmla="*/ 1135464 w 11867103"/>
                  <a:gd name="connsiteY74" fmla="*/ 2944167 h 2964609"/>
                  <a:gd name="connsiteX75" fmla="*/ 944545 w 11867103"/>
                  <a:gd name="connsiteY75" fmla="*/ 2914022 h 2964609"/>
                  <a:gd name="connsiteX76" fmla="*/ 723481 w 11867103"/>
                  <a:gd name="connsiteY76" fmla="*/ 2873829 h 2964609"/>
                  <a:gd name="connsiteX77" fmla="*/ 643095 w 11867103"/>
                  <a:gd name="connsiteY77" fmla="*/ 2863780 h 2964609"/>
                  <a:gd name="connsiteX78" fmla="*/ 371789 w 11867103"/>
                  <a:gd name="connsiteY78" fmla="*/ 2823587 h 2964609"/>
                  <a:gd name="connsiteX79" fmla="*/ 0 w 11867103"/>
                  <a:gd name="connsiteY79" fmla="*/ 2813539 h 2964609"/>
                  <a:gd name="connsiteX0" fmla="*/ 120580 w 11867103"/>
                  <a:gd name="connsiteY0" fmla="*/ 51336 h 2965703"/>
                  <a:gd name="connsiteX1" fmla="*/ 281354 w 11867103"/>
                  <a:gd name="connsiteY1" fmla="*/ 41287 h 2965703"/>
                  <a:gd name="connsiteX2" fmla="*/ 673240 w 11867103"/>
                  <a:gd name="connsiteY2" fmla="*/ 31239 h 2965703"/>
                  <a:gd name="connsiteX3" fmla="*/ 1356528 w 11867103"/>
                  <a:gd name="connsiteY3" fmla="*/ 81481 h 2965703"/>
                  <a:gd name="connsiteX4" fmla="*/ 1758462 w 11867103"/>
                  <a:gd name="connsiteY4" fmla="*/ 41287 h 2965703"/>
                  <a:gd name="connsiteX5" fmla="*/ 2140299 w 11867103"/>
                  <a:gd name="connsiteY5" fmla="*/ 41287 h 2965703"/>
                  <a:gd name="connsiteX6" fmla="*/ 4652387 w 11867103"/>
                  <a:gd name="connsiteY6" fmla="*/ 61384 h 2965703"/>
                  <a:gd name="connsiteX7" fmla="*/ 4692580 w 11867103"/>
                  <a:gd name="connsiteY7" fmla="*/ 71433 h 2965703"/>
                  <a:gd name="connsiteX8" fmla="*/ 6169688 w 11867103"/>
                  <a:gd name="connsiteY8" fmla="*/ 111626 h 2965703"/>
                  <a:gd name="connsiteX9" fmla="*/ 6420897 w 11867103"/>
                  <a:gd name="connsiteY9" fmla="*/ 91529 h 2965703"/>
                  <a:gd name="connsiteX10" fmla="*/ 6511332 w 11867103"/>
                  <a:gd name="connsiteY10" fmla="*/ 31239 h 2965703"/>
                  <a:gd name="connsiteX11" fmla="*/ 6641961 w 11867103"/>
                  <a:gd name="connsiteY11" fmla="*/ 1094 h 2965703"/>
                  <a:gd name="connsiteX12" fmla="*/ 7204668 w 11867103"/>
                  <a:gd name="connsiteY12" fmla="*/ 11142 h 2965703"/>
                  <a:gd name="connsiteX13" fmla="*/ 7285055 w 11867103"/>
                  <a:gd name="connsiteY13" fmla="*/ 31239 h 2965703"/>
                  <a:gd name="connsiteX14" fmla="*/ 7375490 w 11867103"/>
                  <a:gd name="connsiteY14" fmla="*/ 41287 h 2965703"/>
                  <a:gd name="connsiteX15" fmla="*/ 7928150 w 11867103"/>
                  <a:gd name="connsiteY15" fmla="*/ 61384 h 2965703"/>
                  <a:gd name="connsiteX16" fmla="*/ 8109020 w 11867103"/>
                  <a:gd name="connsiteY16" fmla="*/ 81481 h 2965703"/>
                  <a:gd name="connsiteX17" fmla="*/ 8219552 w 11867103"/>
                  <a:gd name="connsiteY17" fmla="*/ 91529 h 2965703"/>
                  <a:gd name="connsiteX18" fmla="*/ 8299939 w 11867103"/>
                  <a:gd name="connsiteY18" fmla="*/ 101578 h 2965703"/>
                  <a:gd name="connsiteX19" fmla="*/ 8521002 w 11867103"/>
                  <a:gd name="connsiteY19" fmla="*/ 111626 h 2965703"/>
                  <a:gd name="connsiteX20" fmla="*/ 9515789 w 11867103"/>
                  <a:gd name="connsiteY20" fmla="*/ 101578 h 2965703"/>
                  <a:gd name="connsiteX21" fmla="*/ 9606224 w 11867103"/>
                  <a:gd name="connsiteY21" fmla="*/ 91529 h 2965703"/>
                  <a:gd name="connsiteX22" fmla="*/ 9716756 w 11867103"/>
                  <a:gd name="connsiteY22" fmla="*/ 81481 h 2965703"/>
                  <a:gd name="connsiteX23" fmla="*/ 9797143 w 11867103"/>
                  <a:gd name="connsiteY23" fmla="*/ 71433 h 2965703"/>
                  <a:gd name="connsiteX24" fmla="*/ 9947868 w 11867103"/>
                  <a:gd name="connsiteY24" fmla="*/ 61384 h 2965703"/>
                  <a:gd name="connsiteX25" fmla="*/ 10791930 w 11867103"/>
                  <a:gd name="connsiteY25" fmla="*/ 31239 h 2965703"/>
                  <a:gd name="connsiteX26" fmla="*/ 11736475 w 11867103"/>
                  <a:gd name="connsiteY26" fmla="*/ 51336 h 2965703"/>
                  <a:gd name="connsiteX27" fmla="*/ 11766620 w 11867103"/>
                  <a:gd name="connsiteY27" fmla="*/ 81481 h 2965703"/>
                  <a:gd name="connsiteX28" fmla="*/ 11786717 w 11867103"/>
                  <a:gd name="connsiteY28" fmla="*/ 121674 h 2965703"/>
                  <a:gd name="connsiteX29" fmla="*/ 11806813 w 11867103"/>
                  <a:gd name="connsiteY29" fmla="*/ 212109 h 2965703"/>
                  <a:gd name="connsiteX30" fmla="*/ 11816862 w 11867103"/>
                  <a:gd name="connsiteY30" fmla="*/ 252303 h 2965703"/>
                  <a:gd name="connsiteX31" fmla="*/ 11826910 w 11867103"/>
                  <a:gd name="connsiteY31" fmla="*/ 342738 h 2965703"/>
                  <a:gd name="connsiteX32" fmla="*/ 11836958 w 11867103"/>
                  <a:gd name="connsiteY32" fmla="*/ 423125 h 2965703"/>
                  <a:gd name="connsiteX33" fmla="*/ 11826910 w 11867103"/>
                  <a:gd name="connsiteY33" fmla="*/ 734624 h 2965703"/>
                  <a:gd name="connsiteX34" fmla="*/ 11816862 w 11867103"/>
                  <a:gd name="connsiteY34" fmla="*/ 794914 h 2965703"/>
                  <a:gd name="connsiteX35" fmla="*/ 11806813 w 11867103"/>
                  <a:gd name="connsiteY35" fmla="*/ 865252 h 2965703"/>
                  <a:gd name="connsiteX36" fmla="*/ 11816862 w 11867103"/>
                  <a:gd name="connsiteY36" fmla="*/ 2332312 h 2965703"/>
                  <a:gd name="connsiteX37" fmla="*/ 11826910 w 11867103"/>
                  <a:gd name="connsiteY37" fmla="*/ 2402650 h 2965703"/>
                  <a:gd name="connsiteX38" fmla="*/ 11836958 w 11867103"/>
                  <a:gd name="connsiteY38" fmla="*/ 2432795 h 2965703"/>
                  <a:gd name="connsiteX39" fmla="*/ 11857055 w 11867103"/>
                  <a:gd name="connsiteY39" fmla="*/ 2563424 h 2965703"/>
                  <a:gd name="connsiteX40" fmla="*/ 11867103 w 11867103"/>
                  <a:gd name="connsiteY40" fmla="*/ 2603617 h 2965703"/>
                  <a:gd name="connsiteX41" fmla="*/ 11857055 w 11867103"/>
                  <a:gd name="connsiteY41" fmla="*/ 2834729 h 2965703"/>
                  <a:gd name="connsiteX42" fmla="*/ 11836958 w 11867103"/>
                  <a:gd name="connsiteY42" fmla="*/ 2864874 h 2965703"/>
                  <a:gd name="connsiteX43" fmla="*/ 11033090 w 11867103"/>
                  <a:gd name="connsiteY43" fmla="*/ 2854826 h 2965703"/>
                  <a:gd name="connsiteX44" fmla="*/ 10621108 w 11867103"/>
                  <a:gd name="connsiteY44" fmla="*/ 2844778 h 2965703"/>
                  <a:gd name="connsiteX45" fmla="*/ 10128739 w 11867103"/>
                  <a:gd name="connsiteY45" fmla="*/ 2854826 h 2965703"/>
                  <a:gd name="connsiteX46" fmla="*/ 10048352 w 11867103"/>
                  <a:gd name="connsiteY46" fmla="*/ 2864874 h 2965703"/>
                  <a:gd name="connsiteX47" fmla="*/ 9555982 w 11867103"/>
                  <a:gd name="connsiteY47" fmla="*/ 2854826 h 2965703"/>
                  <a:gd name="connsiteX48" fmla="*/ 9445451 w 11867103"/>
                  <a:gd name="connsiteY48" fmla="*/ 2844778 h 2965703"/>
                  <a:gd name="connsiteX49" fmla="*/ 9415306 w 11867103"/>
                  <a:gd name="connsiteY49" fmla="*/ 2824681 h 2965703"/>
                  <a:gd name="connsiteX50" fmla="*/ 9204290 w 11867103"/>
                  <a:gd name="connsiteY50" fmla="*/ 2804584 h 2965703"/>
                  <a:gd name="connsiteX51" fmla="*/ 9073662 w 11867103"/>
                  <a:gd name="connsiteY51" fmla="*/ 2784487 h 2965703"/>
                  <a:gd name="connsiteX52" fmla="*/ 8812404 w 11867103"/>
                  <a:gd name="connsiteY52" fmla="*/ 2774439 h 2965703"/>
                  <a:gd name="connsiteX53" fmla="*/ 8400422 w 11867103"/>
                  <a:gd name="connsiteY53" fmla="*/ 2764391 h 2965703"/>
                  <a:gd name="connsiteX54" fmla="*/ 8269793 w 11867103"/>
                  <a:gd name="connsiteY54" fmla="*/ 2754342 h 2965703"/>
                  <a:gd name="connsiteX55" fmla="*/ 7797521 w 11867103"/>
                  <a:gd name="connsiteY55" fmla="*/ 2774439 h 2965703"/>
                  <a:gd name="connsiteX56" fmla="*/ 7717134 w 11867103"/>
                  <a:gd name="connsiteY56" fmla="*/ 2784487 h 2965703"/>
                  <a:gd name="connsiteX57" fmla="*/ 7486022 w 11867103"/>
                  <a:gd name="connsiteY57" fmla="*/ 2814633 h 2965703"/>
                  <a:gd name="connsiteX58" fmla="*/ 7395587 w 11867103"/>
                  <a:gd name="connsiteY58" fmla="*/ 2834729 h 2965703"/>
                  <a:gd name="connsiteX59" fmla="*/ 7325248 w 11867103"/>
                  <a:gd name="connsiteY59" fmla="*/ 2844778 h 2965703"/>
                  <a:gd name="connsiteX60" fmla="*/ 6863024 w 11867103"/>
                  <a:gd name="connsiteY60" fmla="*/ 2834729 h 2965703"/>
                  <a:gd name="connsiteX61" fmla="*/ 6722347 w 11867103"/>
                  <a:gd name="connsiteY61" fmla="*/ 2824681 h 2965703"/>
                  <a:gd name="connsiteX62" fmla="*/ 4903596 w 11867103"/>
                  <a:gd name="connsiteY62" fmla="*/ 2874923 h 2965703"/>
                  <a:gd name="connsiteX63" fmla="*/ 4722725 w 11867103"/>
                  <a:gd name="connsiteY63" fmla="*/ 2915116 h 2965703"/>
                  <a:gd name="connsiteX64" fmla="*/ 4300695 w 11867103"/>
                  <a:gd name="connsiteY64" fmla="*/ 2895019 h 2965703"/>
                  <a:gd name="connsiteX65" fmla="*/ 4059534 w 11867103"/>
                  <a:gd name="connsiteY65" fmla="*/ 2854826 h 2965703"/>
                  <a:gd name="connsiteX66" fmla="*/ 3768132 w 11867103"/>
                  <a:gd name="connsiteY66" fmla="*/ 2824681 h 2965703"/>
                  <a:gd name="connsiteX67" fmla="*/ 3627455 w 11867103"/>
                  <a:gd name="connsiteY67" fmla="*/ 2814633 h 2965703"/>
                  <a:gd name="connsiteX68" fmla="*/ 3125037 w 11867103"/>
                  <a:gd name="connsiteY68" fmla="*/ 2824681 h 2965703"/>
                  <a:gd name="connsiteX69" fmla="*/ 3064747 w 11867103"/>
                  <a:gd name="connsiteY69" fmla="*/ 2834729 h 2965703"/>
                  <a:gd name="connsiteX70" fmla="*/ 2009670 w 11867103"/>
                  <a:gd name="connsiteY70" fmla="*/ 2844778 h 2965703"/>
                  <a:gd name="connsiteX71" fmla="*/ 1678075 w 11867103"/>
                  <a:gd name="connsiteY71" fmla="*/ 2935213 h 2965703"/>
                  <a:gd name="connsiteX72" fmla="*/ 1607736 w 11867103"/>
                  <a:gd name="connsiteY72" fmla="*/ 2965358 h 2965703"/>
                  <a:gd name="connsiteX73" fmla="*/ 1135464 w 11867103"/>
                  <a:gd name="connsiteY73" fmla="*/ 2945261 h 2965703"/>
                  <a:gd name="connsiteX74" fmla="*/ 944545 w 11867103"/>
                  <a:gd name="connsiteY74" fmla="*/ 2915116 h 2965703"/>
                  <a:gd name="connsiteX75" fmla="*/ 723481 w 11867103"/>
                  <a:gd name="connsiteY75" fmla="*/ 2874923 h 2965703"/>
                  <a:gd name="connsiteX76" fmla="*/ 643095 w 11867103"/>
                  <a:gd name="connsiteY76" fmla="*/ 2864874 h 2965703"/>
                  <a:gd name="connsiteX77" fmla="*/ 371789 w 11867103"/>
                  <a:gd name="connsiteY77" fmla="*/ 2824681 h 2965703"/>
                  <a:gd name="connsiteX78" fmla="*/ 0 w 11867103"/>
                  <a:gd name="connsiteY78" fmla="*/ 2814633 h 2965703"/>
                  <a:gd name="connsiteX0" fmla="*/ 120580 w 11867103"/>
                  <a:gd name="connsiteY0" fmla="*/ 40194 h 2954561"/>
                  <a:gd name="connsiteX1" fmla="*/ 281354 w 11867103"/>
                  <a:gd name="connsiteY1" fmla="*/ 30145 h 2954561"/>
                  <a:gd name="connsiteX2" fmla="*/ 673240 w 11867103"/>
                  <a:gd name="connsiteY2" fmla="*/ 20097 h 2954561"/>
                  <a:gd name="connsiteX3" fmla="*/ 1356528 w 11867103"/>
                  <a:gd name="connsiteY3" fmla="*/ 70339 h 2954561"/>
                  <a:gd name="connsiteX4" fmla="*/ 1758462 w 11867103"/>
                  <a:gd name="connsiteY4" fmla="*/ 30145 h 2954561"/>
                  <a:gd name="connsiteX5" fmla="*/ 2140299 w 11867103"/>
                  <a:gd name="connsiteY5" fmla="*/ 30145 h 2954561"/>
                  <a:gd name="connsiteX6" fmla="*/ 4652387 w 11867103"/>
                  <a:gd name="connsiteY6" fmla="*/ 50242 h 2954561"/>
                  <a:gd name="connsiteX7" fmla="*/ 4692580 w 11867103"/>
                  <a:gd name="connsiteY7" fmla="*/ 60291 h 2954561"/>
                  <a:gd name="connsiteX8" fmla="*/ 6169688 w 11867103"/>
                  <a:gd name="connsiteY8" fmla="*/ 100484 h 2954561"/>
                  <a:gd name="connsiteX9" fmla="*/ 6420897 w 11867103"/>
                  <a:gd name="connsiteY9" fmla="*/ 80387 h 2954561"/>
                  <a:gd name="connsiteX10" fmla="*/ 6511332 w 11867103"/>
                  <a:gd name="connsiteY10" fmla="*/ 20097 h 2954561"/>
                  <a:gd name="connsiteX11" fmla="*/ 7204668 w 11867103"/>
                  <a:gd name="connsiteY11" fmla="*/ 0 h 2954561"/>
                  <a:gd name="connsiteX12" fmla="*/ 7285055 w 11867103"/>
                  <a:gd name="connsiteY12" fmla="*/ 20097 h 2954561"/>
                  <a:gd name="connsiteX13" fmla="*/ 7375490 w 11867103"/>
                  <a:gd name="connsiteY13" fmla="*/ 30145 h 2954561"/>
                  <a:gd name="connsiteX14" fmla="*/ 7928150 w 11867103"/>
                  <a:gd name="connsiteY14" fmla="*/ 50242 h 2954561"/>
                  <a:gd name="connsiteX15" fmla="*/ 8109020 w 11867103"/>
                  <a:gd name="connsiteY15" fmla="*/ 70339 h 2954561"/>
                  <a:gd name="connsiteX16" fmla="*/ 8219552 w 11867103"/>
                  <a:gd name="connsiteY16" fmla="*/ 80387 h 2954561"/>
                  <a:gd name="connsiteX17" fmla="*/ 8299939 w 11867103"/>
                  <a:gd name="connsiteY17" fmla="*/ 90436 h 2954561"/>
                  <a:gd name="connsiteX18" fmla="*/ 8521002 w 11867103"/>
                  <a:gd name="connsiteY18" fmla="*/ 100484 h 2954561"/>
                  <a:gd name="connsiteX19" fmla="*/ 9515789 w 11867103"/>
                  <a:gd name="connsiteY19" fmla="*/ 90436 h 2954561"/>
                  <a:gd name="connsiteX20" fmla="*/ 9606224 w 11867103"/>
                  <a:gd name="connsiteY20" fmla="*/ 80387 h 2954561"/>
                  <a:gd name="connsiteX21" fmla="*/ 9716756 w 11867103"/>
                  <a:gd name="connsiteY21" fmla="*/ 70339 h 2954561"/>
                  <a:gd name="connsiteX22" fmla="*/ 9797143 w 11867103"/>
                  <a:gd name="connsiteY22" fmla="*/ 60291 h 2954561"/>
                  <a:gd name="connsiteX23" fmla="*/ 9947868 w 11867103"/>
                  <a:gd name="connsiteY23" fmla="*/ 50242 h 2954561"/>
                  <a:gd name="connsiteX24" fmla="*/ 10791930 w 11867103"/>
                  <a:gd name="connsiteY24" fmla="*/ 20097 h 2954561"/>
                  <a:gd name="connsiteX25" fmla="*/ 11736475 w 11867103"/>
                  <a:gd name="connsiteY25" fmla="*/ 40194 h 2954561"/>
                  <a:gd name="connsiteX26" fmla="*/ 11766620 w 11867103"/>
                  <a:gd name="connsiteY26" fmla="*/ 70339 h 2954561"/>
                  <a:gd name="connsiteX27" fmla="*/ 11786717 w 11867103"/>
                  <a:gd name="connsiteY27" fmla="*/ 110532 h 2954561"/>
                  <a:gd name="connsiteX28" fmla="*/ 11806813 w 11867103"/>
                  <a:gd name="connsiteY28" fmla="*/ 200967 h 2954561"/>
                  <a:gd name="connsiteX29" fmla="*/ 11816862 w 11867103"/>
                  <a:gd name="connsiteY29" fmla="*/ 241161 h 2954561"/>
                  <a:gd name="connsiteX30" fmla="*/ 11826910 w 11867103"/>
                  <a:gd name="connsiteY30" fmla="*/ 331596 h 2954561"/>
                  <a:gd name="connsiteX31" fmla="*/ 11836958 w 11867103"/>
                  <a:gd name="connsiteY31" fmla="*/ 411983 h 2954561"/>
                  <a:gd name="connsiteX32" fmla="*/ 11826910 w 11867103"/>
                  <a:gd name="connsiteY32" fmla="*/ 723482 h 2954561"/>
                  <a:gd name="connsiteX33" fmla="*/ 11816862 w 11867103"/>
                  <a:gd name="connsiteY33" fmla="*/ 783772 h 2954561"/>
                  <a:gd name="connsiteX34" fmla="*/ 11806813 w 11867103"/>
                  <a:gd name="connsiteY34" fmla="*/ 854110 h 2954561"/>
                  <a:gd name="connsiteX35" fmla="*/ 11816862 w 11867103"/>
                  <a:gd name="connsiteY35" fmla="*/ 2321170 h 2954561"/>
                  <a:gd name="connsiteX36" fmla="*/ 11826910 w 11867103"/>
                  <a:gd name="connsiteY36" fmla="*/ 2391508 h 2954561"/>
                  <a:gd name="connsiteX37" fmla="*/ 11836958 w 11867103"/>
                  <a:gd name="connsiteY37" fmla="*/ 2421653 h 2954561"/>
                  <a:gd name="connsiteX38" fmla="*/ 11857055 w 11867103"/>
                  <a:gd name="connsiteY38" fmla="*/ 2552282 h 2954561"/>
                  <a:gd name="connsiteX39" fmla="*/ 11867103 w 11867103"/>
                  <a:gd name="connsiteY39" fmla="*/ 2592475 h 2954561"/>
                  <a:gd name="connsiteX40" fmla="*/ 11857055 w 11867103"/>
                  <a:gd name="connsiteY40" fmla="*/ 2823587 h 2954561"/>
                  <a:gd name="connsiteX41" fmla="*/ 11836958 w 11867103"/>
                  <a:gd name="connsiteY41" fmla="*/ 2853732 h 2954561"/>
                  <a:gd name="connsiteX42" fmla="*/ 11033090 w 11867103"/>
                  <a:gd name="connsiteY42" fmla="*/ 2843684 h 2954561"/>
                  <a:gd name="connsiteX43" fmla="*/ 10621108 w 11867103"/>
                  <a:gd name="connsiteY43" fmla="*/ 2833636 h 2954561"/>
                  <a:gd name="connsiteX44" fmla="*/ 10128739 w 11867103"/>
                  <a:gd name="connsiteY44" fmla="*/ 2843684 h 2954561"/>
                  <a:gd name="connsiteX45" fmla="*/ 10048352 w 11867103"/>
                  <a:gd name="connsiteY45" fmla="*/ 2853732 h 2954561"/>
                  <a:gd name="connsiteX46" fmla="*/ 9555982 w 11867103"/>
                  <a:gd name="connsiteY46" fmla="*/ 2843684 h 2954561"/>
                  <a:gd name="connsiteX47" fmla="*/ 9445451 w 11867103"/>
                  <a:gd name="connsiteY47" fmla="*/ 2833636 h 2954561"/>
                  <a:gd name="connsiteX48" fmla="*/ 9415306 w 11867103"/>
                  <a:gd name="connsiteY48" fmla="*/ 2813539 h 2954561"/>
                  <a:gd name="connsiteX49" fmla="*/ 9204290 w 11867103"/>
                  <a:gd name="connsiteY49" fmla="*/ 2793442 h 2954561"/>
                  <a:gd name="connsiteX50" fmla="*/ 9073662 w 11867103"/>
                  <a:gd name="connsiteY50" fmla="*/ 2773345 h 2954561"/>
                  <a:gd name="connsiteX51" fmla="*/ 8812404 w 11867103"/>
                  <a:gd name="connsiteY51" fmla="*/ 2763297 h 2954561"/>
                  <a:gd name="connsiteX52" fmla="*/ 8400422 w 11867103"/>
                  <a:gd name="connsiteY52" fmla="*/ 2753249 h 2954561"/>
                  <a:gd name="connsiteX53" fmla="*/ 8269793 w 11867103"/>
                  <a:gd name="connsiteY53" fmla="*/ 2743200 h 2954561"/>
                  <a:gd name="connsiteX54" fmla="*/ 7797521 w 11867103"/>
                  <a:gd name="connsiteY54" fmla="*/ 2763297 h 2954561"/>
                  <a:gd name="connsiteX55" fmla="*/ 7717134 w 11867103"/>
                  <a:gd name="connsiteY55" fmla="*/ 2773345 h 2954561"/>
                  <a:gd name="connsiteX56" fmla="*/ 7486022 w 11867103"/>
                  <a:gd name="connsiteY56" fmla="*/ 2803491 h 2954561"/>
                  <a:gd name="connsiteX57" fmla="*/ 7395587 w 11867103"/>
                  <a:gd name="connsiteY57" fmla="*/ 2823587 h 2954561"/>
                  <a:gd name="connsiteX58" fmla="*/ 7325248 w 11867103"/>
                  <a:gd name="connsiteY58" fmla="*/ 2833636 h 2954561"/>
                  <a:gd name="connsiteX59" fmla="*/ 6863024 w 11867103"/>
                  <a:gd name="connsiteY59" fmla="*/ 2823587 h 2954561"/>
                  <a:gd name="connsiteX60" fmla="*/ 6722347 w 11867103"/>
                  <a:gd name="connsiteY60" fmla="*/ 2813539 h 2954561"/>
                  <a:gd name="connsiteX61" fmla="*/ 4903596 w 11867103"/>
                  <a:gd name="connsiteY61" fmla="*/ 2863781 h 2954561"/>
                  <a:gd name="connsiteX62" fmla="*/ 4722725 w 11867103"/>
                  <a:gd name="connsiteY62" fmla="*/ 2903974 h 2954561"/>
                  <a:gd name="connsiteX63" fmla="*/ 4300695 w 11867103"/>
                  <a:gd name="connsiteY63" fmla="*/ 2883877 h 2954561"/>
                  <a:gd name="connsiteX64" fmla="*/ 4059534 w 11867103"/>
                  <a:gd name="connsiteY64" fmla="*/ 2843684 h 2954561"/>
                  <a:gd name="connsiteX65" fmla="*/ 3768132 w 11867103"/>
                  <a:gd name="connsiteY65" fmla="*/ 2813539 h 2954561"/>
                  <a:gd name="connsiteX66" fmla="*/ 3627455 w 11867103"/>
                  <a:gd name="connsiteY66" fmla="*/ 2803491 h 2954561"/>
                  <a:gd name="connsiteX67" fmla="*/ 3125037 w 11867103"/>
                  <a:gd name="connsiteY67" fmla="*/ 2813539 h 2954561"/>
                  <a:gd name="connsiteX68" fmla="*/ 3064747 w 11867103"/>
                  <a:gd name="connsiteY68" fmla="*/ 2823587 h 2954561"/>
                  <a:gd name="connsiteX69" fmla="*/ 2009670 w 11867103"/>
                  <a:gd name="connsiteY69" fmla="*/ 2833636 h 2954561"/>
                  <a:gd name="connsiteX70" fmla="*/ 1678075 w 11867103"/>
                  <a:gd name="connsiteY70" fmla="*/ 2924071 h 2954561"/>
                  <a:gd name="connsiteX71" fmla="*/ 1607736 w 11867103"/>
                  <a:gd name="connsiteY71" fmla="*/ 2954216 h 2954561"/>
                  <a:gd name="connsiteX72" fmla="*/ 1135464 w 11867103"/>
                  <a:gd name="connsiteY72" fmla="*/ 2934119 h 2954561"/>
                  <a:gd name="connsiteX73" fmla="*/ 944545 w 11867103"/>
                  <a:gd name="connsiteY73" fmla="*/ 2903974 h 2954561"/>
                  <a:gd name="connsiteX74" fmla="*/ 723481 w 11867103"/>
                  <a:gd name="connsiteY74" fmla="*/ 2863781 h 2954561"/>
                  <a:gd name="connsiteX75" fmla="*/ 643095 w 11867103"/>
                  <a:gd name="connsiteY75" fmla="*/ 2853732 h 2954561"/>
                  <a:gd name="connsiteX76" fmla="*/ 371789 w 11867103"/>
                  <a:gd name="connsiteY76" fmla="*/ 2813539 h 2954561"/>
                  <a:gd name="connsiteX77" fmla="*/ 0 w 11867103"/>
                  <a:gd name="connsiteY77" fmla="*/ 2803491 h 2954561"/>
                  <a:gd name="connsiteX0" fmla="*/ 120580 w 11867103"/>
                  <a:gd name="connsiteY0" fmla="*/ 42528 h 2956895"/>
                  <a:gd name="connsiteX1" fmla="*/ 281354 w 11867103"/>
                  <a:gd name="connsiteY1" fmla="*/ 32479 h 2956895"/>
                  <a:gd name="connsiteX2" fmla="*/ 673240 w 11867103"/>
                  <a:gd name="connsiteY2" fmla="*/ 22431 h 2956895"/>
                  <a:gd name="connsiteX3" fmla="*/ 1356528 w 11867103"/>
                  <a:gd name="connsiteY3" fmla="*/ 72673 h 2956895"/>
                  <a:gd name="connsiteX4" fmla="*/ 1758462 w 11867103"/>
                  <a:gd name="connsiteY4" fmla="*/ 32479 h 2956895"/>
                  <a:gd name="connsiteX5" fmla="*/ 2140299 w 11867103"/>
                  <a:gd name="connsiteY5" fmla="*/ 32479 h 2956895"/>
                  <a:gd name="connsiteX6" fmla="*/ 4652387 w 11867103"/>
                  <a:gd name="connsiteY6" fmla="*/ 52576 h 2956895"/>
                  <a:gd name="connsiteX7" fmla="*/ 4692580 w 11867103"/>
                  <a:gd name="connsiteY7" fmla="*/ 62625 h 2956895"/>
                  <a:gd name="connsiteX8" fmla="*/ 6169688 w 11867103"/>
                  <a:gd name="connsiteY8" fmla="*/ 102818 h 2956895"/>
                  <a:gd name="connsiteX9" fmla="*/ 6420897 w 11867103"/>
                  <a:gd name="connsiteY9" fmla="*/ 82721 h 2956895"/>
                  <a:gd name="connsiteX10" fmla="*/ 7204668 w 11867103"/>
                  <a:gd name="connsiteY10" fmla="*/ 2334 h 2956895"/>
                  <a:gd name="connsiteX11" fmla="*/ 7285055 w 11867103"/>
                  <a:gd name="connsiteY11" fmla="*/ 22431 h 2956895"/>
                  <a:gd name="connsiteX12" fmla="*/ 7375490 w 11867103"/>
                  <a:gd name="connsiteY12" fmla="*/ 32479 h 2956895"/>
                  <a:gd name="connsiteX13" fmla="*/ 7928150 w 11867103"/>
                  <a:gd name="connsiteY13" fmla="*/ 52576 h 2956895"/>
                  <a:gd name="connsiteX14" fmla="*/ 8109020 w 11867103"/>
                  <a:gd name="connsiteY14" fmla="*/ 72673 h 2956895"/>
                  <a:gd name="connsiteX15" fmla="*/ 8219552 w 11867103"/>
                  <a:gd name="connsiteY15" fmla="*/ 82721 h 2956895"/>
                  <a:gd name="connsiteX16" fmla="*/ 8299939 w 11867103"/>
                  <a:gd name="connsiteY16" fmla="*/ 92770 h 2956895"/>
                  <a:gd name="connsiteX17" fmla="*/ 8521002 w 11867103"/>
                  <a:gd name="connsiteY17" fmla="*/ 102818 h 2956895"/>
                  <a:gd name="connsiteX18" fmla="*/ 9515789 w 11867103"/>
                  <a:gd name="connsiteY18" fmla="*/ 92770 h 2956895"/>
                  <a:gd name="connsiteX19" fmla="*/ 9606224 w 11867103"/>
                  <a:gd name="connsiteY19" fmla="*/ 82721 h 2956895"/>
                  <a:gd name="connsiteX20" fmla="*/ 9716756 w 11867103"/>
                  <a:gd name="connsiteY20" fmla="*/ 72673 h 2956895"/>
                  <a:gd name="connsiteX21" fmla="*/ 9797143 w 11867103"/>
                  <a:gd name="connsiteY21" fmla="*/ 62625 h 2956895"/>
                  <a:gd name="connsiteX22" fmla="*/ 9947868 w 11867103"/>
                  <a:gd name="connsiteY22" fmla="*/ 52576 h 2956895"/>
                  <a:gd name="connsiteX23" fmla="*/ 10791930 w 11867103"/>
                  <a:gd name="connsiteY23" fmla="*/ 22431 h 2956895"/>
                  <a:gd name="connsiteX24" fmla="*/ 11736475 w 11867103"/>
                  <a:gd name="connsiteY24" fmla="*/ 42528 h 2956895"/>
                  <a:gd name="connsiteX25" fmla="*/ 11766620 w 11867103"/>
                  <a:gd name="connsiteY25" fmla="*/ 72673 h 2956895"/>
                  <a:gd name="connsiteX26" fmla="*/ 11786717 w 11867103"/>
                  <a:gd name="connsiteY26" fmla="*/ 112866 h 2956895"/>
                  <a:gd name="connsiteX27" fmla="*/ 11806813 w 11867103"/>
                  <a:gd name="connsiteY27" fmla="*/ 203301 h 2956895"/>
                  <a:gd name="connsiteX28" fmla="*/ 11816862 w 11867103"/>
                  <a:gd name="connsiteY28" fmla="*/ 243495 h 2956895"/>
                  <a:gd name="connsiteX29" fmla="*/ 11826910 w 11867103"/>
                  <a:gd name="connsiteY29" fmla="*/ 333930 h 2956895"/>
                  <a:gd name="connsiteX30" fmla="*/ 11836958 w 11867103"/>
                  <a:gd name="connsiteY30" fmla="*/ 414317 h 2956895"/>
                  <a:gd name="connsiteX31" fmla="*/ 11826910 w 11867103"/>
                  <a:gd name="connsiteY31" fmla="*/ 725816 h 2956895"/>
                  <a:gd name="connsiteX32" fmla="*/ 11816862 w 11867103"/>
                  <a:gd name="connsiteY32" fmla="*/ 786106 h 2956895"/>
                  <a:gd name="connsiteX33" fmla="*/ 11806813 w 11867103"/>
                  <a:gd name="connsiteY33" fmla="*/ 856444 h 2956895"/>
                  <a:gd name="connsiteX34" fmla="*/ 11816862 w 11867103"/>
                  <a:gd name="connsiteY34" fmla="*/ 2323504 h 2956895"/>
                  <a:gd name="connsiteX35" fmla="*/ 11826910 w 11867103"/>
                  <a:gd name="connsiteY35" fmla="*/ 2393842 h 2956895"/>
                  <a:gd name="connsiteX36" fmla="*/ 11836958 w 11867103"/>
                  <a:gd name="connsiteY36" fmla="*/ 2423987 h 2956895"/>
                  <a:gd name="connsiteX37" fmla="*/ 11857055 w 11867103"/>
                  <a:gd name="connsiteY37" fmla="*/ 2554616 h 2956895"/>
                  <a:gd name="connsiteX38" fmla="*/ 11867103 w 11867103"/>
                  <a:gd name="connsiteY38" fmla="*/ 2594809 h 2956895"/>
                  <a:gd name="connsiteX39" fmla="*/ 11857055 w 11867103"/>
                  <a:gd name="connsiteY39" fmla="*/ 2825921 h 2956895"/>
                  <a:gd name="connsiteX40" fmla="*/ 11836958 w 11867103"/>
                  <a:gd name="connsiteY40" fmla="*/ 2856066 h 2956895"/>
                  <a:gd name="connsiteX41" fmla="*/ 11033090 w 11867103"/>
                  <a:gd name="connsiteY41" fmla="*/ 2846018 h 2956895"/>
                  <a:gd name="connsiteX42" fmla="*/ 10621108 w 11867103"/>
                  <a:gd name="connsiteY42" fmla="*/ 2835970 h 2956895"/>
                  <a:gd name="connsiteX43" fmla="*/ 10128739 w 11867103"/>
                  <a:gd name="connsiteY43" fmla="*/ 2846018 h 2956895"/>
                  <a:gd name="connsiteX44" fmla="*/ 10048352 w 11867103"/>
                  <a:gd name="connsiteY44" fmla="*/ 2856066 h 2956895"/>
                  <a:gd name="connsiteX45" fmla="*/ 9555982 w 11867103"/>
                  <a:gd name="connsiteY45" fmla="*/ 2846018 h 2956895"/>
                  <a:gd name="connsiteX46" fmla="*/ 9445451 w 11867103"/>
                  <a:gd name="connsiteY46" fmla="*/ 2835970 h 2956895"/>
                  <a:gd name="connsiteX47" fmla="*/ 9415306 w 11867103"/>
                  <a:gd name="connsiteY47" fmla="*/ 2815873 h 2956895"/>
                  <a:gd name="connsiteX48" fmla="*/ 9204290 w 11867103"/>
                  <a:gd name="connsiteY48" fmla="*/ 2795776 h 2956895"/>
                  <a:gd name="connsiteX49" fmla="*/ 9073662 w 11867103"/>
                  <a:gd name="connsiteY49" fmla="*/ 2775679 h 2956895"/>
                  <a:gd name="connsiteX50" fmla="*/ 8812404 w 11867103"/>
                  <a:gd name="connsiteY50" fmla="*/ 2765631 h 2956895"/>
                  <a:gd name="connsiteX51" fmla="*/ 8400422 w 11867103"/>
                  <a:gd name="connsiteY51" fmla="*/ 2755583 h 2956895"/>
                  <a:gd name="connsiteX52" fmla="*/ 8269793 w 11867103"/>
                  <a:gd name="connsiteY52" fmla="*/ 2745534 h 2956895"/>
                  <a:gd name="connsiteX53" fmla="*/ 7797521 w 11867103"/>
                  <a:gd name="connsiteY53" fmla="*/ 2765631 h 2956895"/>
                  <a:gd name="connsiteX54" fmla="*/ 7717134 w 11867103"/>
                  <a:gd name="connsiteY54" fmla="*/ 2775679 h 2956895"/>
                  <a:gd name="connsiteX55" fmla="*/ 7486022 w 11867103"/>
                  <a:gd name="connsiteY55" fmla="*/ 2805825 h 2956895"/>
                  <a:gd name="connsiteX56" fmla="*/ 7395587 w 11867103"/>
                  <a:gd name="connsiteY56" fmla="*/ 2825921 h 2956895"/>
                  <a:gd name="connsiteX57" fmla="*/ 7325248 w 11867103"/>
                  <a:gd name="connsiteY57" fmla="*/ 2835970 h 2956895"/>
                  <a:gd name="connsiteX58" fmla="*/ 6863024 w 11867103"/>
                  <a:gd name="connsiteY58" fmla="*/ 2825921 h 2956895"/>
                  <a:gd name="connsiteX59" fmla="*/ 6722347 w 11867103"/>
                  <a:gd name="connsiteY59" fmla="*/ 2815873 h 2956895"/>
                  <a:gd name="connsiteX60" fmla="*/ 4903596 w 11867103"/>
                  <a:gd name="connsiteY60" fmla="*/ 2866115 h 2956895"/>
                  <a:gd name="connsiteX61" fmla="*/ 4722725 w 11867103"/>
                  <a:gd name="connsiteY61" fmla="*/ 2906308 h 2956895"/>
                  <a:gd name="connsiteX62" fmla="*/ 4300695 w 11867103"/>
                  <a:gd name="connsiteY62" fmla="*/ 2886211 h 2956895"/>
                  <a:gd name="connsiteX63" fmla="*/ 4059534 w 11867103"/>
                  <a:gd name="connsiteY63" fmla="*/ 2846018 h 2956895"/>
                  <a:gd name="connsiteX64" fmla="*/ 3768132 w 11867103"/>
                  <a:gd name="connsiteY64" fmla="*/ 2815873 h 2956895"/>
                  <a:gd name="connsiteX65" fmla="*/ 3627455 w 11867103"/>
                  <a:gd name="connsiteY65" fmla="*/ 2805825 h 2956895"/>
                  <a:gd name="connsiteX66" fmla="*/ 3125037 w 11867103"/>
                  <a:gd name="connsiteY66" fmla="*/ 2815873 h 2956895"/>
                  <a:gd name="connsiteX67" fmla="*/ 3064747 w 11867103"/>
                  <a:gd name="connsiteY67" fmla="*/ 2825921 h 2956895"/>
                  <a:gd name="connsiteX68" fmla="*/ 2009670 w 11867103"/>
                  <a:gd name="connsiteY68" fmla="*/ 2835970 h 2956895"/>
                  <a:gd name="connsiteX69" fmla="*/ 1678075 w 11867103"/>
                  <a:gd name="connsiteY69" fmla="*/ 2926405 h 2956895"/>
                  <a:gd name="connsiteX70" fmla="*/ 1607736 w 11867103"/>
                  <a:gd name="connsiteY70" fmla="*/ 2956550 h 2956895"/>
                  <a:gd name="connsiteX71" fmla="*/ 1135464 w 11867103"/>
                  <a:gd name="connsiteY71" fmla="*/ 2936453 h 2956895"/>
                  <a:gd name="connsiteX72" fmla="*/ 944545 w 11867103"/>
                  <a:gd name="connsiteY72" fmla="*/ 2906308 h 2956895"/>
                  <a:gd name="connsiteX73" fmla="*/ 723481 w 11867103"/>
                  <a:gd name="connsiteY73" fmla="*/ 2866115 h 2956895"/>
                  <a:gd name="connsiteX74" fmla="*/ 643095 w 11867103"/>
                  <a:gd name="connsiteY74" fmla="*/ 2856066 h 2956895"/>
                  <a:gd name="connsiteX75" fmla="*/ 371789 w 11867103"/>
                  <a:gd name="connsiteY75" fmla="*/ 2815873 h 2956895"/>
                  <a:gd name="connsiteX76" fmla="*/ 0 w 11867103"/>
                  <a:gd name="connsiteY76" fmla="*/ 2805825 h 2956895"/>
                  <a:gd name="connsiteX0" fmla="*/ 120580 w 11867103"/>
                  <a:gd name="connsiteY0" fmla="*/ 42528 h 2956895"/>
                  <a:gd name="connsiteX1" fmla="*/ 281354 w 11867103"/>
                  <a:gd name="connsiteY1" fmla="*/ 32479 h 2956895"/>
                  <a:gd name="connsiteX2" fmla="*/ 673240 w 11867103"/>
                  <a:gd name="connsiteY2" fmla="*/ 22431 h 2956895"/>
                  <a:gd name="connsiteX3" fmla="*/ 1356528 w 11867103"/>
                  <a:gd name="connsiteY3" fmla="*/ 72673 h 2956895"/>
                  <a:gd name="connsiteX4" fmla="*/ 1758462 w 11867103"/>
                  <a:gd name="connsiteY4" fmla="*/ 32479 h 2956895"/>
                  <a:gd name="connsiteX5" fmla="*/ 2140299 w 11867103"/>
                  <a:gd name="connsiteY5" fmla="*/ 32479 h 2956895"/>
                  <a:gd name="connsiteX6" fmla="*/ 4652387 w 11867103"/>
                  <a:gd name="connsiteY6" fmla="*/ 52576 h 2956895"/>
                  <a:gd name="connsiteX7" fmla="*/ 4692580 w 11867103"/>
                  <a:gd name="connsiteY7" fmla="*/ 62625 h 2956895"/>
                  <a:gd name="connsiteX8" fmla="*/ 6420897 w 11867103"/>
                  <a:gd name="connsiteY8" fmla="*/ 82721 h 2956895"/>
                  <a:gd name="connsiteX9" fmla="*/ 7204668 w 11867103"/>
                  <a:gd name="connsiteY9" fmla="*/ 2334 h 2956895"/>
                  <a:gd name="connsiteX10" fmla="*/ 7285055 w 11867103"/>
                  <a:gd name="connsiteY10" fmla="*/ 22431 h 2956895"/>
                  <a:gd name="connsiteX11" fmla="*/ 7375490 w 11867103"/>
                  <a:gd name="connsiteY11" fmla="*/ 32479 h 2956895"/>
                  <a:gd name="connsiteX12" fmla="*/ 7928150 w 11867103"/>
                  <a:gd name="connsiteY12" fmla="*/ 52576 h 2956895"/>
                  <a:gd name="connsiteX13" fmla="*/ 8109020 w 11867103"/>
                  <a:gd name="connsiteY13" fmla="*/ 72673 h 2956895"/>
                  <a:gd name="connsiteX14" fmla="*/ 8219552 w 11867103"/>
                  <a:gd name="connsiteY14" fmla="*/ 82721 h 2956895"/>
                  <a:gd name="connsiteX15" fmla="*/ 8299939 w 11867103"/>
                  <a:gd name="connsiteY15" fmla="*/ 92770 h 2956895"/>
                  <a:gd name="connsiteX16" fmla="*/ 8521002 w 11867103"/>
                  <a:gd name="connsiteY16" fmla="*/ 102818 h 2956895"/>
                  <a:gd name="connsiteX17" fmla="*/ 9515789 w 11867103"/>
                  <a:gd name="connsiteY17" fmla="*/ 92770 h 2956895"/>
                  <a:gd name="connsiteX18" fmla="*/ 9606224 w 11867103"/>
                  <a:gd name="connsiteY18" fmla="*/ 82721 h 2956895"/>
                  <a:gd name="connsiteX19" fmla="*/ 9716756 w 11867103"/>
                  <a:gd name="connsiteY19" fmla="*/ 72673 h 2956895"/>
                  <a:gd name="connsiteX20" fmla="*/ 9797143 w 11867103"/>
                  <a:gd name="connsiteY20" fmla="*/ 62625 h 2956895"/>
                  <a:gd name="connsiteX21" fmla="*/ 9947868 w 11867103"/>
                  <a:gd name="connsiteY21" fmla="*/ 52576 h 2956895"/>
                  <a:gd name="connsiteX22" fmla="*/ 10791930 w 11867103"/>
                  <a:gd name="connsiteY22" fmla="*/ 22431 h 2956895"/>
                  <a:gd name="connsiteX23" fmla="*/ 11736475 w 11867103"/>
                  <a:gd name="connsiteY23" fmla="*/ 42528 h 2956895"/>
                  <a:gd name="connsiteX24" fmla="*/ 11766620 w 11867103"/>
                  <a:gd name="connsiteY24" fmla="*/ 72673 h 2956895"/>
                  <a:gd name="connsiteX25" fmla="*/ 11786717 w 11867103"/>
                  <a:gd name="connsiteY25" fmla="*/ 112866 h 2956895"/>
                  <a:gd name="connsiteX26" fmla="*/ 11806813 w 11867103"/>
                  <a:gd name="connsiteY26" fmla="*/ 203301 h 2956895"/>
                  <a:gd name="connsiteX27" fmla="*/ 11816862 w 11867103"/>
                  <a:gd name="connsiteY27" fmla="*/ 243495 h 2956895"/>
                  <a:gd name="connsiteX28" fmla="*/ 11826910 w 11867103"/>
                  <a:gd name="connsiteY28" fmla="*/ 333930 h 2956895"/>
                  <a:gd name="connsiteX29" fmla="*/ 11836958 w 11867103"/>
                  <a:gd name="connsiteY29" fmla="*/ 414317 h 2956895"/>
                  <a:gd name="connsiteX30" fmla="*/ 11826910 w 11867103"/>
                  <a:gd name="connsiteY30" fmla="*/ 725816 h 2956895"/>
                  <a:gd name="connsiteX31" fmla="*/ 11816862 w 11867103"/>
                  <a:gd name="connsiteY31" fmla="*/ 786106 h 2956895"/>
                  <a:gd name="connsiteX32" fmla="*/ 11806813 w 11867103"/>
                  <a:gd name="connsiteY32" fmla="*/ 856444 h 2956895"/>
                  <a:gd name="connsiteX33" fmla="*/ 11816862 w 11867103"/>
                  <a:gd name="connsiteY33" fmla="*/ 2323504 h 2956895"/>
                  <a:gd name="connsiteX34" fmla="*/ 11826910 w 11867103"/>
                  <a:gd name="connsiteY34" fmla="*/ 2393842 h 2956895"/>
                  <a:gd name="connsiteX35" fmla="*/ 11836958 w 11867103"/>
                  <a:gd name="connsiteY35" fmla="*/ 2423987 h 2956895"/>
                  <a:gd name="connsiteX36" fmla="*/ 11857055 w 11867103"/>
                  <a:gd name="connsiteY36" fmla="*/ 2554616 h 2956895"/>
                  <a:gd name="connsiteX37" fmla="*/ 11867103 w 11867103"/>
                  <a:gd name="connsiteY37" fmla="*/ 2594809 h 2956895"/>
                  <a:gd name="connsiteX38" fmla="*/ 11857055 w 11867103"/>
                  <a:gd name="connsiteY38" fmla="*/ 2825921 h 2956895"/>
                  <a:gd name="connsiteX39" fmla="*/ 11836958 w 11867103"/>
                  <a:gd name="connsiteY39" fmla="*/ 2856066 h 2956895"/>
                  <a:gd name="connsiteX40" fmla="*/ 11033090 w 11867103"/>
                  <a:gd name="connsiteY40" fmla="*/ 2846018 h 2956895"/>
                  <a:gd name="connsiteX41" fmla="*/ 10621108 w 11867103"/>
                  <a:gd name="connsiteY41" fmla="*/ 2835970 h 2956895"/>
                  <a:gd name="connsiteX42" fmla="*/ 10128739 w 11867103"/>
                  <a:gd name="connsiteY42" fmla="*/ 2846018 h 2956895"/>
                  <a:gd name="connsiteX43" fmla="*/ 10048352 w 11867103"/>
                  <a:gd name="connsiteY43" fmla="*/ 2856066 h 2956895"/>
                  <a:gd name="connsiteX44" fmla="*/ 9555982 w 11867103"/>
                  <a:gd name="connsiteY44" fmla="*/ 2846018 h 2956895"/>
                  <a:gd name="connsiteX45" fmla="*/ 9445451 w 11867103"/>
                  <a:gd name="connsiteY45" fmla="*/ 2835970 h 2956895"/>
                  <a:gd name="connsiteX46" fmla="*/ 9415306 w 11867103"/>
                  <a:gd name="connsiteY46" fmla="*/ 2815873 h 2956895"/>
                  <a:gd name="connsiteX47" fmla="*/ 9204290 w 11867103"/>
                  <a:gd name="connsiteY47" fmla="*/ 2795776 h 2956895"/>
                  <a:gd name="connsiteX48" fmla="*/ 9073662 w 11867103"/>
                  <a:gd name="connsiteY48" fmla="*/ 2775679 h 2956895"/>
                  <a:gd name="connsiteX49" fmla="*/ 8812404 w 11867103"/>
                  <a:gd name="connsiteY49" fmla="*/ 2765631 h 2956895"/>
                  <a:gd name="connsiteX50" fmla="*/ 8400422 w 11867103"/>
                  <a:gd name="connsiteY50" fmla="*/ 2755583 h 2956895"/>
                  <a:gd name="connsiteX51" fmla="*/ 8269793 w 11867103"/>
                  <a:gd name="connsiteY51" fmla="*/ 2745534 h 2956895"/>
                  <a:gd name="connsiteX52" fmla="*/ 7797521 w 11867103"/>
                  <a:gd name="connsiteY52" fmla="*/ 2765631 h 2956895"/>
                  <a:gd name="connsiteX53" fmla="*/ 7717134 w 11867103"/>
                  <a:gd name="connsiteY53" fmla="*/ 2775679 h 2956895"/>
                  <a:gd name="connsiteX54" fmla="*/ 7486022 w 11867103"/>
                  <a:gd name="connsiteY54" fmla="*/ 2805825 h 2956895"/>
                  <a:gd name="connsiteX55" fmla="*/ 7395587 w 11867103"/>
                  <a:gd name="connsiteY55" fmla="*/ 2825921 h 2956895"/>
                  <a:gd name="connsiteX56" fmla="*/ 7325248 w 11867103"/>
                  <a:gd name="connsiteY56" fmla="*/ 2835970 h 2956895"/>
                  <a:gd name="connsiteX57" fmla="*/ 6863024 w 11867103"/>
                  <a:gd name="connsiteY57" fmla="*/ 2825921 h 2956895"/>
                  <a:gd name="connsiteX58" fmla="*/ 6722347 w 11867103"/>
                  <a:gd name="connsiteY58" fmla="*/ 2815873 h 2956895"/>
                  <a:gd name="connsiteX59" fmla="*/ 4903596 w 11867103"/>
                  <a:gd name="connsiteY59" fmla="*/ 2866115 h 2956895"/>
                  <a:gd name="connsiteX60" fmla="*/ 4722725 w 11867103"/>
                  <a:gd name="connsiteY60" fmla="*/ 2906308 h 2956895"/>
                  <a:gd name="connsiteX61" fmla="*/ 4300695 w 11867103"/>
                  <a:gd name="connsiteY61" fmla="*/ 2886211 h 2956895"/>
                  <a:gd name="connsiteX62" fmla="*/ 4059534 w 11867103"/>
                  <a:gd name="connsiteY62" fmla="*/ 2846018 h 2956895"/>
                  <a:gd name="connsiteX63" fmla="*/ 3768132 w 11867103"/>
                  <a:gd name="connsiteY63" fmla="*/ 2815873 h 2956895"/>
                  <a:gd name="connsiteX64" fmla="*/ 3627455 w 11867103"/>
                  <a:gd name="connsiteY64" fmla="*/ 2805825 h 2956895"/>
                  <a:gd name="connsiteX65" fmla="*/ 3125037 w 11867103"/>
                  <a:gd name="connsiteY65" fmla="*/ 2815873 h 2956895"/>
                  <a:gd name="connsiteX66" fmla="*/ 3064747 w 11867103"/>
                  <a:gd name="connsiteY66" fmla="*/ 2825921 h 2956895"/>
                  <a:gd name="connsiteX67" fmla="*/ 2009670 w 11867103"/>
                  <a:gd name="connsiteY67" fmla="*/ 2835970 h 2956895"/>
                  <a:gd name="connsiteX68" fmla="*/ 1678075 w 11867103"/>
                  <a:gd name="connsiteY68" fmla="*/ 2926405 h 2956895"/>
                  <a:gd name="connsiteX69" fmla="*/ 1607736 w 11867103"/>
                  <a:gd name="connsiteY69" fmla="*/ 2956550 h 2956895"/>
                  <a:gd name="connsiteX70" fmla="*/ 1135464 w 11867103"/>
                  <a:gd name="connsiteY70" fmla="*/ 2936453 h 2956895"/>
                  <a:gd name="connsiteX71" fmla="*/ 944545 w 11867103"/>
                  <a:gd name="connsiteY71" fmla="*/ 2906308 h 2956895"/>
                  <a:gd name="connsiteX72" fmla="*/ 723481 w 11867103"/>
                  <a:gd name="connsiteY72" fmla="*/ 2866115 h 2956895"/>
                  <a:gd name="connsiteX73" fmla="*/ 643095 w 11867103"/>
                  <a:gd name="connsiteY73" fmla="*/ 2856066 h 2956895"/>
                  <a:gd name="connsiteX74" fmla="*/ 371789 w 11867103"/>
                  <a:gd name="connsiteY74" fmla="*/ 2815873 h 2956895"/>
                  <a:gd name="connsiteX75" fmla="*/ 0 w 11867103"/>
                  <a:gd name="connsiteY75" fmla="*/ 2805825 h 2956895"/>
                  <a:gd name="connsiteX0" fmla="*/ 120580 w 11867103"/>
                  <a:gd name="connsiteY0" fmla="*/ 42790 h 2957157"/>
                  <a:gd name="connsiteX1" fmla="*/ 281354 w 11867103"/>
                  <a:gd name="connsiteY1" fmla="*/ 32741 h 2957157"/>
                  <a:gd name="connsiteX2" fmla="*/ 673240 w 11867103"/>
                  <a:gd name="connsiteY2" fmla="*/ 22693 h 2957157"/>
                  <a:gd name="connsiteX3" fmla="*/ 1356528 w 11867103"/>
                  <a:gd name="connsiteY3" fmla="*/ 72935 h 2957157"/>
                  <a:gd name="connsiteX4" fmla="*/ 1758462 w 11867103"/>
                  <a:gd name="connsiteY4" fmla="*/ 32741 h 2957157"/>
                  <a:gd name="connsiteX5" fmla="*/ 2140299 w 11867103"/>
                  <a:gd name="connsiteY5" fmla="*/ 32741 h 2957157"/>
                  <a:gd name="connsiteX6" fmla="*/ 4652387 w 11867103"/>
                  <a:gd name="connsiteY6" fmla="*/ 52838 h 2957157"/>
                  <a:gd name="connsiteX7" fmla="*/ 4692580 w 11867103"/>
                  <a:gd name="connsiteY7" fmla="*/ 62887 h 2957157"/>
                  <a:gd name="connsiteX8" fmla="*/ 6420897 w 11867103"/>
                  <a:gd name="connsiteY8" fmla="*/ 82983 h 2957157"/>
                  <a:gd name="connsiteX9" fmla="*/ 7204668 w 11867103"/>
                  <a:gd name="connsiteY9" fmla="*/ 2596 h 2957157"/>
                  <a:gd name="connsiteX10" fmla="*/ 7285055 w 11867103"/>
                  <a:gd name="connsiteY10" fmla="*/ 22693 h 2957157"/>
                  <a:gd name="connsiteX11" fmla="*/ 7928150 w 11867103"/>
                  <a:gd name="connsiteY11" fmla="*/ 52838 h 2957157"/>
                  <a:gd name="connsiteX12" fmla="*/ 8109020 w 11867103"/>
                  <a:gd name="connsiteY12" fmla="*/ 72935 h 2957157"/>
                  <a:gd name="connsiteX13" fmla="*/ 8219552 w 11867103"/>
                  <a:gd name="connsiteY13" fmla="*/ 82983 h 2957157"/>
                  <a:gd name="connsiteX14" fmla="*/ 8299939 w 11867103"/>
                  <a:gd name="connsiteY14" fmla="*/ 93032 h 2957157"/>
                  <a:gd name="connsiteX15" fmla="*/ 8521002 w 11867103"/>
                  <a:gd name="connsiteY15" fmla="*/ 103080 h 2957157"/>
                  <a:gd name="connsiteX16" fmla="*/ 9515789 w 11867103"/>
                  <a:gd name="connsiteY16" fmla="*/ 93032 h 2957157"/>
                  <a:gd name="connsiteX17" fmla="*/ 9606224 w 11867103"/>
                  <a:gd name="connsiteY17" fmla="*/ 82983 h 2957157"/>
                  <a:gd name="connsiteX18" fmla="*/ 9716756 w 11867103"/>
                  <a:gd name="connsiteY18" fmla="*/ 72935 h 2957157"/>
                  <a:gd name="connsiteX19" fmla="*/ 9797143 w 11867103"/>
                  <a:gd name="connsiteY19" fmla="*/ 62887 h 2957157"/>
                  <a:gd name="connsiteX20" fmla="*/ 9947868 w 11867103"/>
                  <a:gd name="connsiteY20" fmla="*/ 52838 h 2957157"/>
                  <a:gd name="connsiteX21" fmla="*/ 10791930 w 11867103"/>
                  <a:gd name="connsiteY21" fmla="*/ 22693 h 2957157"/>
                  <a:gd name="connsiteX22" fmla="*/ 11736475 w 11867103"/>
                  <a:gd name="connsiteY22" fmla="*/ 42790 h 2957157"/>
                  <a:gd name="connsiteX23" fmla="*/ 11766620 w 11867103"/>
                  <a:gd name="connsiteY23" fmla="*/ 72935 h 2957157"/>
                  <a:gd name="connsiteX24" fmla="*/ 11786717 w 11867103"/>
                  <a:gd name="connsiteY24" fmla="*/ 113128 h 2957157"/>
                  <a:gd name="connsiteX25" fmla="*/ 11806813 w 11867103"/>
                  <a:gd name="connsiteY25" fmla="*/ 203563 h 2957157"/>
                  <a:gd name="connsiteX26" fmla="*/ 11816862 w 11867103"/>
                  <a:gd name="connsiteY26" fmla="*/ 243757 h 2957157"/>
                  <a:gd name="connsiteX27" fmla="*/ 11826910 w 11867103"/>
                  <a:gd name="connsiteY27" fmla="*/ 334192 h 2957157"/>
                  <a:gd name="connsiteX28" fmla="*/ 11836958 w 11867103"/>
                  <a:gd name="connsiteY28" fmla="*/ 414579 h 2957157"/>
                  <a:gd name="connsiteX29" fmla="*/ 11826910 w 11867103"/>
                  <a:gd name="connsiteY29" fmla="*/ 726078 h 2957157"/>
                  <a:gd name="connsiteX30" fmla="*/ 11816862 w 11867103"/>
                  <a:gd name="connsiteY30" fmla="*/ 786368 h 2957157"/>
                  <a:gd name="connsiteX31" fmla="*/ 11806813 w 11867103"/>
                  <a:gd name="connsiteY31" fmla="*/ 856706 h 2957157"/>
                  <a:gd name="connsiteX32" fmla="*/ 11816862 w 11867103"/>
                  <a:gd name="connsiteY32" fmla="*/ 2323766 h 2957157"/>
                  <a:gd name="connsiteX33" fmla="*/ 11826910 w 11867103"/>
                  <a:gd name="connsiteY33" fmla="*/ 2394104 h 2957157"/>
                  <a:gd name="connsiteX34" fmla="*/ 11836958 w 11867103"/>
                  <a:gd name="connsiteY34" fmla="*/ 2424249 h 2957157"/>
                  <a:gd name="connsiteX35" fmla="*/ 11857055 w 11867103"/>
                  <a:gd name="connsiteY35" fmla="*/ 2554878 h 2957157"/>
                  <a:gd name="connsiteX36" fmla="*/ 11867103 w 11867103"/>
                  <a:gd name="connsiteY36" fmla="*/ 2595071 h 2957157"/>
                  <a:gd name="connsiteX37" fmla="*/ 11857055 w 11867103"/>
                  <a:gd name="connsiteY37" fmla="*/ 2826183 h 2957157"/>
                  <a:gd name="connsiteX38" fmla="*/ 11836958 w 11867103"/>
                  <a:gd name="connsiteY38" fmla="*/ 2856328 h 2957157"/>
                  <a:gd name="connsiteX39" fmla="*/ 11033090 w 11867103"/>
                  <a:gd name="connsiteY39" fmla="*/ 2846280 h 2957157"/>
                  <a:gd name="connsiteX40" fmla="*/ 10621108 w 11867103"/>
                  <a:gd name="connsiteY40" fmla="*/ 2836232 h 2957157"/>
                  <a:gd name="connsiteX41" fmla="*/ 10128739 w 11867103"/>
                  <a:gd name="connsiteY41" fmla="*/ 2846280 h 2957157"/>
                  <a:gd name="connsiteX42" fmla="*/ 10048352 w 11867103"/>
                  <a:gd name="connsiteY42" fmla="*/ 2856328 h 2957157"/>
                  <a:gd name="connsiteX43" fmla="*/ 9555982 w 11867103"/>
                  <a:gd name="connsiteY43" fmla="*/ 2846280 h 2957157"/>
                  <a:gd name="connsiteX44" fmla="*/ 9445451 w 11867103"/>
                  <a:gd name="connsiteY44" fmla="*/ 2836232 h 2957157"/>
                  <a:gd name="connsiteX45" fmla="*/ 9415306 w 11867103"/>
                  <a:gd name="connsiteY45" fmla="*/ 2816135 h 2957157"/>
                  <a:gd name="connsiteX46" fmla="*/ 9204290 w 11867103"/>
                  <a:gd name="connsiteY46" fmla="*/ 2796038 h 2957157"/>
                  <a:gd name="connsiteX47" fmla="*/ 9073662 w 11867103"/>
                  <a:gd name="connsiteY47" fmla="*/ 2775941 h 2957157"/>
                  <a:gd name="connsiteX48" fmla="*/ 8812404 w 11867103"/>
                  <a:gd name="connsiteY48" fmla="*/ 2765893 h 2957157"/>
                  <a:gd name="connsiteX49" fmla="*/ 8400422 w 11867103"/>
                  <a:gd name="connsiteY49" fmla="*/ 2755845 h 2957157"/>
                  <a:gd name="connsiteX50" fmla="*/ 8269793 w 11867103"/>
                  <a:gd name="connsiteY50" fmla="*/ 2745796 h 2957157"/>
                  <a:gd name="connsiteX51" fmla="*/ 7797521 w 11867103"/>
                  <a:gd name="connsiteY51" fmla="*/ 2765893 h 2957157"/>
                  <a:gd name="connsiteX52" fmla="*/ 7717134 w 11867103"/>
                  <a:gd name="connsiteY52" fmla="*/ 2775941 h 2957157"/>
                  <a:gd name="connsiteX53" fmla="*/ 7486022 w 11867103"/>
                  <a:gd name="connsiteY53" fmla="*/ 2806087 h 2957157"/>
                  <a:gd name="connsiteX54" fmla="*/ 7395587 w 11867103"/>
                  <a:gd name="connsiteY54" fmla="*/ 2826183 h 2957157"/>
                  <a:gd name="connsiteX55" fmla="*/ 7325248 w 11867103"/>
                  <a:gd name="connsiteY55" fmla="*/ 2836232 h 2957157"/>
                  <a:gd name="connsiteX56" fmla="*/ 6863024 w 11867103"/>
                  <a:gd name="connsiteY56" fmla="*/ 2826183 h 2957157"/>
                  <a:gd name="connsiteX57" fmla="*/ 6722347 w 11867103"/>
                  <a:gd name="connsiteY57" fmla="*/ 2816135 h 2957157"/>
                  <a:gd name="connsiteX58" fmla="*/ 4903596 w 11867103"/>
                  <a:gd name="connsiteY58" fmla="*/ 2866377 h 2957157"/>
                  <a:gd name="connsiteX59" fmla="*/ 4722725 w 11867103"/>
                  <a:gd name="connsiteY59" fmla="*/ 2906570 h 2957157"/>
                  <a:gd name="connsiteX60" fmla="*/ 4300695 w 11867103"/>
                  <a:gd name="connsiteY60" fmla="*/ 2886473 h 2957157"/>
                  <a:gd name="connsiteX61" fmla="*/ 4059534 w 11867103"/>
                  <a:gd name="connsiteY61" fmla="*/ 2846280 h 2957157"/>
                  <a:gd name="connsiteX62" fmla="*/ 3768132 w 11867103"/>
                  <a:gd name="connsiteY62" fmla="*/ 2816135 h 2957157"/>
                  <a:gd name="connsiteX63" fmla="*/ 3627455 w 11867103"/>
                  <a:gd name="connsiteY63" fmla="*/ 2806087 h 2957157"/>
                  <a:gd name="connsiteX64" fmla="*/ 3125037 w 11867103"/>
                  <a:gd name="connsiteY64" fmla="*/ 2816135 h 2957157"/>
                  <a:gd name="connsiteX65" fmla="*/ 3064747 w 11867103"/>
                  <a:gd name="connsiteY65" fmla="*/ 2826183 h 2957157"/>
                  <a:gd name="connsiteX66" fmla="*/ 2009670 w 11867103"/>
                  <a:gd name="connsiteY66" fmla="*/ 2836232 h 2957157"/>
                  <a:gd name="connsiteX67" fmla="*/ 1678075 w 11867103"/>
                  <a:gd name="connsiteY67" fmla="*/ 2926667 h 2957157"/>
                  <a:gd name="connsiteX68" fmla="*/ 1607736 w 11867103"/>
                  <a:gd name="connsiteY68" fmla="*/ 2956812 h 2957157"/>
                  <a:gd name="connsiteX69" fmla="*/ 1135464 w 11867103"/>
                  <a:gd name="connsiteY69" fmla="*/ 2936715 h 2957157"/>
                  <a:gd name="connsiteX70" fmla="*/ 944545 w 11867103"/>
                  <a:gd name="connsiteY70" fmla="*/ 2906570 h 2957157"/>
                  <a:gd name="connsiteX71" fmla="*/ 723481 w 11867103"/>
                  <a:gd name="connsiteY71" fmla="*/ 2866377 h 2957157"/>
                  <a:gd name="connsiteX72" fmla="*/ 643095 w 11867103"/>
                  <a:gd name="connsiteY72" fmla="*/ 2856328 h 2957157"/>
                  <a:gd name="connsiteX73" fmla="*/ 371789 w 11867103"/>
                  <a:gd name="connsiteY73" fmla="*/ 2816135 h 2957157"/>
                  <a:gd name="connsiteX74" fmla="*/ 0 w 11867103"/>
                  <a:gd name="connsiteY74" fmla="*/ 2806087 h 2957157"/>
                  <a:gd name="connsiteX0" fmla="*/ 120580 w 11867103"/>
                  <a:gd name="connsiteY0" fmla="*/ 40596 h 2954963"/>
                  <a:gd name="connsiteX1" fmla="*/ 281354 w 11867103"/>
                  <a:gd name="connsiteY1" fmla="*/ 30547 h 2954963"/>
                  <a:gd name="connsiteX2" fmla="*/ 673240 w 11867103"/>
                  <a:gd name="connsiteY2" fmla="*/ 20499 h 2954963"/>
                  <a:gd name="connsiteX3" fmla="*/ 1356528 w 11867103"/>
                  <a:gd name="connsiteY3" fmla="*/ 70741 h 2954963"/>
                  <a:gd name="connsiteX4" fmla="*/ 1758462 w 11867103"/>
                  <a:gd name="connsiteY4" fmla="*/ 30547 h 2954963"/>
                  <a:gd name="connsiteX5" fmla="*/ 2140299 w 11867103"/>
                  <a:gd name="connsiteY5" fmla="*/ 30547 h 2954963"/>
                  <a:gd name="connsiteX6" fmla="*/ 4652387 w 11867103"/>
                  <a:gd name="connsiteY6" fmla="*/ 50644 h 2954963"/>
                  <a:gd name="connsiteX7" fmla="*/ 4692580 w 11867103"/>
                  <a:gd name="connsiteY7" fmla="*/ 60693 h 2954963"/>
                  <a:gd name="connsiteX8" fmla="*/ 6420897 w 11867103"/>
                  <a:gd name="connsiteY8" fmla="*/ 80789 h 2954963"/>
                  <a:gd name="connsiteX9" fmla="*/ 7204668 w 11867103"/>
                  <a:gd name="connsiteY9" fmla="*/ 402 h 2954963"/>
                  <a:gd name="connsiteX10" fmla="*/ 7928150 w 11867103"/>
                  <a:gd name="connsiteY10" fmla="*/ 50644 h 2954963"/>
                  <a:gd name="connsiteX11" fmla="*/ 8109020 w 11867103"/>
                  <a:gd name="connsiteY11" fmla="*/ 70741 h 2954963"/>
                  <a:gd name="connsiteX12" fmla="*/ 8219552 w 11867103"/>
                  <a:gd name="connsiteY12" fmla="*/ 80789 h 2954963"/>
                  <a:gd name="connsiteX13" fmla="*/ 8299939 w 11867103"/>
                  <a:gd name="connsiteY13" fmla="*/ 90838 h 2954963"/>
                  <a:gd name="connsiteX14" fmla="*/ 8521002 w 11867103"/>
                  <a:gd name="connsiteY14" fmla="*/ 100886 h 2954963"/>
                  <a:gd name="connsiteX15" fmla="*/ 9515789 w 11867103"/>
                  <a:gd name="connsiteY15" fmla="*/ 90838 h 2954963"/>
                  <a:gd name="connsiteX16" fmla="*/ 9606224 w 11867103"/>
                  <a:gd name="connsiteY16" fmla="*/ 80789 h 2954963"/>
                  <a:gd name="connsiteX17" fmla="*/ 9716756 w 11867103"/>
                  <a:gd name="connsiteY17" fmla="*/ 70741 h 2954963"/>
                  <a:gd name="connsiteX18" fmla="*/ 9797143 w 11867103"/>
                  <a:gd name="connsiteY18" fmla="*/ 60693 h 2954963"/>
                  <a:gd name="connsiteX19" fmla="*/ 9947868 w 11867103"/>
                  <a:gd name="connsiteY19" fmla="*/ 50644 h 2954963"/>
                  <a:gd name="connsiteX20" fmla="*/ 10791930 w 11867103"/>
                  <a:gd name="connsiteY20" fmla="*/ 20499 h 2954963"/>
                  <a:gd name="connsiteX21" fmla="*/ 11736475 w 11867103"/>
                  <a:gd name="connsiteY21" fmla="*/ 40596 h 2954963"/>
                  <a:gd name="connsiteX22" fmla="*/ 11766620 w 11867103"/>
                  <a:gd name="connsiteY22" fmla="*/ 70741 h 2954963"/>
                  <a:gd name="connsiteX23" fmla="*/ 11786717 w 11867103"/>
                  <a:gd name="connsiteY23" fmla="*/ 110934 h 2954963"/>
                  <a:gd name="connsiteX24" fmla="*/ 11806813 w 11867103"/>
                  <a:gd name="connsiteY24" fmla="*/ 201369 h 2954963"/>
                  <a:gd name="connsiteX25" fmla="*/ 11816862 w 11867103"/>
                  <a:gd name="connsiteY25" fmla="*/ 241563 h 2954963"/>
                  <a:gd name="connsiteX26" fmla="*/ 11826910 w 11867103"/>
                  <a:gd name="connsiteY26" fmla="*/ 331998 h 2954963"/>
                  <a:gd name="connsiteX27" fmla="*/ 11836958 w 11867103"/>
                  <a:gd name="connsiteY27" fmla="*/ 412385 h 2954963"/>
                  <a:gd name="connsiteX28" fmla="*/ 11826910 w 11867103"/>
                  <a:gd name="connsiteY28" fmla="*/ 723884 h 2954963"/>
                  <a:gd name="connsiteX29" fmla="*/ 11816862 w 11867103"/>
                  <a:gd name="connsiteY29" fmla="*/ 784174 h 2954963"/>
                  <a:gd name="connsiteX30" fmla="*/ 11806813 w 11867103"/>
                  <a:gd name="connsiteY30" fmla="*/ 854512 h 2954963"/>
                  <a:gd name="connsiteX31" fmla="*/ 11816862 w 11867103"/>
                  <a:gd name="connsiteY31" fmla="*/ 2321572 h 2954963"/>
                  <a:gd name="connsiteX32" fmla="*/ 11826910 w 11867103"/>
                  <a:gd name="connsiteY32" fmla="*/ 2391910 h 2954963"/>
                  <a:gd name="connsiteX33" fmla="*/ 11836958 w 11867103"/>
                  <a:gd name="connsiteY33" fmla="*/ 2422055 h 2954963"/>
                  <a:gd name="connsiteX34" fmla="*/ 11857055 w 11867103"/>
                  <a:gd name="connsiteY34" fmla="*/ 2552684 h 2954963"/>
                  <a:gd name="connsiteX35" fmla="*/ 11867103 w 11867103"/>
                  <a:gd name="connsiteY35" fmla="*/ 2592877 h 2954963"/>
                  <a:gd name="connsiteX36" fmla="*/ 11857055 w 11867103"/>
                  <a:gd name="connsiteY36" fmla="*/ 2823989 h 2954963"/>
                  <a:gd name="connsiteX37" fmla="*/ 11836958 w 11867103"/>
                  <a:gd name="connsiteY37" fmla="*/ 2854134 h 2954963"/>
                  <a:gd name="connsiteX38" fmla="*/ 11033090 w 11867103"/>
                  <a:gd name="connsiteY38" fmla="*/ 2844086 h 2954963"/>
                  <a:gd name="connsiteX39" fmla="*/ 10621108 w 11867103"/>
                  <a:gd name="connsiteY39" fmla="*/ 2834038 h 2954963"/>
                  <a:gd name="connsiteX40" fmla="*/ 10128739 w 11867103"/>
                  <a:gd name="connsiteY40" fmla="*/ 2844086 h 2954963"/>
                  <a:gd name="connsiteX41" fmla="*/ 10048352 w 11867103"/>
                  <a:gd name="connsiteY41" fmla="*/ 2854134 h 2954963"/>
                  <a:gd name="connsiteX42" fmla="*/ 9555982 w 11867103"/>
                  <a:gd name="connsiteY42" fmla="*/ 2844086 h 2954963"/>
                  <a:gd name="connsiteX43" fmla="*/ 9445451 w 11867103"/>
                  <a:gd name="connsiteY43" fmla="*/ 2834038 h 2954963"/>
                  <a:gd name="connsiteX44" fmla="*/ 9415306 w 11867103"/>
                  <a:gd name="connsiteY44" fmla="*/ 2813941 h 2954963"/>
                  <a:gd name="connsiteX45" fmla="*/ 9204290 w 11867103"/>
                  <a:gd name="connsiteY45" fmla="*/ 2793844 h 2954963"/>
                  <a:gd name="connsiteX46" fmla="*/ 9073662 w 11867103"/>
                  <a:gd name="connsiteY46" fmla="*/ 2773747 h 2954963"/>
                  <a:gd name="connsiteX47" fmla="*/ 8812404 w 11867103"/>
                  <a:gd name="connsiteY47" fmla="*/ 2763699 h 2954963"/>
                  <a:gd name="connsiteX48" fmla="*/ 8400422 w 11867103"/>
                  <a:gd name="connsiteY48" fmla="*/ 2753651 h 2954963"/>
                  <a:gd name="connsiteX49" fmla="*/ 8269793 w 11867103"/>
                  <a:gd name="connsiteY49" fmla="*/ 2743602 h 2954963"/>
                  <a:gd name="connsiteX50" fmla="*/ 7797521 w 11867103"/>
                  <a:gd name="connsiteY50" fmla="*/ 2763699 h 2954963"/>
                  <a:gd name="connsiteX51" fmla="*/ 7717134 w 11867103"/>
                  <a:gd name="connsiteY51" fmla="*/ 2773747 h 2954963"/>
                  <a:gd name="connsiteX52" fmla="*/ 7486022 w 11867103"/>
                  <a:gd name="connsiteY52" fmla="*/ 2803893 h 2954963"/>
                  <a:gd name="connsiteX53" fmla="*/ 7395587 w 11867103"/>
                  <a:gd name="connsiteY53" fmla="*/ 2823989 h 2954963"/>
                  <a:gd name="connsiteX54" fmla="*/ 7325248 w 11867103"/>
                  <a:gd name="connsiteY54" fmla="*/ 2834038 h 2954963"/>
                  <a:gd name="connsiteX55" fmla="*/ 6863024 w 11867103"/>
                  <a:gd name="connsiteY55" fmla="*/ 2823989 h 2954963"/>
                  <a:gd name="connsiteX56" fmla="*/ 6722347 w 11867103"/>
                  <a:gd name="connsiteY56" fmla="*/ 2813941 h 2954963"/>
                  <a:gd name="connsiteX57" fmla="*/ 4903596 w 11867103"/>
                  <a:gd name="connsiteY57" fmla="*/ 2864183 h 2954963"/>
                  <a:gd name="connsiteX58" fmla="*/ 4722725 w 11867103"/>
                  <a:gd name="connsiteY58" fmla="*/ 2904376 h 2954963"/>
                  <a:gd name="connsiteX59" fmla="*/ 4300695 w 11867103"/>
                  <a:gd name="connsiteY59" fmla="*/ 2884279 h 2954963"/>
                  <a:gd name="connsiteX60" fmla="*/ 4059534 w 11867103"/>
                  <a:gd name="connsiteY60" fmla="*/ 2844086 h 2954963"/>
                  <a:gd name="connsiteX61" fmla="*/ 3768132 w 11867103"/>
                  <a:gd name="connsiteY61" fmla="*/ 2813941 h 2954963"/>
                  <a:gd name="connsiteX62" fmla="*/ 3627455 w 11867103"/>
                  <a:gd name="connsiteY62" fmla="*/ 2803893 h 2954963"/>
                  <a:gd name="connsiteX63" fmla="*/ 3125037 w 11867103"/>
                  <a:gd name="connsiteY63" fmla="*/ 2813941 h 2954963"/>
                  <a:gd name="connsiteX64" fmla="*/ 3064747 w 11867103"/>
                  <a:gd name="connsiteY64" fmla="*/ 2823989 h 2954963"/>
                  <a:gd name="connsiteX65" fmla="*/ 2009670 w 11867103"/>
                  <a:gd name="connsiteY65" fmla="*/ 2834038 h 2954963"/>
                  <a:gd name="connsiteX66" fmla="*/ 1678075 w 11867103"/>
                  <a:gd name="connsiteY66" fmla="*/ 2924473 h 2954963"/>
                  <a:gd name="connsiteX67" fmla="*/ 1607736 w 11867103"/>
                  <a:gd name="connsiteY67" fmla="*/ 2954618 h 2954963"/>
                  <a:gd name="connsiteX68" fmla="*/ 1135464 w 11867103"/>
                  <a:gd name="connsiteY68" fmla="*/ 2934521 h 2954963"/>
                  <a:gd name="connsiteX69" fmla="*/ 944545 w 11867103"/>
                  <a:gd name="connsiteY69" fmla="*/ 2904376 h 2954963"/>
                  <a:gd name="connsiteX70" fmla="*/ 723481 w 11867103"/>
                  <a:gd name="connsiteY70" fmla="*/ 2864183 h 2954963"/>
                  <a:gd name="connsiteX71" fmla="*/ 643095 w 11867103"/>
                  <a:gd name="connsiteY71" fmla="*/ 2854134 h 2954963"/>
                  <a:gd name="connsiteX72" fmla="*/ 371789 w 11867103"/>
                  <a:gd name="connsiteY72" fmla="*/ 2813941 h 2954963"/>
                  <a:gd name="connsiteX73" fmla="*/ 0 w 11867103"/>
                  <a:gd name="connsiteY73" fmla="*/ 2803893 h 2954963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109020 w 11867103"/>
                  <a:gd name="connsiteY11" fmla="*/ 52092 h 2936314"/>
                  <a:gd name="connsiteX12" fmla="*/ 8219552 w 11867103"/>
                  <a:gd name="connsiteY12" fmla="*/ 62140 h 2936314"/>
                  <a:gd name="connsiteX13" fmla="*/ 8299939 w 11867103"/>
                  <a:gd name="connsiteY13" fmla="*/ 72189 h 2936314"/>
                  <a:gd name="connsiteX14" fmla="*/ 8521002 w 11867103"/>
                  <a:gd name="connsiteY14" fmla="*/ 82237 h 2936314"/>
                  <a:gd name="connsiteX15" fmla="*/ 9515789 w 11867103"/>
                  <a:gd name="connsiteY15" fmla="*/ 72189 h 2936314"/>
                  <a:gd name="connsiteX16" fmla="*/ 9606224 w 11867103"/>
                  <a:gd name="connsiteY16" fmla="*/ 62140 h 2936314"/>
                  <a:gd name="connsiteX17" fmla="*/ 9716756 w 11867103"/>
                  <a:gd name="connsiteY17" fmla="*/ 52092 h 2936314"/>
                  <a:gd name="connsiteX18" fmla="*/ 9797143 w 11867103"/>
                  <a:gd name="connsiteY18" fmla="*/ 42044 h 2936314"/>
                  <a:gd name="connsiteX19" fmla="*/ 9947868 w 11867103"/>
                  <a:gd name="connsiteY19" fmla="*/ 31995 h 2936314"/>
                  <a:gd name="connsiteX20" fmla="*/ 10791930 w 11867103"/>
                  <a:gd name="connsiteY20" fmla="*/ 1850 h 2936314"/>
                  <a:gd name="connsiteX21" fmla="*/ 11736475 w 11867103"/>
                  <a:gd name="connsiteY21" fmla="*/ 21947 h 2936314"/>
                  <a:gd name="connsiteX22" fmla="*/ 11766620 w 11867103"/>
                  <a:gd name="connsiteY22" fmla="*/ 52092 h 2936314"/>
                  <a:gd name="connsiteX23" fmla="*/ 11786717 w 11867103"/>
                  <a:gd name="connsiteY23" fmla="*/ 92285 h 2936314"/>
                  <a:gd name="connsiteX24" fmla="*/ 11806813 w 11867103"/>
                  <a:gd name="connsiteY24" fmla="*/ 182720 h 2936314"/>
                  <a:gd name="connsiteX25" fmla="*/ 11816862 w 11867103"/>
                  <a:gd name="connsiteY25" fmla="*/ 222914 h 2936314"/>
                  <a:gd name="connsiteX26" fmla="*/ 11826910 w 11867103"/>
                  <a:gd name="connsiteY26" fmla="*/ 313349 h 2936314"/>
                  <a:gd name="connsiteX27" fmla="*/ 11836958 w 11867103"/>
                  <a:gd name="connsiteY27" fmla="*/ 393736 h 2936314"/>
                  <a:gd name="connsiteX28" fmla="*/ 11826910 w 11867103"/>
                  <a:gd name="connsiteY28" fmla="*/ 705235 h 2936314"/>
                  <a:gd name="connsiteX29" fmla="*/ 11816862 w 11867103"/>
                  <a:gd name="connsiteY29" fmla="*/ 765525 h 2936314"/>
                  <a:gd name="connsiteX30" fmla="*/ 11806813 w 11867103"/>
                  <a:gd name="connsiteY30" fmla="*/ 835863 h 2936314"/>
                  <a:gd name="connsiteX31" fmla="*/ 11816862 w 11867103"/>
                  <a:gd name="connsiteY31" fmla="*/ 2302923 h 2936314"/>
                  <a:gd name="connsiteX32" fmla="*/ 11826910 w 11867103"/>
                  <a:gd name="connsiteY32" fmla="*/ 2373261 h 2936314"/>
                  <a:gd name="connsiteX33" fmla="*/ 11836958 w 11867103"/>
                  <a:gd name="connsiteY33" fmla="*/ 2403406 h 2936314"/>
                  <a:gd name="connsiteX34" fmla="*/ 11857055 w 11867103"/>
                  <a:gd name="connsiteY34" fmla="*/ 2534035 h 2936314"/>
                  <a:gd name="connsiteX35" fmla="*/ 11867103 w 11867103"/>
                  <a:gd name="connsiteY35" fmla="*/ 2574228 h 2936314"/>
                  <a:gd name="connsiteX36" fmla="*/ 11857055 w 11867103"/>
                  <a:gd name="connsiteY36" fmla="*/ 2805340 h 2936314"/>
                  <a:gd name="connsiteX37" fmla="*/ 11836958 w 11867103"/>
                  <a:gd name="connsiteY37" fmla="*/ 2835485 h 2936314"/>
                  <a:gd name="connsiteX38" fmla="*/ 11033090 w 11867103"/>
                  <a:gd name="connsiteY38" fmla="*/ 2825437 h 2936314"/>
                  <a:gd name="connsiteX39" fmla="*/ 10621108 w 11867103"/>
                  <a:gd name="connsiteY39" fmla="*/ 2815389 h 2936314"/>
                  <a:gd name="connsiteX40" fmla="*/ 10128739 w 11867103"/>
                  <a:gd name="connsiteY40" fmla="*/ 2825437 h 2936314"/>
                  <a:gd name="connsiteX41" fmla="*/ 10048352 w 11867103"/>
                  <a:gd name="connsiteY41" fmla="*/ 2835485 h 2936314"/>
                  <a:gd name="connsiteX42" fmla="*/ 9555982 w 11867103"/>
                  <a:gd name="connsiteY42" fmla="*/ 2825437 h 2936314"/>
                  <a:gd name="connsiteX43" fmla="*/ 9445451 w 11867103"/>
                  <a:gd name="connsiteY43" fmla="*/ 2815389 h 2936314"/>
                  <a:gd name="connsiteX44" fmla="*/ 9415306 w 11867103"/>
                  <a:gd name="connsiteY44" fmla="*/ 2795292 h 2936314"/>
                  <a:gd name="connsiteX45" fmla="*/ 9204290 w 11867103"/>
                  <a:gd name="connsiteY45" fmla="*/ 2775195 h 2936314"/>
                  <a:gd name="connsiteX46" fmla="*/ 9073662 w 11867103"/>
                  <a:gd name="connsiteY46" fmla="*/ 2755098 h 2936314"/>
                  <a:gd name="connsiteX47" fmla="*/ 8812404 w 11867103"/>
                  <a:gd name="connsiteY47" fmla="*/ 2745050 h 2936314"/>
                  <a:gd name="connsiteX48" fmla="*/ 8400422 w 11867103"/>
                  <a:gd name="connsiteY48" fmla="*/ 2735002 h 2936314"/>
                  <a:gd name="connsiteX49" fmla="*/ 8269793 w 11867103"/>
                  <a:gd name="connsiteY49" fmla="*/ 2724953 h 2936314"/>
                  <a:gd name="connsiteX50" fmla="*/ 7797521 w 11867103"/>
                  <a:gd name="connsiteY50" fmla="*/ 2745050 h 2936314"/>
                  <a:gd name="connsiteX51" fmla="*/ 7717134 w 11867103"/>
                  <a:gd name="connsiteY51" fmla="*/ 2755098 h 2936314"/>
                  <a:gd name="connsiteX52" fmla="*/ 7486022 w 11867103"/>
                  <a:gd name="connsiteY52" fmla="*/ 2785244 h 2936314"/>
                  <a:gd name="connsiteX53" fmla="*/ 7395587 w 11867103"/>
                  <a:gd name="connsiteY53" fmla="*/ 2805340 h 2936314"/>
                  <a:gd name="connsiteX54" fmla="*/ 7325248 w 11867103"/>
                  <a:gd name="connsiteY54" fmla="*/ 2815389 h 2936314"/>
                  <a:gd name="connsiteX55" fmla="*/ 6863024 w 11867103"/>
                  <a:gd name="connsiteY55" fmla="*/ 2805340 h 2936314"/>
                  <a:gd name="connsiteX56" fmla="*/ 6722347 w 11867103"/>
                  <a:gd name="connsiteY56" fmla="*/ 2795292 h 2936314"/>
                  <a:gd name="connsiteX57" fmla="*/ 4903596 w 11867103"/>
                  <a:gd name="connsiteY57" fmla="*/ 2845534 h 2936314"/>
                  <a:gd name="connsiteX58" fmla="*/ 4722725 w 11867103"/>
                  <a:gd name="connsiteY58" fmla="*/ 2885727 h 2936314"/>
                  <a:gd name="connsiteX59" fmla="*/ 4300695 w 11867103"/>
                  <a:gd name="connsiteY59" fmla="*/ 2865630 h 2936314"/>
                  <a:gd name="connsiteX60" fmla="*/ 4059534 w 11867103"/>
                  <a:gd name="connsiteY60" fmla="*/ 2825437 h 2936314"/>
                  <a:gd name="connsiteX61" fmla="*/ 3768132 w 11867103"/>
                  <a:gd name="connsiteY61" fmla="*/ 2795292 h 2936314"/>
                  <a:gd name="connsiteX62" fmla="*/ 3627455 w 11867103"/>
                  <a:gd name="connsiteY62" fmla="*/ 2785244 h 2936314"/>
                  <a:gd name="connsiteX63" fmla="*/ 3125037 w 11867103"/>
                  <a:gd name="connsiteY63" fmla="*/ 2795292 h 2936314"/>
                  <a:gd name="connsiteX64" fmla="*/ 3064747 w 11867103"/>
                  <a:gd name="connsiteY64" fmla="*/ 2805340 h 2936314"/>
                  <a:gd name="connsiteX65" fmla="*/ 2009670 w 11867103"/>
                  <a:gd name="connsiteY65" fmla="*/ 2815389 h 2936314"/>
                  <a:gd name="connsiteX66" fmla="*/ 1678075 w 11867103"/>
                  <a:gd name="connsiteY66" fmla="*/ 2905824 h 2936314"/>
                  <a:gd name="connsiteX67" fmla="*/ 1607736 w 11867103"/>
                  <a:gd name="connsiteY67" fmla="*/ 2935969 h 2936314"/>
                  <a:gd name="connsiteX68" fmla="*/ 1135464 w 11867103"/>
                  <a:gd name="connsiteY68" fmla="*/ 2915872 h 2936314"/>
                  <a:gd name="connsiteX69" fmla="*/ 944545 w 11867103"/>
                  <a:gd name="connsiteY69" fmla="*/ 2885727 h 2936314"/>
                  <a:gd name="connsiteX70" fmla="*/ 723481 w 11867103"/>
                  <a:gd name="connsiteY70" fmla="*/ 2845534 h 2936314"/>
                  <a:gd name="connsiteX71" fmla="*/ 643095 w 11867103"/>
                  <a:gd name="connsiteY71" fmla="*/ 2835485 h 2936314"/>
                  <a:gd name="connsiteX72" fmla="*/ 371789 w 11867103"/>
                  <a:gd name="connsiteY72" fmla="*/ 2795292 h 2936314"/>
                  <a:gd name="connsiteX73" fmla="*/ 0 w 11867103"/>
                  <a:gd name="connsiteY73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8299939 w 11867103"/>
                  <a:gd name="connsiteY12" fmla="*/ 72189 h 2936314"/>
                  <a:gd name="connsiteX13" fmla="*/ 8521002 w 11867103"/>
                  <a:gd name="connsiteY13" fmla="*/ 82237 h 2936314"/>
                  <a:gd name="connsiteX14" fmla="*/ 9515789 w 11867103"/>
                  <a:gd name="connsiteY14" fmla="*/ 72189 h 2936314"/>
                  <a:gd name="connsiteX15" fmla="*/ 9606224 w 11867103"/>
                  <a:gd name="connsiteY15" fmla="*/ 62140 h 2936314"/>
                  <a:gd name="connsiteX16" fmla="*/ 9716756 w 11867103"/>
                  <a:gd name="connsiteY16" fmla="*/ 52092 h 2936314"/>
                  <a:gd name="connsiteX17" fmla="*/ 9797143 w 11867103"/>
                  <a:gd name="connsiteY17" fmla="*/ 42044 h 2936314"/>
                  <a:gd name="connsiteX18" fmla="*/ 9947868 w 11867103"/>
                  <a:gd name="connsiteY18" fmla="*/ 31995 h 2936314"/>
                  <a:gd name="connsiteX19" fmla="*/ 10791930 w 11867103"/>
                  <a:gd name="connsiteY19" fmla="*/ 1850 h 2936314"/>
                  <a:gd name="connsiteX20" fmla="*/ 11736475 w 11867103"/>
                  <a:gd name="connsiteY20" fmla="*/ 21947 h 2936314"/>
                  <a:gd name="connsiteX21" fmla="*/ 11766620 w 11867103"/>
                  <a:gd name="connsiteY21" fmla="*/ 52092 h 2936314"/>
                  <a:gd name="connsiteX22" fmla="*/ 11786717 w 11867103"/>
                  <a:gd name="connsiteY22" fmla="*/ 92285 h 2936314"/>
                  <a:gd name="connsiteX23" fmla="*/ 11806813 w 11867103"/>
                  <a:gd name="connsiteY23" fmla="*/ 182720 h 2936314"/>
                  <a:gd name="connsiteX24" fmla="*/ 11816862 w 11867103"/>
                  <a:gd name="connsiteY24" fmla="*/ 222914 h 2936314"/>
                  <a:gd name="connsiteX25" fmla="*/ 11826910 w 11867103"/>
                  <a:gd name="connsiteY25" fmla="*/ 313349 h 2936314"/>
                  <a:gd name="connsiteX26" fmla="*/ 11836958 w 11867103"/>
                  <a:gd name="connsiteY26" fmla="*/ 393736 h 2936314"/>
                  <a:gd name="connsiteX27" fmla="*/ 11826910 w 11867103"/>
                  <a:gd name="connsiteY27" fmla="*/ 705235 h 2936314"/>
                  <a:gd name="connsiteX28" fmla="*/ 11816862 w 11867103"/>
                  <a:gd name="connsiteY28" fmla="*/ 765525 h 2936314"/>
                  <a:gd name="connsiteX29" fmla="*/ 11806813 w 11867103"/>
                  <a:gd name="connsiteY29" fmla="*/ 835863 h 2936314"/>
                  <a:gd name="connsiteX30" fmla="*/ 11816862 w 11867103"/>
                  <a:gd name="connsiteY30" fmla="*/ 2302923 h 2936314"/>
                  <a:gd name="connsiteX31" fmla="*/ 11826910 w 11867103"/>
                  <a:gd name="connsiteY31" fmla="*/ 2373261 h 2936314"/>
                  <a:gd name="connsiteX32" fmla="*/ 11836958 w 11867103"/>
                  <a:gd name="connsiteY32" fmla="*/ 2403406 h 2936314"/>
                  <a:gd name="connsiteX33" fmla="*/ 11857055 w 11867103"/>
                  <a:gd name="connsiteY33" fmla="*/ 2534035 h 2936314"/>
                  <a:gd name="connsiteX34" fmla="*/ 11867103 w 11867103"/>
                  <a:gd name="connsiteY34" fmla="*/ 2574228 h 2936314"/>
                  <a:gd name="connsiteX35" fmla="*/ 11857055 w 11867103"/>
                  <a:gd name="connsiteY35" fmla="*/ 2805340 h 2936314"/>
                  <a:gd name="connsiteX36" fmla="*/ 11836958 w 11867103"/>
                  <a:gd name="connsiteY36" fmla="*/ 2835485 h 2936314"/>
                  <a:gd name="connsiteX37" fmla="*/ 11033090 w 11867103"/>
                  <a:gd name="connsiteY37" fmla="*/ 2825437 h 2936314"/>
                  <a:gd name="connsiteX38" fmla="*/ 10621108 w 11867103"/>
                  <a:gd name="connsiteY38" fmla="*/ 2815389 h 2936314"/>
                  <a:gd name="connsiteX39" fmla="*/ 10128739 w 11867103"/>
                  <a:gd name="connsiteY39" fmla="*/ 2825437 h 2936314"/>
                  <a:gd name="connsiteX40" fmla="*/ 10048352 w 11867103"/>
                  <a:gd name="connsiteY40" fmla="*/ 2835485 h 2936314"/>
                  <a:gd name="connsiteX41" fmla="*/ 9555982 w 11867103"/>
                  <a:gd name="connsiteY41" fmla="*/ 2825437 h 2936314"/>
                  <a:gd name="connsiteX42" fmla="*/ 9445451 w 11867103"/>
                  <a:gd name="connsiteY42" fmla="*/ 2815389 h 2936314"/>
                  <a:gd name="connsiteX43" fmla="*/ 9415306 w 11867103"/>
                  <a:gd name="connsiteY43" fmla="*/ 2795292 h 2936314"/>
                  <a:gd name="connsiteX44" fmla="*/ 9204290 w 11867103"/>
                  <a:gd name="connsiteY44" fmla="*/ 2775195 h 2936314"/>
                  <a:gd name="connsiteX45" fmla="*/ 9073662 w 11867103"/>
                  <a:gd name="connsiteY45" fmla="*/ 2755098 h 2936314"/>
                  <a:gd name="connsiteX46" fmla="*/ 8812404 w 11867103"/>
                  <a:gd name="connsiteY46" fmla="*/ 2745050 h 2936314"/>
                  <a:gd name="connsiteX47" fmla="*/ 8400422 w 11867103"/>
                  <a:gd name="connsiteY47" fmla="*/ 2735002 h 2936314"/>
                  <a:gd name="connsiteX48" fmla="*/ 8269793 w 11867103"/>
                  <a:gd name="connsiteY48" fmla="*/ 2724953 h 2936314"/>
                  <a:gd name="connsiteX49" fmla="*/ 7797521 w 11867103"/>
                  <a:gd name="connsiteY49" fmla="*/ 2745050 h 2936314"/>
                  <a:gd name="connsiteX50" fmla="*/ 7717134 w 11867103"/>
                  <a:gd name="connsiteY50" fmla="*/ 2755098 h 2936314"/>
                  <a:gd name="connsiteX51" fmla="*/ 7486022 w 11867103"/>
                  <a:gd name="connsiteY51" fmla="*/ 2785244 h 2936314"/>
                  <a:gd name="connsiteX52" fmla="*/ 7395587 w 11867103"/>
                  <a:gd name="connsiteY52" fmla="*/ 2805340 h 2936314"/>
                  <a:gd name="connsiteX53" fmla="*/ 7325248 w 11867103"/>
                  <a:gd name="connsiteY53" fmla="*/ 2815389 h 2936314"/>
                  <a:gd name="connsiteX54" fmla="*/ 6863024 w 11867103"/>
                  <a:gd name="connsiteY54" fmla="*/ 2805340 h 2936314"/>
                  <a:gd name="connsiteX55" fmla="*/ 6722347 w 11867103"/>
                  <a:gd name="connsiteY55" fmla="*/ 2795292 h 2936314"/>
                  <a:gd name="connsiteX56" fmla="*/ 4903596 w 11867103"/>
                  <a:gd name="connsiteY56" fmla="*/ 2845534 h 2936314"/>
                  <a:gd name="connsiteX57" fmla="*/ 4722725 w 11867103"/>
                  <a:gd name="connsiteY57" fmla="*/ 2885727 h 2936314"/>
                  <a:gd name="connsiteX58" fmla="*/ 4300695 w 11867103"/>
                  <a:gd name="connsiteY58" fmla="*/ 2865630 h 2936314"/>
                  <a:gd name="connsiteX59" fmla="*/ 4059534 w 11867103"/>
                  <a:gd name="connsiteY59" fmla="*/ 2825437 h 2936314"/>
                  <a:gd name="connsiteX60" fmla="*/ 3768132 w 11867103"/>
                  <a:gd name="connsiteY60" fmla="*/ 2795292 h 2936314"/>
                  <a:gd name="connsiteX61" fmla="*/ 3627455 w 11867103"/>
                  <a:gd name="connsiteY61" fmla="*/ 2785244 h 2936314"/>
                  <a:gd name="connsiteX62" fmla="*/ 3125037 w 11867103"/>
                  <a:gd name="connsiteY62" fmla="*/ 2795292 h 2936314"/>
                  <a:gd name="connsiteX63" fmla="*/ 3064747 w 11867103"/>
                  <a:gd name="connsiteY63" fmla="*/ 2805340 h 2936314"/>
                  <a:gd name="connsiteX64" fmla="*/ 2009670 w 11867103"/>
                  <a:gd name="connsiteY64" fmla="*/ 2815389 h 2936314"/>
                  <a:gd name="connsiteX65" fmla="*/ 1678075 w 11867103"/>
                  <a:gd name="connsiteY65" fmla="*/ 2905824 h 2936314"/>
                  <a:gd name="connsiteX66" fmla="*/ 1607736 w 11867103"/>
                  <a:gd name="connsiteY66" fmla="*/ 2935969 h 2936314"/>
                  <a:gd name="connsiteX67" fmla="*/ 1135464 w 11867103"/>
                  <a:gd name="connsiteY67" fmla="*/ 2915872 h 2936314"/>
                  <a:gd name="connsiteX68" fmla="*/ 944545 w 11867103"/>
                  <a:gd name="connsiteY68" fmla="*/ 2885727 h 2936314"/>
                  <a:gd name="connsiteX69" fmla="*/ 723481 w 11867103"/>
                  <a:gd name="connsiteY69" fmla="*/ 2845534 h 2936314"/>
                  <a:gd name="connsiteX70" fmla="*/ 643095 w 11867103"/>
                  <a:gd name="connsiteY70" fmla="*/ 2835485 h 2936314"/>
                  <a:gd name="connsiteX71" fmla="*/ 371789 w 11867103"/>
                  <a:gd name="connsiteY71" fmla="*/ 2795292 h 2936314"/>
                  <a:gd name="connsiteX72" fmla="*/ 0 w 11867103"/>
                  <a:gd name="connsiteY72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8521002 w 11867103"/>
                  <a:gd name="connsiteY12" fmla="*/ 82237 h 2936314"/>
                  <a:gd name="connsiteX13" fmla="*/ 9515789 w 11867103"/>
                  <a:gd name="connsiteY13" fmla="*/ 72189 h 2936314"/>
                  <a:gd name="connsiteX14" fmla="*/ 9606224 w 11867103"/>
                  <a:gd name="connsiteY14" fmla="*/ 62140 h 2936314"/>
                  <a:gd name="connsiteX15" fmla="*/ 9716756 w 11867103"/>
                  <a:gd name="connsiteY15" fmla="*/ 52092 h 2936314"/>
                  <a:gd name="connsiteX16" fmla="*/ 9797143 w 11867103"/>
                  <a:gd name="connsiteY16" fmla="*/ 42044 h 2936314"/>
                  <a:gd name="connsiteX17" fmla="*/ 9947868 w 11867103"/>
                  <a:gd name="connsiteY17" fmla="*/ 31995 h 2936314"/>
                  <a:gd name="connsiteX18" fmla="*/ 10791930 w 11867103"/>
                  <a:gd name="connsiteY18" fmla="*/ 1850 h 2936314"/>
                  <a:gd name="connsiteX19" fmla="*/ 11736475 w 11867103"/>
                  <a:gd name="connsiteY19" fmla="*/ 21947 h 2936314"/>
                  <a:gd name="connsiteX20" fmla="*/ 11766620 w 11867103"/>
                  <a:gd name="connsiteY20" fmla="*/ 52092 h 2936314"/>
                  <a:gd name="connsiteX21" fmla="*/ 11786717 w 11867103"/>
                  <a:gd name="connsiteY21" fmla="*/ 92285 h 2936314"/>
                  <a:gd name="connsiteX22" fmla="*/ 11806813 w 11867103"/>
                  <a:gd name="connsiteY22" fmla="*/ 182720 h 2936314"/>
                  <a:gd name="connsiteX23" fmla="*/ 11816862 w 11867103"/>
                  <a:gd name="connsiteY23" fmla="*/ 222914 h 2936314"/>
                  <a:gd name="connsiteX24" fmla="*/ 11826910 w 11867103"/>
                  <a:gd name="connsiteY24" fmla="*/ 313349 h 2936314"/>
                  <a:gd name="connsiteX25" fmla="*/ 11836958 w 11867103"/>
                  <a:gd name="connsiteY25" fmla="*/ 393736 h 2936314"/>
                  <a:gd name="connsiteX26" fmla="*/ 11826910 w 11867103"/>
                  <a:gd name="connsiteY26" fmla="*/ 705235 h 2936314"/>
                  <a:gd name="connsiteX27" fmla="*/ 11816862 w 11867103"/>
                  <a:gd name="connsiteY27" fmla="*/ 765525 h 2936314"/>
                  <a:gd name="connsiteX28" fmla="*/ 11806813 w 11867103"/>
                  <a:gd name="connsiteY28" fmla="*/ 835863 h 2936314"/>
                  <a:gd name="connsiteX29" fmla="*/ 11816862 w 11867103"/>
                  <a:gd name="connsiteY29" fmla="*/ 2302923 h 2936314"/>
                  <a:gd name="connsiteX30" fmla="*/ 11826910 w 11867103"/>
                  <a:gd name="connsiteY30" fmla="*/ 2373261 h 2936314"/>
                  <a:gd name="connsiteX31" fmla="*/ 11836958 w 11867103"/>
                  <a:gd name="connsiteY31" fmla="*/ 2403406 h 2936314"/>
                  <a:gd name="connsiteX32" fmla="*/ 11857055 w 11867103"/>
                  <a:gd name="connsiteY32" fmla="*/ 2534035 h 2936314"/>
                  <a:gd name="connsiteX33" fmla="*/ 11867103 w 11867103"/>
                  <a:gd name="connsiteY33" fmla="*/ 2574228 h 2936314"/>
                  <a:gd name="connsiteX34" fmla="*/ 11857055 w 11867103"/>
                  <a:gd name="connsiteY34" fmla="*/ 2805340 h 2936314"/>
                  <a:gd name="connsiteX35" fmla="*/ 11836958 w 11867103"/>
                  <a:gd name="connsiteY35" fmla="*/ 2835485 h 2936314"/>
                  <a:gd name="connsiteX36" fmla="*/ 11033090 w 11867103"/>
                  <a:gd name="connsiteY36" fmla="*/ 2825437 h 2936314"/>
                  <a:gd name="connsiteX37" fmla="*/ 10621108 w 11867103"/>
                  <a:gd name="connsiteY37" fmla="*/ 2815389 h 2936314"/>
                  <a:gd name="connsiteX38" fmla="*/ 10128739 w 11867103"/>
                  <a:gd name="connsiteY38" fmla="*/ 2825437 h 2936314"/>
                  <a:gd name="connsiteX39" fmla="*/ 10048352 w 11867103"/>
                  <a:gd name="connsiteY39" fmla="*/ 2835485 h 2936314"/>
                  <a:gd name="connsiteX40" fmla="*/ 9555982 w 11867103"/>
                  <a:gd name="connsiteY40" fmla="*/ 2825437 h 2936314"/>
                  <a:gd name="connsiteX41" fmla="*/ 9445451 w 11867103"/>
                  <a:gd name="connsiteY41" fmla="*/ 2815389 h 2936314"/>
                  <a:gd name="connsiteX42" fmla="*/ 9415306 w 11867103"/>
                  <a:gd name="connsiteY42" fmla="*/ 2795292 h 2936314"/>
                  <a:gd name="connsiteX43" fmla="*/ 9204290 w 11867103"/>
                  <a:gd name="connsiteY43" fmla="*/ 2775195 h 2936314"/>
                  <a:gd name="connsiteX44" fmla="*/ 9073662 w 11867103"/>
                  <a:gd name="connsiteY44" fmla="*/ 2755098 h 2936314"/>
                  <a:gd name="connsiteX45" fmla="*/ 8812404 w 11867103"/>
                  <a:gd name="connsiteY45" fmla="*/ 2745050 h 2936314"/>
                  <a:gd name="connsiteX46" fmla="*/ 8400422 w 11867103"/>
                  <a:gd name="connsiteY46" fmla="*/ 2735002 h 2936314"/>
                  <a:gd name="connsiteX47" fmla="*/ 8269793 w 11867103"/>
                  <a:gd name="connsiteY47" fmla="*/ 2724953 h 2936314"/>
                  <a:gd name="connsiteX48" fmla="*/ 7797521 w 11867103"/>
                  <a:gd name="connsiteY48" fmla="*/ 2745050 h 2936314"/>
                  <a:gd name="connsiteX49" fmla="*/ 7717134 w 11867103"/>
                  <a:gd name="connsiteY49" fmla="*/ 2755098 h 2936314"/>
                  <a:gd name="connsiteX50" fmla="*/ 7486022 w 11867103"/>
                  <a:gd name="connsiteY50" fmla="*/ 2785244 h 2936314"/>
                  <a:gd name="connsiteX51" fmla="*/ 7395587 w 11867103"/>
                  <a:gd name="connsiteY51" fmla="*/ 2805340 h 2936314"/>
                  <a:gd name="connsiteX52" fmla="*/ 7325248 w 11867103"/>
                  <a:gd name="connsiteY52" fmla="*/ 2815389 h 2936314"/>
                  <a:gd name="connsiteX53" fmla="*/ 6863024 w 11867103"/>
                  <a:gd name="connsiteY53" fmla="*/ 2805340 h 2936314"/>
                  <a:gd name="connsiteX54" fmla="*/ 6722347 w 11867103"/>
                  <a:gd name="connsiteY54" fmla="*/ 2795292 h 2936314"/>
                  <a:gd name="connsiteX55" fmla="*/ 4903596 w 11867103"/>
                  <a:gd name="connsiteY55" fmla="*/ 2845534 h 2936314"/>
                  <a:gd name="connsiteX56" fmla="*/ 4722725 w 11867103"/>
                  <a:gd name="connsiteY56" fmla="*/ 2885727 h 2936314"/>
                  <a:gd name="connsiteX57" fmla="*/ 4300695 w 11867103"/>
                  <a:gd name="connsiteY57" fmla="*/ 2865630 h 2936314"/>
                  <a:gd name="connsiteX58" fmla="*/ 4059534 w 11867103"/>
                  <a:gd name="connsiteY58" fmla="*/ 2825437 h 2936314"/>
                  <a:gd name="connsiteX59" fmla="*/ 3768132 w 11867103"/>
                  <a:gd name="connsiteY59" fmla="*/ 2795292 h 2936314"/>
                  <a:gd name="connsiteX60" fmla="*/ 3627455 w 11867103"/>
                  <a:gd name="connsiteY60" fmla="*/ 2785244 h 2936314"/>
                  <a:gd name="connsiteX61" fmla="*/ 3125037 w 11867103"/>
                  <a:gd name="connsiteY61" fmla="*/ 2795292 h 2936314"/>
                  <a:gd name="connsiteX62" fmla="*/ 3064747 w 11867103"/>
                  <a:gd name="connsiteY62" fmla="*/ 2805340 h 2936314"/>
                  <a:gd name="connsiteX63" fmla="*/ 2009670 w 11867103"/>
                  <a:gd name="connsiteY63" fmla="*/ 2815389 h 2936314"/>
                  <a:gd name="connsiteX64" fmla="*/ 1678075 w 11867103"/>
                  <a:gd name="connsiteY64" fmla="*/ 2905824 h 2936314"/>
                  <a:gd name="connsiteX65" fmla="*/ 1607736 w 11867103"/>
                  <a:gd name="connsiteY65" fmla="*/ 2935969 h 2936314"/>
                  <a:gd name="connsiteX66" fmla="*/ 1135464 w 11867103"/>
                  <a:gd name="connsiteY66" fmla="*/ 2915872 h 2936314"/>
                  <a:gd name="connsiteX67" fmla="*/ 944545 w 11867103"/>
                  <a:gd name="connsiteY67" fmla="*/ 2885727 h 2936314"/>
                  <a:gd name="connsiteX68" fmla="*/ 723481 w 11867103"/>
                  <a:gd name="connsiteY68" fmla="*/ 2845534 h 2936314"/>
                  <a:gd name="connsiteX69" fmla="*/ 643095 w 11867103"/>
                  <a:gd name="connsiteY69" fmla="*/ 2835485 h 2936314"/>
                  <a:gd name="connsiteX70" fmla="*/ 371789 w 11867103"/>
                  <a:gd name="connsiteY70" fmla="*/ 2795292 h 2936314"/>
                  <a:gd name="connsiteX71" fmla="*/ 0 w 11867103"/>
                  <a:gd name="connsiteY71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515789 w 11867103"/>
                  <a:gd name="connsiteY12" fmla="*/ 72189 h 2936314"/>
                  <a:gd name="connsiteX13" fmla="*/ 9606224 w 11867103"/>
                  <a:gd name="connsiteY13" fmla="*/ 62140 h 2936314"/>
                  <a:gd name="connsiteX14" fmla="*/ 9716756 w 11867103"/>
                  <a:gd name="connsiteY14" fmla="*/ 52092 h 2936314"/>
                  <a:gd name="connsiteX15" fmla="*/ 9797143 w 11867103"/>
                  <a:gd name="connsiteY15" fmla="*/ 42044 h 2936314"/>
                  <a:gd name="connsiteX16" fmla="*/ 9947868 w 11867103"/>
                  <a:gd name="connsiteY16" fmla="*/ 31995 h 2936314"/>
                  <a:gd name="connsiteX17" fmla="*/ 10791930 w 11867103"/>
                  <a:gd name="connsiteY17" fmla="*/ 1850 h 2936314"/>
                  <a:gd name="connsiteX18" fmla="*/ 11736475 w 11867103"/>
                  <a:gd name="connsiteY18" fmla="*/ 21947 h 2936314"/>
                  <a:gd name="connsiteX19" fmla="*/ 11766620 w 11867103"/>
                  <a:gd name="connsiteY19" fmla="*/ 52092 h 2936314"/>
                  <a:gd name="connsiteX20" fmla="*/ 11786717 w 11867103"/>
                  <a:gd name="connsiteY20" fmla="*/ 92285 h 2936314"/>
                  <a:gd name="connsiteX21" fmla="*/ 11806813 w 11867103"/>
                  <a:gd name="connsiteY21" fmla="*/ 182720 h 2936314"/>
                  <a:gd name="connsiteX22" fmla="*/ 11816862 w 11867103"/>
                  <a:gd name="connsiteY22" fmla="*/ 222914 h 2936314"/>
                  <a:gd name="connsiteX23" fmla="*/ 11826910 w 11867103"/>
                  <a:gd name="connsiteY23" fmla="*/ 313349 h 2936314"/>
                  <a:gd name="connsiteX24" fmla="*/ 11836958 w 11867103"/>
                  <a:gd name="connsiteY24" fmla="*/ 393736 h 2936314"/>
                  <a:gd name="connsiteX25" fmla="*/ 11826910 w 11867103"/>
                  <a:gd name="connsiteY25" fmla="*/ 705235 h 2936314"/>
                  <a:gd name="connsiteX26" fmla="*/ 11816862 w 11867103"/>
                  <a:gd name="connsiteY26" fmla="*/ 765525 h 2936314"/>
                  <a:gd name="connsiteX27" fmla="*/ 11806813 w 11867103"/>
                  <a:gd name="connsiteY27" fmla="*/ 835863 h 2936314"/>
                  <a:gd name="connsiteX28" fmla="*/ 11816862 w 11867103"/>
                  <a:gd name="connsiteY28" fmla="*/ 2302923 h 2936314"/>
                  <a:gd name="connsiteX29" fmla="*/ 11826910 w 11867103"/>
                  <a:gd name="connsiteY29" fmla="*/ 2373261 h 2936314"/>
                  <a:gd name="connsiteX30" fmla="*/ 11836958 w 11867103"/>
                  <a:gd name="connsiteY30" fmla="*/ 2403406 h 2936314"/>
                  <a:gd name="connsiteX31" fmla="*/ 11857055 w 11867103"/>
                  <a:gd name="connsiteY31" fmla="*/ 2534035 h 2936314"/>
                  <a:gd name="connsiteX32" fmla="*/ 11867103 w 11867103"/>
                  <a:gd name="connsiteY32" fmla="*/ 2574228 h 2936314"/>
                  <a:gd name="connsiteX33" fmla="*/ 11857055 w 11867103"/>
                  <a:gd name="connsiteY33" fmla="*/ 2805340 h 2936314"/>
                  <a:gd name="connsiteX34" fmla="*/ 11836958 w 11867103"/>
                  <a:gd name="connsiteY34" fmla="*/ 2835485 h 2936314"/>
                  <a:gd name="connsiteX35" fmla="*/ 11033090 w 11867103"/>
                  <a:gd name="connsiteY35" fmla="*/ 2825437 h 2936314"/>
                  <a:gd name="connsiteX36" fmla="*/ 10621108 w 11867103"/>
                  <a:gd name="connsiteY36" fmla="*/ 2815389 h 2936314"/>
                  <a:gd name="connsiteX37" fmla="*/ 10128739 w 11867103"/>
                  <a:gd name="connsiteY37" fmla="*/ 2825437 h 2936314"/>
                  <a:gd name="connsiteX38" fmla="*/ 10048352 w 11867103"/>
                  <a:gd name="connsiteY38" fmla="*/ 2835485 h 2936314"/>
                  <a:gd name="connsiteX39" fmla="*/ 9555982 w 11867103"/>
                  <a:gd name="connsiteY39" fmla="*/ 2825437 h 2936314"/>
                  <a:gd name="connsiteX40" fmla="*/ 9445451 w 11867103"/>
                  <a:gd name="connsiteY40" fmla="*/ 2815389 h 2936314"/>
                  <a:gd name="connsiteX41" fmla="*/ 9415306 w 11867103"/>
                  <a:gd name="connsiteY41" fmla="*/ 2795292 h 2936314"/>
                  <a:gd name="connsiteX42" fmla="*/ 9204290 w 11867103"/>
                  <a:gd name="connsiteY42" fmla="*/ 2775195 h 2936314"/>
                  <a:gd name="connsiteX43" fmla="*/ 9073662 w 11867103"/>
                  <a:gd name="connsiteY43" fmla="*/ 2755098 h 2936314"/>
                  <a:gd name="connsiteX44" fmla="*/ 8812404 w 11867103"/>
                  <a:gd name="connsiteY44" fmla="*/ 2745050 h 2936314"/>
                  <a:gd name="connsiteX45" fmla="*/ 8400422 w 11867103"/>
                  <a:gd name="connsiteY45" fmla="*/ 2735002 h 2936314"/>
                  <a:gd name="connsiteX46" fmla="*/ 8269793 w 11867103"/>
                  <a:gd name="connsiteY46" fmla="*/ 2724953 h 2936314"/>
                  <a:gd name="connsiteX47" fmla="*/ 7797521 w 11867103"/>
                  <a:gd name="connsiteY47" fmla="*/ 2745050 h 2936314"/>
                  <a:gd name="connsiteX48" fmla="*/ 7717134 w 11867103"/>
                  <a:gd name="connsiteY48" fmla="*/ 2755098 h 2936314"/>
                  <a:gd name="connsiteX49" fmla="*/ 7486022 w 11867103"/>
                  <a:gd name="connsiteY49" fmla="*/ 2785244 h 2936314"/>
                  <a:gd name="connsiteX50" fmla="*/ 7395587 w 11867103"/>
                  <a:gd name="connsiteY50" fmla="*/ 2805340 h 2936314"/>
                  <a:gd name="connsiteX51" fmla="*/ 7325248 w 11867103"/>
                  <a:gd name="connsiteY51" fmla="*/ 2815389 h 2936314"/>
                  <a:gd name="connsiteX52" fmla="*/ 6863024 w 11867103"/>
                  <a:gd name="connsiteY52" fmla="*/ 2805340 h 2936314"/>
                  <a:gd name="connsiteX53" fmla="*/ 6722347 w 11867103"/>
                  <a:gd name="connsiteY53" fmla="*/ 2795292 h 2936314"/>
                  <a:gd name="connsiteX54" fmla="*/ 4903596 w 11867103"/>
                  <a:gd name="connsiteY54" fmla="*/ 2845534 h 2936314"/>
                  <a:gd name="connsiteX55" fmla="*/ 4722725 w 11867103"/>
                  <a:gd name="connsiteY55" fmla="*/ 2885727 h 2936314"/>
                  <a:gd name="connsiteX56" fmla="*/ 4300695 w 11867103"/>
                  <a:gd name="connsiteY56" fmla="*/ 2865630 h 2936314"/>
                  <a:gd name="connsiteX57" fmla="*/ 4059534 w 11867103"/>
                  <a:gd name="connsiteY57" fmla="*/ 2825437 h 2936314"/>
                  <a:gd name="connsiteX58" fmla="*/ 3768132 w 11867103"/>
                  <a:gd name="connsiteY58" fmla="*/ 2795292 h 2936314"/>
                  <a:gd name="connsiteX59" fmla="*/ 3627455 w 11867103"/>
                  <a:gd name="connsiteY59" fmla="*/ 2785244 h 2936314"/>
                  <a:gd name="connsiteX60" fmla="*/ 3125037 w 11867103"/>
                  <a:gd name="connsiteY60" fmla="*/ 2795292 h 2936314"/>
                  <a:gd name="connsiteX61" fmla="*/ 3064747 w 11867103"/>
                  <a:gd name="connsiteY61" fmla="*/ 2805340 h 2936314"/>
                  <a:gd name="connsiteX62" fmla="*/ 2009670 w 11867103"/>
                  <a:gd name="connsiteY62" fmla="*/ 2815389 h 2936314"/>
                  <a:gd name="connsiteX63" fmla="*/ 1678075 w 11867103"/>
                  <a:gd name="connsiteY63" fmla="*/ 2905824 h 2936314"/>
                  <a:gd name="connsiteX64" fmla="*/ 1607736 w 11867103"/>
                  <a:gd name="connsiteY64" fmla="*/ 2935969 h 2936314"/>
                  <a:gd name="connsiteX65" fmla="*/ 1135464 w 11867103"/>
                  <a:gd name="connsiteY65" fmla="*/ 2915872 h 2936314"/>
                  <a:gd name="connsiteX66" fmla="*/ 944545 w 11867103"/>
                  <a:gd name="connsiteY66" fmla="*/ 2885727 h 2936314"/>
                  <a:gd name="connsiteX67" fmla="*/ 723481 w 11867103"/>
                  <a:gd name="connsiteY67" fmla="*/ 2845534 h 2936314"/>
                  <a:gd name="connsiteX68" fmla="*/ 643095 w 11867103"/>
                  <a:gd name="connsiteY68" fmla="*/ 2835485 h 2936314"/>
                  <a:gd name="connsiteX69" fmla="*/ 371789 w 11867103"/>
                  <a:gd name="connsiteY69" fmla="*/ 2795292 h 2936314"/>
                  <a:gd name="connsiteX70" fmla="*/ 0 w 11867103"/>
                  <a:gd name="connsiteY70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716756 w 11867103"/>
                  <a:gd name="connsiteY13" fmla="*/ 52092 h 2936314"/>
                  <a:gd name="connsiteX14" fmla="*/ 9797143 w 11867103"/>
                  <a:gd name="connsiteY14" fmla="*/ 42044 h 2936314"/>
                  <a:gd name="connsiteX15" fmla="*/ 9947868 w 11867103"/>
                  <a:gd name="connsiteY15" fmla="*/ 31995 h 2936314"/>
                  <a:gd name="connsiteX16" fmla="*/ 10791930 w 11867103"/>
                  <a:gd name="connsiteY16" fmla="*/ 1850 h 2936314"/>
                  <a:gd name="connsiteX17" fmla="*/ 11736475 w 11867103"/>
                  <a:gd name="connsiteY17" fmla="*/ 21947 h 2936314"/>
                  <a:gd name="connsiteX18" fmla="*/ 11766620 w 11867103"/>
                  <a:gd name="connsiteY18" fmla="*/ 52092 h 2936314"/>
                  <a:gd name="connsiteX19" fmla="*/ 11786717 w 11867103"/>
                  <a:gd name="connsiteY19" fmla="*/ 92285 h 2936314"/>
                  <a:gd name="connsiteX20" fmla="*/ 11806813 w 11867103"/>
                  <a:gd name="connsiteY20" fmla="*/ 182720 h 2936314"/>
                  <a:gd name="connsiteX21" fmla="*/ 11816862 w 11867103"/>
                  <a:gd name="connsiteY21" fmla="*/ 222914 h 2936314"/>
                  <a:gd name="connsiteX22" fmla="*/ 11826910 w 11867103"/>
                  <a:gd name="connsiteY22" fmla="*/ 313349 h 2936314"/>
                  <a:gd name="connsiteX23" fmla="*/ 11836958 w 11867103"/>
                  <a:gd name="connsiteY23" fmla="*/ 393736 h 2936314"/>
                  <a:gd name="connsiteX24" fmla="*/ 11826910 w 11867103"/>
                  <a:gd name="connsiteY24" fmla="*/ 705235 h 2936314"/>
                  <a:gd name="connsiteX25" fmla="*/ 11816862 w 11867103"/>
                  <a:gd name="connsiteY25" fmla="*/ 765525 h 2936314"/>
                  <a:gd name="connsiteX26" fmla="*/ 11806813 w 11867103"/>
                  <a:gd name="connsiteY26" fmla="*/ 835863 h 2936314"/>
                  <a:gd name="connsiteX27" fmla="*/ 11816862 w 11867103"/>
                  <a:gd name="connsiteY27" fmla="*/ 2302923 h 2936314"/>
                  <a:gd name="connsiteX28" fmla="*/ 11826910 w 11867103"/>
                  <a:gd name="connsiteY28" fmla="*/ 2373261 h 2936314"/>
                  <a:gd name="connsiteX29" fmla="*/ 11836958 w 11867103"/>
                  <a:gd name="connsiteY29" fmla="*/ 2403406 h 2936314"/>
                  <a:gd name="connsiteX30" fmla="*/ 11857055 w 11867103"/>
                  <a:gd name="connsiteY30" fmla="*/ 2534035 h 2936314"/>
                  <a:gd name="connsiteX31" fmla="*/ 11867103 w 11867103"/>
                  <a:gd name="connsiteY31" fmla="*/ 2574228 h 2936314"/>
                  <a:gd name="connsiteX32" fmla="*/ 11857055 w 11867103"/>
                  <a:gd name="connsiteY32" fmla="*/ 2805340 h 2936314"/>
                  <a:gd name="connsiteX33" fmla="*/ 11836958 w 11867103"/>
                  <a:gd name="connsiteY33" fmla="*/ 2835485 h 2936314"/>
                  <a:gd name="connsiteX34" fmla="*/ 11033090 w 11867103"/>
                  <a:gd name="connsiteY34" fmla="*/ 2825437 h 2936314"/>
                  <a:gd name="connsiteX35" fmla="*/ 10621108 w 11867103"/>
                  <a:gd name="connsiteY35" fmla="*/ 2815389 h 2936314"/>
                  <a:gd name="connsiteX36" fmla="*/ 10128739 w 11867103"/>
                  <a:gd name="connsiteY36" fmla="*/ 2825437 h 2936314"/>
                  <a:gd name="connsiteX37" fmla="*/ 10048352 w 11867103"/>
                  <a:gd name="connsiteY37" fmla="*/ 2835485 h 2936314"/>
                  <a:gd name="connsiteX38" fmla="*/ 9555982 w 11867103"/>
                  <a:gd name="connsiteY38" fmla="*/ 2825437 h 2936314"/>
                  <a:gd name="connsiteX39" fmla="*/ 9445451 w 11867103"/>
                  <a:gd name="connsiteY39" fmla="*/ 2815389 h 2936314"/>
                  <a:gd name="connsiteX40" fmla="*/ 9415306 w 11867103"/>
                  <a:gd name="connsiteY40" fmla="*/ 2795292 h 2936314"/>
                  <a:gd name="connsiteX41" fmla="*/ 9204290 w 11867103"/>
                  <a:gd name="connsiteY41" fmla="*/ 2775195 h 2936314"/>
                  <a:gd name="connsiteX42" fmla="*/ 9073662 w 11867103"/>
                  <a:gd name="connsiteY42" fmla="*/ 2755098 h 2936314"/>
                  <a:gd name="connsiteX43" fmla="*/ 8812404 w 11867103"/>
                  <a:gd name="connsiteY43" fmla="*/ 2745050 h 2936314"/>
                  <a:gd name="connsiteX44" fmla="*/ 8400422 w 11867103"/>
                  <a:gd name="connsiteY44" fmla="*/ 2735002 h 2936314"/>
                  <a:gd name="connsiteX45" fmla="*/ 8269793 w 11867103"/>
                  <a:gd name="connsiteY45" fmla="*/ 2724953 h 2936314"/>
                  <a:gd name="connsiteX46" fmla="*/ 7797521 w 11867103"/>
                  <a:gd name="connsiteY46" fmla="*/ 2745050 h 2936314"/>
                  <a:gd name="connsiteX47" fmla="*/ 7717134 w 11867103"/>
                  <a:gd name="connsiteY47" fmla="*/ 2755098 h 2936314"/>
                  <a:gd name="connsiteX48" fmla="*/ 7486022 w 11867103"/>
                  <a:gd name="connsiteY48" fmla="*/ 2785244 h 2936314"/>
                  <a:gd name="connsiteX49" fmla="*/ 7395587 w 11867103"/>
                  <a:gd name="connsiteY49" fmla="*/ 2805340 h 2936314"/>
                  <a:gd name="connsiteX50" fmla="*/ 7325248 w 11867103"/>
                  <a:gd name="connsiteY50" fmla="*/ 2815389 h 2936314"/>
                  <a:gd name="connsiteX51" fmla="*/ 6863024 w 11867103"/>
                  <a:gd name="connsiteY51" fmla="*/ 2805340 h 2936314"/>
                  <a:gd name="connsiteX52" fmla="*/ 6722347 w 11867103"/>
                  <a:gd name="connsiteY52" fmla="*/ 2795292 h 2936314"/>
                  <a:gd name="connsiteX53" fmla="*/ 4903596 w 11867103"/>
                  <a:gd name="connsiteY53" fmla="*/ 2845534 h 2936314"/>
                  <a:gd name="connsiteX54" fmla="*/ 4722725 w 11867103"/>
                  <a:gd name="connsiteY54" fmla="*/ 2885727 h 2936314"/>
                  <a:gd name="connsiteX55" fmla="*/ 4300695 w 11867103"/>
                  <a:gd name="connsiteY55" fmla="*/ 2865630 h 2936314"/>
                  <a:gd name="connsiteX56" fmla="*/ 4059534 w 11867103"/>
                  <a:gd name="connsiteY56" fmla="*/ 2825437 h 2936314"/>
                  <a:gd name="connsiteX57" fmla="*/ 3768132 w 11867103"/>
                  <a:gd name="connsiteY57" fmla="*/ 2795292 h 2936314"/>
                  <a:gd name="connsiteX58" fmla="*/ 3627455 w 11867103"/>
                  <a:gd name="connsiteY58" fmla="*/ 2785244 h 2936314"/>
                  <a:gd name="connsiteX59" fmla="*/ 3125037 w 11867103"/>
                  <a:gd name="connsiteY59" fmla="*/ 2795292 h 2936314"/>
                  <a:gd name="connsiteX60" fmla="*/ 3064747 w 11867103"/>
                  <a:gd name="connsiteY60" fmla="*/ 2805340 h 2936314"/>
                  <a:gd name="connsiteX61" fmla="*/ 2009670 w 11867103"/>
                  <a:gd name="connsiteY61" fmla="*/ 2815389 h 2936314"/>
                  <a:gd name="connsiteX62" fmla="*/ 1678075 w 11867103"/>
                  <a:gd name="connsiteY62" fmla="*/ 2905824 h 2936314"/>
                  <a:gd name="connsiteX63" fmla="*/ 1607736 w 11867103"/>
                  <a:gd name="connsiteY63" fmla="*/ 2935969 h 2936314"/>
                  <a:gd name="connsiteX64" fmla="*/ 1135464 w 11867103"/>
                  <a:gd name="connsiteY64" fmla="*/ 2915872 h 2936314"/>
                  <a:gd name="connsiteX65" fmla="*/ 944545 w 11867103"/>
                  <a:gd name="connsiteY65" fmla="*/ 2885727 h 2936314"/>
                  <a:gd name="connsiteX66" fmla="*/ 723481 w 11867103"/>
                  <a:gd name="connsiteY66" fmla="*/ 2845534 h 2936314"/>
                  <a:gd name="connsiteX67" fmla="*/ 643095 w 11867103"/>
                  <a:gd name="connsiteY67" fmla="*/ 2835485 h 2936314"/>
                  <a:gd name="connsiteX68" fmla="*/ 371789 w 11867103"/>
                  <a:gd name="connsiteY68" fmla="*/ 2795292 h 2936314"/>
                  <a:gd name="connsiteX69" fmla="*/ 0 w 11867103"/>
                  <a:gd name="connsiteY69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797143 w 11867103"/>
                  <a:gd name="connsiteY13" fmla="*/ 42044 h 2936314"/>
                  <a:gd name="connsiteX14" fmla="*/ 9947868 w 11867103"/>
                  <a:gd name="connsiteY14" fmla="*/ 31995 h 2936314"/>
                  <a:gd name="connsiteX15" fmla="*/ 10791930 w 11867103"/>
                  <a:gd name="connsiteY15" fmla="*/ 1850 h 2936314"/>
                  <a:gd name="connsiteX16" fmla="*/ 11736475 w 11867103"/>
                  <a:gd name="connsiteY16" fmla="*/ 21947 h 2936314"/>
                  <a:gd name="connsiteX17" fmla="*/ 11766620 w 11867103"/>
                  <a:gd name="connsiteY17" fmla="*/ 52092 h 2936314"/>
                  <a:gd name="connsiteX18" fmla="*/ 11786717 w 11867103"/>
                  <a:gd name="connsiteY18" fmla="*/ 92285 h 2936314"/>
                  <a:gd name="connsiteX19" fmla="*/ 11806813 w 11867103"/>
                  <a:gd name="connsiteY19" fmla="*/ 182720 h 2936314"/>
                  <a:gd name="connsiteX20" fmla="*/ 11816862 w 11867103"/>
                  <a:gd name="connsiteY20" fmla="*/ 222914 h 2936314"/>
                  <a:gd name="connsiteX21" fmla="*/ 11826910 w 11867103"/>
                  <a:gd name="connsiteY21" fmla="*/ 313349 h 2936314"/>
                  <a:gd name="connsiteX22" fmla="*/ 11836958 w 11867103"/>
                  <a:gd name="connsiteY22" fmla="*/ 393736 h 2936314"/>
                  <a:gd name="connsiteX23" fmla="*/ 11826910 w 11867103"/>
                  <a:gd name="connsiteY23" fmla="*/ 705235 h 2936314"/>
                  <a:gd name="connsiteX24" fmla="*/ 11816862 w 11867103"/>
                  <a:gd name="connsiteY24" fmla="*/ 765525 h 2936314"/>
                  <a:gd name="connsiteX25" fmla="*/ 11806813 w 11867103"/>
                  <a:gd name="connsiteY25" fmla="*/ 835863 h 2936314"/>
                  <a:gd name="connsiteX26" fmla="*/ 11816862 w 11867103"/>
                  <a:gd name="connsiteY26" fmla="*/ 2302923 h 2936314"/>
                  <a:gd name="connsiteX27" fmla="*/ 11826910 w 11867103"/>
                  <a:gd name="connsiteY27" fmla="*/ 2373261 h 2936314"/>
                  <a:gd name="connsiteX28" fmla="*/ 11836958 w 11867103"/>
                  <a:gd name="connsiteY28" fmla="*/ 2403406 h 2936314"/>
                  <a:gd name="connsiteX29" fmla="*/ 11857055 w 11867103"/>
                  <a:gd name="connsiteY29" fmla="*/ 2534035 h 2936314"/>
                  <a:gd name="connsiteX30" fmla="*/ 11867103 w 11867103"/>
                  <a:gd name="connsiteY30" fmla="*/ 2574228 h 2936314"/>
                  <a:gd name="connsiteX31" fmla="*/ 11857055 w 11867103"/>
                  <a:gd name="connsiteY31" fmla="*/ 2805340 h 2936314"/>
                  <a:gd name="connsiteX32" fmla="*/ 11836958 w 11867103"/>
                  <a:gd name="connsiteY32" fmla="*/ 2835485 h 2936314"/>
                  <a:gd name="connsiteX33" fmla="*/ 11033090 w 11867103"/>
                  <a:gd name="connsiteY33" fmla="*/ 2825437 h 2936314"/>
                  <a:gd name="connsiteX34" fmla="*/ 10621108 w 11867103"/>
                  <a:gd name="connsiteY34" fmla="*/ 2815389 h 2936314"/>
                  <a:gd name="connsiteX35" fmla="*/ 10128739 w 11867103"/>
                  <a:gd name="connsiteY35" fmla="*/ 2825437 h 2936314"/>
                  <a:gd name="connsiteX36" fmla="*/ 10048352 w 11867103"/>
                  <a:gd name="connsiteY36" fmla="*/ 2835485 h 2936314"/>
                  <a:gd name="connsiteX37" fmla="*/ 9555982 w 11867103"/>
                  <a:gd name="connsiteY37" fmla="*/ 2825437 h 2936314"/>
                  <a:gd name="connsiteX38" fmla="*/ 9445451 w 11867103"/>
                  <a:gd name="connsiteY38" fmla="*/ 2815389 h 2936314"/>
                  <a:gd name="connsiteX39" fmla="*/ 9415306 w 11867103"/>
                  <a:gd name="connsiteY39" fmla="*/ 2795292 h 2936314"/>
                  <a:gd name="connsiteX40" fmla="*/ 9204290 w 11867103"/>
                  <a:gd name="connsiteY40" fmla="*/ 2775195 h 2936314"/>
                  <a:gd name="connsiteX41" fmla="*/ 9073662 w 11867103"/>
                  <a:gd name="connsiteY41" fmla="*/ 2755098 h 2936314"/>
                  <a:gd name="connsiteX42" fmla="*/ 8812404 w 11867103"/>
                  <a:gd name="connsiteY42" fmla="*/ 2745050 h 2936314"/>
                  <a:gd name="connsiteX43" fmla="*/ 8400422 w 11867103"/>
                  <a:gd name="connsiteY43" fmla="*/ 2735002 h 2936314"/>
                  <a:gd name="connsiteX44" fmla="*/ 8269793 w 11867103"/>
                  <a:gd name="connsiteY44" fmla="*/ 2724953 h 2936314"/>
                  <a:gd name="connsiteX45" fmla="*/ 7797521 w 11867103"/>
                  <a:gd name="connsiteY45" fmla="*/ 2745050 h 2936314"/>
                  <a:gd name="connsiteX46" fmla="*/ 7717134 w 11867103"/>
                  <a:gd name="connsiteY46" fmla="*/ 2755098 h 2936314"/>
                  <a:gd name="connsiteX47" fmla="*/ 7486022 w 11867103"/>
                  <a:gd name="connsiteY47" fmla="*/ 2785244 h 2936314"/>
                  <a:gd name="connsiteX48" fmla="*/ 7395587 w 11867103"/>
                  <a:gd name="connsiteY48" fmla="*/ 2805340 h 2936314"/>
                  <a:gd name="connsiteX49" fmla="*/ 7325248 w 11867103"/>
                  <a:gd name="connsiteY49" fmla="*/ 2815389 h 2936314"/>
                  <a:gd name="connsiteX50" fmla="*/ 6863024 w 11867103"/>
                  <a:gd name="connsiteY50" fmla="*/ 2805340 h 2936314"/>
                  <a:gd name="connsiteX51" fmla="*/ 6722347 w 11867103"/>
                  <a:gd name="connsiteY51" fmla="*/ 2795292 h 2936314"/>
                  <a:gd name="connsiteX52" fmla="*/ 4903596 w 11867103"/>
                  <a:gd name="connsiteY52" fmla="*/ 2845534 h 2936314"/>
                  <a:gd name="connsiteX53" fmla="*/ 4722725 w 11867103"/>
                  <a:gd name="connsiteY53" fmla="*/ 2885727 h 2936314"/>
                  <a:gd name="connsiteX54" fmla="*/ 4300695 w 11867103"/>
                  <a:gd name="connsiteY54" fmla="*/ 2865630 h 2936314"/>
                  <a:gd name="connsiteX55" fmla="*/ 4059534 w 11867103"/>
                  <a:gd name="connsiteY55" fmla="*/ 2825437 h 2936314"/>
                  <a:gd name="connsiteX56" fmla="*/ 3768132 w 11867103"/>
                  <a:gd name="connsiteY56" fmla="*/ 2795292 h 2936314"/>
                  <a:gd name="connsiteX57" fmla="*/ 3627455 w 11867103"/>
                  <a:gd name="connsiteY57" fmla="*/ 2785244 h 2936314"/>
                  <a:gd name="connsiteX58" fmla="*/ 3125037 w 11867103"/>
                  <a:gd name="connsiteY58" fmla="*/ 2795292 h 2936314"/>
                  <a:gd name="connsiteX59" fmla="*/ 3064747 w 11867103"/>
                  <a:gd name="connsiteY59" fmla="*/ 2805340 h 2936314"/>
                  <a:gd name="connsiteX60" fmla="*/ 2009670 w 11867103"/>
                  <a:gd name="connsiteY60" fmla="*/ 2815389 h 2936314"/>
                  <a:gd name="connsiteX61" fmla="*/ 1678075 w 11867103"/>
                  <a:gd name="connsiteY61" fmla="*/ 2905824 h 2936314"/>
                  <a:gd name="connsiteX62" fmla="*/ 1607736 w 11867103"/>
                  <a:gd name="connsiteY62" fmla="*/ 2935969 h 2936314"/>
                  <a:gd name="connsiteX63" fmla="*/ 1135464 w 11867103"/>
                  <a:gd name="connsiteY63" fmla="*/ 2915872 h 2936314"/>
                  <a:gd name="connsiteX64" fmla="*/ 944545 w 11867103"/>
                  <a:gd name="connsiteY64" fmla="*/ 2885727 h 2936314"/>
                  <a:gd name="connsiteX65" fmla="*/ 723481 w 11867103"/>
                  <a:gd name="connsiteY65" fmla="*/ 2845534 h 2936314"/>
                  <a:gd name="connsiteX66" fmla="*/ 643095 w 11867103"/>
                  <a:gd name="connsiteY66" fmla="*/ 2835485 h 2936314"/>
                  <a:gd name="connsiteX67" fmla="*/ 371789 w 11867103"/>
                  <a:gd name="connsiteY67" fmla="*/ 2795292 h 2936314"/>
                  <a:gd name="connsiteX68" fmla="*/ 0 w 11867103"/>
                  <a:gd name="connsiteY68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16862 w 11867103"/>
                  <a:gd name="connsiteY19" fmla="*/ 222914 h 2936314"/>
                  <a:gd name="connsiteX20" fmla="*/ 11826910 w 11867103"/>
                  <a:gd name="connsiteY20" fmla="*/ 313349 h 2936314"/>
                  <a:gd name="connsiteX21" fmla="*/ 11836958 w 11867103"/>
                  <a:gd name="connsiteY21" fmla="*/ 393736 h 2936314"/>
                  <a:gd name="connsiteX22" fmla="*/ 11826910 w 11867103"/>
                  <a:gd name="connsiteY22" fmla="*/ 705235 h 2936314"/>
                  <a:gd name="connsiteX23" fmla="*/ 11816862 w 11867103"/>
                  <a:gd name="connsiteY23" fmla="*/ 765525 h 2936314"/>
                  <a:gd name="connsiteX24" fmla="*/ 11806813 w 11867103"/>
                  <a:gd name="connsiteY24" fmla="*/ 835863 h 2936314"/>
                  <a:gd name="connsiteX25" fmla="*/ 11816862 w 11867103"/>
                  <a:gd name="connsiteY25" fmla="*/ 2302923 h 2936314"/>
                  <a:gd name="connsiteX26" fmla="*/ 11826910 w 11867103"/>
                  <a:gd name="connsiteY26" fmla="*/ 2373261 h 2936314"/>
                  <a:gd name="connsiteX27" fmla="*/ 11836958 w 11867103"/>
                  <a:gd name="connsiteY27" fmla="*/ 2403406 h 2936314"/>
                  <a:gd name="connsiteX28" fmla="*/ 11857055 w 11867103"/>
                  <a:gd name="connsiteY28" fmla="*/ 2534035 h 2936314"/>
                  <a:gd name="connsiteX29" fmla="*/ 11867103 w 11867103"/>
                  <a:gd name="connsiteY29" fmla="*/ 2574228 h 2936314"/>
                  <a:gd name="connsiteX30" fmla="*/ 11857055 w 11867103"/>
                  <a:gd name="connsiteY30" fmla="*/ 2805340 h 2936314"/>
                  <a:gd name="connsiteX31" fmla="*/ 11836958 w 11867103"/>
                  <a:gd name="connsiteY31" fmla="*/ 2835485 h 2936314"/>
                  <a:gd name="connsiteX32" fmla="*/ 11033090 w 11867103"/>
                  <a:gd name="connsiteY32" fmla="*/ 2825437 h 2936314"/>
                  <a:gd name="connsiteX33" fmla="*/ 10621108 w 11867103"/>
                  <a:gd name="connsiteY33" fmla="*/ 2815389 h 2936314"/>
                  <a:gd name="connsiteX34" fmla="*/ 10128739 w 11867103"/>
                  <a:gd name="connsiteY34" fmla="*/ 2825437 h 2936314"/>
                  <a:gd name="connsiteX35" fmla="*/ 10048352 w 11867103"/>
                  <a:gd name="connsiteY35" fmla="*/ 2835485 h 2936314"/>
                  <a:gd name="connsiteX36" fmla="*/ 9555982 w 11867103"/>
                  <a:gd name="connsiteY36" fmla="*/ 2825437 h 2936314"/>
                  <a:gd name="connsiteX37" fmla="*/ 9445451 w 11867103"/>
                  <a:gd name="connsiteY37" fmla="*/ 2815389 h 2936314"/>
                  <a:gd name="connsiteX38" fmla="*/ 9415306 w 11867103"/>
                  <a:gd name="connsiteY38" fmla="*/ 2795292 h 2936314"/>
                  <a:gd name="connsiteX39" fmla="*/ 9204290 w 11867103"/>
                  <a:gd name="connsiteY39" fmla="*/ 2775195 h 2936314"/>
                  <a:gd name="connsiteX40" fmla="*/ 9073662 w 11867103"/>
                  <a:gd name="connsiteY40" fmla="*/ 2755098 h 2936314"/>
                  <a:gd name="connsiteX41" fmla="*/ 8812404 w 11867103"/>
                  <a:gd name="connsiteY41" fmla="*/ 2745050 h 2936314"/>
                  <a:gd name="connsiteX42" fmla="*/ 8400422 w 11867103"/>
                  <a:gd name="connsiteY42" fmla="*/ 2735002 h 2936314"/>
                  <a:gd name="connsiteX43" fmla="*/ 8269793 w 11867103"/>
                  <a:gd name="connsiteY43" fmla="*/ 2724953 h 2936314"/>
                  <a:gd name="connsiteX44" fmla="*/ 7797521 w 11867103"/>
                  <a:gd name="connsiteY44" fmla="*/ 2745050 h 2936314"/>
                  <a:gd name="connsiteX45" fmla="*/ 7717134 w 11867103"/>
                  <a:gd name="connsiteY45" fmla="*/ 2755098 h 2936314"/>
                  <a:gd name="connsiteX46" fmla="*/ 7486022 w 11867103"/>
                  <a:gd name="connsiteY46" fmla="*/ 2785244 h 2936314"/>
                  <a:gd name="connsiteX47" fmla="*/ 7395587 w 11867103"/>
                  <a:gd name="connsiteY47" fmla="*/ 2805340 h 2936314"/>
                  <a:gd name="connsiteX48" fmla="*/ 7325248 w 11867103"/>
                  <a:gd name="connsiteY48" fmla="*/ 2815389 h 2936314"/>
                  <a:gd name="connsiteX49" fmla="*/ 6863024 w 11867103"/>
                  <a:gd name="connsiteY49" fmla="*/ 2805340 h 2936314"/>
                  <a:gd name="connsiteX50" fmla="*/ 6722347 w 11867103"/>
                  <a:gd name="connsiteY50" fmla="*/ 2795292 h 2936314"/>
                  <a:gd name="connsiteX51" fmla="*/ 4903596 w 11867103"/>
                  <a:gd name="connsiteY51" fmla="*/ 2845534 h 2936314"/>
                  <a:gd name="connsiteX52" fmla="*/ 4722725 w 11867103"/>
                  <a:gd name="connsiteY52" fmla="*/ 2885727 h 2936314"/>
                  <a:gd name="connsiteX53" fmla="*/ 4300695 w 11867103"/>
                  <a:gd name="connsiteY53" fmla="*/ 2865630 h 2936314"/>
                  <a:gd name="connsiteX54" fmla="*/ 4059534 w 11867103"/>
                  <a:gd name="connsiteY54" fmla="*/ 2825437 h 2936314"/>
                  <a:gd name="connsiteX55" fmla="*/ 3768132 w 11867103"/>
                  <a:gd name="connsiteY55" fmla="*/ 2795292 h 2936314"/>
                  <a:gd name="connsiteX56" fmla="*/ 3627455 w 11867103"/>
                  <a:gd name="connsiteY56" fmla="*/ 2785244 h 2936314"/>
                  <a:gd name="connsiteX57" fmla="*/ 3125037 w 11867103"/>
                  <a:gd name="connsiteY57" fmla="*/ 2795292 h 2936314"/>
                  <a:gd name="connsiteX58" fmla="*/ 3064747 w 11867103"/>
                  <a:gd name="connsiteY58" fmla="*/ 2805340 h 2936314"/>
                  <a:gd name="connsiteX59" fmla="*/ 2009670 w 11867103"/>
                  <a:gd name="connsiteY59" fmla="*/ 2815389 h 2936314"/>
                  <a:gd name="connsiteX60" fmla="*/ 1678075 w 11867103"/>
                  <a:gd name="connsiteY60" fmla="*/ 2905824 h 2936314"/>
                  <a:gd name="connsiteX61" fmla="*/ 1607736 w 11867103"/>
                  <a:gd name="connsiteY61" fmla="*/ 2935969 h 2936314"/>
                  <a:gd name="connsiteX62" fmla="*/ 1135464 w 11867103"/>
                  <a:gd name="connsiteY62" fmla="*/ 2915872 h 2936314"/>
                  <a:gd name="connsiteX63" fmla="*/ 944545 w 11867103"/>
                  <a:gd name="connsiteY63" fmla="*/ 2885727 h 2936314"/>
                  <a:gd name="connsiteX64" fmla="*/ 723481 w 11867103"/>
                  <a:gd name="connsiteY64" fmla="*/ 2845534 h 2936314"/>
                  <a:gd name="connsiteX65" fmla="*/ 643095 w 11867103"/>
                  <a:gd name="connsiteY65" fmla="*/ 2835485 h 2936314"/>
                  <a:gd name="connsiteX66" fmla="*/ 371789 w 11867103"/>
                  <a:gd name="connsiteY66" fmla="*/ 2795292 h 2936314"/>
                  <a:gd name="connsiteX67" fmla="*/ 0 w 11867103"/>
                  <a:gd name="connsiteY67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313349 h 2936314"/>
                  <a:gd name="connsiteX20" fmla="*/ 11836958 w 11867103"/>
                  <a:gd name="connsiteY20" fmla="*/ 393736 h 2936314"/>
                  <a:gd name="connsiteX21" fmla="*/ 11826910 w 11867103"/>
                  <a:gd name="connsiteY21" fmla="*/ 705235 h 2936314"/>
                  <a:gd name="connsiteX22" fmla="*/ 11816862 w 11867103"/>
                  <a:gd name="connsiteY22" fmla="*/ 765525 h 2936314"/>
                  <a:gd name="connsiteX23" fmla="*/ 11806813 w 11867103"/>
                  <a:gd name="connsiteY23" fmla="*/ 835863 h 2936314"/>
                  <a:gd name="connsiteX24" fmla="*/ 11816862 w 11867103"/>
                  <a:gd name="connsiteY24" fmla="*/ 2302923 h 2936314"/>
                  <a:gd name="connsiteX25" fmla="*/ 11826910 w 11867103"/>
                  <a:gd name="connsiteY25" fmla="*/ 2373261 h 2936314"/>
                  <a:gd name="connsiteX26" fmla="*/ 11836958 w 11867103"/>
                  <a:gd name="connsiteY26" fmla="*/ 2403406 h 2936314"/>
                  <a:gd name="connsiteX27" fmla="*/ 11857055 w 11867103"/>
                  <a:gd name="connsiteY27" fmla="*/ 2534035 h 2936314"/>
                  <a:gd name="connsiteX28" fmla="*/ 11867103 w 11867103"/>
                  <a:gd name="connsiteY28" fmla="*/ 2574228 h 2936314"/>
                  <a:gd name="connsiteX29" fmla="*/ 11857055 w 11867103"/>
                  <a:gd name="connsiteY29" fmla="*/ 2805340 h 2936314"/>
                  <a:gd name="connsiteX30" fmla="*/ 11836958 w 11867103"/>
                  <a:gd name="connsiteY30" fmla="*/ 2835485 h 2936314"/>
                  <a:gd name="connsiteX31" fmla="*/ 11033090 w 11867103"/>
                  <a:gd name="connsiteY31" fmla="*/ 2825437 h 2936314"/>
                  <a:gd name="connsiteX32" fmla="*/ 10621108 w 11867103"/>
                  <a:gd name="connsiteY32" fmla="*/ 2815389 h 2936314"/>
                  <a:gd name="connsiteX33" fmla="*/ 10128739 w 11867103"/>
                  <a:gd name="connsiteY33" fmla="*/ 2825437 h 2936314"/>
                  <a:gd name="connsiteX34" fmla="*/ 10048352 w 11867103"/>
                  <a:gd name="connsiteY34" fmla="*/ 2835485 h 2936314"/>
                  <a:gd name="connsiteX35" fmla="*/ 9555982 w 11867103"/>
                  <a:gd name="connsiteY35" fmla="*/ 2825437 h 2936314"/>
                  <a:gd name="connsiteX36" fmla="*/ 9445451 w 11867103"/>
                  <a:gd name="connsiteY36" fmla="*/ 2815389 h 2936314"/>
                  <a:gd name="connsiteX37" fmla="*/ 9415306 w 11867103"/>
                  <a:gd name="connsiteY37" fmla="*/ 2795292 h 2936314"/>
                  <a:gd name="connsiteX38" fmla="*/ 9204290 w 11867103"/>
                  <a:gd name="connsiteY38" fmla="*/ 2775195 h 2936314"/>
                  <a:gd name="connsiteX39" fmla="*/ 9073662 w 11867103"/>
                  <a:gd name="connsiteY39" fmla="*/ 2755098 h 2936314"/>
                  <a:gd name="connsiteX40" fmla="*/ 8812404 w 11867103"/>
                  <a:gd name="connsiteY40" fmla="*/ 2745050 h 2936314"/>
                  <a:gd name="connsiteX41" fmla="*/ 8400422 w 11867103"/>
                  <a:gd name="connsiteY41" fmla="*/ 2735002 h 2936314"/>
                  <a:gd name="connsiteX42" fmla="*/ 8269793 w 11867103"/>
                  <a:gd name="connsiteY42" fmla="*/ 2724953 h 2936314"/>
                  <a:gd name="connsiteX43" fmla="*/ 7797521 w 11867103"/>
                  <a:gd name="connsiteY43" fmla="*/ 2745050 h 2936314"/>
                  <a:gd name="connsiteX44" fmla="*/ 7717134 w 11867103"/>
                  <a:gd name="connsiteY44" fmla="*/ 2755098 h 2936314"/>
                  <a:gd name="connsiteX45" fmla="*/ 7486022 w 11867103"/>
                  <a:gd name="connsiteY45" fmla="*/ 2785244 h 2936314"/>
                  <a:gd name="connsiteX46" fmla="*/ 7395587 w 11867103"/>
                  <a:gd name="connsiteY46" fmla="*/ 2805340 h 2936314"/>
                  <a:gd name="connsiteX47" fmla="*/ 7325248 w 11867103"/>
                  <a:gd name="connsiteY47" fmla="*/ 2815389 h 2936314"/>
                  <a:gd name="connsiteX48" fmla="*/ 6863024 w 11867103"/>
                  <a:gd name="connsiteY48" fmla="*/ 2805340 h 2936314"/>
                  <a:gd name="connsiteX49" fmla="*/ 6722347 w 11867103"/>
                  <a:gd name="connsiteY49" fmla="*/ 2795292 h 2936314"/>
                  <a:gd name="connsiteX50" fmla="*/ 4903596 w 11867103"/>
                  <a:gd name="connsiteY50" fmla="*/ 2845534 h 2936314"/>
                  <a:gd name="connsiteX51" fmla="*/ 4722725 w 11867103"/>
                  <a:gd name="connsiteY51" fmla="*/ 2885727 h 2936314"/>
                  <a:gd name="connsiteX52" fmla="*/ 4300695 w 11867103"/>
                  <a:gd name="connsiteY52" fmla="*/ 2865630 h 2936314"/>
                  <a:gd name="connsiteX53" fmla="*/ 4059534 w 11867103"/>
                  <a:gd name="connsiteY53" fmla="*/ 2825437 h 2936314"/>
                  <a:gd name="connsiteX54" fmla="*/ 3768132 w 11867103"/>
                  <a:gd name="connsiteY54" fmla="*/ 2795292 h 2936314"/>
                  <a:gd name="connsiteX55" fmla="*/ 3627455 w 11867103"/>
                  <a:gd name="connsiteY55" fmla="*/ 2785244 h 2936314"/>
                  <a:gd name="connsiteX56" fmla="*/ 3125037 w 11867103"/>
                  <a:gd name="connsiteY56" fmla="*/ 2795292 h 2936314"/>
                  <a:gd name="connsiteX57" fmla="*/ 3064747 w 11867103"/>
                  <a:gd name="connsiteY57" fmla="*/ 2805340 h 2936314"/>
                  <a:gd name="connsiteX58" fmla="*/ 2009670 w 11867103"/>
                  <a:gd name="connsiteY58" fmla="*/ 2815389 h 2936314"/>
                  <a:gd name="connsiteX59" fmla="*/ 1678075 w 11867103"/>
                  <a:gd name="connsiteY59" fmla="*/ 2905824 h 2936314"/>
                  <a:gd name="connsiteX60" fmla="*/ 1607736 w 11867103"/>
                  <a:gd name="connsiteY60" fmla="*/ 2935969 h 2936314"/>
                  <a:gd name="connsiteX61" fmla="*/ 1135464 w 11867103"/>
                  <a:gd name="connsiteY61" fmla="*/ 2915872 h 2936314"/>
                  <a:gd name="connsiteX62" fmla="*/ 944545 w 11867103"/>
                  <a:gd name="connsiteY62" fmla="*/ 2885727 h 2936314"/>
                  <a:gd name="connsiteX63" fmla="*/ 723481 w 11867103"/>
                  <a:gd name="connsiteY63" fmla="*/ 2845534 h 2936314"/>
                  <a:gd name="connsiteX64" fmla="*/ 643095 w 11867103"/>
                  <a:gd name="connsiteY64" fmla="*/ 2835485 h 2936314"/>
                  <a:gd name="connsiteX65" fmla="*/ 371789 w 11867103"/>
                  <a:gd name="connsiteY65" fmla="*/ 2795292 h 2936314"/>
                  <a:gd name="connsiteX66" fmla="*/ 0 w 11867103"/>
                  <a:gd name="connsiteY66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36958 w 11867103"/>
                  <a:gd name="connsiteY19" fmla="*/ 393736 h 2936314"/>
                  <a:gd name="connsiteX20" fmla="*/ 11826910 w 11867103"/>
                  <a:gd name="connsiteY20" fmla="*/ 705235 h 2936314"/>
                  <a:gd name="connsiteX21" fmla="*/ 11816862 w 11867103"/>
                  <a:gd name="connsiteY21" fmla="*/ 765525 h 2936314"/>
                  <a:gd name="connsiteX22" fmla="*/ 11806813 w 11867103"/>
                  <a:gd name="connsiteY22" fmla="*/ 835863 h 2936314"/>
                  <a:gd name="connsiteX23" fmla="*/ 11816862 w 11867103"/>
                  <a:gd name="connsiteY23" fmla="*/ 2302923 h 2936314"/>
                  <a:gd name="connsiteX24" fmla="*/ 11826910 w 11867103"/>
                  <a:gd name="connsiteY24" fmla="*/ 2373261 h 2936314"/>
                  <a:gd name="connsiteX25" fmla="*/ 11836958 w 11867103"/>
                  <a:gd name="connsiteY25" fmla="*/ 2403406 h 2936314"/>
                  <a:gd name="connsiteX26" fmla="*/ 11857055 w 11867103"/>
                  <a:gd name="connsiteY26" fmla="*/ 2534035 h 2936314"/>
                  <a:gd name="connsiteX27" fmla="*/ 11867103 w 11867103"/>
                  <a:gd name="connsiteY27" fmla="*/ 2574228 h 2936314"/>
                  <a:gd name="connsiteX28" fmla="*/ 11857055 w 11867103"/>
                  <a:gd name="connsiteY28" fmla="*/ 2805340 h 2936314"/>
                  <a:gd name="connsiteX29" fmla="*/ 11836958 w 11867103"/>
                  <a:gd name="connsiteY29" fmla="*/ 2835485 h 2936314"/>
                  <a:gd name="connsiteX30" fmla="*/ 11033090 w 11867103"/>
                  <a:gd name="connsiteY30" fmla="*/ 2825437 h 2936314"/>
                  <a:gd name="connsiteX31" fmla="*/ 10621108 w 11867103"/>
                  <a:gd name="connsiteY31" fmla="*/ 2815389 h 2936314"/>
                  <a:gd name="connsiteX32" fmla="*/ 10128739 w 11867103"/>
                  <a:gd name="connsiteY32" fmla="*/ 2825437 h 2936314"/>
                  <a:gd name="connsiteX33" fmla="*/ 10048352 w 11867103"/>
                  <a:gd name="connsiteY33" fmla="*/ 2835485 h 2936314"/>
                  <a:gd name="connsiteX34" fmla="*/ 9555982 w 11867103"/>
                  <a:gd name="connsiteY34" fmla="*/ 2825437 h 2936314"/>
                  <a:gd name="connsiteX35" fmla="*/ 9445451 w 11867103"/>
                  <a:gd name="connsiteY35" fmla="*/ 2815389 h 2936314"/>
                  <a:gd name="connsiteX36" fmla="*/ 9415306 w 11867103"/>
                  <a:gd name="connsiteY36" fmla="*/ 2795292 h 2936314"/>
                  <a:gd name="connsiteX37" fmla="*/ 9204290 w 11867103"/>
                  <a:gd name="connsiteY37" fmla="*/ 2775195 h 2936314"/>
                  <a:gd name="connsiteX38" fmla="*/ 9073662 w 11867103"/>
                  <a:gd name="connsiteY38" fmla="*/ 2755098 h 2936314"/>
                  <a:gd name="connsiteX39" fmla="*/ 8812404 w 11867103"/>
                  <a:gd name="connsiteY39" fmla="*/ 2745050 h 2936314"/>
                  <a:gd name="connsiteX40" fmla="*/ 8400422 w 11867103"/>
                  <a:gd name="connsiteY40" fmla="*/ 2735002 h 2936314"/>
                  <a:gd name="connsiteX41" fmla="*/ 8269793 w 11867103"/>
                  <a:gd name="connsiteY41" fmla="*/ 2724953 h 2936314"/>
                  <a:gd name="connsiteX42" fmla="*/ 7797521 w 11867103"/>
                  <a:gd name="connsiteY42" fmla="*/ 2745050 h 2936314"/>
                  <a:gd name="connsiteX43" fmla="*/ 7717134 w 11867103"/>
                  <a:gd name="connsiteY43" fmla="*/ 2755098 h 2936314"/>
                  <a:gd name="connsiteX44" fmla="*/ 7486022 w 11867103"/>
                  <a:gd name="connsiteY44" fmla="*/ 2785244 h 2936314"/>
                  <a:gd name="connsiteX45" fmla="*/ 7395587 w 11867103"/>
                  <a:gd name="connsiteY45" fmla="*/ 2805340 h 2936314"/>
                  <a:gd name="connsiteX46" fmla="*/ 7325248 w 11867103"/>
                  <a:gd name="connsiteY46" fmla="*/ 2815389 h 2936314"/>
                  <a:gd name="connsiteX47" fmla="*/ 6863024 w 11867103"/>
                  <a:gd name="connsiteY47" fmla="*/ 2805340 h 2936314"/>
                  <a:gd name="connsiteX48" fmla="*/ 6722347 w 11867103"/>
                  <a:gd name="connsiteY48" fmla="*/ 2795292 h 2936314"/>
                  <a:gd name="connsiteX49" fmla="*/ 4903596 w 11867103"/>
                  <a:gd name="connsiteY49" fmla="*/ 2845534 h 2936314"/>
                  <a:gd name="connsiteX50" fmla="*/ 4722725 w 11867103"/>
                  <a:gd name="connsiteY50" fmla="*/ 2885727 h 2936314"/>
                  <a:gd name="connsiteX51" fmla="*/ 4300695 w 11867103"/>
                  <a:gd name="connsiteY51" fmla="*/ 2865630 h 2936314"/>
                  <a:gd name="connsiteX52" fmla="*/ 4059534 w 11867103"/>
                  <a:gd name="connsiteY52" fmla="*/ 2825437 h 2936314"/>
                  <a:gd name="connsiteX53" fmla="*/ 3768132 w 11867103"/>
                  <a:gd name="connsiteY53" fmla="*/ 2795292 h 2936314"/>
                  <a:gd name="connsiteX54" fmla="*/ 3627455 w 11867103"/>
                  <a:gd name="connsiteY54" fmla="*/ 2785244 h 2936314"/>
                  <a:gd name="connsiteX55" fmla="*/ 3125037 w 11867103"/>
                  <a:gd name="connsiteY55" fmla="*/ 2795292 h 2936314"/>
                  <a:gd name="connsiteX56" fmla="*/ 3064747 w 11867103"/>
                  <a:gd name="connsiteY56" fmla="*/ 2805340 h 2936314"/>
                  <a:gd name="connsiteX57" fmla="*/ 2009670 w 11867103"/>
                  <a:gd name="connsiteY57" fmla="*/ 2815389 h 2936314"/>
                  <a:gd name="connsiteX58" fmla="*/ 1678075 w 11867103"/>
                  <a:gd name="connsiteY58" fmla="*/ 2905824 h 2936314"/>
                  <a:gd name="connsiteX59" fmla="*/ 1607736 w 11867103"/>
                  <a:gd name="connsiteY59" fmla="*/ 2935969 h 2936314"/>
                  <a:gd name="connsiteX60" fmla="*/ 1135464 w 11867103"/>
                  <a:gd name="connsiteY60" fmla="*/ 2915872 h 2936314"/>
                  <a:gd name="connsiteX61" fmla="*/ 944545 w 11867103"/>
                  <a:gd name="connsiteY61" fmla="*/ 2885727 h 2936314"/>
                  <a:gd name="connsiteX62" fmla="*/ 723481 w 11867103"/>
                  <a:gd name="connsiteY62" fmla="*/ 2845534 h 2936314"/>
                  <a:gd name="connsiteX63" fmla="*/ 643095 w 11867103"/>
                  <a:gd name="connsiteY63" fmla="*/ 2835485 h 2936314"/>
                  <a:gd name="connsiteX64" fmla="*/ 371789 w 11867103"/>
                  <a:gd name="connsiteY64" fmla="*/ 2795292 h 2936314"/>
                  <a:gd name="connsiteX65" fmla="*/ 0 w 11867103"/>
                  <a:gd name="connsiteY65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16862 w 11867103"/>
                  <a:gd name="connsiteY20" fmla="*/ 765525 h 2936314"/>
                  <a:gd name="connsiteX21" fmla="*/ 11806813 w 11867103"/>
                  <a:gd name="connsiteY21" fmla="*/ 835863 h 2936314"/>
                  <a:gd name="connsiteX22" fmla="*/ 11816862 w 11867103"/>
                  <a:gd name="connsiteY22" fmla="*/ 2302923 h 2936314"/>
                  <a:gd name="connsiteX23" fmla="*/ 11826910 w 11867103"/>
                  <a:gd name="connsiteY23" fmla="*/ 2373261 h 2936314"/>
                  <a:gd name="connsiteX24" fmla="*/ 11836958 w 11867103"/>
                  <a:gd name="connsiteY24" fmla="*/ 2403406 h 2936314"/>
                  <a:gd name="connsiteX25" fmla="*/ 11857055 w 11867103"/>
                  <a:gd name="connsiteY25" fmla="*/ 2534035 h 2936314"/>
                  <a:gd name="connsiteX26" fmla="*/ 11867103 w 11867103"/>
                  <a:gd name="connsiteY26" fmla="*/ 2574228 h 2936314"/>
                  <a:gd name="connsiteX27" fmla="*/ 11857055 w 11867103"/>
                  <a:gd name="connsiteY27" fmla="*/ 2805340 h 2936314"/>
                  <a:gd name="connsiteX28" fmla="*/ 11836958 w 11867103"/>
                  <a:gd name="connsiteY28" fmla="*/ 2835485 h 2936314"/>
                  <a:gd name="connsiteX29" fmla="*/ 11033090 w 11867103"/>
                  <a:gd name="connsiteY29" fmla="*/ 2825437 h 2936314"/>
                  <a:gd name="connsiteX30" fmla="*/ 10621108 w 11867103"/>
                  <a:gd name="connsiteY30" fmla="*/ 2815389 h 2936314"/>
                  <a:gd name="connsiteX31" fmla="*/ 10128739 w 11867103"/>
                  <a:gd name="connsiteY31" fmla="*/ 2825437 h 2936314"/>
                  <a:gd name="connsiteX32" fmla="*/ 10048352 w 11867103"/>
                  <a:gd name="connsiteY32" fmla="*/ 2835485 h 2936314"/>
                  <a:gd name="connsiteX33" fmla="*/ 9555982 w 11867103"/>
                  <a:gd name="connsiteY33" fmla="*/ 2825437 h 2936314"/>
                  <a:gd name="connsiteX34" fmla="*/ 9445451 w 11867103"/>
                  <a:gd name="connsiteY34" fmla="*/ 2815389 h 2936314"/>
                  <a:gd name="connsiteX35" fmla="*/ 9415306 w 11867103"/>
                  <a:gd name="connsiteY35" fmla="*/ 2795292 h 2936314"/>
                  <a:gd name="connsiteX36" fmla="*/ 9204290 w 11867103"/>
                  <a:gd name="connsiteY36" fmla="*/ 2775195 h 2936314"/>
                  <a:gd name="connsiteX37" fmla="*/ 9073662 w 11867103"/>
                  <a:gd name="connsiteY37" fmla="*/ 2755098 h 2936314"/>
                  <a:gd name="connsiteX38" fmla="*/ 8812404 w 11867103"/>
                  <a:gd name="connsiteY38" fmla="*/ 2745050 h 2936314"/>
                  <a:gd name="connsiteX39" fmla="*/ 8400422 w 11867103"/>
                  <a:gd name="connsiteY39" fmla="*/ 2735002 h 2936314"/>
                  <a:gd name="connsiteX40" fmla="*/ 8269793 w 11867103"/>
                  <a:gd name="connsiteY40" fmla="*/ 2724953 h 2936314"/>
                  <a:gd name="connsiteX41" fmla="*/ 7797521 w 11867103"/>
                  <a:gd name="connsiteY41" fmla="*/ 2745050 h 2936314"/>
                  <a:gd name="connsiteX42" fmla="*/ 7717134 w 11867103"/>
                  <a:gd name="connsiteY42" fmla="*/ 2755098 h 2936314"/>
                  <a:gd name="connsiteX43" fmla="*/ 7486022 w 11867103"/>
                  <a:gd name="connsiteY43" fmla="*/ 2785244 h 2936314"/>
                  <a:gd name="connsiteX44" fmla="*/ 7395587 w 11867103"/>
                  <a:gd name="connsiteY44" fmla="*/ 2805340 h 2936314"/>
                  <a:gd name="connsiteX45" fmla="*/ 7325248 w 11867103"/>
                  <a:gd name="connsiteY45" fmla="*/ 2815389 h 2936314"/>
                  <a:gd name="connsiteX46" fmla="*/ 6863024 w 11867103"/>
                  <a:gd name="connsiteY46" fmla="*/ 2805340 h 2936314"/>
                  <a:gd name="connsiteX47" fmla="*/ 6722347 w 11867103"/>
                  <a:gd name="connsiteY47" fmla="*/ 2795292 h 2936314"/>
                  <a:gd name="connsiteX48" fmla="*/ 4903596 w 11867103"/>
                  <a:gd name="connsiteY48" fmla="*/ 2845534 h 2936314"/>
                  <a:gd name="connsiteX49" fmla="*/ 4722725 w 11867103"/>
                  <a:gd name="connsiteY49" fmla="*/ 2885727 h 2936314"/>
                  <a:gd name="connsiteX50" fmla="*/ 4300695 w 11867103"/>
                  <a:gd name="connsiteY50" fmla="*/ 2865630 h 2936314"/>
                  <a:gd name="connsiteX51" fmla="*/ 4059534 w 11867103"/>
                  <a:gd name="connsiteY51" fmla="*/ 2825437 h 2936314"/>
                  <a:gd name="connsiteX52" fmla="*/ 3768132 w 11867103"/>
                  <a:gd name="connsiteY52" fmla="*/ 2795292 h 2936314"/>
                  <a:gd name="connsiteX53" fmla="*/ 3627455 w 11867103"/>
                  <a:gd name="connsiteY53" fmla="*/ 2785244 h 2936314"/>
                  <a:gd name="connsiteX54" fmla="*/ 3125037 w 11867103"/>
                  <a:gd name="connsiteY54" fmla="*/ 2795292 h 2936314"/>
                  <a:gd name="connsiteX55" fmla="*/ 3064747 w 11867103"/>
                  <a:gd name="connsiteY55" fmla="*/ 2805340 h 2936314"/>
                  <a:gd name="connsiteX56" fmla="*/ 2009670 w 11867103"/>
                  <a:gd name="connsiteY56" fmla="*/ 2815389 h 2936314"/>
                  <a:gd name="connsiteX57" fmla="*/ 1678075 w 11867103"/>
                  <a:gd name="connsiteY57" fmla="*/ 2905824 h 2936314"/>
                  <a:gd name="connsiteX58" fmla="*/ 1607736 w 11867103"/>
                  <a:gd name="connsiteY58" fmla="*/ 2935969 h 2936314"/>
                  <a:gd name="connsiteX59" fmla="*/ 1135464 w 11867103"/>
                  <a:gd name="connsiteY59" fmla="*/ 2915872 h 2936314"/>
                  <a:gd name="connsiteX60" fmla="*/ 944545 w 11867103"/>
                  <a:gd name="connsiteY60" fmla="*/ 2885727 h 2936314"/>
                  <a:gd name="connsiteX61" fmla="*/ 723481 w 11867103"/>
                  <a:gd name="connsiteY61" fmla="*/ 2845534 h 2936314"/>
                  <a:gd name="connsiteX62" fmla="*/ 643095 w 11867103"/>
                  <a:gd name="connsiteY62" fmla="*/ 2835485 h 2936314"/>
                  <a:gd name="connsiteX63" fmla="*/ 371789 w 11867103"/>
                  <a:gd name="connsiteY63" fmla="*/ 2795292 h 2936314"/>
                  <a:gd name="connsiteX64" fmla="*/ 0 w 11867103"/>
                  <a:gd name="connsiteY64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06813 w 11867103"/>
                  <a:gd name="connsiteY20" fmla="*/ 835863 h 2936314"/>
                  <a:gd name="connsiteX21" fmla="*/ 11816862 w 11867103"/>
                  <a:gd name="connsiteY21" fmla="*/ 2302923 h 2936314"/>
                  <a:gd name="connsiteX22" fmla="*/ 11826910 w 11867103"/>
                  <a:gd name="connsiteY22" fmla="*/ 2373261 h 2936314"/>
                  <a:gd name="connsiteX23" fmla="*/ 11836958 w 11867103"/>
                  <a:gd name="connsiteY23" fmla="*/ 2403406 h 2936314"/>
                  <a:gd name="connsiteX24" fmla="*/ 11857055 w 11867103"/>
                  <a:gd name="connsiteY24" fmla="*/ 2534035 h 2936314"/>
                  <a:gd name="connsiteX25" fmla="*/ 11867103 w 11867103"/>
                  <a:gd name="connsiteY25" fmla="*/ 2574228 h 2936314"/>
                  <a:gd name="connsiteX26" fmla="*/ 11857055 w 11867103"/>
                  <a:gd name="connsiteY26" fmla="*/ 2805340 h 2936314"/>
                  <a:gd name="connsiteX27" fmla="*/ 11836958 w 11867103"/>
                  <a:gd name="connsiteY27" fmla="*/ 2835485 h 2936314"/>
                  <a:gd name="connsiteX28" fmla="*/ 11033090 w 11867103"/>
                  <a:gd name="connsiteY28" fmla="*/ 2825437 h 2936314"/>
                  <a:gd name="connsiteX29" fmla="*/ 10621108 w 11867103"/>
                  <a:gd name="connsiteY29" fmla="*/ 2815389 h 2936314"/>
                  <a:gd name="connsiteX30" fmla="*/ 10128739 w 11867103"/>
                  <a:gd name="connsiteY30" fmla="*/ 2825437 h 2936314"/>
                  <a:gd name="connsiteX31" fmla="*/ 10048352 w 11867103"/>
                  <a:gd name="connsiteY31" fmla="*/ 2835485 h 2936314"/>
                  <a:gd name="connsiteX32" fmla="*/ 9555982 w 11867103"/>
                  <a:gd name="connsiteY32" fmla="*/ 2825437 h 2936314"/>
                  <a:gd name="connsiteX33" fmla="*/ 9445451 w 11867103"/>
                  <a:gd name="connsiteY33" fmla="*/ 2815389 h 2936314"/>
                  <a:gd name="connsiteX34" fmla="*/ 9415306 w 11867103"/>
                  <a:gd name="connsiteY34" fmla="*/ 2795292 h 2936314"/>
                  <a:gd name="connsiteX35" fmla="*/ 9204290 w 11867103"/>
                  <a:gd name="connsiteY35" fmla="*/ 2775195 h 2936314"/>
                  <a:gd name="connsiteX36" fmla="*/ 9073662 w 11867103"/>
                  <a:gd name="connsiteY36" fmla="*/ 2755098 h 2936314"/>
                  <a:gd name="connsiteX37" fmla="*/ 8812404 w 11867103"/>
                  <a:gd name="connsiteY37" fmla="*/ 2745050 h 2936314"/>
                  <a:gd name="connsiteX38" fmla="*/ 8400422 w 11867103"/>
                  <a:gd name="connsiteY38" fmla="*/ 2735002 h 2936314"/>
                  <a:gd name="connsiteX39" fmla="*/ 8269793 w 11867103"/>
                  <a:gd name="connsiteY39" fmla="*/ 2724953 h 2936314"/>
                  <a:gd name="connsiteX40" fmla="*/ 7797521 w 11867103"/>
                  <a:gd name="connsiteY40" fmla="*/ 2745050 h 2936314"/>
                  <a:gd name="connsiteX41" fmla="*/ 7717134 w 11867103"/>
                  <a:gd name="connsiteY41" fmla="*/ 2755098 h 2936314"/>
                  <a:gd name="connsiteX42" fmla="*/ 7486022 w 11867103"/>
                  <a:gd name="connsiteY42" fmla="*/ 2785244 h 2936314"/>
                  <a:gd name="connsiteX43" fmla="*/ 7395587 w 11867103"/>
                  <a:gd name="connsiteY43" fmla="*/ 2805340 h 2936314"/>
                  <a:gd name="connsiteX44" fmla="*/ 7325248 w 11867103"/>
                  <a:gd name="connsiteY44" fmla="*/ 2815389 h 2936314"/>
                  <a:gd name="connsiteX45" fmla="*/ 6863024 w 11867103"/>
                  <a:gd name="connsiteY45" fmla="*/ 2805340 h 2936314"/>
                  <a:gd name="connsiteX46" fmla="*/ 6722347 w 11867103"/>
                  <a:gd name="connsiteY46" fmla="*/ 2795292 h 2936314"/>
                  <a:gd name="connsiteX47" fmla="*/ 4903596 w 11867103"/>
                  <a:gd name="connsiteY47" fmla="*/ 2845534 h 2936314"/>
                  <a:gd name="connsiteX48" fmla="*/ 4722725 w 11867103"/>
                  <a:gd name="connsiteY48" fmla="*/ 2885727 h 2936314"/>
                  <a:gd name="connsiteX49" fmla="*/ 4300695 w 11867103"/>
                  <a:gd name="connsiteY49" fmla="*/ 2865630 h 2936314"/>
                  <a:gd name="connsiteX50" fmla="*/ 4059534 w 11867103"/>
                  <a:gd name="connsiteY50" fmla="*/ 2825437 h 2936314"/>
                  <a:gd name="connsiteX51" fmla="*/ 3768132 w 11867103"/>
                  <a:gd name="connsiteY51" fmla="*/ 2795292 h 2936314"/>
                  <a:gd name="connsiteX52" fmla="*/ 3627455 w 11867103"/>
                  <a:gd name="connsiteY52" fmla="*/ 2785244 h 2936314"/>
                  <a:gd name="connsiteX53" fmla="*/ 3125037 w 11867103"/>
                  <a:gd name="connsiteY53" fmla="*/ 2795292 h 2936314"/>
                  <a:gd name="connsiteX54" fmla="*/ 3064747 w 11867103"/>
                  <a:gd name="connsiteY54" fmla="*/ 2805340 h 2936314"/>
                  <a:gd name="connsiteX55" fmla="*/ 2009670 w 11867103"/>
                  <a:gd name="connsiteY55" fmla="*/ 2815389 h 2936314"/>
                  <a:gd name="connsiteX56" fmla="*/ 1678075 w 11867103"/>
                  <a:gd name="connsiteY56" fmla="*/ 2905824 h 2936314"/>
                  <a:gd name="connsiteX57" fmla="*/ 1607736 w 11867103"/>
                  <a:gd name="connsiteY57" fmla="*/ 2935969 h 2936314"/>
                  <a:gd name="connsiteX58" fmla="*/ 1135464 w 11867103"/>
                  <a:gd name="connsiteY58" fmla="*/ 2915872 h 2936314"/>
                  <a:gd name="connsiteX59" fmla="*/ 944545 w 11867103"/>
                  <a:gd name="connsiteY59" fmla="*/ 2885727 h 2936314"/>
                  <a:gd name="connsiteX60" fmla="*/ 723481 w 11867103"/>
                  <a:gd name="connsiteY60" fmla="*/ 2845534 h 2936314"/>
                  <a:gd name="connsiteX61" fmla="*/ 643095 w 11867103"/>
                  <a:gd name="connsiteY61" fmla="*/ 2835485 h 2936314"/>
                  <a:gd name="connsiteX62" fmla="*/ 371789 w 11867103"/>
                  <a:gd name="connsiteY62" fmla="*/ 2795292 h 2936314"/>
                  <a:gd name="connsiteX63" fmla="*/ 0 w 11867103"/>
                  <a:gd name="connsiteY63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26910 w 11867103"/>
                  <a:gd name="connsiteY19" fmla="*/ 705235 h 2936314"/>
                  <a:gd name="connsiteX20" fmla="*/ 11816862 w 11867103"/>
                  <a:gd name="connsiteY20" fmla="*/ 2302923 h 2936314"/>
                  <a:gd name="connsiteX21" fmla="*/ 11826910 w 11867103"/>
                  <a:gd name="connsiteY21" fmla="*/ 2373261 h 2936314"/>
                  <a:gd name="connsiteX22" fmla="*/ 11836958 w 11867103"/>
                  <a:gd name="connsiteY22" fmla="*/ 2403406 h 2936314"/>
                  <a:gd name="connsiteX23" fmla="*/ 11857055 w 11867103"/>
                  <a:gd name="connsiteY23" fmla="*/ 2534035 h 2936314"/>
                  <a:gd name="connsiteX24" fmla="*/ 11867103 w 11867103"/>
                  <a:gd name="connsiteY24" fmla="*/ 2574228 h 2936314"/>
                  <a:gd name="connsiteX25" fmla="*/ 11857055 w 11867103"/>
                  <a:gd name="connsiteY25" fmla="*/ 2805340 h 2936314"/>
                  <a:gd name="connsiteX26" fmla="*/ 11836958 w 11867103"/>
                  <a:gd name="connsiteY26" fmla="*/ 2835485 h 2936314"/>
                  <a:gd name="connsiteX27" fmla="*/ 11033090 w 11867103"/>
                  <a:gd name="connsiteY27" fmla="*/ 2825437 h 2936314"/>
                  <a:gd name="connsiteX28" fmla="*/ 10621108 w 11867103"/>
                  <a:gd name="connsiteY28" fmla="*/ 2815389 h 2936314"/>
                  <a:gd name="connsiteX29" fmla="*/ 10128739 w 11867103"/>
                  <a:gd name="connsiteY29" fmla="*/ 2825437 h 2936314"/>
                  <a:gd name="connsiteX30" fmla="*/ 10048352 w 11867103"/>
                  <a:gd name="connsiteY30" fmla="*/ 2835485 h 2936314"/>
                  <a:gd name="connsiteX31" fmla="*/ 9555982 w 11867103"/>
                  <a:gd name="connsiteY31" fmla="*/ 2825437 h 2936314"/>
                  <a:gd name="connsiteX32" fmla="*/ 9445451 w 11867103"/>
                  <a:gd name="connsiteY32" fmla="*/ 2815389 h 2936314"/>
                  <a:gd name="connsiteX33" fmla="*/ 9415306 w 11867103"/>
                  <a:gd name="connsiteY33" fmla="*/ 2795292 h 2936314"/>
                  <a:gd name="connsiteX34" fmla="*/ 9204290 w 11867103"/>
                  <a:gd name="connsiteY34" fmla="*/ 2775195 h 2936314"/>
                  <a:gd name="connsiteX35" fmla="*/ 9073662 w 11867103"/>
                  <a:gd name="connsiteY35" fmla="*/ 2755098 h 2936314"/>
                  <a:gd name="connsiteX36" fmla="*/ 8812404 w 11867103"/>
                  <a:gd name="connsiteY36" fmla="*/ 2745050 h 2936314"/>
                  <a:gd name="connsiteX37" fmla="*/ 8400422 w 11867103"/>
                  <a:gd name="connsiteY37" fmla="*/ 2735002 h 2936314"/>
                  <a:gd name="connsiteX38" fmla="*/ 8269793 w 11867103"/>
                  <a:gd name="connsiteY38" fmla="*/ 2724953 h 2936314"/>
                  <a:gd name="connsiteX39" fmla="*/ 7797521 w 11867103"/>
                  <a:gd name="connsiteY39" fmla="*/ 2745050 h 2936314"/>
                  <a:gd name="connsiteX40" fmla="*/ 7717134 w 11867103"/>
                  <a:gd name="connsiteY40" fmla="*/ 2755098 h 2936314"/>
                  <a:gd name="connsiteX41" fmla="*/ 7486022 w 11867103"/>
                  <a:gd name="connsiteY41" fmla="*/ 2785244 h 2936314"/>
                  <a:gd name="connsiteX42" fmla="*/ 7395587 w 11867103"/>
                  <a:gd name="connsiteY42" fmla="*/ 2805340 h 2936314"/>
                  <a:gd name="connsiteX43" fmla="*/ 7325248 w 11867103"/>
                  <a:gd name="connsiteY43" fmla="*/ 2815389 h 2936314"/>
                  <a:gd name="connsiteX44" fmla="*/ 6863024 w 11867103"/>
                  <a:gd name="connsiteY44" fmla="*/ 2805340 h 2936314"/>
                  <a:gd name="connsiteX45" fmla="*/ 6722347 w 11867103"/>
                  <a:gd name="connsiteY45" fmla="*/ 2795292 h 2936314"/>
                  <a:gd name="connsiteX46" fmla="*/ 4903596 w 11867103"/>
                  <a:gd name="connsiteY46" fmla="*/ 2845534 h 2936314"/>
                  <a:gd name="connsiteX47" fmla="*/ 4722725 w 11867103"/>
                  <a:gd name="connsiteY47" fmla="*/ 2885727 h 2936314"/>
                  <a:gd name="connsiteX48" fmla="*/ 4300695 w 11867103"/>
                  <a:gd name="connsiteY48" fmla="*/ 2865630 h 2936314"/>
                  <a:gd name="connsiteX49" fmla="*/ 4059534 w 11867103"/>
                  <a:gd name="connsiteY49" fmla="*/ 2825437 h 2936314"/>
                  <a:gd name="connsiteX50" fmla="*/ 3768132 w 11867103"/>
                  <a:gd name="connsiteY50" fmla="*/ 2795292 h 2936314"/>
                  <a:gd name="connsiteX51" fmla="*/ 3627455 w 11867103"/>
                  <a:gd name="connsiteY51" fmla="*/ 2785244 h 2936314"/>
                  <a:gd name="connsiteX52" fmla="*/ 3125037 w 11867103"/>
                  <a:gd name="connsiteY52" fmla="*/ 2795292 h 2936314"/>
                  <a:gd name="connsiteX53" fmla="*/ 3064747 w 11867103"/>
                  <a:gd name="connsiteY53" fmla="*/ 2805340 h 2936314"/>
                  <a:gd name="connsiteX54" fmla="*/ 2009670 w 11867103"/>
                  <a:gd name="connsiteY54" fmla="*/ 2815389 h 2936314"/>
                  <a:gd name="connsiteX55" fmla="*/ 1678075 w 11867103"/>
                  <a:gd name="connsiteY55" fmla="*/ 2905824 h 2936314"/>
                  <a:gd name="connsiteX56" fmla="*/ 1607736 w 11867103"/>
                  <a:gd name="connsiteY56" fmla="*/ 2935969 h 2936314"/>
                  <a:gd name="connsiteX57" fmla="*/ 1135464 w 11867103"/>
                  <a:gd name="connsiteY57" fmla="*/ 2915872 h 2936314"/>
                  <a:gd name="connsiteX58" fmla="*/ 944545 w 11867103"/>
                  <a:gd name="connsiteY58" fmla="*/ 2885727 h 2936314"/>
                  <a:gd name="connsiteX59" fmla="*/ 723481 w 11867103"/>
                  <a:gd name="connsiteY59" fmla="*/ 2845534 h 2936314"/>
                  <a:gd name="connsiteX60" fmla="*/ 643095 w 11867103"/>
                  <a:gd name="connsiteY60" fmla="*/ 2835485 h 2936314"/>
                  <a:gd name="connsiteX61" fmla="*/ 371789 w 11867103"/>
                  <a:gd name="connsiteY61" fmla="*/ 2795292 h 2936314"/>
                  <a:gd name="connsiteX62" fmla="*/ 0 w 11867103"/>
                  <a:gd name="connsiteY62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06813 w 11867103"/>
                  <a:gd name="connsiteY18" fmla="*/ 182720 h 2936314"/>
                  <a:gd name="connsiteX19" fmla="*/ 11816862 w 11867103"/>
                  <a:gd name="connsiteY19" fmla="*/ 2302923 h 2936314"/>
                  <a:gd name="connsiteX20" fmla="*/ 11826910 w 11867103"/>
                  <a:gd name="connsiteY20" fmla="*/ 2373261 h 2936314"/>
                  <a:gd name="connsiteX21" fmla="*/ 11836958 w 11867103"/>
                  <a:gd name="connsiteY21" fmla="*/ 2403406 h 2936314"/>
                  <a:gd name="connsiteX22" fmla="*/ 11857055 w 11867103"/>
                  <a:gd name="connsiteY22" fmla="*/ 2534035 h 2936314"/>
                  <a:gd name="connsiteX23" fmla="*/ 11867103 w 11867103"/>
                  <a:gd name="connsiteY23" fmla="*/ 2574228 h 2936314"/>
                  <a:gd name="connsiteX24" fmla="*/ 11857055 w 11867103"/>
                  <a:gd name="connsiteY24" fmla="*/ 2805340 h 2936314"/>
                  <a:gd name="connsiteX25" fmla="*/ 11836958 w 11867103"/>
                  <a:gd name="connsiteY25" fmla="*/ 2835485 h 2936314"/>
                  <a:gd name="connsiteX26" fmla="*/ 11033090 w 11867103"/>
                  <a:gd name="connsiteY26" fmla="*/ 2825437 h 2936314"/>
                  <a:gd name="connsiteX27" fmla="*/ 10621108 w 11867103"/>
                  <a:gd name="connsiteY27" fmla="*/ 2815389 h 2936314"/>
                  <a:gd name="connsiteX28" fmla="*/ 10128739 w 11867103"/>
                  <a:gd name="connsiteY28" fmla="*/ 2825437 h 2936314"/>
                  <a:gd name="connsiteX29" fmla="*/ 10048352 w 11867103"/>
                  <a:gd name="connsiteY29" fmla="*/ 2835485 h 2936314"/>
                  <a:gd name="connsiteX30" fmla="*/ 9555982 w 11867103"/>
                  <a:gd name="connsiteY30" fmla="*/ 2825437 h 2936314"/>
                  <a:gd name="connsiteX31" fmla="*/ 9445451 w 11867103"/>
                  <a:gd name="connsiteY31" fmla="*/ 2815389 h 2936314"/>
                  <a:gd name="connsiteX32" fmla="*/ 9415306 w 11867103"/>
                  <a:gd name="connsiteY32" fmla="*/ 2795292 h 2936314"/>
                  <a:gd name="connsiteX33" fmla="*/ 9204290 w 11867103"/>
                  <a:gd name="connsiteY33" fmla="*/ 2775195 h 2936314"/>
                  <a:gd name="connsiteX34" fmla="*/ 9073662 w 11867103"/>
                  <a:gd name="connsiteY34" fmla="*/ 2755098 h 2936314"/>
                  <a:gd name="connsiteX35" fmla="*/ 8812404 w 11867103"/>
                  <a:gd name="connsiteY35" fmla="*/ 2745050 h 2936314"/>
                  <a:gd name="connsiteX36" fmla="*/ 8400422 w 11867103"/>
                  <a:gd name="connsiteY36" fmla="*/ 2735002 h 2936314"/>
                  <a:gd name="connsiteX37" fmla="*/ 8269793 w 11867103"/>
                  <a:gd name="connsiteY37" fmla="*/ 2724953 h 2936314"/>
                  <a:gd name="connsiteX38" fmla="*/ 7797521 w 11867103"/>
                  <a:gd name="connsiteY38" fmla="*/ 2745050 h 2936314"/>
                  <a:gd name="connsiteX39" fmla="*/ 7717134 w 11867103"/>
                  <a:gd name="connsiteY39" fmla="*/ 2755098 h 2936314"/>
                  <a:gd name="connsiteX40" fmla="*/ 7486022 w 11867103"/>
                  <a:gd name="connsiteY40" fmla="*/ 2785244 h 2936314"/>
                  <a:gd name="connsiteX41" fmla="*/ 7395587 w 11867103"/>
                  <a:gd name="connsiteY41" fmla="*/ 2805340 h 2936314"/>
                  <a:gd name="connsiteX42" fmla="*/ 7325248 w 11867103"/>
                  <a:gd name="connsiteY42" fmla="*/ 2815389 h 2936314"/>
                  <a:gd name="connsiteX43" fmla="*/ 6863024 w 11867103"/>
                  <a:gd name="connsiteY43" fmla="*/ 2805340 h 2936314"/>
                  <a:gd name="connsiteX44" fmla="*/ 6722347 w 11867103"/>
                  <a:gd name="connsiteY44" fmla="*/ 2795292 h 2936314"/>
                  <a:gd name="connsiteX45" fmla="*/ 4903596 w 11867103"/>
                  <a:gd name="connsiteY45" fmla="*/ 2845534 h 2936314"/>
                  <a:gd name="connsiteX46" fmla="*/ 4722725 w 11867103"/>
                  <a:gd name="connsiteY46" fmla="*/ 2885727 h 2936314"/>
                  <a:gd name="connsiteX47" fmla="*/ 4300695 w 11867103"/>
                  <a:gd name="connsiteY47" fmla="*/ 2865630 h 2936314"/>
                  <a:gd name="connsiteX48" fmla="*/ 4059534 w 11867103"/>
                  <a:gd name="connsiteY48" fmla="*/ 2825437 h 2936314"/>
                  <a:gd name="connsiteX49" fmla="*/ 3768132 w 11867103"/>
                  <a:gd name="connsiteY49" fmla="*/ 2795292 h 2936314"/>
                  <a:gd name="connsiteX50" fmla="*/ 3627455 w 11867103"/>
                  <a:gd name="connsiteY50" fmla="*/ 2785244 h 2936314"/>
                  <a:gd name="connsiteX51" fmla="*/ 3125037 w 11867103"/>
                  <a:gd name="connsiteY51" fmla="*/ 2795292 h 2936314"/>
                  <a:gd name="connsiteX52" fmla="*/ 3064747 w 11867103"/>
                  <a:gd name="connsiteY52" fmla="*/ 2805340 h 2936314"/>
                  <a:gd name="connsiteX53" fmla="*/ 2009670 w 11867103"/>
                  <a:gd name="connsiteY53" fmla="*/ 2815389 h 2936314"/>
                  <a:gd name="connsiteX54" fmla="*/ 1678075 w 11867103"/>
                  <a:gd name="connsiteY54" fmla="*/ 2905824 h 2936314"/>
                  <a:gd name="connsiteX55" fmla="*/ 1607736 w 11867103"/>
                  <a:gd name="connsiteY55" fmla="*/ 2935969 h 2936314"/>
                  <a:gd name="connsiteX56" fmla="*/ 1135464 w 11867103"/>
                  <a:gd name="connsiteY56" fmla="*/ 2915872 h 2936314"/>
                  <a:gd name="connsiteX57" fmla="*/ 944545 w 11867103"/>
                  <a:gd name="connsiteY57" fmla="*/ 2885727 h 2936314"/>
                  <a:gd name="connsiteX58" fmla="*/ 723481 w 11867103"/>
                  <a:gd name="connsiteY58" fmla="*/ 2845534 h 2936314"/>
                  <a:gd name="connsiteX59" fmla="*/ 643095 w 11867103"/>
                  <a:gd name="connsiteY59" fmla="*/ 2835485 h 2936314"/>
                  <a:gd name="connsiteX60" fmla="*/ 371789 w 11867103"/>
                  <a:gd name="connsiteY60" fmla="*/ 2795292 h 2936314"/>
                  <a:gd name="connsiteX61" fmla="*/ 0 w 11867103"/>
                  <a:gd name="connsiteY61" fmla="*/ 2785244 h 2936314"/>
                  <a:gd name="connsiteX0" fmla="*/ 120580 w 11867103"/>
                  <a:gd name="connsiteY0" fmla="*/ 21947 h 2936314"/>
                  <a:gd name="connsiteX1" fmla="*/ 281354 w 11867103"/>
                  <a:gd name="connsiteY1" fmla="*/ 11898 h 2936314"/>
                  <a:gd name="connsiteX2" fmla="*/ 673240 w 11867103"/>
                  <a:gd name="connsiteY2" fmla="*/ 1850 h 2936314"/>
                  <a:gd name="connsiteX3" fmla="*/ 1356528 w 11867103"/>
                  <a:gd name="connsiteY3" fmla="*/ 52092 h 2936314"/>
                  <a:gd name="connsiteX4" fmla="*/ 1758462 w 11867103"/>
                  <a:gd name="connsiteY4" fmla="*/ 11898 h 2936314"/>
                  <a:gd name="connsiteX5" fmla="*/ 2140299 w 11867103"/>
                  <a:gd name="connsiteY5" fmla="*/ 11898 h 2936314"/>
                  <a:gd name="connsiteX6" fmla="*/ 4652387 w 11867103"/>
                  <a:gd name="connsiteY6" fmla="*/ 31995 h 2936314"/>
                  <a:gd name="connsiteX7" fmla="*/ 4692580 w 11867103"/>
                  <a:gd name="connsiteY7" fmla="*/ 42044 h 2936314"/>
                  <a:gd name="connsiteX8" fmla="*/ 6420897 w 11867103"/>
                  <a:gd name="connsiteY8" fmla="*/ 62140 h 2936314"/>
                  <a:gd name="connsiteX9" fmla="*/ 7184571 w 11867103"/>
                  <a:gd name="connsiteY9" fmla="*/ 31995 h 2936314"/>
                  <a:gd name="connsiteX10" fmla="*/ 7928150 w 11867103"/>
                  <a:gd name="connsiteY10" fmla="*/ 31995 h 2936314"/>
                  <a:gd name="connsiteX11" fmla="*/ 8219552 w 11867103"/>
                  <a:gd name="connsiteY11" fmla="*/ 62140 h 2936314"/>
                  <a:gd name="connsiteX12" fmla="*/ 9606224 w 11867103"/>
                  <a:gd name="connsiteY12" fmla="*/ 62140 h 2936314"/>
                  <a:gd name="connsiteX13" fmla="*/ 9947868 w 11867103"/>
                  <a:gd name="connsiteY13" fmla="*/ 31995 h 2936314"/>
                  <a:gd name="connsiteX14" fmla="*/ 10791930 w 11867103"/>
                  <a:gd name="connsiteY14" fmla="*/ 1850 h 2936314"/>
                  <a:gd name="connsiteX15" fmla="*/ 11736475 w 11867103"/>
                  <a:gd name="connsiteY15" fmla="*/ 21947 h 2936314"/>
                  <a:gd name="connsiteX16" fmla="*/ 11766620 w 11867103"/>
                  <a:gd name="connsiteY16" fmla="*/ 52092 h 2936314"/>
                  <a:gd name="connsiteX17" fmla="*/ 11786717 w 11867103"/>
                  <a:gd name="connsiteY17" fmla="*/ 92285 h 2936314"/>
                  <a:gd name="connsiteX18" fmla="*/ 11816862 w 11867103"/>
                  <a:gd name="connsiteY18" fmla="*/ 2302923 h 2936314"/>
                  <a:gd name="connsiteX19" fmla="*/ 11826910 w 11867103"/>
                  <a:gd name="connsiteY19" fmla="*/ 2373261 h 2936314"/>
                  <a:gd name="connsiteX20" fmla="*/ 11836958 w 11867103"/>
                  <a:gd name="connsiteY20" fmla="*/ 2403406 h 2936314"/>
                  <a:gd name="connsiteX21" fmla="*/ 11857055 w 11867103"/>
                  <a:gd name="connsiteY21" fmla="*/ 2534035 h 2936314"/>
                  <a:gd name="connsiteX22" fmla="*/ 11867103 w 11867103"/>
                  <a:gd name="connsiteY22" fmla="*/ 2574228 h 2936314"/>
                  <a:gd name="connsiteX23" fmla="*/ 11857055 w 11867103"/>
                  <a:gd name="connsiteY23" fmla="*/ 2805340 h 2936314"/>
                  <a:gd name="connsiteX24" fmla="*/ 11836958 w 11867103"/>
                  <a:gd name="connsiteY24" fmla="*/ 2835485 h 2936314"/>
                  <a:gd name="connsiteX25" fmla="*/ 11033090 w 11867103"/>
                  <a:gd name="connsiteY25" fmla="*/ 2825437 h 2936314"/>
                  <a:gd name="connsiteX26" fmla="*/ 10621108 w 11867103"/>
                  <a:gd name="connsiteY26" fmla="*/ 2815389 h 2936314"/>
                  <a:gd name="connsiteX27" fmla="*/ 10128739 w 11867103"/>
                  <a:gd name="connsiteY27" fmla="*/ 2825437 h 2936314"/>
                  <a:gd name="connsiteX28" fmla="*/ 10048352 w 11867103"/>
                  <a:gd name="connsiteY28" fmla="*/ 2835485 h 2936314"/>
                  <a:gd name="connsiteX29" fmla="*/ 9555982 w 11867103"/>
                  <a:gd name="connsiteY29" fmla="*/ 2825437 h 2936314"/>
                  <a:gd name="connsiteX30" fmla="*/ 9445451 w 11867103"/>
                  <a:gd name="connsiteY30" fmla="*/ 2815389 h 2936314"/>
                  <a:gd name="connsiteX31" fmla="*/ 9415306 w 11867103"/>
                  <a:gd name="connsiteY31" fmla="*/ 2795292 h 2936314"/>
                  <a:gd name="connsiteX32" fmla="*/ 9204290 w 11867103"/>
                  <a:gd name="connsiteY32" fmla="*/ 2775195 h 2936314"/>
                  <a:gd name="connsiteX33" fmla="*/ 9073662 w 11867103"/>
                  <a:gd name="connsiteY33" fmla="*/ 2755098 h 2936314"/>
                  <a:gd name="connsiteX34" fmla="*/ 8812404 w 11867103"/>
                  <a:gd name="connsiteY34" fmla="*/ 2745050 h 2936314"/>
                  <a:gd name="connsiteX35" fmla="*/ 8400422 w 11867103"/>
                  <a:gd name="connsiteY35" fmla="*/ 2735002 h 2936314"/>
                  <a:gd name="connsiteX36" fmla="*/ 8269793 w 11867103"/>
                  <a:gd name="connsiteY36" fmla="*/ 2724953 h 2936314"/>
                  <a:gd name="connsiteX37" fmla="*/ 7797521 w 11867103"/>
                  <a:gd name="connsiteY37" fmla="*/ 2745050 h 2936314"/>
                  <a:gd name="connsiteX38" fmla="*/ 7717134 w 11867103"/>
                  <a:gd name="connsiteY38" fmla="*/ 2755098 h 2936314"/>
                  <a:gd name="connsiteX39" fmla="*/ 7486022 w 11867103"/>
                  <a:gd name="connsiteY39" fmla="*/ 2785244 h 2936314"/>
                  <a:gd name="connsiteX40" fmla="*/ 7395587 w 11867103"/>
                  <a:gd name="connsiteY40" fmla="*/ 2805340 h 2936314"/>
                  <a:gd name="connsiteX41" fmla="*/ 7325248 w 11867103"/>
                  <a:gd name="connsiteY41" fmla="*/ 2815389 h 2936314"/>
                  <a:gd name="connsiteX42" fmla="*/ 6863024 w 11867103"/>
                  <a:gd name="connsiteY42" fmla="*/ 2805340 h 2936314"/>
                  <a:gd name="connsiteX43" fmla="*/ 6722347 w 11867103"/>
                  <a:gd name="connsiteY43" fmla="*/ 2795292 h 2936314"/>
                  <a:gd name="connsiteX44" fmla="*/ 4903596 w 11867103"/>
                  <a:gd name="connsiteY44" fmla="*/ 2845534 h 2936314"/>
                  <a:gd name="connsiteX45" fmla="*/ 4722725 w 11867103"/>
                  <a:gd name="connsiteY45" fmla="*/ 2885727 h 2936314"/>
                  <a:gd name="connsiteX46" fmla="*/ 4300695 w 11867103"/>
                  <a:gd name="connsiteY46" fmla="*/ 2865630 h 2936314"/>
                  <a:gd name="connsiteX47" fmla="*/ 4059534 w 11867103"/>
                  <a:gd name="connsiteY47" fmla="*/ 2825437 h 2936314"/>
                  <a:gd name="connsiteX48" fmla="*/ 3768132 w 11867103"/>
                  <a:gd name="connsiteY48" fmla="*/ 2795292 h 2936314"/>
                  <a:gd name="connsiteX49" fmla="*/ 3627455 w 11867103"/>
                  <a:gd name="connsiteY49" fmla="*/ 2785244 h 2936314"/>
                  <a:gd name="connsiteX50" fmla="*/ 3125037 w 11867103"/>
                  <a:gd name="connsiteY50" fmla="*/ 2795292 h 2936314"/>
                  <a:gd name="connsiteX51" fmla="*/ 3064747 w 11867103"/>
                  <a:gd name="connsiteY51" fmla="*/ 2805340 h 2936314"/>
                  <a:gd name="connsiteX52" fmla="*/ 2009670 w 11867103"/>
                  <a:gd name="connsiteY52" fmla="*/ 2815389 h 2936314"/>
                  <a:gd name="connsiteX53" fmla="*/ 1678075 w 11867103"/>
                  <a:gd name="connsiteY53" fmla="*/ 2905824 h 2936314"/>
                  <a:gd name="connsiteX54" fmla="*/ 1607736 w 11867103"/>
                  <a:gd name="connsiteY54" fmla="*/ 2935969 h 2936314"/>
                  <a:gd name="connsiteX55" fmla="*/ 1135464 w 11867103"/>
                  <a:gd name="connsiteY55" fmla="*/ 2915872 h 2936314"/>
                  <a:gd name="connsiteX56" fmla="*/ 944545 w 11867103"/>
                  <a:gd name="connsiteY56" fmla="*/ 2885727 h 2936314"/>
                  <a:gd name="connsiteX57" fmla="*/ 723481 w 11867103"/>
                  <a:gd name="connsiteY57" fmla="*/ 2845534 h 2936314"/>
                  <a:gd name="connsiteX58" fmla="*/ 643095 w 11867103"/>
                  <a:gd name="connsiteY58" fmla="*/ 2835485 h 2936314"/>
                  <a:gd name="connsiteX59" fmla="*/ 371789 w 11867103"/>
                  <a:gd name="connsiteY59" fmla="*/ 2795292 h 2936314"/>
                  <a:gd name="connsiteX60" fmla="*/ 0 w 11867103"/>
                  <a:gd name="connsiteY60" fmla="*/ 2785244 h 2936314"/>
                  <a:gd name="connsiteX0" fmla="*/ 120580 w 11867103"/>
                  <a:gd name="connsiteY0" fmla="*/ 146825 h 3061192"/>
                  <a:gd name="connsiteX1" fmla="*/ 281354 w 11867103"/>
                  <a:gd name="connsiteY1" fmla="*/ 136776 h 3061192"/>
                  <a:gd name="connsiteX2" fmla="*/ 673240 w 11867103"/>
                  <a:gd name="connsiteY2" fmla="*/ 126728 h 3061192"/>
                  <a:gd name="connsiteX3" fmla="*/ 1356528 w 11867103"/>
                  <a:gd name="connsiteY3" fmla="*/ 176970 h 3061192"/>
                  <a:gd name="connsiteX4" fmla="*/ 1758462 w 11867103"/>
                  <a:gd name="connsiteY4" fmla="*/ 136776 h 3061192"/>
                  <a:gd name="connsiteX5" fmla="*/ 2140299 w 11867103"/>
                  <a:gd name="connsiteY5" fmla="*/ 136776 h 3061192"/>
                  <a:gd name="connsiteX6" fmla="*/ 4652387 w 11867103"/>
                  <a:gd name="connsiteY6" fmla="*/ 156873 h 3061192"/>
                  <a:gd name="connsiteX7" fmla="*/ 4692580 w 11867103"/>
                  <a:gd name="connsiteY7" fmla="*/ 166922 h 3061192"/>
                  <a:gd name="connsiteX8" fmla="*/ 6420897 w 11867103"/>
                  <a:gd name="connsiteY8" fmla="*/ 187018 h 3061192"/>
                  <a:gd name="connsiteX9" fmla="*/ 7184571 w 11867103"/>
                  <a:gd name="connsiteY9" fmla="*/ 156873 h 3061192"/>
                  <a:gd name="connsiteX10" fmla="*/ 7928150 w 11867103"/>
                  <a:gd name="connsiteY10" fmla="*/ 156873 h 3061192"/>
                  <a:gd name="connsiteX11" fmla="*/ 8219552 w 11867103"/>
                  <a:gd name="connsiteY11" fmla="*/ 187018 h 3061192"/>
                  <a:gd name="connsiteX12" fmla="*/ 9606224 w 11867103"/>
                  <a:gd name="connsiteY12" fmla="*/ 187018 h 3061192"/>
                  <a:gd name="connsiteX13" fmla="*/ 9947868 w 11867103"/>
                  <a:gd name="connsiteY13" fmla="*/ 156873 h 3061192"/>
                  <a:gd name="connsiteX14" fmla="*/ 10791930 w 11867103"/>
                  <a:gd name="connsiteY14" fmla="*/ 126728 h 3061192"/>
                  <a:gd name="connsiteX15" fmla="*/ 11736475 w 11867103"/>
                  <a:gd name="connsiteY15" fmla="*/ 146825 h 3061192"/>
                  <a:gd name="connsiteX16" fmla="*/ 11766620 w 11867103"/>
                  <a:gd name="connsiteY16" fmla="*/ 176970 h 3061192"/>
                  <a:gd name="connsiteX17" fmla="*/ 11816862 w 11867103"/>
                  <a:gd name="connsiteY17" fmla="*/ 2427801 h 3061192"/>
                  <a:gd name="connsiteX18" fmla="*/ 11826910 w 11867103"/>
                  <a:gd name="connsiteY18" fmla="*/ 2498139 h 3061192"/>
                  <a:gd name="connsiteX19" fmla="*/ 11836958 w 11867103"/>
                  <a:gd name="connsiteY19" fmla="*/ 2528284 h 3061192"/>
                  <a:gd name="connsiteX20" fmla="*/ 11857055 w 11867103"/>
                  <a:gd name="connsiteY20" fmla="*/ 2658913 h 3061192"/>
                  <a:gd name="connsiteX21" fmla="*/ 11867103 w 11867103"/>
                  <a:gd name="connsiteY21" fmla="*/ 2699106 h 3061192"/>
                  <a:gd name="connsiteX22" fmla="*/ 11857055 w 11867103"/>
                  <a:gd name="connsiteY22" fmla="*/ 2930218 h 3061192"/>
                  <a:gd name="connsiteX23" fmla="*/ 11836958 w 11867103"/>
                  <a:gd name="connsiteY23" fmla="*/ 2960363 h 3061192"/>
                  <a:gd name="connsiteX24" fmla="*/ 11033090 w 11867103"/>
                  <a:gd name="connsiteY24" fmla="*/ 2950315 h 3061192"/>
                  <a:gd name="connsiteX25" fmla="*/ 10621108 w 11867103"/>
                  <a:gd name="connsiteY25" fmla="*/ 2940267 h 3061192"/>
                  <a:gd name="connsiteX26" fmla="*/ 10128739 w 11867103"/>
                  <a:gd name="connsiteY26" fmla="*/ 2950315 h 3061192"/>
                  <a:gd name="connsiteX27" fmla="*/ 10048352 w 11867103"/>
                  <a:gd name="connsiteY27" fmla="*/ 2960363 h 3061192"/>
                  <a:gd name="connsiteX28" fmla="*/ 9555982 w 11867103"/>
                  <a:gd name="connsiteY28" fmla="*/ 2950315 h 3061192"/>
                  <a:gd name="connsiteX29" fmla="*/ 9445451 w 11867103"/>
                  <a:gd name="connsiteY29" fmla="*/ 2940267 h 3061192"/>
                  <a:gd name="connsiteX30" fmla="*/ 9415306 w 11867103"/>
                  <a:gd name="connsiteY30" fmla="*/ 2920170 h 3061192"/>
                  <a:gd name="connsiteX31" fmla="*/ 9204290 w 11867103"/>
                  <a:gd name="connsiteY31" fmla="*/ 2900073 h 3061192"/>
                  <a:gd name="connsiteX32" fmla="*/ 9073662 w 11867103"/>
                  <a:gd name="connsiteY32" fmla="*/ 2879976 h 3061192"/>
                  <a:gd name="connsiteX33" fmla="*/ 8812404 w 11867103"/>
                  <a:gd name="connsiteY33" fmla="*/ 2869928 h 3061192"/>
                  <a:gd name="connsiteX34" fmla="*/ 8400422 w 11867103"/>
                  <a:gd name="connsiteY34" fmla="*/ 2859880 h 3061192"/>
                  <a:gd name="connsiteX35" fmla="*/ 8269793 w 11867103"/>
                  <a:gd name="connsiteY35" fmla="*/ 2849831 h 3061192"/>
                  <a:gd name="connsiteX36" fmla="*/ 7797521 w 11867103"/>
                  <a:gd name="connsiteY36" fmla="*/ 2869928 h 3061192"/>
                  <a:gd name="connsiteX37" fmla="*/ 7717134 w 11867103"/>
                  <a:gd name="connsiteY37" fmla="*/ 2879976 h 3061192"/>
                  <a:gd name="connsiteX38" fmla="*/ 7486022 w 11867103"/>
                  <a:gd name="connsiteY38" fmla="*/ 2910122 h 3061192"/>
                  <a:gd name="connsiteX39" fmla="*/ 7395587 w 11867103"/>
                  <a:gd name="connsiteY39" fmla="*/ 2930218 h 3061192"/>
                  <a:gd name="connsiteX40" fmla="*/ 7325248 w 11867103"/>
                  <a:gd name="connsiteY40" fmla="*/ 2940267 h 3061192"/>
                  <a:gd name="connsiteX41" fmla="*/ 6863024 w 11867103"/>
                  <a:gd name="connsiteY41" fmla="*/ 2930218 h 3061192"/>
                  <a:gd name="connsiteX42" fmla="*/ 6722347 w 11867103"/>
                  <a:gd name="connsiteY42" fmla="*/ 2920170 h 3061192"/>
                  <a:gd name="connsiteX43" fmla="*/ 4903596 w 11867103"/>
                  <a:gd name="connsiteY43" fmla="*/ 2970412 h 3061192"/>
                  <a:gd name="connsiteX44" fmla="*/ 4722725 w 11867103"/>
                  <a:gd name="connsiteY44" fmla="*/ 3010605 h 3061192"/>
                  <a:gd name="connsiteX45" fmla="*/ 4300695 w 11867103"/>
                  <a:gd name="connsiteY45" fmla="*/ 2990508 h 3061192"/>
                  <a:gd name="connsiteX46" fmla="*/ 4059534 w 11867103"/>
                  <a:gd name="connsiteY46" fmla="*/ 2950315 h 3061192"/>
                  <a:gd name="connsiteX47" fmla="*/ 3768132 w 11867103"/>
                  <a:gd name="connsiteY47" fmla="*/ 2920170 h 3061192"/>
                  <a:gd name="connsiteX48" fmla="*/ 3627455 w 11867103"/>
                  <a:gd name="connsiteY48" fmla="*/ 2910122 h 3061192"/>
                  <a:gd name="connsiteX49" fmla="*/ 3125037 w 11867103"/>
                  <a:gd name="connsiteY49" fmla="*/ 2920170 h 3061192"/>
                  <a:gd name="connsiteX50" fmla="*/ 3064747 w 11867103"/>
                  <a:gd name="connsiteY50" fmla="*/ 2930218 h 3061192"/>
                  <a:gd name="connsiteX51" fmla="*/ 2009670 w 11867103"/>
                  <a:gd name="connsiteY51" fmla="*/ 2940267 h 3061192"/>
                  <a:gd name="connsiteX52" fmla="*/ 1678075 w 11867103"/>
                  <a:gd name="connsiteY52" fmla="*/ 3030702 h 3061192"/>
                  <a:gd name="connsiteX53" fmla="*/ 1607736 w 11867103"/>
                  <a:gd name="connsiteY53" fmla="*/ 3060847 h 3061192"/>
                  <a:gd name="connsiteX54" fmla="*/ 1135464 w 11867103"/>
                  <a:gd name="connsiteY54" fmla="*/ 3040750 h 3061192"/>
                  <a:gd name="connsiteX55" fmla="*/ 944545 w 11867103"/>
                  <a:gd name="connsiteY55" fmla="*/ 3010605 h 3061192"/>
                  <a:gd name="connsiteX56" fmla="*/ 723481 w 11867103"/>
                  <a:gd name="connsiteY56" fmla="*/ 2970412 h 3061192"/>
                  <a:gd name="connsiteX57" fmla="*/ 643095 w 11867103"/>
                  <a:gd name="connsiteY57" fmla="*/ 2960363 h 3061192"/>
                  <a:gd name="connsiteX58" fmla="*/ 371789 w 11867103"/>
                  <a:gd name="connsiteY58" fmla="*/ 2920170 h 3061192"/>
                  <a:gd name="connsiteX59" fmla="*/ 0 w 11867103"/>
                  <a:gd name="connsiteY59" fmla="*/ 2910122 h 3061192"/>
                  <a:gd name="connsiteX0" fmla="*/ 120580 w 11867103"/>
                  <a:gd name="connsiteY0" fmla="*/ 58358 h 2972725"/>
                  <a:gd name="connsiteX1" fmla="*/ 281354 w 11867103"/>
                  <a:gd name="connsiteY1" fmla="*/ 48309 h 2972725"/>
                  <a:gd name="connsiteX2" fmla="*/ 673240 w 11867103"/>
                  <a:gd name="connsiteY2" fmla="*/ 38261 h 2972725"/>
                  <a:gd name="connsiteX3" fmla="*/ 1356528 w 11867103"/>
                  <a:gd name="connsiteY3" fmla="*/ 88503 h 2972725"/>
                  <a:gd name="connsiteX4" fmla="*/ 1758462 w 11867103"/>
                  <a:gd name="connsiteY4" fmla="*/ 48309 h 2972725"/>
                  <a:gd name="connsiteX5" fmla="*/ 2140299 w 11867103"/>
                  <a:gd name="connsiteY5" fmla="*/ 48309 h 2972725"/>
                  <a:gd name="connsiteX6" fmla="*/ 4652387 w 11867103"/>
                  <a:gd name="connsiteY6" fmla="*/ 68406 h 2972725"/>
                  <a:gd name="connsiteX7" fmla="*/ 4692580 w 11867103"/>
                  <a:gd name="connsiteY7" fmla="*/ 78455 h 2972725"/>
                  <a:gd name="connsiteX8" fmla="*/ 6420897 w 11867103"/>
                  <a:gd name="connsiteY8" fmla="*/ 98551 h 2972725"/>
                  <a:gd name="connsiteX9" fmla="*/ 7184571 w 11867103"/>
                  <a:gd name="connsiteY9" fmla="*/ 68406 h 2972725"/>
                  <a:gd name="connsiteX10" fmla="*/ 7928150 w 11867103"/>
                  <a:gd name="connsiteY10" fmla="*/ 68406 h 2972725"/>
                  <a:gd name="connsiteX11" fmla="*/ 8219552 w 11867103"/>
                  <a:gd name="connsiteY11" fmla="*/ 98551 h 2972725"/>
                  <a:gd name="connsiteX12" fmla="*/ 9606224 w 11867103"/>
                  <a:gd name="connsiteY12" fmla="*/ 98551 h 2972725"/>
                  <a:gd name="connsiteX13" fmla="*/ 9947868 w 11867103"/>
                  <a:gd name="connsiteY13" fmla="*/ 68406 h 2972725"/>
                  <a:gd name="connsiteX14" fmla="*/ 10791930 w 11867103"/>
                  <a:gd name="connsiteY14" fmla="*/ 38261 h 2972725"/>
                  <a:gd name="connsiteX15" fmla="*/ 11736475 w 11867103"/>
                  <a:gd name="connsiteY15" fmla="*/ 58358 h 2972725"/>
                  <a:gd name="connsiteX16" fmla="*/ 11806813 w 11867103"/>
                  <a:gd name="connsiteY16" fmla="*/ 771791 h 2972725"/>
                  <a:gd name="connsiteX17" fmla="*/ 11816862 w 11867103"/>
                  <a:gd name="connsiteY17" fmla="*/ 2339334 h 2972725"/>
                  <a:gd name="connsiteX18" fmla="*/ 11826910 w 11867103"/>
                  <a:gd name="connsiteY18" fmla="*/ 2409672 h 2972725"/>
                  <a:gd name="connsiteX19" fmla="*/ 11836958 w 11867103"/>
                  <a:gd name="connsiteY19" fmla="*/ 2439817 h 2972725"/>
                  <a:gd name="connsiteX20" fmla="*/ 11857055 w 11867103"/>
                  <a:gd name="connsiteY20" fmla="*/ 2570446 h 2972725"/>
                  <a:gd name="connsiteX21" fmla="*/ 11867103 w 11867103"/>
                  <a:gd name="connsiteY21" fmla="*/ 2610639 h 2972725"/>
                  <a:gd name="connsiteX22" fmla="*/ 11857055 w 11867103"/>
                  <a:gd name="connsiteY22" fmla="*/ 2841751 h 2972725"/>
                  <a:gd name="connsiteX23" fmla="*/ 11836958 w 11867103"/>
                  <a:gd name="connsiteY23" fmla="*/ 2871896 h 2972725"/>
                  <a:gd name="connsiteX24" fmla="*/ 11033090 w 11867103"/>
                  <a:gd name="connsiteY24" fmla="*/ 2861848 h 2972725"/>
                  <a:gd name="connsiteX25" fmla="*/ 10621108 w 11867103"/>
                  <a:gd name="connsiteY25" fmla="*/ 2851800 h 2972725"/>
                  <a:gd name="connsiteX26" fmla="*/ 10128739 w 11867103"/>
                  <a:gd name="connsiteY26" fmla="*/ 2861848 h 2972725"/>
                  <a:gd name="connsiteX27" fmla="*/ 10048352 w 11867103"/>
                  <a:gd name="connsiteY27" fmla="*/ 2871896 h 2972725"/>
                  <a:gd name="connsiteX28" fmla="*/ 9555982 w 11867103"/>
                  <a:gd name="connsiteY28" fmla="*/ 2861848 h 2972725"/>
                  <a:gd name="connsiteX29" fmla="*/ 9445451 w 11867103"/>
                  <a:gd name="connsiteY29" fmla="*/ 2851800 h 2972725"/>
                  <a:gd name="connsiteX30" fmla="*/ 9415306 w 11867103"/>
                  <a:gd name="connsiteY30" fmla="*/ 2831703 h 2972725"/>
                  <a:gd name="connsiteX31" fmla="*/ 9204290 w 11867103"/>
                  <a:gd name="connsiteY31" fmla="*/ 2811606 h 2972725"/>
                  <a:gd name="connsiteX32" fmla="*/ 9073662 w 11867103"/>
                  <a:gd name="connsiteY32" fmla="*/ 2791509 h 2972725"/>
                  <a:gd name="connsiteX33" fmla="*/ 8812404 w 11867103"/>
                  <a:gd name="connsiteY33" fmla="*/ 2781461 h 2972725"/>
                  <a:gd name="connsiteX34" fmla="*/ 8400422 w 11867103"/>
                  <a:gd name="connsiteY34" fmla="*/ 2771413 h 2972725"/>
                  <a:gd name="connsiteX35" fmla="*/ 8269793 w 11867103"/>
                  <a:gd name="connsiteY35" fmla="*/ 2761364 h 2972725"/>
                  <a:gd name="connsiteX36" fmla="*/ 7797521 w 11867103"/>
                  <a:gd name="connsiteY36" fmla="*/ 2781461 h 2972725"/>
                  <a:gd name="connsiteX37" fmla="*/ 7717134 w 11867103"/>
                  <a:gd name="connsiteY37" fmla="*/ 2791509 h 2972725"/>
                  <a:gd name="connsiteX38" fmla="*/ 7486022 w 11867103"/>
                  <a:gd name="connsiteY38" fmla="*/ 2821655 h 2972725"/>
                  <a:gd name="connsiteX39" fmla="*/ 7395587 w 11867103"/>
                  <a:gd name="connsiteY39" fmla="*/ 2841751 h 2972725"/>
                  <a:gd name="connsiteX40" fmla="*/ 7325248 w 11867103"/>
                  <a:gd name="connsiteY40" fmla="*/ 2851800 h 2972725"/>
                  <a:gd name="connsiteX41" fmla="*/ 6863024 w 11867103"/>
                  <a:gd name="connsiteY41" fmla="*/ 2841751 h 2972725"/>
                  <a:gd name="connsiteX42" fmla="*/ 6722347 w 11867103"/>
                  <a:gd name="connsiteY42" fmla="*/ 2831703 h 2972725"/>
                  <a:gd name="connsiteX43" fmla="*/ 4903596 w 11867103"/>
                  <a:gd name="connsiteY43" fmla="*/ 2881945 h 2972725"/>
                  <a:gd name="connsiteX44" fmla="*/ 4722725 w 11867103"/>
                  <a:gd name="connsiteY44" fmla="*/ 2922138 h 2972725"/>
                  <a:gd name="connsiteX45" fmla="*/ 4300695 w 11867103"/>
                  <a:gd name="connsiteY45" fmla="*/ 2902041 h 2972725"/>
                  <a:gd name="connsiteX46" fmla="*/ 4059534 w 11867103"/>
                  <a:gd name="connsiteY46" fmla="*/ 2861848 h 2972725"/>
                  <a:gd name="connsiteX47" fmla="*/ 3768132 w 11867103"/>
                  <a:gd name="connsiteY47" fmla="*/ 2831703 h 2972725"/>
                  <a:gd name="connsiteX48" fmla="*/ 3627455 w 11867103"/>
                  <a:gd name="connsiteY48" fmla="*/ 2821655 h 2972725"/>
                  <a:gd name="connsiteX49" fmla="*/ 3125037 w 11867103"/>
                  <a:gd name="connsiteY49" fmla="*/ 2831703 h 2972725"/>
                  <a:gd name="connsiteX50" fmla="*/ 3064747 w 11867103"/>
                  <a:gd name="connsiteY50" fmla="*/ 2841751 h 2972725"/>
                  <a:gd name="connsiteX51" fmla="*/ 2009670 w 11867103"/>
                  <a:gd name="connsiteY51" fmla="*/ 2851800 h 2972725"/>
                  <a:gd name="connsiteX52" fmla="*/ 1678075 w 11867103"/>
                  <a:gd name="connsiteY52" fmla="*/ 2942235 h 2972725"/>
                  <a:gd name="connsiteX53" fmla="*/ 1607736 w 11867103"/>
                  <a:gd name="connsiteY53" fmla="*/ 2972380 h 2972725"/>
                  <a:gd name="connsiteX54" fmla="*/ 1135464 w 11867103"/>
                  <a:gd name="connsiteY54" fmla="*/ 2952283 h 2972725"/>
                  <a:gd name="connsiteX55" fmla="*/ 944545 w 11867103"/>
                  <a:gd name="connsiteY55" fmla="*/ 2922138 h 2972725"/>
                  <a:gd name="connsiteX56" fmla="*/ 723481 w 11867103"/>
                  <a:gd name="connsiteY56" fmla="*/ 2881945 h 2972725"/>
                  <a:gd name="connsiteX57" fmla="*/ 643095 w 11867103"/>
                  <a:gd name="connsiteY57" fmla="*/ 2871896 h 2972725"/>
                  <a:gd name="connsiteX58" fmla="*/ 371789 w 11867103"/>
                  <a:gd name="connsiteY58" fmla="*/ 2831703 h 2972725"/>
                  <a:gd name="connsiteX59" fmla="*/ 0 w 11867103"/>
                  <a:gd name="connsiteY59" fmla="*/ 2821655 h 2972725"/>
                  <a:gd name="connsiteX0" fmla="*/ 120580 w 11867103"/>
                  <a:gd name="connsiteY0" fmla="*/ 91200 h 3005567"/>
                  <a:gd name="connsiteX1" fmla="*/ 281354 w 11867103"/>
                  <a:gd name="connsiteY1" fmla="*/ 81151 h 3005567"/>
                  <a:gd name="connsiteX2" fmla="*/ 673240 w 11867103"/>
                  <a:gd name="connsiteY2" fmla="*/ 71103 h 3005567"/>
                  <a:gd name="connsiteX3" fmla="*/ 1356528 w 11867103"/>
                  <a:gd name="connsiteY3" fmla="*/ 121345 h 3005567"/>
                  <a:gd name="connsiteX4" fmla="*/ 1758462 w 11867103"/>
                  <a:gd name="connsiteY4" fmla="*/ 81151 h 3005567"/>
                  <a:gd name="connsiteX5" fmla="*/ 2140299 w 11867103"/>
                  <a:gd name="connsiteY5" fmla="*/ 81151 h 3005567"/>
                  <a:gd name="connsiteX6" fmla="*/ 4652387 w 11867103"/>
                  <a:gd name="connsiteY6" fmla="*/ 101248 h 3005567"/>
                  <a:gd name="connsiteX7" fmla="*/ 4692580 w 11867103"/>
                  <a:gd name="connsiteY7" fmla="*/ 111297 h 3005567"/>
                  <a:gd name="connsiteX8" fmla="*/ 6420897 w 11867103"/>
                  <a:gd name="connsiteY8" fmla="*/ 131393 h 3005567"/>
                  <a:gd name="connsiteX9" fmla="*/ 7184571 w 11867103"/>
                  <a:gd name="connsiteY9" fmla="*/ 101248 h 3005567"/>
                  <a:gd name="connsiteX10" fmla="*/ 7928150 w 11867103"/>
                  <a:gd name="connsiteY10" fmla="*/ 101248 h 3005567"/>
                  <a:gd name="connsiteX11" fmla="*/ 8219552 w 11867103"/>
                  <a:gd name="connsiteY11" fmla="*/ 131393 h 3005567"/>
                  <a:gd name="connsiteX12" fmla="*/ 9606224 w 11867103"/>
                  <a:gd name="connsiteY12" fmla="*/ 131393 h 3005567"/>
                  <a:gd name="connsiteX13" fmla="*/ 9947868 w 11867103"/>
                  <a:gd name="connsiteY13" fmla="*/ 101248 h 3005567"/>
                  <a:gd name="connsiteX14" fmla="*/ 10791930 w 11867103"/>
                  <a:gd name="connsiteY14" fmla="*/ 71103 h 3005567"/>
                  <a:gd name="connsiteX15" fmla="*/ 11736475 w 11867103"/>
                  <a:gd name="connsiteY15" fmla="*/ 91200 h 3005567"/>
                  <a:gd name="connsiteX16" fmla="*/ 11806813 w 11867103"/>
                  <a:gd name="connsiteY16" fmla="*/ 804633 h 3005567"/>
                  <a:gd name="connsiteX17" fmla="*/ 11816862 w 11867103"/>
                  <a:gd name="connsiteY17" fmla="*/ 2372176 h 3005567"/>
                  <a:gd name="connsiteX18" fmla="*/ 11826910 w 11867103"/>
                  <a:gd name="connsiteY18" fmla="*/ 2442514 h 3005567"/>
                  <a:gd name="connsiteX19" fmla="*/ 11836958 w 11867103"/>
                  <a:gd name="connsiteY19" fmla="*/ 2472659 h 3005567"/>
                  <a:gd name="connsiteX20" fmla="*/ 11857055 w 11867103"/>
                  <a:gd name="connsiteY20" fmla="*/ 2603288 h 3005567"/>
                  <a:gd name="connsiteX21" fmla="*/ 11867103 w 11867103"/>
                  <a:gd name="connsiteY21" fmla="*/ 2643481 h 3005567"/>
                  <a:gd name="connsiteX22" fmla="*/ 11857055 w 11867103"/>
                  <a:gd name="connsiteY22" fmla="*/ 2874593 h 3005567"/>
                  <a:gd name="connsiteX23" fmla="*/ 11836958 w 11867103"/>
                  <a:gd name="connsiteY23" fmla="*/ 2904738 h 3005567"/>
                  <a:gd name="connsiteX24" fmla="*/ 11033090 w 11867103"/>
                  <a:gd name="connsiteY24" fmla="*/ 2894690 h 3005567"/>
                  <a:gd name="connsiteX25" fmla="*/ 10621108 w 11867103"/>
                  <a:gd name="connsiteY25" fmla="*/ 2884642 h 3005567"/>
                  <a:gd name="connsiteX26" fmla="*/ 10128739 w 11867103"/>
                  <a:gd name="connsiteY26" fmla="*/ 2894690 h 3005567"/>
                  <a:gd name="connsiteX27" fmla="*/ 10048352 w 11867103"/>
                  <a:gd name="connsiteY27" fmla="*/ 2904738 h 3005567"/>
                  <a:gd name="connsiteX28" fmla="*/ 9555982 w 11867103"/>
                  <a:gd name="connsiteY28" fmla="*/ 2894690 h 3005567"/>
                  <a:gd name="connsiteX29" fmla="*/ 9445451 w 11867103"/>
                  <a:gd name="connsiteY29" fmla="*/ 2884642 h 3005567"/>
                  <a:gd name="connsiteX30" fmla="*/ 9415306 w 11867103"/>
                  <a:gd name="connsiteY30" fmla="*/ 2864545 h 3005567"/>
                  <a:gd name="connsiteX31" fmla="*/ 9204290 w 11867103"/>
                  <a:gd name="connsiteY31" fmla="*/ 2844448 h 3005567"/>
                  <a:gd name="connsiteX32" fmla="*/ 9073662 w 11867103"/>
                  <a:gd name="connsiteY32" fmla="*/ 2824351 h 3005567"/>
                  <a:gd name="connsiteX33" fmla="*/ 8812404 w 11867103"/>
                  <a:gd name="connsiteY33" fmla="*/ 2814303 h 3005567"/>
                  <a:gd name="connsiteX34" fmla="*/ 8400422 w 11867103"/>
                  <a:gd name="connsiteY34" fmla="*/ 2804255 h 3005567"/>
                  <a:gd name="connsiteX35" fmla="*/ 8269793 w 11867103"/>
                  <a:gd name="connsiteY35" fmla="*/ 2794206 h 3005567"/>
                  <a:gd name="connsiteX36" fmla="*/ 7797521 w 11867103"/>
                  <a:gd name="connsiteY36" fmla="*/ 2814303 h 3005567"/>
                  <a:gd name="connsiteX37" fmla="*/ 7717134 w 11867103"/>
                  <a:gd name="connsiteY37" fmla="*/ 2824351 h 3005567"/>
                  <a:gd name="connsiteX38" fmla="*/ 7486022 w 11867103"/>
                  <a:gd name="connsiteY38" fmla="*/ 2854497 h 3005567"/>
                  <a:gd name="connsiteX39" fmla="*/ 7395587 w 11867103"/>
                  <a:gd name="connsiteY39" fmla="*/ 2874593 h 3005567"/>
                  <a:gd name="connsiteX40" fmla="*/ 7325248 w 11867103"/>
                  <a:gd name="connsiteY40" fmla="*/ 2884642 h 3005567"/>
                  <a:gd name="connsiteX41" fmla="*/ 6863024 w 11867103"/>
                  <a:gd name="connsiteY41" fmla="*/ 2874593 h 3005567"/>
                  <a:gd name="connsiteX42" fmla="*/ 6722347 w 11867103"/>
                  <a:gd name="connsiteY42" fmla="*/ 2864545 h 3005567"/>
                  <a:gd name="connsiteX43" fmla="*/ 4903596 w 11867103"/>
                  <a:gd name="connsiteY43" fmla="*/ 2914787 h 3005567"/>
                  <a:gd name="connsiteX44" fmla="*/ 4722725 w 11867103"/>
                  <a:gd name="connsiteY44" fmla="*/ 2954980 h 3005567"/>
                  <a:gd name="connsiteX45" fmla="*/ 4300695 w 11867103"/>
                  <a:gd name="connsiteY45" fmla="*/ 2934883 h 3005567"/>
                  <a:gd name="connsiteX46" fmla="*/ 4059534 w 11867103"/>
                  <a:gd name="connsiteY46" fmla="*/ 2894690 h 3005567"/>
                  <a:gd name="connsiteX47" fmla="*/ 3768132 w 11867103"/>
                  <a:gd name="connsiteY47" fmla="*/ 2864545 h 3005567"/>
                  <a:gd name="connsiteX48" fmla="*/ 3627455 w 11867103"/>
                  <a:gd name="connsiteY48" fmla="*/ 2854497 h 3005567"/>
                  <a:gd name="connsiteX49" fmla="*/ 3125037 w 11867103"/>
                  <a:gd name="connsiteY49" fmla="*/ 2864545 h 3005567"/>
                  <a:gd name="connsiteX50" fmla="*/ 3064747 w 11867103"/>
                  <a:gd name="connsiteY50" fmla="*/ 2874593 h 3005567"/>
                  <a:gd name="connsiteX51" fmla="*/ 2009670 w 11867103"/>
                  <a:gd name="connsiteY51" fmla="*/ 2884642 h 3005567"/>
                  <a:gd name="connsiteX52" fmla="*/ 1678075 w 11867103"/>
                  <a:gd name="connsiteY52" fmla="*/ 2975077 h 3005567"/>
                  <a:gd name="connsiteX53" fmla="*/ 1607736 w 11867103"/>
                  <a:gd name="connsiteY53" fmla="*/ 3005222 h 3005567"/>
                  <a:gd name="connsiteX54" fmla="*/ 1135464 w 11867103"/>
                  <a:gd name="connsiteY54" fmla="*/ 2985125 h 3005567"/>
                  <a:gd name="connsiteX55" fmla="*/ 944545 w 11867103"/>
                  <a:gd name="connsiteY55" fmla="*/ 2954980 h 3005567"/>
                  <a:gd name="connsiteX56" fmla="*/ 723481 w 11867103"/>
                  <a:gd name="connsiteY56" fmla="*/ 2914787 h 3005567"/>
                  <a:gd name="connsiteX57" fmla="*/ 643095 w 11867103"/>
                  <a:gd name="connsiteY57" fmla="*/ 2904738 h 3005567"/>
                  <a:gd name="connsiteX58" fmla="*/ 371789 w 11867103"/>
                  <a:gd name="connsiteY58" fmla="*/ 2864545 h 3005567"/>
                  <a:gd name="connsiteX59" fmla="*/ 0 w 11867103"/>
                  <a:gd name="connsiteY59" fmla="*/ 2854497 h 3005567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26910 w 11867103"/>
                  <a:gd name="connsiteY18" fmla="*/ 2406925 h 2969978"/>
                  <a:gd name="connsiteX19" fmla="*/ 11836958 w 11867103"/>
                  <a:gd name="connsiteY19" fmla="*/ 2437070 h 2969978"/>
                  <a:gd name="connsiteX20" fmla="*/ 11857055 w 11867103"/>
                  <a:gd name="connsiteY20" fmla="*/ 2567699 h 2969978"/>
                  <a:gd name="connsiteX21" fmla="*/ 11867103 w 11867103"/>
                  <a:gd name="connsiteY21" fmla="*/ 2607892 h 2969978"/>
                  <a:gd name="connsiteX22" fmla="*/ 11857055 w 11867103"/>
                  <a:gd name="connsiteY22" fmla="*/ 2839004 h 2969978"/>
                  <a:gd name="connsiteX23" fmla="*/ 11836958 w 11867103"/>
                  <a:gd name="connsiteY23" fmla="*/ 2869149 h 2969978"/>
                  <a:gd name="connsiteX24" fmla="*/ 11033090 w 11867103"/>
                  <a:gd name="connsiteY24" fmla="*/ 2859101 h 2969978"/>
                  <a:gd name="connsiteX25" fmla="*/ 10621108 w 11867103"/>
                  <a:gd name="connsiteY25" fmla="*/ 2849053 h 2969978"/>
                  <a:gd name="connsiteX26" fmla="*/ 10128739 w 11867103"/>
                  <a:gd name="connsiteY26" fmla="*/ 2859101 h 2969978"/>
                  <a:gd name="connsiteX27" fmla="*/ 10048352 w 11867103"/>
                  <a:gd name="connsiteY27" fmla="*/ 2869149 h 2969978"/>
                  <a:gd name="connsiteX28" fmla="*/ 9555982 w 11867103"/>
                  <a:gd name="connsiteY28" fmla="*/ 2859101 h 2969978"/>
                  <a:gd name="connsiteX29" fmla="*/ 9445451 w 11867103"/>
                  <a:gd name="connsiteY29" fmla="*/ 2849053 h 2969978"/>
                  <a:gd name="connsiteX30" fmla="*/ 9415306 w 11867103"/>
                  <a:gd name="connsiteY30" fmla="*/ 2828956 h 2969978"/>
                  <a:gd name="connsiteX31" fmla="*/ 9204290 w 11867103"/>
                  <a:gd name="connsiteY31" fmla="*/ 2808859 h 2969978"/>
                  <a:gd name="connsiteX32" fmla="*/ 9073662 w 11867103"/>
                  <a:gd name="connsiteY32" fmla="*/ 2788762 h 2969978"/>
                  <a:gd name="connsiteX33" fmla="*/ 8812404 w 11867103"/>
                  <a:gd name="connsiteY33" fmla="*/ 2778714 h 2969978"/>
                  <a:gd name="connsiteX34" fmla="*/ 8400422 w 11867103"/>
                  <a:gd name="connsiteY34" fmla="*/ 2768666 h 2969978"/>
                  <a:gd name="connsiteX35" fmla="*/ 8269793 w 11867103"/>
                  <a:gd name="connsiteY35" fmla="*/ 2758617 h 2969978"/>
                  <a:gd name="connsiteX36" fmla="*/ 7797521 w 11867103"/>
                  <a:gd name="connsiteY36" fmla="*/ 2778714 h 2969978"/>
                  <a:gd name="connsiteX37" fmla="*/ 7717134 w 11867103"/>
                  <a:gd name="connsiteY37" fmla="*/ 2788762 h 2969978"/>
                  <a:gd name="connsiteX38" fmla="*/ 7486022 w 11867103"/>
                  <a:gd name="connsiteY38" fmla="*/ 2818908 h 2969978"/>
                  <a:gd name="connsiteX39" fmla="*/ 7395587 w 11867103"/>
                  <a:gd name="connsiteY39" fmla="*/ 2839004 h 2969978"/>
                  <a:gd name="connsiteX40" fmla="*/ 7325248 w 11867103"/>
                  <a:gd name="connsiteY40" fmla="*/ 2849053 h 2969978"/>
                  <a:gd name="connsiteX41" fmla="*/ 6863024 w 11867103"/>
                  <a:gd name="connsiteY41" fmla="*/ 2839004 h 2969978"/>
                  <a:gd name="connsiteX42" fmla="*/ 6722347 w 11867103"/>
                  <a:gd name="connsiteY42" fmla="*/ 2828956 h 2969978"/>
                  <a:gd name="connsiteX43" fmla="*/ 4903596 w 11867103"/>
                  <a:gd name="connsiteY43" fmla="*/ 2879198 h 2969978"/>
                  <a:gd name="connsiteX44" fmla="*/ 4722725 w 11867103"/>
                  <a:gd name="connsiteY44" fmla="*/ 2919391 h 2969978"/>
                  <a:gd name="connsiteX45" fmla="*/ 4300695 w 11867103"/>
                  <a:gd name="connsiteY45" fmla="*/ 2899294 h 2969978"/>
                  <a:gd name="connsiteX46" fmla="*/ 4059534 w 11867103"/>
                  <a:gd name="connsiteY46" fmla="*/ 2859101 h 2969978"/>
                  <a:gd name="connsiteX47" fmla="*/ 3768132 w 11867103"/>
                  <a:gd name="connsiteY47" fmla="*/ 2828956 h 2969978"/>
                  <a:gd name="connsiteX48" fmla="*/ 3627455 w 11867103"/>
                  <a:gd name="connsiteY48" fmla="*/ 2818908 h 2969978"/>
                  <a:gd name="connsiteX49" fmla="*/ 3125037 w 11867103"/>
                  <a:gd name="connsiteY49" fmla="*/ 2828956 h 2969978"/>
                  <a:gd name="connsiteX50" fmla="*/ 3064747 w 11867103"/>
                  <a:gd name="connsiteY50" fmla="*/ 2839004 h 2969978"/>
                  <a:gd name="connsiteX51" fmla="*/ 2009670 w 11867103"/>
                  <a:gd name="connsiteY51" fmla="*/ 2849053 h 2969978"/>
                  <a:gd name="connsiteX52" fmla="*/ 1678075 w 11867103"/>
                  <a:gd name="connsiteY52" fmla="*/ 2939488 h 2969978"/>
                  <a:gd name="connsiteX53" fmla="*/ 1607736 w 11867103"/>
                  <a:gd name="connsiteY53" fmla="*/ 2969633 h 2969978"/>
                  <a:gd name="connsiteX54" fmla="*/ 1135464 w 11867103"/>
                  <a:gd name="connsiteY54" fmla="*/ 2949536 h 2969978"/>
                  <a:gd name="connsiteX55" fmla="*/ 944545 w 11867103"/>
                  <a:gd name="connsiteY55" fmla="*/ 2919391 h 2969978"/>
                  <a:gd name="connsiteX56" fmla="*/ 723481 w 11867103"/>
                  <a:gd name="connsiteY56" fmla="*/ 2879198 h 2969978"/>
                  <a:gd name="connsiteX57" fmla="*/ 643095 w 11867103"/>
                  <a:gd name="connsiteY57" fmla="*/ 2869149 h 2969978"/>
                  <a:gd name="connsiteX58" fmla="*/ 371789 w 11867103"/>
                  <a:gd name="connsiteY58" fmla="*/ 2828956 h 2969978"/>
                  <a:gd name="connsiteX59" fmla="*/ 0 w 11867103"/>
                  <a:gd name="connsiteY59" fmla="*/ 2818908 h 2969978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26910 w 11867103"/>
                  <a:gd name="connsiteY18" fmla="*/ 2406925 h 2969978"/>
                  <a:gd name="connsiteX19" fmla="*/ 11857055 w 11867103"/>
                  <a:gd name="connsiteY19" fmla="*/ 2567699 h 2969978"/>
                  <a:gd name="connsiteX20" fmla="*/ 11867103 w 11867103"/>
                  <a:gd name="connsiteY20" fmla="*/ 2607892 h 2969978"/>
                  <a:gd name="connsiteX21" fmla="*/ 11857055 w 11867103"/>
                  <a:gd name="connsiteY21" fmla="*/ 2839004 h 2969978"/>
                  <a:gd name="connsiteX22" fmla="*/ 11836958 w 11867103"/>
                  <a:gd name="connsiteY22" fmla="*/ 2869149 h 2969978"/>
                  <a:gd name="connsiteX23" fmla="*/ 11033090 w 11867103"/>
                  <a:gd name="connsiteY23" fmla="*/ 2859101 h 2969978"/>
                  <a:gd name="connsiteX24" fmla="*/ 10621108 w 11867103"/>
                  <a:gd name="connsiteY24" fmla="*/ 2849053 h 2969978"/>
                  <a:gd name="connsiteX25" fmla="*/ 10128739 w 11867103"/>
                  <a:gd name="connsiteY25" fmla="*/ 2859101 h 2969978"/>
                  <a:gd name="connsiteX26" fmla="*/ 10048352 w 11867103"/>
                  <a:gd name="connsiteY26" fmla="*/ 2869149 h 2969978"/>
                  <a:gd name="connsiteX27" fmla="*/ 9555982 w 11867103"/>
                  <a:gd name="connsiteY27" fmla="*/ 2859101 h 2969978"/>
                  <a:gd name="connsiteX28" fmla="*/ 9445451 w 11867103"/>
                  <a:gd name="connsiteY28" fmla="*/ 2849053 h 2969978"/>
                  <a:gd name="connsiteX29" fmla="*/ 9415306 w 11867103"/>
                  <a:gd name="connsiteY29" fmla="*/ 2828956 h 2969978"/>
                  <a:gd name="connsiteX30" fmla="*/ 9204290 w 11867103"/>
                  <a:gd name="connsiteY30" fmla="*/ 2808859 h 2969978"/>
                  <a:gd name="connsiteX31" fmla="*/ 9073662 w 11867103"/>
                  <a:gd name="connsiteY31" fmla="*/ 2788762 h 2969978"/>
                  <a:gd name="connsiteX32" fmla="*/ 8812404 w 11867103"/>
                  <a:gd name="connsiteY32" fmla="*/ 2778714 h 2969978"/>
                  <a:gd name="connsiteX33" fmla="*/ 8400422 w 11867103"/>
                  <a:gd name="connsiteY33" fmla="*/ 2768666 h 2969978"/>
                  <a:gd name="connsiteX34" fmla="*/ 8269793 w 11867103"/>
                  <a:gd name="connsiteY34" fmla="*/ 2758617 h 2969978"/>
                  <a:gd name="connsiteX35" fmla="*/ 7797521 w 11867103"/>
                  <a:gd name="connsiteY35" fmla="*/ 2778714 h 2969978"/>
                  <a:gd name="connsiteX36" fmla="*/ 7717134 w 11867103"/>
                  <a:gd name="connsiteY36" fmla="*/ 2788762 h 2969978"/>
                  <a:gd name="connsiteX37" fmla="*/ 7486022 w 11867103"/>
                  <a:gd name="connsiteY37" fmla="*/ 2818908 h 2969978"/>
                  <a:gd name="connsiteX38" fmla="*/ 7395587 w 11867103"/>
                  <a:gd name="connsiteY38" fmla="*/ 2839004 h 2969978"/>
                  <a:gd name="connsiteX39" fmla="*/ 7325248 w 11867103"/>
                  <a:gd name="connsiteY39" fmla="*/ 2849053 h 2969978"/>
                  <a:gd name="connsiteX40" fmla="*/ 6863024 w 11867103"/>
                  <a:gd name="connsiteY40" fmla="*/ 2839004 h 2969978"/>
                  <a:gd name="connsiteX41" fmla="*/ 6722347 w 11867103"/>
                  <a:gd name="connsiteY41" fmla="*/ 2828956 h 2969978"/>
                  <a:gd name="connsiteX42" fmla="*/ 4903596 w 11867103"/>
                  <a:gd name="connsiteY42" fmla="*/ 2879198 h 2969978"/>
                  <a:gd name="connsiteX43" fmla="*/ 4722725 w 11867103"/>
                  <a:gd name="connsiteY43" fmla="*/ 2919391 h 2969978"/>
                  <a:gd name="connsiteX44" fmla="*/ 4300695 w 11867103"/>
                  <a:gd name="connsiteY44" fmla="*/ 2899294 h 2969978"/>
                  <a:gd name="connsiteX45" fmla="*/ 4059534 w 11867103"/>
                  <a:gd name="connsiteY45" fmla="*/ 2859101 h 2969978"/>
                  <a:gd name="connsiteX46" fmla="*/ 3768132 w 11867103"/>
                  <a:gd name="connsiteY46" fmla="*/ 2828956 h 2969978"/>
                  <a:gd name="connsiteX47" fmla="*/ 3627455 w 11867103"/>
                  <a:gd name="connsiteY47" fmla="*/ 2818908 h 2969978"/>
                  <a:gd name="connsiteX48" fmla="*/ 3125037 w 11867103"/>
                  <a:gd name="connsiteY48" fmla="*/ 2828956 h 2969978"/>
                  <a:gd name="connsiteX49" fmla="*/ 3064747 w 11867103"/>
                  <a:gd name="connsiteY49" fmla="*/ 2839004 h 2969978"/>
                  <a:gd name="connsiteX50" fmla="*/ 2009670 w 11867103"/>
                  <a:gd name="connsiteY50" fmla="*/ 2849053 h 2969978"/>
                  <a:gd name="connsiteX51" fmla="*/ 1678075 w 11867103"/>
                  <a:gd name="connsiteY51" fmla="*/ 2939488 h 2969978"/>
                  <a:gd name="connsiteX52" fmla="*/ 1607736 w 11867103"/>
                  <a:gd name="connsiteY52" fmla="*/ 2969633 h 2969978"/>
                  <a:gd name="connsiteX53" fmla="*/ 1135464 w 11867103"/>
                  <a:gd name="connsiteY53" fmla="*/ 2949536 h 2969978"/>
                  <a:gd name="connsiteX54" fmla="*/ 944545 w 11867103"/>
                  <a:gd name="connsiteY54" fmla="*/ 2919391 h 2969978"/>
                  <a:gd name="connsiteX55" fmla="*/ 723481 w 11867103"/>
                  <a:gd name="connsiteY55" fmla="*/ 2879198 h 2969978"/>
                  <a:gd name="connsiteX56" fmla="*/ 643095 w 11867103"/>
                  <a:gd name="connsiteY56" fmla="*/ 2869149 h 2969978"/>
                  <a:gd name="connsiteX57" fmla="*/ 371789 w 11867103"/>
                  <a:gd name="connsiteY57" fmla="*/ 2828956 h 2969978"/>
                  <a:gd name="connsiteX58" fmla="*/ 0 w 11867103"/>
                  <a:gd name="connsiteY58" fmla="*/ 2818908 h 2969978"/>
                  <a:gd name="connsiteX0" fmla="*/ 120580 w 11867103"/>
                  <a:gd name="connsiteY0" fmla="*/ 55611 h 2969978"/>
                  <a:gd name="connsiteX1" fmla="*/ 281354 w 11867103"/>
                  <a:gd name="connsiteY1" fmla="*/ 45562 h 2969978"/>
                  <a:gd name="connsiteX2" fmla="*/ 673240 w 11867103"/>
                  <a:gd name="connsiteY2" fmla="*/ 35514 h 2969978"/>
                  <a:gd name="connsiteX3" fmla="*/ 1356528 w 11867103"/>
                  <a:gd name="connsiteY3" fmla="*/ 85756 h 2969978"/>
                  <a:gd name="connsiteX4" fmla="*/ 1758462 w 11867103"/>
                  <a:gd name="connsiteY4" fmla="*/ 45562 h 2969978"/>
                  <a:gd name="connsiteX5" fmla="*/ 2140299 w 11867103"/>
                  <a:gd name="connsiteY5" fmla="*/ 45562 h 2969978"/>
                  <a:gd name="connsiteX6" fmla="*/ 4652387 w 11867103"/>
                  <a:gd name="connsiteY6" fmla="*/ 65659 h 2969978"/>
                  <a:gd name="connsiteX7" fmla="*/ 4692580 w 11867103"/>
                  <a:gd name="connsiteY7" fmla="*/ 75708 h 2969978"/>
                  <a:gd name="connsiteX8" fmla="*/ 6420897 w 11867103"/>
                  <a:gd name="connsiteY8" fmla="*/ 95804 h 2969978"/>
                  <a:gd name="connsiteX9" fmla="*/ 7184571 w 11867103"/>
                  <a:gd name="connsiteY9" fmla="*/ 65659 h 2969978"/>
                  <a:gd name="connsiteX10" fmla="*/ 7928150 w 11867103"/>
                  <a:gd name="connsiteY10" fmla="*/ 65659 h 2969978"/>
                  <a:gd name="connsiteX11" fmla="*/ 8219552 w 11867103"/>
                  <a:gd name="connsiteY11" fmla="*/ 95804 h 2969978"/>
                  <a:gd name="connsiteX12" fmla="*/ 9606224 w 11867103"/>
                  <a:gd name="connsiteY12" fmla="*/ 95804 h 2969978"/>
                  <a:gd name="connsiteX13" fmla="*/ 9947868 w 11867103"/>
                  <a:gd name="connsiteY13" fmla="*/ 65659 h 2969978"/>
                  <a:gd name="connsiteX14" fmla="*/ 10791930 w 11867103"/>
                  <a:gd name="connsiteY14" fmla="*/ 35514 h 2969978"/>
                  <a:gd name="connsiteX15" fmla="*/ 11736475 w 11867103"/>
                  <a:gd name="connsiteY15" fmla="*/ 55611 h 2969978"/>
                  <a:gd name="connsiteX16" fmla="*/ 11806813 w 11867103"/>
                  <a:gd name="connsiteY16" fmla="*/ 769044 h 2969978"/>
                  <a:gd name="connsiteX17" fmla="*/ 11816862 w 11867103"/>
                  <a:gd name="connsiteY17" fmla="*/ 2336587 h 2969978"/>
                  <a:gd name="connsiteX18" fmla="*/ 11857055 w 11867103"/>
                  <a:gd name="connsiteY18" fmla="*/ 2567699 h 2969978"/>
                  <a:gd name="connsiteX19" fmla="*/ 11867103 w 11867103"/>
                  <a:gd name="connsiteY19" fmla="*/ 2607892 h 2969978"/>
                  <a:gd name="connsiteX20" fmla="*/ 11857055 w 11867103"/>
                  <a:gd name="connsiteY20" fmla="*/ 2839004 h 2969978"/>
                  <a:gd name="connsiteX21" fmla="*/ 11836958 w 11867103"/>
                  <a:gd name="connsiteY21" fmla="*/ 2869149 h 2969978"/>
                  <a:gd name="connsiteX22" fmla="*/ 11033090 w 11867103"/>
                  <a:gd name="connsiteY22" fmla="*/ 2859101 h 2969978"/>
                  <a:gd name="connsiteX23" fmla="*/ 10621108 w 11867103"/>
                  <a:gd name="connsiteY23" fmla="*/ 2849053 h 2969978"/>
                  <a:gd name="connsiteX24" fmla="*/ 10128739 w 11867103"/>
                  <a:gd name="connsiteY24" fmla="*/ 2859101 h 2969978"/>
                  <a:gd name="connsiteX25" fmla="*/ 10048352 w 11867103"/>
                  <a:gd name="connsiteY25" fmla="*/ 2869149 h 2969978"/>
                  <a:gd name="connsiteX26" fmla="*/ 9555982 w 11867103"/>
                  <a:gd name="connsiteY26" fmla="*/ 2859101 h 2969978"/>
                  <a:gd name="connsiteX27" fmla="*/ 9445451 w 11867103"/>
                  <a:gd name="connsiteY27" fmla="*/ 2849053 h 2969978"/>
                  <a:gd name="connsiteX28" fmla="*/ 9415306 w 11867103"/>
                  <a:gd name="connsiteY28" fmla="*/ 2828956 h 2969978"/>
                  <a:gd name="connsiteX29" fmla="*/ 9204290 w 11867103"/>
                  <a:gd name="connsiteY29" fmla="*/ 2808859 h 2969978"/>
                  <a:gd name="connsiteX30" fmla="*/ 9073662 w 11867103"/>
                  <a:gd name="connsiteY30" fmla="*/ 2788762 h 2969978"/>
                  <a:gd name="connsiteX31" fmla="*/ 8812404 w 11867103"/>
                  <a:gd name="connsiteY31" fmla="*/ 2778714 h 2969978"/>
                  <a:gd name="connsiteX32" fmla="*/ 8400422 w 11867103"/>
                  <a:gd name="connsiteY32" fmla="*/ 2768666 h 2969978"/>
                  <a:gd name="connsiteX33" fmla="*/ 8269793 w 11867103"/>
                  <a:gd name="connsiteY33" fmla="*/ 2758617 h 2969978"/>
                  <a:gd name="connsiteX34" fmla="*/ 7797521 w 11867103"/>
                  <a:gd name="connsiteY34" fmla="*/ 2778714 h 2969978"/>
                  <a:gd name="connsiteX35" fmla="*/ 7717134 w 11867103"/>
                  <a:gd name="connsiteY35" fmla="*/ 2788762 h 2969978"/>
                  <a:gd name="connsiteX36" fmla="*/ 7486022 w 11867103"/>
                  <a:gd name="connsiteY36" fmla="*/ 2818908 h 2969978"/>
                  <a:gd name="connsiteX37" fmla="*/ 7395587 w 11867103"/>
                  <a:gd name="connsiteY37" fmla="*/ 2839004 h 2969978"/>
                  <a:gd name="connsiteX38" fmla="*/ 7325248 w 11867103"/>
                  <a:gd name="connsiteY38" fmla="*/ 2849053 h 2969978"/>
                  <a:gd name="connsiteX39" fmla="*/ 6863024 w 11867103"/>
                  <a:gd name="connsiteY39" fmla="*/ 2839004 h 2969978"/>
                  <a:gd name="connsiteX40" fmla="*/ 6722347 w 11867103"/>
                  <a:gd name="connsiteY40" fmla="*/ 2828956 h 2969978"/>
                  <a:gd name="connsiteX41" fmla="*/ 4903596 w 11867103"/>
                  <a:gd name="connsiteY41" fmla="*/ 2879198 h 2969978"/>
                  <a:gd name="connsiteX42" fmla="*/ 4722725 w 11867103"/>
                  <a:gd name="connsiteY42" fmla="*/ 2919391 h 2969978"/>
                  <a:gd name="connsiteX43" fmla="*/ 4300695 w 11867103"/>
                  <a:gd name="connsiteY43" fmla="*/ 2899294 h 2969978"/>
                  <a:gd name="connsiteX44" fmla="*/ 4059534 w 11867103"/>
                  <a:gd name="connsiteY44" fmla="*/ 2859101 h 2969978"/>
                  <a:gd name="connsiteX45" fmla="*/ 3768132 w 11867103"/>
                  <a:gd name="connsiteY45" fmla="*/ 2828956 h 2969978"/>
                  <a:gd name="connsiteX46" fmla="*/ 3627455 w 11867103"/>
                  <a:gd name="connsiteY46" fmla="*/ 2818908 h 2969978"/>
                  <a:gd name="connsiteX47" fmla="*/ 3125037 w 11867103"/>
                  <a:gd name="connsiteY47" fmla="*/ 2828956 h 2969978"/>
                  <a:gd name="connsiteX48" fmla="*/ 3064747 w 11867103"/>
                  <a:gd name="connsiteY48" fmla="*/ 2839004 h 2969978"/>
                  <a:gd name="connsiteX49" fmla="*/ 2009670 w 11867103"/>
                  <a:gd name="connsiteY49" fmla="*/ 2849053 h 2969978"/>
                  <a:gd name="connsiteX50" fmla="*/ 1678075 w 11867103"/>
                  <a:gd name="connsiteY50" fmla="*/ 2939488 h 2969978"/>
                  <a:gd name="connsiteX51" fmla="*/ 1607736 w 11867103"/>
                  <a:gd name="connsiteY51" fmla="*/ 2969633 h 2969978"/>
                  <a:gd name="connsiteX52" fmla="*/ 1135464 w 11867103"/>
                  <a:gd name="connsiteY52" fmla="*/ 2949536 h 2969978"/>
                  <a:gd name="connsiteX53" fmla="*/ 944545 w 11867103"/>
                  <a:gd name="connsiteY53" fmla="*/ 2919391 h 2969978"/>
                  <a:gd name="connsiteX54" fmla="*/ 723481 w 11867103"/>
                  <a:gd name="connsiteY54" fmla="*/ 2879198 h 2969978"/>
                  <a:gd name="connsiteX55" fmla="*/ 643095 w 11867103"/>
                  <a:gd name="connsiteY55" fmla="*/ 2869149 h 2969978"/>
                  <a:gd name="connsiteX56" fmla="*/ 371789 w 11867103"/>
                  <a:gd name="connsiteY56" fmla="*/ 2828956 h 2969978"/>
                  <a:gd name="connsiteX57" fmla="*/ 0 w 11867103"/>
                  <a:gd name="connsiteY57" fmla="*/ 2818908 h 2969978"/>
                  <a:gd name="connsiteX0" fmla="*/ 120580 w 11860922"/>
                  <a:gd name="connsiteY0" fmla="*/ 55611 h 2969978"/>
                  <a:gd name="connsiteX1" fmla="*/ 281354 w 11860922"/>
                  <a:gd name="connsiteY1" fmla="*/ 45562 h 2969978"/>
                  <a:gd name="connsiteX2" fmla="*/ 673240 w 11860922"/>
                  <a:gd name="connsiteY2" fmla="*/ 35514 h 2969978"/>
                  <a:gd name="connsiteX3" fmla="*/ 1356528 w 11860922"/>
                  <a:gd name="connsiteY3" fmla="*/ 85756 h 2969978"/>
                  <a:gd name="connsiteX4" fmla="*/ 1758462 w 11860922"/>
                  <a:gd name="connsiteY4" fmla="*/ 45562 h 2969978"/>
                  <a:gd name="connsiteX5" fmla="*/ 2140299 w 11860922"/>
                  <a:gd name="connsiteY5" fmla="*/ 45562 h 2969978"/>
                  <a:gd name="connsiteX6" fmla="*/ 4652387 w 11860922"/>
                  <a:gd name="connsiteY6" fmla="*/ 65659 h 2969978"/>
                  <a:gd name="connsiteX7" fmla="*/ 4692580 w 11860922"/>
                  <a:gd name="connsiteY7" fmla="*/ 75708 h 2969978"/>
                  <a:gd name="connsiteX8" fmla="*/ 6420897 w 11860922"/>
                  <a:gd name="connsiteY8" fmla="*/ 95804 h 2969978"/>
                  <a:gd name="connsiteX9" fmla="*/ 7184571 w 11860922"/>
                  <a:gd name="connsiteY9" fmla="*/ 65659 h 2969978"/>
                  <a:gd name="connsiteX10" fmla="*/ 7928150 w 11860922"/>
                  <a:gd name="connsiteY10" fmla="*/ 65659 h 2969978"/>
                  <a:gd name="connsiteX11" fmla="*/ 8219552 w 11860922"/>
                  <a:gd name="connsiteY11" fmla="*/ 95804 h 2969978"/>
                  <a:gd name="connsiteX12" fmla="*/ 9606224 w 11860922"/>
                  <a:gd name="connsiteY12" fmla="*/ 95804 h 2969978"/>
                  <a:gd name="connsiteX13" fmla="*/ 9947868 w 11860922"/>
                  <a:gd name="connsiteY13" fmla="*/ 65659 h 2969978"/>
                  <a:gd name="connsiteX14" fmla="*/ 10791930 w 11860922"/>
                  <a:gd name="connsiteY14" fmla="*/ 35514 h 2969978"/>
                  <a:gd name="connsiteX15" fmla="*/ 11736475 w 11860922"/>
                  <a:gd name="connsiteY15" fmla="*/ 55611 h 2969978"/>
                  <a:gd name="connsiteX16" fmla="*/ 11806813 w 11860922"/>
                  <a:gd name="connsiteY16" fmla="*/ 769044 h 2969978"/>
                  <a:gd name="connsiteX17" fmla="*/ 11816862 w 11860922"/>
                  <a:gd name="connsiteY17" fmla="*/ 2336587 h 2969978"/>
                  <a:gd name="connsiteX18" fmla="*/ 11857055 w 11860922"/>
                  <a:gd name="connsiteY18" fmla="*/ 2567699 h 2969978"/>
                  <a:gd name="connsiteX19" fmla="*/ 11857055 w 11860922"/>
                  <a:gd name="connsiteY19" fmla="*/ 2839004 h 2969978"/>
                  <a:gd name="connsiteX20" fmla="*/ 11836958 w 11860922"/>
                  <a:gd name="connsiteY20" fmla="*/ 2869149 h 2969978"/>
                  <a:gd name="connsiteX21" fmla="*/ 11033090 w 11860922"/>
                  <a:gd name="connsiteY21" fmla="*/ 2859101 h 2969978"/>
                  <a:gd name="connsiteX22" fmla="*/ 10621108 w 11860922"/>
                  <a:gd name="connsiteY22" fmla="*/ 2849053 h 2969978"/>
                  <a:gd name="connsiteX23" fmla="*/ 10128739 w 11860922"/>
                  <a:gd name="connsiteY23" fmla="*/ 2859101 h 2969978"/>
                  <a:gd name="connsiteX24" fmla="*/ 10048352 w 11860922"/>
                  <a:gd name="connsiteY24" fmla="*/ 2869149 h 2969978"/>
                  <a:gd name="connsiteX25" fmla="*/ 9555982 w 11860922"/>
                  <a:gd name="connsiteY25" fmla="*/ 2859101 h 2969978"/>
                  <a:gd name="connsiteX26" fmla="*/ 9445451 w 11860922"/>
                  <a:gd name="connsiteY26" fmla="*/ 2849053 h 2969978"/>
                  <a:gd name="connsiteX27" fmla="*/ 9415306 w 11860922"/>
                  <a:gd name="connsiteY27" fmla="*/ 2828956 h 2969978"/>
                  <a:gd name="connsiteX28" fmla="*/ 9204290 w 11860922"/>
                  <a:gd name="connsiteY28" fmla="*/ 2808859 h 2969978"/>
                  <a:gd name="connsiteX29" fmla="*/ 9073662 w 11860922"/>
                  <a:gd name="connsiteY29" fmla="*/ 2788762 h 2969978"/>
                  <a:gd name="connsiteX30" fmla="*/ 8812404 w 11860922"/>
                  <a:gd name="connsiteY30" fmla="*/ 2778714 h 2969978"/>
                  <a:gd name="connsiteX31" fmla="*/ 8400422 w 11860922"/>
                  <a:gd name="connsiteY31" fmla="*/ 2768666 h 2969978"/>
                  <a:gd name="connsiteX32" fmla="*/ 8269793 w 11860922"/>
                  <a:gd name="connsiteY32" fmla="*/ 2758617 h 2969978"/>
                  <a:gd name="connsiteX33" fmla="*/ 7797521 w 11860922"/>
                  <a:gd name="connsiteY33" fmla="*/ 2778714 h 2969978"/>
                  <a:gd name="connsiteX34" fmla="*/ 7717134 w 11860922"/>
                  <a:gd name="connsiteY34" fmla="*/ 2788762 h 2969978"/>
                  <a:gd name="connsiteX35" fmla="*/ 7486022 w 11860922"/>
                  <a:gd name="connsiteY35" fmla="*/ 2818908 h 2969978"/>
                  <a:gd name="connsiteX36" fmla="*/ 7395587 w 11860922"/>
                  <a:gd name="connsiteY36" fmla="*/ 2839004 h 2969978"/>
                  <a:gd name="connsiteX37" fmla="*/ 7325248 w 11860922"/>
                  <a:gd name="connsiteY37" fmla="*/ 2849053 h 2969978"/>
                  <a:gd name="connsiteX38" fmla="*/ 6863024 w 11860922"/>
                  <a:gd name="connsiteY38" fmla="*/ 2839004 h 2969978"/>
                  <a:gd name="connsiteX39" fmla="*/ 6722347 w 11860922"/>
                  <a:gd name="connsiteY39" fmla="*/ 2828956 h 2969978"/>
                  <a:gd name="connsiteX40" fmla="*/ 4903596 w 11860922"/>
                  <a:gd name="connsiteY40" fmla="*/ 2879198 h 2969978"/>
                  <a:gd name="connsiteX41" fmla="*/ 4722725 w 11860922"/>
                  <a:gd name="connsiteY41" fmla="*/ 2919391 h 2969978"/>
                  <a:gd name="connsiteX42" fmla="*/ 4300695 w 11860922"/>
                  <a:gd name="connsiteY42" fmla="*/ 2899294 h 2969978"/>
                  <a:gd name="connsiteX43" fmla="*/ 4059534 w 11860922"/>
                  <a:gd name="connsiteY43" fmla="*/ 2859101 h 2969978"/>
                  <a:gd name="connsiteX44" fmla="*/ 3768132 w 11860922"/>
                  <a:gd name="connsiteY44" fmla="*/ 2828956 h 2969978"/>
                  <a:gd name="connsiteX45" fmla="*/ 3627455 w 11860922"/>
                  <a:gd name="connsiteY45" fmla="*/ 2818908 h 2969978"/>
                  <a:gd name="connsiteX46" fmla="*/ 3125037 w 11860922"/>
                  <a:gd name="connsiteY46" fmla="*/ 2828956 h 2969978"/>
                  <a:gd name="connsiteX47" fmla="*/ 3064747 w 11860922"/>
                  <a:gd name="connsiteY47" fmla="*/ 2839004 h 2969978"/>
                  <a:gd name="connsiteX48" fmla="*/ 2009670 w 11860922"/>
                  <a:gd name="connsiteY48" fmla="*/ 2849053 h 2969978"/>
                  <a:gd name="connsiteX49" fmla="*/ 1678075 w 11860922"/>
                  <a:gd name="connsiteY49" fmla="*/ 2939488 h 2969978"/>
                  <a:gd name="connsiteX50" fmla="*/ 1607736 w 11860922"/>
                  <a:gd name="connsiteY50" fmla="*/ 2969633 h 2969978"/>
                  <a:gd name="connsiteX51" fmla="*/ 1135464 w 11860922"/>
                  <a:gd name="connsiteY51" fmla="*/ 2949536 h 2969978"/>
                  <a:gd name="connsiteX52" fmla="*/ 944545 w 11860922"/>
                  <a:gd name="connsiteY52" fmla="*/ 2919391 h 2969978"/>
                  <a:gd name="connsiteX53" fmla="*/ 723481 w 11860922"/>
                  <a:gd name="connsiteY53" fmla="*/ 2879198 h 2969978"/>
                  <a:gd name="connsiteX54" fmla="*/ 643095 w 11860922"/>
                  <a:gd name="connsiteY54" fmla="*/ 2869149 h 2969978"/>
                  <a:gd name="connsiteX55" fmla="*/ 371789 w 11860922"/>
                  <a:gd name="connsiteY55" fmla="*/ 2828956 h 2969978"/>
                  <a:gd name="connsiteX56" fmla="*/ 0 w 11860922"/>
                  <a:gd name="connsiteY56" fmla="*/ 2818908 h 2969978"/>
                  <a:gd name="connsiteX0" fmla="*/ 120580 w 11857648"/>
                  <a:gd name="connsiteY0" fmla="*/ 55611 h 2969978"/>
                  <a:gd name="connsiteX1" fmla="*/ 281354 w 11857648"/>
                  <a:gd name="connsiteY1" fmla="*/ 45562 h 2969978"/>
                  <a:gd name="connsiteX2" fmla="*/ 673240 w 11857648"/>
                  <a:gd name="connsiteY2" fmla="*/ 35514 h 2969978"/>
                  <a:gd name="connsiteX3" fmla="*/ 1356528 w 11857648"/>
                  <a:gd name="connsiteY3" fmla="*/ 85756 h 2969978"/>
                  <a:gd name="connsiteX4" fmla="*/ 1758462 w 11857648"/>
                  <a:gd name="connsiteY4" fmla="*/ 45562 h 2969978"/>
                  <a:gd name="connsiteX5" fmla="*/ 2140299 w 11857648"/>
                  <a:gd name="connsiteY5" fmla="*/ 45562 h 2969978"/>
                  <a:gd name="connsiteX6" fmla="*/ 4652387 w 11857648"/>
                  <a:gd name="connsiteY6" fmla="*/ 65659 h 2969978"/>
                  <a:gd name="connsiteX7" fmla="*/ 4692580 w 11857648"/>
                  <a:gd name="connsiteY7" fmla="*/ 75708 h 2969978"/>
                  <a:gd name="connsiteX8" fmla="*/ 6420897 w 11857648"/>
                  <a:gd name="connsiteY8" fmla="*/ 95804 h 2969978"/>
                  <a:gd name="connsiteX9" fmla="*/ 7184571 w 11857648"/>
                  <a:gd name="connsiteY9" fmla="*/ 65659 h 2969978"/>
                  <a:gd name="connsiteX10" fmla="*/ 7928150 w 11857648"/>
                  <a:gd name="connsiteY10" fmla="*/ 65659 h 2969978"/>
                  <a:gd name="connsiteX11" fmla="*/ 8219552 w 11857648"/>
                  <a:gd name="connsiteY11" fmla="*/ 95804 h 2969978"/>
                  <a:gd name="connsiteX12" fmla="*/ 9606224 w 11857648"/>
                  <a:gd name="connsiteY12" fmla="*/ 95804 h 2969978"/>
                  <a:gd name="connsiteX13" fmla="*/ 9947868 w 11857648"/>
                  <a:gd name="connsiteY13" fmla="*/ 65659 h 2969978"/>
                  <a:gd name="connsiteX14" fmla="*/ 10791930 w 11857648"/>
                  <a:gd name="connsiteY14" fmla="*/ 35514 h 2969978"/>
                  <a:gd name="connsiteX15" fmla="*/ 11736475 w 11857648"/>
                  <a:gd name="connsiteY15" fmla="*/ 55611 h 2969978"/>
                  <a:gd name="connsiteX16" fmla="*/ 11806813 w 11857648"/>
                  <a:gd name="connsiteY16" fmla="*/ 769044 h 2969978"/>
                  <a:gd name="connsiteX17" fmla="*/ 11816862 w 11857648"/>
                  <a:gd name="connsiteY17" fmla="*/ 2336587 h 2969978"/>
                  <a:gd name="connsiteX18" fmla="*/ 11857055 w 11857648"/>
                  <a:gd name="connsiteY18" fmla="*/ 2839004 h 2969978"/>
                  <a:gd name="connsiteX19" fmla="*/ 11836958 w 11857648"/>
                  <a:gd name="connsiteY19" fmla="*/ 2869149 h 2969978"/>
                  <a:gd name="connsiteX20" fmla="*/ 11033090 w 11857648"/>
                  <a:gd name="connsiteY20" fmla="*/ 2859101 h 2969978"/>
                  <a:gd name="connsiteX21" fmla="*/ 10621108 w 11857648"/>
                  <a:gd name="connsiteY21" fmla="*/ 2849053 h 2969978"/>
                  <a:gd name="connsiteX22" fmla="*/ 10128739 w 11857648"/>
                  <a:gd name="connsiteY22" fmla="*/ 2859101 h 2969978"/>
                  <a:gd name="connsiteX23" fmla="*/ 10048352 w 11857648"/>
                  <a:gd name="connsiteY23" fmla="*/ 2869149 h 2969978"/>
                  <a:gd name="connsiteX24" fmla="*/ 9555982 w 11857648"/>
                  <a:gd name="connsiteY24" fmla="*/ 2859101 h 2969978"/>
                  <a:gd name="connsiteX25" fmla="*/ 9445451 w 11857648"/>
                  <a:gd name="connsiteY25" fmla="*/ 2849053 h 2969978"/>
                  <a:gd name="connsiteX26" fmla="*/ 9415306 w 11857648"/>
                  <a:gd name="connsiteY26" fmla="*/ 2828956 h 2969978"/>
                  <a:gd name="connsiteX27" fmla="*/ 9204290 w 11857648"/>
                  <a:gd name="connsiteY27" fmla="*/ 2808859 h 2969978"/>
                  <a:gd name="connsiteX28" fmla="*/ 9073662 w 11857648"/>
                  <a:gd name="connsiteY28" fmla="*/ 2788762 h 2969978"/>
                  <a:gd name="connsiteX29" fmla="*/ 8812404 w 11857648"/>
                  <a:gd name="connsiteY29" fmla="*/ 2778714 h 2969978"/>
                  <a:gd name="connsiteX30" fmla="*/ 8400422 w 11857648"/>
                  <a:gd name="connsiteY30" fmla="*/ 2768666 h 2969978"/>
                  <a:gd name="connsiteX31" fmla="*/ 8269793 w 11857648"/>
                  <a:gd name="connsiteY31" fmla="*/ 2758617 h 2969978"/>
                  <a:gd name="connsiteX32" fmla="*/ 7797521 w 11857648"/>
                  <a:gd name="connsiteY32" fmla="*/ 2778714 h 2969978"/>
                  <a:gd name="connsiteX33" fmla="*/ 7717134 w 11857648"/>
                  <a:gd name="connsiteY33" fmla="*/ 2788762 h 2969978"/>
                  <a:gd name="connsiteX34" fmla="*/ 7486022 w 11857648"/>
                  <a:gd name="connsiteY34" fmla="*/ 2818908 h 2969978"/>
                  <a:gd name="connsiteX35" fmla="*/ 7395587 w 11857648"/>
                  <a:gd name="connsiteY35" fmla="*/ 2839004 h 2969978"/>
                  <a:gd name="connsiteX36" fmla="*/ 7325248 w 11857648"/>
                  <a:gd name="connsiteY36" fmla="*/ 2849053 h 2969978"/>
                  <a:gd name="connsiteX37" fmla="*/ 6863024 w 11857648"/>
                  <a:gd name="connsiteY37" fmla="*/ 2839004 h 2969978"/>
                  <a:gd name="connsiteX38" fmla="*/ 6722347 w 11857648"/>
                  <a:gd name="connsiteY38" fmla="*/ 2828956 h 2969978"/>
                  <a:gd name="connsiteX39" fmla="*/ 4903596 w 11857648"/>
                  <a:gd name="connsiteY39" fmla="*/ 2879198 h 2969978"/>
                  <a:gd name="connsiteX40" fmla="*/ 4722725 w 11857648"/>
                  <a:gd name="connsiteY40" fmla="*/ 2919391 h 2969978"/>
                  <a:gd name="connsiteX41" fmla="*/ 4300695 w 11857648"/>
                  <a:gd name="connsiteY41" fmla="*/ 2899294 h 2969978"/>
                  <a:gd name="connsiteX42" fmla="*/ 4059534 w 11857648"/>
                  <a:gd name="connsiteY42" fmla="*/ 2859101 h 2969978"/>
                  <a:gd name="connsiteX43" fmla="*/ 3768132 w 11857648"/>
                  <a:gd name="connsiteY43" fmla="*/ 2828956 h 2969978"/>
                  <a:gd name="connsiteX44" fmla="*/ 3627455 w 11857648"/>
                  <a:gd name="connsiteY44" fmla="*/ 2818908 h 2969978"/>
                  <a:gd name="connsiteX45" fmla="*/ 3125037 w 11857648"/>
                  <a:gd name="connsiteY45" fmla="*/ 2828956 h 2969978"/>
                  <a:gd name="connsiteX46" fmla="*/ 3064747 w 11857648"/>
                  <a:gd name="connsiteY46" fmla="*/ 2839004 h 2969978"/>
                  <a:gd name="connsiteX47" fmla="*/ 2009670 w 11857648"/>
                  <a:gd name="connsiteY47" fmla="*/ 2849053 h 2969978"/>
                  <a:gd name="connsiteX48" fmla="*/ 1678075 w 11857648"/>
                  <a:gd name="connsiteY48" fmla="*/ 2939488 h 2969978"/>
                  <a:gd name="connsiteX49" fmla="*/ 1607736 w 11857648"/>
                  <a:gd name="connsiteY49" fmla="*/ 2969633 h 2969978"/>
                  <a:gd name="connsiteX50" fmla="*/ 1135464 w 11857648"/>
                  <a:gd name="connsiteY50" fmla="*/ 2949536 h 2969978"/>
                  <a:gd name="connsiteX51" fmla="*/ 944545 w 11857648"/>
                  <a:gd name="connsiteY51" fmla="*/ 2919391 h 2969978"/>
                  <a:gd name="connsiteX52" fmla="*/ 723481 w 11857648"/>
                  <a:gd name="connsiteY52" fmla="*/ 2879198 h 2969978"/>
                  <a:gd name="connsiteX53" fmla="*/ 643095 w 11857648"/>
                  <a:gd name="connsiteY53" fmla="*/ 2869149 h 2969978"/>
                  <a:gd name="connsiteX54" fmla="*/ 371789 w 11857648"/>
                  <a:gd name="connsiteY54" fmla="*/ 2828956 h 2969978"/>
                  <a:gd name="connsiteX55" fmla="*/ 0 w 11857648"/>
                  <a:gd name="connsiteY55" fmla="*/ 2818908 h 2969978"/>
                  <a:gd name="connsiteX0" fmla="*/ 120580 w 11907678"/>
                  <a:gd name="connsiteY0" fmla="*/ 55611 h 2969978"/>
                  <a:gd name="connsiteX1" fmla="*/ 281354 w 11907678"/>
                  <a:gd name="connsiteY1" fmla="*/ 45562 h 2969978"/>
                  <a:gd name="connsiteX2" fmla="*/ 673240 w 11907678"/>
                  <a:gd name="connsiteY2" fmla="*/ 35514 h 2969978"/>
                  <a:gd name="connsiteX3" fmla="*/ 1356528 w 11907678"/>
                  <a:gd name="connsiteY3" fmla="*/ 85756 h 2969978"/>
                  <a:gd name="connsiteX4" fmla="*/ 1758462 w 11907678"/>
                  <a:gd name="connsiteY4" fmla="*/ 45562 h 2969978"/>
                  <a:gd name="connsiteX5" fmla="*/ 2140299 w 11907678"/>
                  <a:gd name="connsiteY5" fmla="*/ 45562 h 2969978"/>
                  <a:gd name="connsiteX6" fmla="*/ 4652387 w 11907678"/>
                  <a:gd name="connsiteY6" fmla="*/ 65659 h 2969978"/>
                  <a:gd name="connsiteX7" fmla="*/ 4692580 w 11907678"/>
                  <a:gd name="connsiteY7" fmla="*/ 75708 h 2969978"/>
                  <a:gd name="connsiteX8" fmla="*/ 6420897 w 11907678"/>
                  <a:gd name="connsiteY8" fmla="*/ 95804 h 2969978"/>
                  <a:gd name="connsiteX9" fmla="*/ 7184571 w 11907678"/>
                  <a:gd name="connsiteY9" fmla="*/ 65659 h 2969978"/>
                  <a:gd name="connsiteX10" fmla="*/ 7928150 w 11907678"/>
                  <a:gd name="connsiteY10" fmla="*/ 65659 h 2969978"/>
                  <a:gd name="connsiteX11" fmla="*/ 8219552 w 11907678"/>
                  <a:gd name="connsiteY11" fmla="*/ 95804 h 2969978"/>
                  <a:gd name="connsiteX12" fmla="*/ 9606224 w 11907678"/>
                  <a:gd name="connsiteY12" fmla="*/ 95804 h 2969978"/>
                  <a:gd name="connsiteX13" fmla="*/ 9947868 w 11907678"/>
                  <a:gd name="connsiteY13" fmla="*/ 65659 h 2969978"/>
                  <a:gd name="connsiteX14" fmla="*/ 10791930 w 11907678"/>
                  <a:gd name="connsiteY14" fmla="*/ 35514 h 2969978"/>
                  <a:gd name="connsiteX15" fmla="*/ 11736475 w 11907678"/>
                  <a:gd name="connsiteY15" fmla="*/ 55611 h 2969978"/>
                  <a:gd name="connsiteX16" fmla="*/ 11806813 w 11907678"/>
                  <a:gd name="connsiteY16" fmla="*/ 769044 h 2969978"/>
                  <a:gd name="connsiteX17" fmla="*/ 11816862 w 11907678"/>
                  <a:gd name="connsiteY17" fmla="*/ 2336587 h 2969978"/>
                  <a:gd name="connsiteX18" fmla="*/ 11857055 w 11907678"/>
                  <a:gd name="connsiteY18" fmla="*/ 2839004 h 2969978"/>
                  <a:gd name="connsiteX19" fmla="*/ 11033090 w 11907678"/>
                  <a:gd name="connsiteY19" fmla="*/ 2859101 h 2969978"/>
                  <a:gd name="connsiteX20" fmla="*/ 10621108 w 11907678"/>
                  <a:gd name="connsiteY20" fmla="*/ 2849053 h 2969978"/>
                  <a:gd name="connsiteX21" fmla="*/ 10128739 w 11907678"/>
                  <a:gd name="connsiteY21" fmla="*/ 2859101 h 2969978"/>
                  <a:gd name="connsiteX22" fmla="*/ 10048352 w 11907678"/>
                  <a:gd name="connsiteY22" fmla="*/ 2869149 h 2969978"/>
                  <a:gd name="connsiteX23" fmla="*/ 9555982 w 11907678"/>
                  <a:gd name="connsiteY23" fmla="*/ 2859101 h 2969978"/>
                  <a:gd name="connsiteX24" fmla="*/ 9445451 w 11907678"/>
                  <a:gd name="connsiteY24" fmla="*/ 2849053 h 2969978"/>
                  <a:gd name="connsiteX25" fmla="*/ 9415306 w 11907678"/>
                  <a:gd name="connsiteY25" fmla="*/ 2828956 h 2969978"/>
                  <a:gd name="connsiteX26" fmla="*/ 9204290 w 11907678"/>
                  <a:gd name="connsiteY26" fmla="*/ 2808859 h 2969978"/>
                  <a:gd name="connsiteX27" fmla="*/ 9073662 w 11907678"/>
                  <a:gd name="connsiteY27" fmla="*/ 2788762 h 2969978"/>
                  <a:gd name="connsiteX28" fmla="*/ 8812404 w 11907678"/>
                  <a:gd name="connsiteY28" fmla="*/ 2778714 h 2969978"/>
                  <a:gd name="connsiteX29" fmla="*/ 8400422 w 11907678"/>
                  <a:gd name="connsiteY29" fmla="*/ 2768666 h 2969978"/>
                  <a:gd name="connsiteX30" fmla="*/ 8269793 w 11907678"/>
                  <a:gd name="connsiteY30" fmla="*/ 2758617 h 2969978"/>
                  <a:gd name="connsiteX31" fmla="*/ 7797521 w 11907678"/>
                  <a:gd name="connsiteY31" fmla="*/ 2778714 h 2969978"/>
                  <a:gd name="connsiteX32" fmla="*/ 7717134 w 11907678"/>
                  <a:gd name="connsiteY32" fmla="*/ 2788762 h 2969978"/>
                  <a:gd name="connsiteX33" fmla="*/ 7486022 w 11907678"/>
                  <a:gd name="connsiteY33" fmla="*/ 2818908 h 2969978"/>
                  <a:gd name="connsiteX34" fmla="*/ 7395587 w 11907678"/>
                  <a:gd name="connsiteY34" fmla="*/ 2839004 h 2969978"/>
                  <a:gd name="connsiteX35" fmla="*/ 7325248 w 11907678"/>
                  <a:gd name="connsiteY35" fmla="*/ 2849053 h 2969978"/>
                  <a:gd name="connsiteX36" fmla="*/ 6863024 w 11907678"/>
                  <a:gd name="connsiteY36" fmla="*/ 2839004 h 2969978"/>
                  <a:gd name="connsiteX37" fmla="*/ 6722347 w 11907678"/>
                  <a:gd name="connsiteY37" fmla="*/ 2828956 h 2969978"/>
                  <a:gd name="connsiteX38" fmla="*/ 4903596 w 11907678"/>
                  <a:gd name="connsiteY38" fmla="*/ 2879198 h 2969978"/>
                  <a:gd name="connsiteX39" fmla="*/ 4722725 w 11907678"/>
                  <a:gd name="connsiteY39" fmla="*/ 2919391 h 2969978"/>
                  <a:gd name="connsiteX40" fmla="*/ 4300695 w 11907678"/>
                  <a:gd name="connsiteY40" fmla="*/ 2899294 h 2969978"/>
                  <a:gd name="connsiteX41" fmla="*/ 4059534 w 11907678"/>
                  <a:gd name="connsiteY41" fmla="*/ 2859101 h 2969978"/>
                  <a:gd name="connsiteX42" fmla="*/ 3768132 w 11907678"/>
                  <a:gd name="connsiteY42" fmla="*/ 2828956 h 2969978"/>
                  <a:gd name="connsiteX43" fmla="*/ 3627455 w 11907678"/>
                  <a:gd name="connsiteY43" fmla="*/ 2818908 h 2969978"/>
                  <a:gd name="connsiteX44" fmla="*/ 3125037 w 11907678"/>
                  <a:gd name="connsiteY44" fmla="*/ 2828956 h 2969978"/>
                  <a:gd name="connsiteX45" fmla="*/ 3064747 w 11907678"/>
                  <a:gd name="connsiteY45" fmla="*/ 2839004 h 2969978"/>
                  <a:gd name="connsiteX46" fmla="*/ 2009670 w 11907678"/>
                  <a:gd name="connsiteY46" fmla="*/ 2849053 h 2969978"/>
                  <a:gd name="connsiteX47" fmla="*/ 1678075 w 11907678"/>
                  <a:gd name="connsiteY47" fmla="*/ 2939488 h 2969978"/>
                  <a:gd name="connsiteX48" fmla="*/ 1607736 w 11907678"/>
                  <a:gd name="connsiteY48" fmla="*/ 2969633 h 2969978"/>
                  <a:gd name="connsiteX49" fmla="*/ 1135464 w 11907678"/>
                  <a:gd name="connsiteY49" fmla="*/ 2949536 h 2969978"/>
                  <a:gd name="connsiteX50" fmla="*/ 944545 w 11907678"/>
                  <a:gd name="connsiteY50" fmla="*/ 2919391 h 2969978"/>
                  <a:gd name="connsiteX51" fmla="*/ 723481 w 11907678"/>
                  <a:gd name="connsiteY51" fmla="*/ 2879198 h 2969978"/>
                  <a:gd name="connsiteX52" fmla="*/ 643095 w 11907678"/>
                  <a:gd name="connsiteY52" fmla="*/ 2869149 h 2969978"/>
                  <a:gd name="connsiteX53" fmla="*/ 371789 w 11907678"/>
                  <a:gd name="connsiteY53" fmla="*/ 2828956 h 2969978"/>
                  <a:gd name="connsiteX54" fmla="*/ 0 w 11907678"/>
                  <a:gd name="connsiteY54" fmla="*/ 2818908 h 2969978"/>
                  <a:gd name="connsiteX0" fmla="*/ 120580 w 11869655"/>
                  <a:gd name="connsiteY0" fmla="*/ 55611 h 2969978"/>
                  <a:gd name="connsiteX1" fmla="*/ 281354 w 11869655"/>
                  <a:gd name="connsiteY1" fmla="*/ 45562 h 2969978"/>
                  <a:gd name="connsiteX2" fmla="*/ 673240 w 11869655"/>
                  <a:gd name="connsiteY2" fmla="*/ 35514 h 2969978"/>
                  <a:gd name="connsiteX3" fmla="*/ 1356528 w 11869655"/>
                  <a:gd name="connsiteY3" fmla="*/ 85756 h 2969978"/>
                  <a:gd name="connsiteX4" fmla="*/ 1758462 w 11869655"/>
                  <a:gd name="connsiteY4" fmla="*/ 45562 h 2969978"/>
                  <a:gd name="connsiteX5" fmla="*/ 2140299 w 11869655"/>
                  <a:gd name="connsiteY5" fmla="*/ 45562 h 2969978"/>
                  <a:gd name="connsiteX6" fmla="*/ 4652387 w 11869655"/>
                  <a:gd name="connsiteY6" fmla="*/ 65659 h 2969978"/>
                  <a:gd name="connsiteX7" fmla="*/ 4692580 w 11869655"/>
                  <a:gd name="connsiteY7" fmla="*/ 75708 h 2969978"/>
                  <a:gd name="connsiteX8" fmla="*/ 6420897 w 11869655"/>
                  <a:gd name="connsiteY8" fmla="*/ 95804 h 2969978"/>
                  <a:gd name="connsiteX9" fmla="*/ 7184571 w 11869655"/>
                  <a:gd name="connsiteY9" fmla="*/ 65659 h 2969978"/>
                  <a:gd name="connsiteX10" fmla="*/ 7928150 w 11869655"/>
                  <a:gd name="connsiteY10" fmla="*/ 65659 h 2969978"/>
                  <a:gd name="connsiteX11" fmla="*/ 8219552 w 11869655"/>
                  <a:gd name="connsiteY11" fmla="*/ 95804 h 2969978"/>
                  <a:gd name="connsiteX12" fmla="*/ 9606224 w 11869655"/>
                  <a:gd name="connsiteY12" fmla="*/ 95804 h 2969978"/>
                  <a:gd name="connsiteX13" fmla="*/ 9947868 w 11869655"/>
                  <a:gd name="connsiteY13" fmla="*/ 65659 h 2969978"/>
                  <a:gd name="connsiteX14" fmla="*/ 10791930 w 11869655"/>
                  <a:gd name="connsiteY14" fmla="*/ 35514 h 2969978"/>
                  <a:gd name="connsiteX15" fmla="*/ 11736475 w 11869655"/>
                  <a:gd name="connsiteY15" fmla="*/ 55611 h 2969978"/>
                  <a:gd name="connsiteX16" fmla="*/ 11806813 w 11869655"/>
                  <a:gd name="connsiteY16" fmla="*/ 769044 h 2969978"/>
                  <a:gd name="connsiteX17" fmla="*/ 11816862 w 11869655"/>
                  <a:gd name="connsiteY17" fmla="*/ 2336587 h 2969978"/>
                  <a:gd name="connsiteX18" fmla="*/ 11806813 w 11869655"/>
                  <a:gd name="connsiteY18" fmla="*/ 2828956 h 2969978"/>
                  <a:gd name="connsiteX19" fmla="*/ 11033090 w 11869655"/>
                  <a:gd name="connsiteY19" fmla="*/ 2859101 h 2969978"/>
                  <a:gd name="connsiteX20" fmla="*/ 10621108 w 11869655"/>
                  <a:gd name="connsiteY20" fmla="*/ 2849053 h 2969978"/>
                  <a:gd name="connsiteX21" fmla="*/ 10128739 w 11869655"/>
                  <a:gd name="connsiteY21" fmla="*/ 2859101 h 2969978"/>
                  <a:gd name="connsiteX22" fmla="*/ 10048352 w 11869655"/>
                  <a:gd name="connsiteY22" fmla="*/ 2869149 h 2969978"/>
                  <a:gd name="connsiteX23" fmla="*/ 9555982 w 11869655"/>
                  <a:gd name="connsiteY23" fmla="*/ 2859101 h 2969978"/>
                  <a:gd name="connsiteX24" fmla="*/ 9445451 w 11869655"/>
                  <a:gd name="connsiteY24" fmla="*/ 2849053 h 2969978"/>
                  <a:gd name="connsiteX25" fmla="*/ 9415306 w 11869655"/>
                  <a:gd name="connsiteY25" fmla="*/ 2828956 h 2969978"/>
                  <a:gd name="connsiteX26" fmla="*/ 9204290 w 11869655"/>
                  <a:gd name="connsiteY26" fmla="*/ 2808859 h 2969978"/>
                  <a:gd name="connsiteX27" fmla="*/ 9073662 w 11869655"/>
                  <a:gd name="connsiteY27" fmla="*/ 2788762 h 2969978"/>
                  <a:gd name="connsiteX28" fmla="*/ 8812404 w 11869655"/>
                  <a:gd name="connsiteY28" fmla="*/ 2778714 h 2969978"/>
                  <a:gd name="connsiteX29" fmla="*/ 8400422 w 11869655"/>
                  <a:gd name="connsiteY29" fmla="*/ 2768666 h 2969978"/>
                  <a:gd name="connsiteX30" fmla="*/ 8269793 w 11869655"/>
                  <a:gd name="connsiteY30" fmla="*/ 2758617 h 2969978"/>
                  <a:gd name="connsiteX31" fmla="*/ 7797521 w 11869655"/>
                  <a:gd name="connsiteY31" fmla="*/ 2778714 h 2969978"/>
                  <a:gd name="connsiteX32" fmla="*/ 7717134 w 11869655"/>
                  <a:gd name="connsiteY32" fmla="*/ 2788762 h 2969978"/>
                  <a:gd name="connsiteX33" fmla="*/ 7486022 w 11869655"/>
                  <a:gd name="connsiteY33" fmla="*/ 2818908 h 2969978"/>
                  <a:gd name="connsiteX34" fmla="*/ 7395587 w 11869655"/>
                  <a:gd name="connsiteY34" fmla="*/ 2839004 h 2969978"/>
                  <a:gd name="connsiteX35" fmla="*/ 7325248 w 11869655"/>
                  <a:gd name="connsiteY35" fmla="*/ 2849053 h 2969978"/>
                  <a:gd name="connsiteX36" fmla="*/ 6863024 w 11869655"/>
                  <a:gd name="connsiteY36" fmla="*/ 2839004 h 2969978"/>
                  <a:gd name="connsiteX37" fmla="*/ 6722347 w 11869655"/>
                  <a:gd name="connsiteY37" fmla="*/ 2828956 h 2969978"/>
                  <a:gd name="connsiteX38" fmla="*/ 4903596 w 11869655"/>
                  <a:gd name="connsiteY38" fmla="*/ 2879198 h 2969978"/>
                  <a:gd name="connsiteX39" fmla="*/ 4722725 w 11869655"/>
                  <a:gd name="connsiteY39" fmla="*/ 2919391 h 2969978"/>
                  <a:gd name="connsiteX40" fmla="*/ 4300695 w 11869655"/>
                  <a:gd name="connsiteY40" fmla="*/ 2899294 h 2969978"/>
                  <a:gd name="connsiteX41" fmla="*/ 4059534 w 11869655"/>
                  <a:gd name="connsiteY41" fmla="*/ 2859101 h 2969978"/>
                  <a:gd name="connsiteX42" fmla="*/ 3768132 w 11869655"/>
                  <a:gd name="connsiteY42" fmla="*/ 2828956 h 2969978"/>
                  <a:gd name="connsiteX43" fmla="*/ 3627455 w 11869655"/>
                  <a:gd name="connsiteY43" fmla="*/ 2818908 h 2969978"/>
                  <a:gd name="connsiteX44" fmla="*/ 3125037 w 11869655"/>
                  <a:gd name="connsiteY44" fmla="*/ 2828956 h 2969978"/>
                  <a:gd name="connsiteX45" fmla="*/ 3064747 w 11869655"/>
                  <a:gd name="connsiteY45" fmla="*/ 2839004 h 2969978"/>
                  <a:gd name="connsiteX46" fmla="*/ 2009670 w 11869655"/>
                  <a:gd name="connsiteY46" fmla="*/ 2849053 h 2969978"/>
                  <a:gd name="connsiteX47" fmla="*/ 1678075 w 11869655"/>
                  <a:gd name="connsiteY47" fmla="*/ 2939488 h 2969978"/>
                  <a:gd name="connsiteX48" fmla="*/ 1607736 w 11869655"/>
                  <a:gd name="connsiteY48" fmla="*/ 2969633 h 2969978"/>
                  <a:gd name="connsiteX49" fmla="*/ 1135464 w 11869655"/>
                  <a:gd name="connsiteY49" fmla="*/ 2949536 h 2969978"/>
                  <a:gd name="connsiteX50" fmla="*/ 944545 w 11869655"/>
                  <a:gd name="connsiteY50" fmla="*/ 2919391 h 2969978"/>
                  <a:gd name="connsiteX51" fmla="*/ 723481 w 11869655"/>
                  <a:gd name="connsiteY51" fmla="*/ 2879198 h 2969978"/>
                  <a:gd name="connsiteX52" fmla="*/ 643095 w 11869655"/>
                  <a:gd name="connsiteY52" fmla="*/ 2869149 h 2969978"/>
                  <a:gd name="connsiteX53" fmla="*/ 371789 w 11869655"/>
                  <a:gd name="connsiteY53" fmla="*/ 2828956 h 2969978"/>
                  <a:gd name="connsiteX54" fmla="*/ 0 w 11869655"/>
                  <a:gd name="connsiteY5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621108 w 11851944"/>
                  <a:gd name="connsiteY20" fmla="*/ 2849053 h 2969978"/>
                  <a:gd name="connsiteX21" fmla="*/ 10128739 w 11851944"/>
                  <a:gd name="connsiteY21" fmla="*/ 2859101 h 2969978"/>
                  <a:gd name="connsiteX22" fmla="*/ 10048352 w 11851944"/>
                  <a:gd name="connsiteY22" fmla="*/ 2869149 h 2969978"/>
                  <a:gd name="connsiteX23" fmla="*/ 9555982 w 11851944"/>
                  <a:gd name="connsiteY23" fmla="*/ 2859101 h 2969978"/>
                  <a:gd name="connsiteX24" fmla="*/ 9445451 w 11851944"/>
                  <a:gd name="connsiteY24" fmla="*/ 2849053 h 2969978"/>
                  <a:gd name="connsiteX25" fmla="*/ 9415306 w 11851944"/>
                  <a:gd name="connsiteY25" fmla="*/ 2828956 h 2969978"/>
                  <a:gd name="connsiteX26" fmla="*/ 9204290 w 11851944"/>
                  <a:gd name="connsiteY26" fmla="*/ 2808859 h 2969978"/>
                  <a:gd name="connsiteX27" fmla="*/ 9073662 w 11851944"/>
                  <a:gd name="connsiteY27" fmla="*/ 2788762 h 2969978"/>
                  <a:gd name="connsiteX28" fmla="*/ 8812404 w 11851944"/>
                  <a:gd name="connsiteY28" fmla="*/ 2778714 h 2969978"/>
                  <a:gd name="connsiteX29" fmla="*/ 8400422 w 11851944"/>
                  <a:gd name="connsiteY29" fmla="*/ 2768666 h 2969978"/>
                  <a:gd name="connsiteX30" fmla="*/ 8269793 w 11851944"/>
                  <a:gd name="connsiteY30" fmla="*/ 2758617 h 2969978"/>
                  <a:gd name="connsiteX31" fmla="*/ 7797521 w 11851944"/>
                  <a:gd name="connsiteY31" fmla="*/ 2778714 h 2969978"/>
                  <a:gd name="connsiteX32" fmla="*/ 7717134 w 11851944"/>
                  <a:gd name="connsiteY32" fmla="*/ 2788762 h 2969978"/>
                  <a:gd name="connsiteX33" fmla="*/ 7486022 w 11851944"/>
                  <a:gd name="connsiteY33" fmla="*/ 2818908 h 2969978"/>
                  <a:gd name="connsiteX34" fmla="*/ 7395587 w 11851944"/>
                  <a:gd name="connsiteY34" fmla="*/ 2839004 h 2969978"/>
                  <a:gd name="connsiteX35" fmla="*/ 7325248 w 11851944"/>
                  <a:gd name="connsiteY35" fmla="*/ 2849053 h 2969978"/>
                  <a:gd name="connsiteX36" fmla="*/ 6863024 w 11851944"/>
                  <a:gd name="connsiteY36" fmla="*/ 2839004 h 2969978"/>
                  <a:gd name="connsiteX37" fmla="*/ 6722347 w 11851944"/>
                  <a:gd name="connsiteY37" fmla="*/ 2828956 h 2969978"/>
                  <a:gd name="connsiteX38" fmla="*/ 4903596 w 11851944"/>
                  <a:gd name="connsiteY38" fmla="*/ 2879198 h 2969978"/>
                  <a:gd name="connsiteX39" fmla="*/ 4722725 w 11851944"/>
                  <a:gd name="connsiteY39" fmla="*/ 2919391 h 2969978"/>
                  <a:gd name="connsiteX40" fmla="*/ 4300695 w 11851944"/>
                  <a:gd name="connsiteY40" fmla="*/ 2899294 h 2969978"/>
                  <a:gd name="connsiteX41" fmla="*/ 4059534 w 11851944"/>
                  <a:gd name="connsiteY41" fmla="*/ 2859101 h 2969978"/>
                  <a:gd name="connsiteX42" fmla="*/ 3768132 w 11851944"/>
                  <a:gd name="connsiteY42" fmla="*/ 2828956 h 2969978"/>
                  <a:gd name="connsiteX43" fmla="*/ 3627455 w 11851944"/>
                  <a:gd name="connsiteY43" fmla="*/ 2818908 h 2969978"/>
                  <a:gd name="connsiteX44" fmla="*/ 3125037 w 11851944"/>
                  <a:gd name="connsiteY44" fmla="*/ 2828956 h 2969978"/>
                  <a:gd name="connsiteX45" fmla="*/ 3064747 w 11851944"/>
                  <a:gd name="connsiteY45" fmla="*/ 2839004 h 2969978"/>
                  <a:gd name="connsiteX46" fmla="*/ 2009670 w 11851944"/>
                  <a:gd name="connsiteY46" fmla="*/ 2849053 h 2969978"/>
                  <a:gd name="connsiteX47" fmla="*/ 1678075 w 11851944"/>
                  <a:gd name="connsiteY47" fmla="*/ 2939488 h 2969978"/>
                  <a:gd name="connsiteX48" fmla="*/ 1607736 w 11851944"/>
                  <a:gd name="connsiteY48" fmla="*/ 2969633 h 2969978"/>
                  <a:gd name="connsiteX49" fmla="*/ 1135464 w 11851944"/>
                  <a:gd name="connsiteY49" fmla="*/ 2949536 h 2969978"/>
                  <a:gd name="connsiteX50" fmla="*/ 944545 w 11851944"/>
                  <a:gd name="connsiteY50" fmla="*/ 2919391 h 2969978"/>
                  <a:gd name="connsiteX51" fmla="*/ 723481 w 11851944"/>
                  <a:gd name="connsiteY51" fmla="*/ 2879198 h 2969978"/>
                  <a:gd name="connsiteX52" fmla="*/ 643095 w 11851944"/>
                  <a:gd name="connsiteY52" fmla="*/ 2869149 h 2969978"/>
                  <a:gd name="connsiteX53" fmla="*/ 371789 w 11851944"/>
                  <a:gd name="connsiteY53" fmla="*/ 2828956 h 2969978"/>
                  <a:gd name="connsiteX54" fmla="*/ 0 w 11851944"/>
                  <a:gd name="connsiteY5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445451 w 11851944"/>
                  <a:gd name="connsiteY23" fmla="*/ 2849053 h 2969978"/>
                  <a:gd name="connsiteX24" fmla="*/ 9415306 w 11851944"/>
                  <a:gd name="connsiteY24" fmla="*/ 2828956 h 2969978"/>
                  <a:gd name="connsiteX25" fmla="*/ 9204290 w 11851944"/>
                  <a:gd name="connsiteY25" fmla="*/ 2808859 h 2969978"/>
                  <a:gd name="connsiteX26" fmla="*/ 9073662 w 11851944"/>
                  <a:gd name="connsiteY26" fmla="*/ 2788762 h 2969978"/>
                  <a:gd name="connsiteX27" fmla="*/ 8812404 w 11851944"/>
                  <a:gd name="connsiteY27" fmla="*/ 2778714 h 2969978"/>
                  <a:gd name="connsiteX28" fmla="*/ 8400422 w 11851944"/>
                  <a:gd name="connsiteY28" fmla="*/ 2768666 h 2969978"/>
                  <a:gd name="connsiteX29" fmla="*/ 8269793 w 11851944"/>
                  <a:gd name="connsiteY29" fmla="*/ 2758617 h 2969978"/>
                  <a:gd name="connsiteX30" fmla="*/ 7797521 w 11851944"/>
                  <a:gd name="connsiteY30" fmla="*/ 2778714 h 2969978"/>
                  <a:gd name="connsiteX31" fmla="*/ 7717134 w 11851944"/>
                  <a:gd name="connsiteY31" fmla="*/ 2788762 h 2969978"/>
                  <a:gd name="connsiteX32" fmla="*/ 7486022 w 11851944"/>
                  <a:gd name="connsiteY32" fmla="*/ 2818908 h 2969978"/>
                  <a:gd name="connsiteX33" fmla="*/ 7395587 w 11851944"/>
                  <a:gd name="connsiteY33" fmla="*/ 2839004 h 2969978"/>
                  <a:gd name="connsiteX34" fmla="*/ 7325248 w 11851944"/>
                  <a:gd name="connsiteY34" fmla="*/ 2849053 h 2969978"/>
                  <a:gd name="connsiteX35" fmla="*/ 6863024 w 11851944"/>
                  <a:gd name="connsiteY35" fmla="*/ 2839004 h 2969978"/>
                  <a:gd name="connsiteX36" fmla="*/ 6722347 w 11851944"/>
                  <a:gd name="connsiteY36" fmla="*/ 2828956 h 2969978"/>
                  <a:gd name="connsiteX37" fmla="*/ 4903596 w 11851944"/>
                  <a:gd name="connsiteY37" fmla="*/ 2879198 h 2969978"/>
                  <a:gd name="connsiteX38" fmla="*/ 4722725 w 11851944"/>
                  <a:gd name="connsiteY38" fmla="*/ 2919391 h 2969978"/>
                  <a:gd name="connsiteX39" fmla="*/ 4300695 w 11851944"/>
                  <a:gd name="connsiteY39" fmla="*/ 2899294 h 2969978"/>
                  <a:gd name="connsiteX40" fmla="*/ 4059534 w 11851944"/>
                  <a:gd name="connsiteY40" fmla="*/ 2859101 h 2969978"/>
                  <a:gd name="connsiteX41" fmla="*/ 3768132 w 11851944"/>
                  <a:gd name="connsiteY41" fmla="*/ 2828956 h 2969978"/>
                  <a:gd name="connsiteX42" fmla="*/ 3627455 w 11851944"/>
                  <a:gd name="connsiteY42" fmla="*/ 2818908 h 2969978"/>
                  <a:gd name="connsiteX43" fmla="*/ 3125037 w 11851944"/>
                  <a:gd name="connsiteY43" fmla="*/ 2828956 h 2969978"/>
                  <a:gd name="connsiteX44" fmla="*/ 3064747 w 11851944"/>
                  <a:gd name="connsiteY44" fmla="*/ 2839004 h 2969978"/>
                  <a:gd name="connsiteX45" fmla="*/ 2009670 w 11851944"/>
                  <a:gd name="connsiteY45" fmla="*/ 2849053 h 2969978"/>
                  <a:gd name="connsiteX46" fmla="*/ 1678075 w 11851944"/>
                  <a:gd name="connsiteY46" fmla="*/ 2939488 h 2969978"/>
                  <a:gd name="connsiteX47" fmla="*/ 1607736 w 11851944"/>
                  <a:gd name="connsiteY47" fmla="*/ 2969633 h 2969978"/>
                  <a:gd name="connsiteX48" fmla="*/ 1135464 w 11851944"/>
                  <a:gd name="connsiteY48" fmla="*/ 2949536 h 2969978"/>
                  <a:gd name="connsiteX49" fmla="*/ 944545 w 11851944"/>
                  <a:gd name="connsiteY49" fmla="*/ 2919391 h 2969978"/>
                  <a:gd name="connsiteX50" fmla="*/ 723481 w 11851944"/>
                  <a:gd name="connsiteY50" fmla="*/ 2879198 h 2969978"/>
                  <a:gd name="connsiteX51" fmla="*/ 643095 w 11851944"/>
                  <a:gd name="connsiteY51" fmla="*/ 2869149 h 2969978"/>
                  <a:gd name="connsiteX52" fmla="*/ 371789 w 11851944"/>
                  <a:gd name="connsiteY52" fmla="*/ 2828956 h 2969978"/>
                  <a:gd name="connsiteX53" fmla="*/ 0 w 11851944"/>
                  <a:gd name="connsiteY53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445451 w 11851944"/>
                  <a:gd name="connsiteY23" fmla="*/ 2849053 h 2969978"/>
                  <a:gd name="connsiteX24" fmla="*/ 9204290 w 11851944"/>
                  <a:gd name="connsiteY24" fmla="*/ 2808859 h 2969978"/>
                  <a:gd name="connsiteX25" fmla="*/ 9073662 w 11851944"/>
                  <a:gd name="connsiteY25" fmla="*/ 2788762 h 2969978"/>
                  <a:gd name="connsiteX26" fmla="*/ 8812404 w 11851944"/>
                  <a:gd name="connsiteY26" fmla="*/ 2778714 h 2969978"/>
                  <a:gd name="connsiteX27" fmla="*/ 8400422 w 11851944"/>
                  <a:gd name="connsiteY27" fmla="*/ 2768666 h 2969978"/>
                  <a:gd name="connsiteX28" fmla="*/ 8269793 w 11851944"/>
                  <a:gd name="connsiteY28" fmla="*/ 2758617 h 2969978"/>
                  <a:gd name="connsiteX29" fmla="*/ 7797521 w 11851944"/>
                  <a:gd name="connsiteY29" fmla="*/ 2778714 h 2969978"/>
                  <a:gd name="connsiteX30" fmla="*/ 7717134 w 11851944"/>
                  <a:gd name="connsiteY30" fmla="*/ 2788762 h 2969978"/>
                  <a:gd name="connsiteX31" fmla="*/ 7486022 w 11851944"/>
                  <a:gd name="connsiteY31" fmla="*/ 2818908 h 2969978"/>
                  <a:gd name="connsiteX32" fmla="*/ 7395587 w 11851944"/>
                  <a:gd name="connsiteY32" fmla="*/ 2839004 h 2969978"/>
                  <a:gd name="connsiteX33" fmla="*/ 7325248 w 11851944"/>
                  <a:gd name="connsiteY33" fmla="*/ 2849053 h 2969978"/>
                  <a:gd name="connsiteX34" fmla="*/ 6863024 w 11851944"/>
                  <a:gd name="connsiteY34" fmla="*/ 2839004 h 2969978"/>
                  <a:gd name="connsiteX35" fmla="*/ 6722347 w 11851944"/>
                  <a:gd name="connsiteY35" fmla="*/ 2828956 h 2969978"/>
                  <a:gd name="connsiteX36" fmla="*/ 4903596 w 11851944"/>
                  <a:gd name="connsiteY36" fmla="*/ 2879198 h 2969978"/>
                  <a:gd name="connsiteX37" fmla="*/ 4722725 w 11851944"/>
                  <a:gd name="connsiteY37" fmla="*/ 2919391 h 2969978"/>
                  <a:gd name="connsiteX38" fmla="*/ 4300695 w 11851944"/>
                  <a:gd name="connsiteY38" fmla="*/ 2899294 h 2969978"/>
                  <a:gd name="connsiteX39" fmla="*/ 4059534 w 11851944"/>
                  <a:gd name="connsiteY39" fmla="*/ 2859101 h 2969978"/>
                  <a:gd name="connsiteX40" fmla="*/ 3768132 w 11851944"/>
                  <a:gd name="connsiteY40" fmla="*/ 2828956 h 2969978"/>
                  <a:gd name="connsiteX41" fmla="*/ 3627455 w 11851944"/>
                  <a:gd name="connsiteY41" fmla="*/ 2818908 h 2969978"/>
                  <a:gd name="connsiteX42" fmla="*/ 3125037 w 11851944"/>
                  <a:gd name="connsiteY42" fmla="*/ 2828956 h 2969978"/>
                  <a:gd name="connsiteX43" fmla="*/ 3064747 w 11851944"/>
                  <a:gd name="connsiteY43" fmla="*/ 2839004 h 2969978"/>
                  <a:gd name="connsiteX44" fmla="*/ 2009670 w 11851944"/>
                  <a:gd name="connsiteY44" fmla="*/ 2849053 h 2969978"/>
                  <a:gd name="connsiteX45" fmla="*/ 1678075 w 11851944"/>
                  <a:gd name="connsiteY45" fmla="*/ 2939488 h 2969978"/>
                  <a:gd name="connsiteX46" fmla="*/ 1607736 w 11851944"/>
                  <a:gd name="connsiteY46" fmla="*/ 2969633 h 2969978"/>
                  <a:gd name="connsiteX47" fmla="*/ 1135464 w 11851944"/>
                  <a:gd name="connsiteY47" fmla="*/ 2949536 h 2969978"/>
                  <a:gd name="connsiteX48" fmla="*/ 944545 w 11851944"/>
                  <a:gd name="connsiteY48" fmla="*/ 2919391 h 2969978"/>
                  <a:gd name="connsiteX49" fmla="*/ 723481 w 11851944"/>
                  <a:gd name="connsiteY49" fmla="*/ 2879198 h 2969978"/>
                  <a:gd name="connsiteX50" fmla="*/ 643095 w 11851944"/>
                  <a:gd name="connsiteY50" fmla="*/ 2869149 h 2969978"/>
                  <a:gd name="connsiteX51" fmla="*/ 371789 w 11851944"/>
                  <a:gd name="connsiteY51" fmla="*/ 2828956 h 2969978"/>
                  <a:gd name="connsiteX52" fmla="*/ 0 w 11851944"/>
                  <a:gd name="connsiteY52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10048352 w 11851944"/>
                  <a:gd name="connsiteY21" fmla="*/ 2869149 h 2969978"/>
                  <a:gd name="connsiteX22" fmla="*/ 9555982 w 11851944"/>
                  <a:gd name="connsiteY22" fmla="*/ 2859101 h 2969978"/>
                  <a:gd name="connsiteX23" fmla="*/ 9204290 w 11851944"/>
                  <a:gd name="connsiteY23" fmla="*/ 2808859 h 2969978"/>
                  <a:gd name="connsiteX24" fmla="*/ 9073662 w 11851944"/>
                  <a:gd name="connsiteY24" fmla="*/ 2788762 h 2969978"/>
                  <a:gd name="connsiteX25" fmla="*/ 8812404 w 11851944"/>
                  <a:gd name="connsiteY25" fmla="*/ 2778714 h 2969978"/>
                  <a:gd name="connsiteX26" fmla="*/ 8400422 w 11851944"/>
                  <a:gd name="connsiteY26" fmla="*/ 2768666 h 2969978"/>
                  <a:gd name="connsiteX27" fmla="*/ 8269793 w 11851944"/>
                  <a:gd name="connsiteY27" fmla="*/ 2758617 h 2969978"/>
                  <a:gd name="connsiteX28" fmla="*/ 7797521 w 11851944"/>
                  <a:gd name="connsiteY28" fmla="*/ 2778714 h 2969978"/>
                  <a:gd name="connsiteX29" fmla="*/ 7717134 w 11851944"/>
                  <a:gd name="connsiteY29" fmla="*/ 2788762 h 2969978"/>
                  <a:gd name="connsiteX30" fmla="*/ 7486022 w 11851944"/>
                  <a:gd name="connsiteY30" fmla="*/ 2818908 h 2969978"/>
                  <a:gd name="connsiteX31" fmla="*/ 7395587 w 11851944"/>
                  <a:gd name="connsiteY31" fmla="*/ 2839004 h 2969978"/>
                  <a:gd name="connsiteX32" fmla="*/ 7325248 w 11851944"/>
                  <a:gd name="connsiteY32" fmla="*/ 2849053 h 2969978"/>
                  <a:gd name="connsiteX33" fmla="*/ 6863024 w 11851944"/>
                  <a:gd name="connsiteY33" fmla="*/ 2839004 h 2969978"/>
                  <a:gd name="connsiteX34" fmla="*/ 6722347 w 11851944"/>
                  <a:gd name="connsiteY34" fmla="*/ 2828956 h 2969978"/>
                  <a:gd name="connsiteX35" fmla="*/ 4903596 w 11851944"/>
                  <a:gd name="connsiteY35" fmla="*/ 2879198 h 2969978"/>
                  <a:gd name="connsiteX36" fmla="*/ 4722725 w 11851944"/>
                  <a:gd name="connsiteY36" fmla="*/ 2919391 h 2969978"/>
                  <a:gd name="connsiteX37" fmla="*/ 4300695 w 11851944"/>
                  <a:gd name="connsiteY37" fmla="*/ 2899294 h 2969978"/>
                  <a:gd name="connsiteX38" fmla="*/ 4059534 w 11851944"/>
                  <a:gd name="connsiteY38" fmla="*/ 2859101 h 2969978"/>
                  <a:gd name="connsiteX39" fmla="*/ 3768132 w 11851944"/>
                  <a:gd name="connsiteY39" fmla="*/ 2828956 h 2969978"/>
                  <a:gd name="connsiteX40" fmla="*/ 3627455 w 11851944"/>
                  <a:gd name="connsiteY40" fmla="*/ 2818908 h 2969978"/>
                  <a:gd name="connsiteX41" fmla="*/ 3125037 w 11851944"/>
                  <a:gd name="connsiteY41" fmla="*/ 2828956 h 2969978"/>
                  <a:gd name="connsiteX42" fmla="*/ 3064747 w 11851944"/>
                  <a:gd name="connsiteY42" fmla="*/ 2839004 h 2969978"/>
                  <a:gd name="connsiteX43" fmla="*/ 2009670 w 11851944"/>
                  <a:gd name="connsiteY43" fmla="*/ 2849053 h 2969978"/>
                  <a:gd name="connsiteX44" fmla="*/ 1678075 w 11851944"/>
                  <a:gd name="connsiteY44" fmla="*/ 2939488 h 2969978"/>
                  <a:gd name="connsiteX45" fmla="*/ 1607736 w 11851944"/>
                  <a:gd name="connsiteY45" fmla="*/ 2969633 h 2969978"/>
                  <a:gd name="connsiteX46" fmla="*/ 1135464 w 11851944"/>
                  <a:gd name="connsiteY46" fmla="*/ 2949536 h 2969978"/>
                  <a:gd name="connsiteX47" fmla="*/ 944545 w 11851944"/>
                  <a:gd name="connsiteY47" fmla="*/ 2919391 h 2969978"/>
                  <a:gd name="connsiteX48" fmla="*/ 723481 w 11851944"/>
                  <a:gd name="connsiteY48" fmla="*/ 2879198 h 2969978"/>
                  <a:gd name="connsiteX49" fmla="*/ 643095 w 11851944"/>
                  <a:gd name="connsiteY49" fmla="*/ 2869149 h 2969978"/>
                  <a:gd name="connsiteX50" fmla="*/ 371789 w 11851944"/>
                  <a:gd name="connsiteY50" fmla="*/ 2828956 h 2969978"/>
                  <a:gd name="connsiteX51" fmla="*/ 0 w 11851944"/>
                  <a:gd name="connsiteY51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8400422 w 11851944"/>
                  <a:gd name="connsiteY25" fmla="*/ 2768666 h 2969978"/>
                  <a:gd name="connsiteX26" fmla="*/ 8269793 w 11851944"/>
                  <a:gd name="connsiteY26" fmla="*/ 2758617 h 2969978"/>
                  <a:gd name="connsiteX27" fmla="*/ 7797521 w 11851944"/>
                  <a:gd name="connsiteY27" fmla="*/ 2778714 h 2969978"/>
                  <a:gd name="connsiteX28" fmla="*/ 7717134 w 11851944"/>
                  <a:gd name="connsiteY28" fmla="*/ 2788762 h 2969978"/>
                  <a:gd name="connsiteX29" fmla="*/ 7486022 w 11851944"/>
                  <a:gd name="connsiteY29" fmla="*/ 2818908 h 2969978"/>
                  <a:gd name="connsiteX30" fmla="*/ 7395587 w 11851944"/>
                  <a:gd name="connsiteY30" fmla="*/ 2839004 h 2969978"/>
                  <a:gd name="connsiteX31" fmla="*/ 7325248 w 11851944"/>
                  <a:gd name="connsiteY31" fmla="*/ 2849053 h 2969978"/>
                  <a:gd name="connsiteX32" fmla="*/ 6863024 w 11851944"/>
                  <a:gd name="connsiteY32" fmla="*/ 2839004 h 2969978"/>
                  <a:gd name="connsiteX33" fmla="*/ 6722347 w 11851944"/>
                  <a:gd name="connsiteY33" fmla="*/ 2828956 h 2969978"/>
                  <a:gd name="connsiteX34" fmla="*/ 4903596 w 11851944"/>
                  <a:gd name="connsiteY34" fmla="*/ 2879198 h 2969978"/>
                  <a:gd name="connsiteX35" fmla="*/ 4722725 w 11851944"/>
                  <a:gd name="connsiteY35" fmla="*/ 2919391 h 2969978"/>
                  <a:gd name="connsiteX36" fmla="*/ 4300695 w 11851944"/>
                  <a:gd name="connsiteY36" fmla="*/ 2899294 h 2969978"/>
                  <a:gd name="connsiteX37" fmla="*/ 4059534 w 11851944"/>
                  <a:gd name="connsiteY37" fmla="*/ 2859101 h 2969978"/>
                  <a:gd name="connsiteX38" fmla="*/ 3768132 w 11851944"/>
                  <a:gd name="connsiteY38" fmla="*/ 2828956 h 2969978"/>
                  <a:gd name="connsiteX39" fmla="*/ 3627455 w 11851944"/>
                  <a:gd name="connsiteY39" fmla="*/ 2818908 h 2969978"/>
                  <a:gd name="connsiteX40" fmla="*/ 3125037 w 11851944"/>
                  <a:gd name="connsiteY40" fmla="*/ 2828956 h 2969978"/>
                  <a:gd name="connsiteX41" fmla="*/ 3064747 w 11851944"/>
                  <a:gd name="connsiteY41" fmla="*/ 2839004 h 2969978"/>
                  <a:gd name="connsiteX42" fmla="*/ 2009670 w 11851944"/>
                  <a:gd name="connsiteY42" fmla="*/ 2849053 h 2969978"/>
                  <a:gd name="connsiteX43" fmla="*/ 1678075 w 11851944"/>
                  <a:gd name="connsiteY43" fmla="*/ 2939488 h 2969978"/>
                  <a:gd name="connsiteX44" fmla="*/ 1607736 w 11851944"/>
                  <a:gd name="connsiteY44" fmla="*/ 2969633 h 2969978"/>
                  <a:gd name="connsiteX45" fmla="*/ 1135464 w 11851944"/>
                  <a:gd name="connsiteY45" fmla="*/ 2949536 h 2969978"/>
                  <a:gd name="connsiteX46" fmla="*/ 944545 w 11851944"/>
                  <a:gd name="connsiteY46" fmla="*/ 2919391 h 2969978"/>
                  <a:gd name="connsiteX47" fmla="*/ 723481 w 11851944"/>
                  <a:gd name="connsiteY47" fmla="*/ 2879198 h 2969978"/>
                  <a:gd name="connsiteX48" fmla="*/ 643095 w 11851944"/>
                  <a:gd name="connsiteY48" fmla="*/ 2869149 h 2969978"/>
                  <a:gd name="connsiteX49" fmla="*/ 371789 w 11851944"/>
                  <a:gd name="connsiteY49" fmla="*/ 2828956 h 2969978"/>
                  <a:gd name="connsiteX50" fmla="*/ 0 w 11851944"/>
                  <a:gd name="connsiteY50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8269793 w 11851944"/>
                  <a:gd name="connsiteY25" fmla="*/ 2758617 h 2969978"/>
                  <a:gd name="connsiteX26" fmla="*/ 7797521 w 11851944"/>
                  <a:gd name="connsiteY26" fmla="*/ 2778714 h 2969978"/>
                  <a:gd name="connsiteX27" fmla="*/ 7717134 w 11851944"/>
                  <a:gd name="connsiteY27" fmla="*/ 2788762 h 2969978"/>
                  <a:gd name="connsiteX28" fmla="*/ 7486022 w 11851944"/>
                  <a:gd name="connsiteY28" fmla="*/ 2818908 h 2969978"/>
                  <a:gd name="connsiteX29" fmla="*/ 7395587 w 11851944"/>
                  <a:gd name="connsiteY29" fmla="*/ 2839004 h 2969978"/>
                  <a:gd name="connsiteX30" fmla="*/ 7325248 w 11851944"/>
                  <a:gd name="connsiteY30" fmla="*/ 2849053 h 2969978"/>
                  <a:gd name="connsiteX31" fmla="*/ 6863024 w 11851944"/>
                  <a:gd name="connsiteY31" fmla="*/ 2839004 h 2969978"/>
                  <a:gd name="connsiteX32" fmla="*/ 6722347 w 11851944"/>
                  <a:gd name="connsiteY32" fmla="*/ 2828956 h 2969978"/>
                  <a:gd name="connsiteX33" fmla="*/ 4903596 w 11851944"/>
                  <a:gd name="connsiteY33" fmla="*/ 2879198 h 2969978"/>
                  <a:gd name="connsiteX34" fmla="*/ 4722725 w 11851944"/>
                  <a:gd name="connsiteY34" fmla="*/ 2919391 h 2969978"/>
                  <a:gd name="connsiteX35" fmla="*/ 4300695 w 11851944"/>
                  <a:gd name="connsiteY35" fmla="*/ 2899294 h 2969978"/>
                  <a:gd name="connsiteX36" fmla="*/ 4059534 w 11851944"/>
                  <a:gd name="connsiteY36" fmla="*/ 2859101 h 2969978"/>
                  <a:gd name="connsiteX37" fmla="*/ 3768132 w 11851944"/>
                  <a:gd name="connsiteY37" fmla="*/ 2828956 h 2969978"/>
                  <a:gd name="connsiteX38" fmla="*/ 3627455 w 11851944"/>
                  <a:gd name="connsiteY38" fmla="*/ 2818908 h 2969978"/>
                  <a:gd name="connsiteX39" fmla="*/ 3125037 w 11851944"/>
                  <a:gd name="connsiteY39" fmla="*/ 2828956 h 2969978"/>
                  <a:gd name="connsiteX40" fmla="*/ 3064747 w 11851944"/>
                  <a:gd name="connsiteY40" fmla="*/ 2839004 h 2969978"/>
                  <a:gd name="connsiteX41" fmla="*/ 2009670 w 11851944"/>
                  <a:gd name="connsiteY41" fmla="*/ 2849053 h 2969978"/>
                  <a:gd name="connsiteX42" fmla="*/ 1678075 w 11851944"/>
                  <a:gd name="connsiteY42" fmla="*/ 2939488 h 2969978"/>
                  <a:gd name="connsiteX43" fmla="*/ 1607736 w 11851944"/>
                  <a:gd name="connsiteY43" fmla="*/ 2969633 h 2969978"/>
                  <a:gd name="connsiteX44" fmla="*/ 1135464 w 11851944"/>
                  <a:gd name="connsiteY44" fmla="*/ 2949536 h 2969978"/>
                  <a:gd name="connsiteX45" fmla="*/ 944545 w 11851944"/>
                  <a:gd name="connsiteY45" fmla="*/ 2919391 h 2969978"/>
                  <a:gd name="connsiteX46" fmla="*/ 723481 w 11851944"/>
                  <a:gd name="connsiteY46" fmla="*/ 2879198 h 2969978"/>
                  <a:gd name="connsiteX47" fmla="*/ 643095 w 11851944"/>
                  <a:gd name="connsiteY47" fmla="*/ 2869149 h 2969978"/>
                  <a:gd name="connsiteX48" fmla="*/ 371789 w 11851944"/>
                  <a:gd name="connsiteY48" fmla="*/ 2828956 h 2969978"/>
                  <a:gd name="connsiteX49" fmla="*/ 0 w 11851944"/>
                  <a:gd name="connsiteY49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797521 w 11851944"/>
                  <a:gd name="connsiteY25" fmla="*/ 2778714 h 2969978"/>
                  <a:gd name="connsiteX26" fmla="*/ 7717134 w 11851944"/>
                  <a:gd name="connsiteY26" fmla="*/ 2788762 h 2969978"/>
                  <a:gd name="connsiteX27" fmla="*/ 7486022 w 11851944"/>
                  <a:gd name="connsiteY27" fmla="*/ 2818908 h 2969978"/>
                  <a:gd name="connsiteX28" fmla="*/ 7395587 w 11851944"/>
                  <a:gd name="connsiteY28" fmla="*/ 2839004 h 2969978"/>
                  <a:gd name="connsiteX29" fmla="*/ 7325248 w 11851944"/>
                  <a:gd name="connsiteY29" fmla="*/ 2849053 h 2969978"/>
                  <a:gd name="connsiteX30" fmla="*/ 6863024 w 11851944"/>
                  <a:gd name="connsiteY30" fmla="*/ 2839004 h 2969978"/>
                  <a:gd name="connsiteX31" fmla="*/ 6722347 w 11851944"/>
                  <a:gd name="connsiteY31" fmla="*/ 2828956 h 2969978"/>
                  <a:gd name="connsiteX32" fmla="*/ 4903596 w 11851944"/>
                  <a:gd name="connsiteY32" fmla="*/ 2879198 h 2969978"/>
                  <a:gd name="connsiteX33" fmla="*/ 4722725 w 11851944"/>
                  <a:gd name="connsiteY33" fmla="*/ 2919391 h 2969978"/>
                  <a:gd name="connsiteX34" fmla="*/ 4300695 w 11851944"/>
                  <a:gd name="connsiteY34" fmla="*/ 2899294 h 2969978"/>
                  <a:gd name="connsiteX35" fmla="*/ 4059534 w 11851944"/>
                  <a:gd name="connsiteY35" fmla="*/ 2859101 h 2969978"/>
                  <a:gd name="connsiteX36" fmla="*/ 3768132 w 11851944"/>
                  <a:gd name="connsiteY36" fmla="*/ 2828956 h 2969978"/>
                  <a:gd name="connsiteX37" fmla="*/ 3627455 w 11851944"/>
                  <a:gd name="connsiteY37" fmla="*/ 2818908 h 2969978"/>
                  <a:gd name="connsiteX38" fmla="*/ 3125037 w 11851944"/>
                  <a:gd name="connsiteY38" fmla="*/ 2828956 h 2969978"/>
                  <a:gd name="connsiteX39" fmla="*/ 3064747 w 11851944"/>
                  <a:gd name="connsiteY39" fmla="*/ 2839004 h 2969978"/>
                  <a:gd name="connsiteX40" fmla="*/ 2009670 w 11851944"/>
                  <a:gd name="connsiteY40" fmla="*/ 2849053 h 2969978"/>
                  <a:gd name="connsiteX41" fmla="*/ 1678075 w 11851944"/>
                  <a:gd name="connsiteY41" fmla="*/ 2939488 h 2969978"/>
                  <a:gd name="connsiteX42" fmla="*/ 1607736 w 11851944"/>
                  <a:gd name="connsiteY42" fmla="*/ 2969633 h 2969978"/>
                  <a:gd name="connsiteX43" fmla="*/ 1135464 w 11851944"/>
                  <a:gd name="connsiteY43" fmla="*/ 2949536 h 2969978"/>
                  <a:gd name="connsiteX44" fmla="*/ 944545 w 11851944"/>
                  <a:gd name="connsiteY44" fmla="*/ 2919391 h 2969978"/>
                  <a:gd name="connsiteX45" fmla="*/ 723481 w 11851944"/>
                  <a:gd name="connsiteY45" fmla="*/ 2879198 h 2969978"/>
                  <a:gd name="connsiteX46" fmla="*/ 643095 w 11851944"/>
                  <a:gd name="connsiteY46" fmla="*/ 2869149 h 2969978"/>
                  <a:gd name="connsiteX47" fmla="*/ 371789 w 11851944"/>
                  <a:gd name="connsiteY47" fmla="*/ 2828956 h 2969978"/>
                  <a:gd name="connsiteX48" fmla="*/ 0 w 11851944"/>
                  <a:gd name="connsiteY48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797521 w 11851944"/>
                  <a:gd name="connsiteY25" fmla="*/ 2778714 h 2969978"/>
                  <a:gd name="connsiteX26" fmla="*/ 7486022 w 11851944"/>
                  <a:gd name="connsiteY26" fmla="*/ 2818908 h 2969978"/>
                  <a:gd name="connsiteX27" fmla="*/ 7395587 w 11851944"/>
                  <a:gd name="connsiteY27" fmla="*/ 2839004 h 2969978"/>
                  <a:gd name="connsiteX28" fmla="*/ 7325248 w 11851944"/>
                  <a:gd name="connsiteY28" fmla="*/ 2849053 h 2969978"/>
                  <a:gd name="connsiteX29" fmla="*/ 6863024 w 11851944"/>
                  <a:gd name="connsiteY29" fmla="*/ 2839004 h 2969978"/>
                  <a:gd name="connsiteX30" fmla="*/ 6722347 w 11851944"/>
                  <a:gd name="connsiteY30" fmla="*/ 2828956 h 2969978"/>
                  <a:gd name="connsiteX31" fmla="*/ 4903596 w 11851944"/>
                  <a:gd name="connsiteY31" fmla="*/ 2879198 h 2969978"/>
                  <a:gd name="connsiteX32" fmla="*/ 4722725 w 11851944"/>
                  <a:gd name="connsiteY32" fmla="*/ 2919391 h 2969978"/>
                  <a:gd name="connsiteX33" fmla="*/ 4300695 w 11851944"/>
                  <a:gd name="connsiteY33" fmla="*/ 2899294 h 2969978"/>
                  <a:gd name="connsiteX34" fmla="*/ 4059534 w 11851944"/>
                  <a:gd name="connsiteY34" fmla="*/ 2859101 h 2969978"/>
                  <a:gd name="connsiteX35" fmla="*/ 3768132 w 11851944"/>
                  <a:gd name="connsiteY35" fmla="*/ 2828956 h 2969978"/>
                  <a:gd name="connsiteX36" fmla="*/ 3627455 w 11851944"/>
                  <a:gd name="connsiteY36" fmla="*/ 2818908 h 2969978"/>
                  <a:gd name="connsiteX37" fmla="*/ 3125037 w 11851944"/>
                  <a:gd name="connsiteY37" fmla="*/ 2828956 h 2969978"/>
                  <a:gd name="connsiteX38" fmla="*/ 3064747 w 11851944"/>
                  <a:gd name="connsiteY38" fmla="*/ 2839004 h 2969978"/>
                  <a:gd name="connsiteX39" fmla="*/ 2009670 w 11851944"/>
                  <a:gd name="connsiteY39" fmla="*/ 2849053 h 2969978"/>
                  <a:gd name="connsiteX40" fmla="*/ 1678075 w 11851944"/>
                  <a:gd name="connsiteY40" fmla="*/ 2939488 h 2969978"/>
                  <a:gd name="connsiteX41" fmla="*/ 1607736 w 11851944"/>
                  <a:gd name="connsiteY41" fmla="*/ 2969633 h 2969978"/>
                  <a:gd name="connsiteX42" fmla="*/ 1135464 w 11851944"/>
                  <a:gd name="connsiteY42" fmla="*/ 2949536 h 2969978"/>
                  <a:gd name="connsiteX43" fmla="*/ 944545 w 11851944"/>
                  <a:gd name="connsiteY43" fmla="*/ 2919391 h 2969978"/>
                  <a:gd name="connsiteX44" fmla="*/ 723481 w 11851944"/>
                  <a:gd name="connsiteY44" fmla="*/ 2879198 h 2969978"/>
                  <a:gd name="connsiteX45" fmla="*/ 643095 w 11851944"/>
                  <a:gd name="connsiteY45" fmla="*/ 2869149 h 2969978"/>
                  <a:gd name="connsiteX46" fmla="*/ 371789 w 11851944"/>
                  <a:gd name="connsiteY46" fmla="*/ 2828956 h 2969978"/>
                  <a:gd name="connsiteX47" fmla="*/ 0 w 11851944"/>
                  <a:gd name="connsiteY47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8812404 w 11851944"/>
                  <a:gd name="connsiteY24" fmla="*/ 2778714 h 2969978"/>
                  <a:gd name="connsiteX25" fmla="*/ 7486022 w 11851944"/>
                  <a:gd name="connsiteY25" fmla="*/ 2818908 h 2969978"/>
                  <a:gd name="connsiteX26" fmla="*/ 7395587 w 11851944"/>
                  <a:gd name="connsiteY26" fmla="*/ 2839004 h 2969978"/>
                  <a:gd name="connsiteX27" fmla="*/ 7325248 w 11851944"/>
                  <a:gd name="connsiteY27" fmla="*/ 2849053 h 2969978"/>
                  <a:gd name="connsiteX28" fmla="*/ 6863024 w 11851944"/>
                  <a:gd name="connsiteY28" fmla="*/ 2839004 h 2969978"/>
                  <a:gd name="connsiteX29" fmla="*/ 6722347 w 11851944"/>
                  <a:gd name="connsiteY29" fmla="*/ 2828956 h 2969978"/>
                  <a:gd name="connsiteX30" fmla="*/ 4903596 w 11851944"/>
                  <a:gd name="connsiteY30" fmla="*/ 2879198 h 2969978"/>
                  <a:gd name="connsiteX31" fmla="*/ 4722725 w 11851944"/>
                  <a:gd name="connsiteY31" fmla="*/ 2919391 h 2969978"/>
                  <a:gd name="connsiteX32" fmla="*/ 4300695 w 11851944"/>
                  <a:gd name="connsiteY32" fmla="*/ 2899294 h 2969978"/>
                  <a:gd name="connsiteX33" fmla="*/ 4059534 w 11851944"/>
                  <a:gd name="connsiteY33" fmla="*/ 2859101 h 2969978"/>
                  <a:gd name="connsiteX34" fmla="*/ 3768132 w 11851944"/>
                  <a:gd name="connsiteY34" fmla="*/ 2828956 h 2969978"/>
                  <a:gd name="connsiteX35" fmla="*/ 3627455 w 11851944"/>
                  <a:gd name="connsiteY35" fmla="*/ 2818908 h 2969978"/>
                  <a:gd name="connsiteX36" fmla="*/ 3125037 w 11851944"/>
                  <a:gd name="connsiteY36" fmla="*/ 2828956 h 2969978"/>
                  <a:gd name="connsiteX37" fmla="*/ 3064747 w 11851944"/>
                  <a:gd name="connsiteY37" fmla="*/ 2839004 h 2969978"/>
                  <a:gd name="connsiteX38" fmla="*/ 2009670 w 11851944"/>
                  <a:gd name="connsiteY38" fmla="*/ 2849053 h 2969978"/>
                  <a:gd name="connsiteX39" fmla="*/ 1678075 w 11851944"/>
                  <a:gd name="connsiteY39" fmla="*/ 2939488 h 2969978"/>
                  <a:gd name="connsiteX40" fmla="*/ 1607736 w 11851944"/>
                  <a:gd name="connsiteY40" fmla="*/ 2969633 h 2969978"/>
                  <a:gd name="connsiteX41" fmla="*/ 1135464 w 11851944"/>
                  <a:gd name="connsiteY41" fmla="*/ 2949536 h 2969978"/>
                  <a:gd name="connsiteX42" fmla="*/ 944545 w 11851944"/>
                  <a:gd name="connsiteY42" fmla="*/ 2919391 h 2969978"/>
                  <a:gd name="connsiteX43" fmla="*/ 723481 w 11851944"/>
                  <a:gd name="connsiteY43" fmla="*/ 2879198 h 2969978"/>
                  <a:gd name="connsiteX44" fmla="*/ 643095 w 11851944"/>
                  <a:gd name="connsiteY44" fmla="*/ 2869149 h 2969978"/>
                  <a:gd name="connsiteX45" fmla="*/ 371789 w 11851944"/>
                  <a:gd name="connsiteY45" fmla="*/ 2828956 h 2969978"/>
                  <a:gd name="connsiteX46" fmla="*/ 0 w 11851944"/>
                  <a:gd name="connsiteY46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7395587 w 11851944"/>
                  <a:gd name="connsiteY25" fmla="*/ 2839004 h 2969978"/>
                  <a:gd name="connsiteX26" fmla="*/ 7325248 w 11851944"/>
                  <a:gd name="connsiteY26" fmla="*/ 2849053 h 2969978"/>
                  <a:gd name="connsiteX27" fmla="*/ 6863024 w 11851944"/>
                  <a:gd name="connsiteY27" fmla="*/ 2839004 h 2969978"/>
                  <a:gd name="connsiteX28" fmla="*/ 6722347 w 11851944"/>
                  <a:gd name="connsiteY28" fmla="*/ 2828956 h 2969978"/>
                  <a:gd name="connsiteX29" fmla="*/ 4903596 w 11851944"/>
                  <a:gd name="connsiteY29" fmla="*/ 2879198 h 2969978"/>
                  <a:gd name="connsiteX30" fmla="*/ 4722725 w 11851944"/>
                  <a:gd name="connsiteY30" fmla="*/ 2919391 h 2969978"/>
                  <a:gd name="connsiteX31" fmla="*/ 4300695 w 11851944"/>
                  <a:gd name="connsiteY31" fmla="*/ 2899294 h 2969978"/>
                  <a:gd name="connsiteX32" fmla="*/ 4059534 w 11851944"/>
                  <a:gd name="connsiteY32" fmla="*/ 2859101 h 2969978"/>
                  <a:gd name="connsiteX33" fmla="*/ 3768132 w 11851944"/>
                  <a:gd name="connsiteY33" fmla="*/ 2828956 h 2969978"/>
                  <a:gd name="connsiteX34" fmla="*/ 3627455 w 11851944"/>
                  <a:gd name="connsiteY34" fmla="*/ 2818908 h 2969978"/>
                  <a:gd name="connsiteX35" fmla="*/ 3125037 w 11851944"/>
                  <a:gd name="connsiteY35" fmla="*/ 2828956 h 2969978"/>
                  <a:gd name="connsiteX36" fmla="*/ 3064747 w 11851944"/>
                  <a:gd name="connsiteY36" fmla="*/ 2839004 h 2969978"/>
                  <a:gd name="connsiteX37" fmla="*/ 2009670 w 11851944"/>
                  <a:gd name="connsiteY37" fmla="*/ 2849053 h 2969978"/>
                  <a:gd name="connsiteX38" fmla="*/ 1678075 w 11851944"/>
                  <a:gd name="connsiteY38" fmla="*/ 2939488 h 2969978"/>
                  <a:gd name="connsiteX39" fmla="*/ 1607736 w 11851944"/>
                  <a:gd name="connsiteY39" fmla="*/ 2969633 h 2969978"/>
                  <a:gd name="connsiteX40" fmla="*/ 1135464 w 11851944"/>
                  <a:gd name="connsiteY40" fmla="*/ 2949536 h 2969978"/>
                  <a:gd name="connsiteX41" fmla="*/ 944545 w 11851944"/>
                  <a:gd name="connsiteY41" fmla="*/ 2919391 h 2969978"/>
                  <a:gd name="connsiteX42" fmla="*/ 723481 w 11851944"/>
                  <a:gd name="connsiteY42" fmla="*/ 2879198 h 2969978"/>
                  <a:gd name="connsiteX43" fmla="*/ 643095 w 11851944"/>
                  <a:gd name="connsiteY43" fmla="*/ 2869149 h 2969978"/>
                  <a:gd name="connsiteX44" fmla="*/ 371789 w 11851944"/>
                  <a:gd name="connsiteY44" fmla="*/ 2828956 h 2969978"/>
                  <a:gd name="connsiteX45" fmla="*/ 0 w 11851944"/>
                  <a:gd name="connsiteY45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7395587 w 11851944"/>
                  <a:gd name="connsiteY25" fmla="*/ 2839004 h 2969978"/>
                  <a:gd name="connsiteX26" fmla="*/ 6863024 w 11851944"/>
                  <a:gd name="connsiteY26" fmla="*/ 2839004 h 2969978"/>
                  <a:gd name="connsiteX27" fmla="*/ 6722347 w 11851944"/>
                  <a:gd name="connsiteY27" fmla="*/ 2828956 h 2969978"/>
                  <a:gd name="connsiteX28" fmla="*/ 4903596 w 11851944"/>
                  <a:gd name="connsiteY28" fmla="*/ 2879198 h 2969978"/>
                  <a:gd name="connsiteX29" fmla="*/ 4722725 w 11851944"/>
                  <a:gd name="connsiteY29" fmla="*/ 2919391 h 2969978"/>
                  <a:gd name="connsiteX30" fmla="*/ 4300695 w 11851944"/>
                  <a:gd name="connsiteY30" fmla="*/ 2899294 h 2969978"/>
                  <a:gd name="connsiteX31" fmla="*/ 4059534 w 11851944"/>
                  <a:gd name="connsiteY31" fmla="*/ 2859101 h 2969978"/>
                  <a:gd name="connsiteX32" fmla="*/ 3768132 w 11851944"/>
                  <a:gd name="connsiteY32" fmla="*/ 2828956 h 2969978"/>
                  <a:gd name="connsiteX33" fmla="*/ 3627455 w 11851944"/>
                  <a:gd name="connsiteY33" fmla="*/ 2818908 h 2969978"/>
                  <a:gd name="connsiteX34" fmla="*/ 3125037 w 11851944"/>
                  <a:gd name="connsiteY34" fmla="*/ 2828956 h 2969978"/>
                  <a:gd name="connsiteX35" fmla="*/ 3064747 w 11851944"/>
                  <a:gd name="connsiteY35" fmla="*/ 2839004 h 2969978"/>
                  <a:gd name="connsiteX36" fmla="*/ 2009670 w 11851944"/>
                  <a:gd name="connsiteY36" fmla="*/ 2849053 h 2969978"/>
                  <a:gd name="connsiteX37" fmla="*/ 1678075 w 11851944"/>
                  <a:gd name="connsiteY37" fmla="*/ 2939488 h 2969978"/>
                  <a:gd name="connsiteX38" fmla="*/ 1607736 w 11851944"/>
                  <a:gd name="connsiteY38" fmla="*/ 2969633 h 2969978"/>
                  <a:gd name="connsiteX39" fmla="*/ 1135464 w 11851944"/>
                  <a:gd name="connsiteY39" fmla="*/ 2949536 h 2969978"/>
                  <a:gd name="connsiteX40" fmla="*/ 944545 w 11851944"/>
                  <a:gd name="connsiteY40" fmla="*/ 2919391 h 2969978"/>
                  <a:gd name="connsiteX41" fmla="*/ 723481 w 11851944"/>
                  <a:gd name="connsiteY41" fmla="*/ 2879198 h 2969978"/>
                  <a:gd name="connsiteX42" fmla="*/ 643095 w 11851944"/>
                  <a:gd name="connsiteY42" fmla="*/ 2869149 h 2969978"/>
                  <a:gd name="connsiteX43" fmla="*/ 371789 w 11851944"/>
                  <a:gd name="connsiteY43" fmla="*/ 2828956 h 2969978"/>
                  <a:gd name="connsiteX44" fmla="*/ 0 w 11851944"/>
                  <a:gd name="connsiteY44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9073662 w 11851944"/>
                  <a:gd name="connsiteY23" fmla="*/ 2788762 h 2969978"/>
                  <a:gd name="connsiteX24" fmla="*/ 7486022 w 11851944"/>
                  <a:gd name="connsiteY24" fmla="*/ 2818908 h 2969978"/>
                  <a:gd name="connsiteX25" fmla="*/ 6863024 w 11851944"/>
                  <a:gd name="connsiteY25" fmla="*/ 2839004 h 2969978"/>
                  <a:gd name="connsiteX26" fmla="*/ 6722347 w 11851944"/>
                  <a:gd name="connsiteY26" fmla="*/ 2828956 h 2969978"/>
                  <a:gd name="connsiteX27" fmla="*/ 4903596 w 11851944"/>
                  <a:gd name="connsiteY27" fmla="*/ 2879198 h 2969978"/>
                  <a:gd name="connsiteX28" fmla="*/ 4722725 w 11851944"/>
                  <a:gd name="connsiteY28" fmla="*/ 2919391 h 2969978"/>
                  <a:gd name="connsiteX29" fmla="*/ 4300695 w 11851944"/>
                  <a:gd name="connsiteY29" fmla="*/ 2899294 h 2969978"/>
                  <a:gd name="connsiteX30" fmla="*/ 4059534 w 11851944"/>
                  <a:gd name="connsiteY30" fmla="*/ 2859101 h 2969978"/>
                  <a:gd name="connsiteX31" fmla="*/ 3768132 w 11851944"/>
                  <a:gd name="connsiteY31" fmla="*/ 2828956 h 2969978"/>
                  <a:gd name="connsiteX32" fmla="*/ 3627455 w 11851944"/>
                  <a:gd name="connsiteY32" fmla="*/ 2818908 h 2969978"/>
                  <a:gd name="connsiteX33" fmla="*/ 3125037 w 11851944"/>
                  <a:gd name="connsiteY33" fmla="*/ 2828956 h 2969978"/>
                  <a:gd name="connsiteX34" fmla="*/ 3064747 w 11851944"/>
                  <a:gd name="connsiteY34" fmla="*/ 2839004 h 2969978"/>
                  <a:gd name="connsiteX35" fmla="*/ 2009670 w 11851944"/>
                  <a:gd name="connsiteY35" fmla="*/ 2849053 h 2969978"/>
                  <a:gd name="connsiteX36" fmla="*/ 1678075 w 11851944"/>
                  <a:gd name="connsiteY36" fmla="*/ 2939488 h 2969978"/>
                  <a:gd name="connsiteX37" fmla="*/ 1607736 w 11851944"/>
                  <a:gd name="connsiteY37" fmla="*/ 2969633 h 2969978"/>
                  <a:gd name="connsiteX38" fmla="*/ 1135464 w 11851944"/>
                  <a:gd name="connsiteY38" fmla="*/ 2949536 h 2969978"/>
                  <a:gd name="connsiteX39" fmla="*/ 944545 w 11851944"/>
                  <a:gd name="connsiteY39" fmla="*/ 2919391 h 2969978"/>
                  <a:gd name="connsiteX40" fmla="*/ 723481 w 11851944"/>
                  <a:gd name="connsiteY40" fmla="*/ 2879198 h 2969978"/>
                  <a:gd name="connsiteX41" fmla="*/ 643095 w 11851944"/>
                  <a:gd name="connsiteY41" fmla="*/ 2869149 h 2969978"/>
                  <a:gd name="connsiteX42" fmla="*/ 371789 w 11851944"/>
                  <a:gd name="connsiteY42" fmla="*/ 2828956 h 2969978"/>
                  <a:gd name="connsiteX43" fmla="*/ 0 w 11851944"/>
                  <a:gd name="connsiteY43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722725 w 11851944"/>
                  <a:gd name="connsiteY27" fmla="*/ 2919391 h 2969978"/>
                  <a:gd name="connsiteX28" fmla="*/ 4300695 w 11851944"/>
                  <a:gd name="connsiteY28" fmla="*/ 2899294 h 2969978"/>
                  <a:gd name="connsiteX29" fmla="*/ 4059534 w 11851944"/>
                  <a:gd name="connsiteY29" fmla="*/ 2859101 h 2969978"/>
                  <a:gd name="connsiteX30" fmla="*/ 3768132 w 11851944"/>
                  <a:gd name="connsiteY30" fmla="*/ 2828956 h 2969978"/>
                  <a:gd name="connsiteX31" fmla="*/ 3627455 w 11851944"/>
                  <a:gd name="connsiteY31" fmla="*/ 2818908 h 2969978"/>
                  <a:gd name="connsiteX32" fmla="*/ 3125037 w 11851944"/>
                  <a:gd name="connsiteY32" fmla="*/ 2828956 h 2969978"/>
                  <a:gd name="connsiteX33" fmla="*/ 3064747 w 11851944"/>
                  <a:gd name="connsiteY33" fmla="*/ 2839004 h 2969978"/>
                  <a:gd name="connsiteX34" fmla="*/ 2009670 w 11851944"/>
                  <a:gd name="connsiteY34" fmla="*/ 2849053 h 2969978"/>
                  <a:gd name="connsiteX35" fmla="*/ 1678075 w 11851944"/>
                  <a:gd name="connsiteY35" fmla="*/ 2939488 h 2969978"/>
                  <a:gd name="connsiteX36" fmla="*/ 1607736 w 11851944"/>
                  <a:gd name="connsiteY36" fmla="*/ 2969633 h 2969978"/>
                  <a:gd name="connsiteX37" fmla="*/ 1135464 w 11851944"/>
                  <a:gd name="connsiteY37" fmla="*/ 2949536 h 2969978"/>
                  <a:gd name="connsiteX38" fmla="*/ 944545 w 11851944"/>
                  <a:gd name="connsiteY38" fmla="*/ 2919391 h 2969978"/>
                  <a:gd name="connsiteX39" fmla="*/ 723481 w 11851944"/>
                  <a:gd name="connsiteY39" fmla="*/ 2879198 h 2969978"/>
                  <a:gd name="connsiteX40" fmla="*/ 643095 w 11851944"/>
                  <a:gd name="connsiteY40" fmla="*/ 2869149 h 2969978"/>
                  <a:gd name="connsiteX41" fmla="*/ 371789 w 11851944"/>
                  <a:gd name="connsiteY41" fmla="*/ 2828956 h 2969978"/>
                  <a:gd name="connsiteX42" fmla="*/ 0 w 11851944"/>
                  <a:gd name="connsiteY42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300695 w 11851944"/>
                  <a:gd name="connsiteY27" fmla="*/ 2899294 h 2969978"/>
                  <a:gd name="connsiteX28" fmla="*/ 4059534 w 11851944"/>
                  <a:gd name="connsiteY28" fmla="*/ 2859101 h 2969978"/>
                  <a:gd name="connsiteX29" fmla="*/ 3768132 w 11851944"/>
                  <a:gd name="connsiteY29" fmla="*/ 2828956 h 2969978"/>
                  <a:gd name="connsiteX30" fmla="*/ 3627455 w 11851944"/>
                  <a:gd name="connsiteY30" fmla="*/ 2818908 h 2969978"/>
                  <a:gd name="connsiteX31" fmla="*/ 3125037 w 11851944"/>
                  <a:gd name="connsiteY31" fmla="*/ 2828956 h 2969978"/>
                  <a:gd name="connsiteX32" fmla="*/ 3064747 w 11851944"/>
                  <a:gd name="connsiteY32" fmla="*/ 2839004 h 2969978"/>
                  <a:gd name="connsiteX33" fmla="*/ 2009670 w 11851944"/>
                  <a:gd name="connsiteY33" fmla="*/ 2849053 h 2969978"/>
                  <a:gd name="connsiteX34" fmla="*/ 1678075 w 11851944"/>
                  <a:gd name="connsiteY34" fmla="*/ 2939488 h 2969978"/>
                  <a:gd name="connsiteX35" fmla="*/ 1607736 w 11851944"/>
                  <a:gd name="connsiteY35" fmla="*/ 2969633 h 2969978"/>
                  <a:gd name="connsiteX36" fmla="*/ 1135464 w 11851944"/>
                  <a:gd name="connsiteY36" fmla="*/ 2949536 h 2969978"/>
                  <a:gd name="connsiteX37" fmla="*/ 944545 w 11851944"/>
                  <a:gd name="connsiteY37" fmla="*/ 2919391 h 2969978"/>
                  <a:gd name="connsiteX38" fmla="*/ 723481 w 11851944"/>
                  <a:gd name="connsiteY38" fmla="*/ 2879198 h 2969978"/>
                  <a:gd name="connsiteX39" fmla="*/ 643095 w 11851944"/>
                  <a:gd name="connsiteY39" fmla="*/ 2869149 h 2969978"/>
                  <a:gd name="connsiteX40" fmla="*/ 371789 w 11851944"/>
                  <a:gd name="connsiteY40" fmla="*/ 2828956 h 2969978"/>
                  <a:gd name="connsiteX41" fmla="*/ 0 w 11851944"/>
                  <a:gd name="connsiteY41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768132 w 11851944"/>
                  <a:gd name="connsiteY28" fmla="*/ 2828956 h 2969978"/>
                  <a:gd name="connsiteX29" fmla="*/ 3627455 w 11851944"/>
                  <a:gd name="connsiteY29" fmla="*/ 2818908 h 2969978"/>
                  <a:gd name="connsiteX30" fmla="*/ 3125037 w 11851944"/>
                  <a:gd name="connsiteY30" fmla="*/ 2828956 h 2969978"/>
                  <a:gd name="connsiteX31" fmla="*/ 3064747 w 11851944"/>
                  <a:gd name="connsiteY31" fmla="*/ 2839004 h 2969978"/>
                  <a:gd name="connsiteX32" fmla="*/ 2009670 w 11851944"/>
                  <a:gd name="connsiteY32" fmla="*/ 2849053 h 2969978"/>
                  <a:gd name="connsiteX33" fmla="*/ 1678075 w 11851944"/>
                  <a:gd name="connsiteY33" fmla="*/ 2939488 h 2969978"/>
                  <a:gd name="connsiteX34" fmla="*/ 1607736 w 11851944"/>
                  <a:gd name="connsiteY34" fmla="*/ 2969633 h 2969978"/>
                  <a:gd name="connsiteX35" fmla="*/ 1135464 w 11851944"/>
                  <a:gd name="connsiteY35" fmla="*/ 2949536 h 2969978"/>
                  <a:gd name="connsiteX36" fmla="*/ 944545 w 11851944"/>
                  <a:gd name="connsiteY36" fmla="*/ 2919391 h 2969978"/>
                  <a:gd name="connsiteX37" fmla="*/ 723481 w 11851944"/>
                  <a:gd name="connsiteY37" fmla="*/ 2879198 h 2969978"/>
                  <a:gd name="connsiteX38" fmla="*/ 643095 w 11851944"/>
                  <a:gd name="connsiteY38" fmla="*/ 2869149 h 2969978"/>
                  <a:gd name="connsiteX39" fmla="*/ 371789 w 11851944"/>
                  <a:gd name="connsiteY39" fmla="*/ 2828956 h 2969978"/>
                  <a:gd name="connsiteX40" fmla="*/ 0 w 11851944"/>
                  <a:gd name="connsiteY40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627455 w 11851944"/>
                  <a:gd name="connsiteY28" fmla="*/ 2818908 h 2969978"/>
                  <a:gd name="connsiteX29" fmla="*/ 3125037 w 11851944"/>
                  <a:gd name="connsiteY29" fmla="*/ 2828956 h 2969978"/>
                  <a:gd name="connsiteX30" fmla="*/ 3064747 w 11851944"/>
                  <a:gd name="connsiteY30" fmla="*/ 2839004 h 2969978"/>
                  <a:gd name="connsiteX31" fmla="*/ 2009670 w 11851944"/>
                  <a:gd name="connsiteY31" fmla="*/ 2849053 h 2969978"/>
                  <a:gd name="connsiteX32" fmla="*/ 1678075 w 11851944"/>
                  <a:gd name="connsiteY32" fmla="*/ 2939488 h 2969978"/>
                  <a:gd name="connsiteX33" fmla="*/ 1607736 w 11851944"/>
                  <a:gd name="connsiteY33" fmla="*/ 2969633 h 2969978"/>
                  <a:gd name="connsiteX34" fmla="*/ 1135464 w 11851944"/>
                  <a:gd name="connsiteY34" fmla="*/ 2949536 h 2969978"/>
                  <a:gd name="connsiteX35" fmla="*/ 944545 w 11851944"/>
                  <a:gd name="connsiteY35" fmla="*/ 2919391 h 2969978"/>
                  <a:gd name="connsiteX36" fmla="*/ 723481 w 11851944"/>
                  <a:gd name="connsiteY36" fmla="*/ 2879198 h 2969978"/>
                  <a:gd name="connsiteX37" fmla="*/ 643095 w 11851944"/>
                  <a:gd name="connsiteY37" fmla="*/ 2869149 h 2969978"/>
                  <a:gd name="connsiteX38" fmla="*/ 371789 w 11851944"/>
                  <a:gd name="connsiteY38" fmla="*/ 2828956 h 2969978"/>
                  <a:gd name="connsiteX39" fmla="*/ 0 w 11851944"/>
                  <a:gd name="connsiteY39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125037 w 11851944"/>
                  <a:gd name="connsiteY28" fmla="*/ 2828956 h 2969978"/>
                  <a:gd name="connsiteX29" fmla="*/ 3064747 w 11851944"/>
                  <a:gd name="connsiteY29" fmla="*/ 2839004 h 2969978"/>
                  <a:gd name="connsiteX30" fmla="*/ 2009670 w 11851944"/>
                  <a:gd name="connsiteY30" fmla="*/ 2849053 h 2969978"/>
                  <a:gd name="connsiteX31" fmla="*/ 1678075 w 11851944"/>
                  <a:gd name="connsiteY31" fmla="*/ 2939488 h 2969978"/>
                  <a:gd name="connsiteX32" fmla="*/ 1607736 w 11851944"/>
                  <a:gd name="connsiteY32" fmla="*/ 2969633 h 2969978"/>
                  <a:gd name="connsiteX33" fmla="*/ 1135464 w 11851944"/>
                  <a:gd name="connsiteY33" fmla="*/ 2949536 h 2969978"/>
                  <a:gd name="connsiteX34" fmla="*/ 944545 w 11851944"/>
                  <a:gd name="connsiteY34" fmla="*/ 2919391 h 2969978"/>
                  <a:gd name="connsiteX35" fmla="*/ 723481 w 11851944"/>
                  <a:gd name="connsiteY35" fmla="*/ 2879198 h 2969978"/>
                  <a:gd name="connsiteX36" fmla="*/ 643095 w 11851944"/>
                  <a:gd name="connsiteY36" fmla="*/ 2869149 h 2969978"/>
                  <a:gd name="connsiteX37" fmla="*/ 371789 w 11851944"/>
                  <a:gd name="connsiteY37" fmla="*/ 2828956 h 2969978"/>
                  <a:gd name="connsiteX38" fmla="*/ 0 w 11851944"/>
                  <a:gd name="connsiteY38" fmla="*/ 2818908 h 2969978"/>
                  <a:gd name="connsiteX0" fmla="*/ 120580 w 11851944"/>
                  <a:gd name="connsiteY0" fmla="*/ 55611 h 2969978"/>
                  <a:gd name="connsiteX1" fmla="*/ 281354 w 11851944"/>
                  <a:gd name="connsiteY1" fmla="*/ 45562 h 2969978"/>
                  <a:gd name="connsiteX2" fmla="*/ 673240 w 11851944"/>
                  <a:gd name="connsiteY2" fmla="*/ 35514 h 2969978"/>
                  <a:gd name="connsiteX3" fmla="*/ 1356528 w 11851944"/>
                  <a:gd name="connsiteY3" fmla="*/ 85756 h 2969978"/>
                  <a:gd name="connsiteX4" fmla="*/ 1758462 w 11851944"/>
                  <a:gd name="connsiteY4" fmla="*/ 45562 h 2969978"/>
                  <a:gd name="connsiteX5" fmla="*/ 2140299 w 11851944"/>
                  <a:gd name="connsiteY5" fmla="*/ 45562 h 2969978"/>
                  <a:gd name="connsiteX6" fmla="*/ 4652387 w 11851944"/>
                  <a:gd name="connsiteY6" fmla="*/ 65659 h 2969978"/>
                  <a:gd name="connsiteX7" fmla="*/ 4692580 w 11851944"/>
                  <a:gd name="connsiteY7" fmla="*/ 75708 h 2969978"/>
                  <a:gd name="connsiteX8" fmla="*/ 6420897 w 11851944"/>
                  <a:gd name="connsiteY8" fmla="*/ 95804 h 2969978"/>
                  <a:gd name="connsiteX9" fmla="*/ 7184571 w 11851944"/>
                  <a:gd name="connsiteY9" fmla="*/ 65659 h 2969978"/>
                  <a:gd name="connsiteX10" fmla="*/ 7928150 w 11851944"/>
                  <a:gd name="connsiteY10" fmla="*/ 65659 h 2969978"/>
                  <a:gd name="connsiteX11" fmla="*/ 8219552 w 11851944"/>
                  <a:gd name="connsiteY11" fmla="*/ 95804 h 2969978"/>
                  <a:gd name="connsiteX12" fmla="*/ 9606224 w 11851944"/>
                  <a:gd name="connsiteY12" fmla="*/ 95804 h 2969978"/>
                  <a:gd name="connsiteX13" fmla="*/ 9947868 w 11851944"/>
                  <a:gd name="connsiteY13" fmla="*/ 65659 h 2969978"/>
                  <a:gd name="connsiteX14" fmla="*/ 10791930 w 11851944"/>
                  <a:gd name="connsiteY14" fmla="*/ 35514 h 2969978"/>
                  <a:gd name="connsiteX15" fmla="*/ 11736475 w 11851944"/>
                  <a:gd name="connsiteY15" fmla="*/ 55611 h 2969978"/>
                  <a:gd name="connsiteX16" fmla="*/ 11806813 w 11851944"/>
                  <a:gd name="connsiteY16" fmla="*/ 769044 h 2969978"/>
                  <a:gd name="connsiteX17" fmla="*/ 11816862 w 11851944"/>
                  <a:gd name="connsiteY17" fmla="*/ 2336587 h 2969978"/>
                  <a:gd name="connsiteX18" fmla="*/ 11806813 w 11851944"/>
                  <a:gd name="connsiteY18" fmla="*/ 2828956 h 2969978"/>
                  <a:gd name="connsiteX19" fmla="*/ 11033090 w 11851944"/>
                  <a:gd name="connsiteY19" fmla="*/ 2859101 h 2969978"/>
                  <a:gd name="connsiteX20" fmla="*/ 10128739 w 11851944"/>
                  <a:gd name="connsiteY20" fmla="*/ 2859101 h 2969978"/>
                  <a:gd name="connsiteX21" fmla="*/ 9555982 w 11851944"/>
                  <a:gd name="connsiteY21" fmla="*/ 2859101 h 2969978"/>
                  <a:gd name="connsiteX22" fmla="*/ 9204290 w 11851944"/>
                  <a:gd name="connsiteY22" fmla="*/ 2808859 h 2969978"/>
                  <a:gd name="connsiteX23" fmla="*/ 7486022 w 11851944"/>
                  <a:gd name="connsiteY23" fmla="*/ 2818908 h 2969978"/>
                  <a:gd name="connsiteX24" fmla="*/ 6863024 w 11851944"/>
                  <a:gd name="connsiteY24" fmla="*/ 2839004 h 2969978"/>
                  <a:gd name="connsiteX25" fmla="*/ 6722347 w 11851944"/>
                  <a:gd name="connsiteY25" fmla="*/ 2828956 h 2969978"/>
                  <a:gd name="connsiteX26" fmla="*/ 4903596 w 11851944"/>
                  <a:gd name="connsiteY26" fmla="*/ 2879198 h 2969978"/>
                  <a:gd name="connsiteX27" fmla="*/ 4059534 w 11851944"/>
                  <a:gd name="connsiteY27" fmla="*/ 2859101 h 2969978"/>
                  <a:gd name="connsiteX28" fmla="*/ 3064747 w 11851944"/>
                  <a:gd name="connsiteY28" fmla="*/ 2839004 h 2969978"/>
                  <a:gd name="connsiteX29" fmla="*/ 2009670 w 11851944"/>
                  <a:gd name="connsiteY29" fmla="*/ 2849053 h 2969978"/>
                  <a:gd name="connsiteX30" fmla="*/ 1678075 w 11851944"/>
                  <a:gd name="connsiteY30" fmla="*/ 2939488 h 2969978"/>
                  <a:gd name="connsiteX31" fmla="*/ 1607736 w 11851944"/>
                  <a:gd name="connsiteY31" fmla="*/ 2969633 h 2969978"/>
                  <a:gd name="connsiteX32" fmla="*/ 1135464 w 11851944"/>
                  <a:gd name="connsiteY32" fmla="*/ 2949536 h 2969978"/>
                  <a:gd name="connsiteX33" fmla="*/ 944545 w 11851944"/>
                  <a:gd name="connsiteY33" fmla="*/ 2919391 h 2969978"/>
                  <a:gd name="connsiteX34" fmla="*/ 723481 w 11851944"/>
                  <a:gd name="connsiteY34" fmla="*/ 2879198 h 2969978"/>
                  <a:gd name="connsiteX35" fmla="*/ 643095 w 11851944"/>
                  <a:gd name="connsiteY35" fmla="*/ 2869149 h 2969978"/>
                  <a:gd name="connsiteX36" fmla="*/ 371789 w 11851944"/>
                  <a:gd name="connsiteY36" fmla="*/ 2828956 h 2969978"/>
                  <a:gd name="connsiteX37" fmla="*/ 0 w 11851944"/>
                  <a:gd name="connsiteY37" fmla="*/ 2818908 h 2969978"/>
                  <a:gd name="connsiteX0" fmla="*/ 120580 w 11851944"/>
                  <a:gd name="connsiteY0" fmla="*/ 55611 h 2974631"/>
                  <a:gd name="connsiteX1" fmla="*/ 281354 w 11851944"/>
                  <a:gd name="connsiteY1" fmla="*/ 45562 h 2974631"/>
                  <a:gd name="connsiteX2" fmla="*/ 673240 w 11851944"/>
                  <a:gd name="connsiteY2" fmla="*/ 35514 h 2974631"/>
                  <a:gd name="connsiteX3" fmla="*/ 1356528 w 11851944"/>
                  <a:gd name="connsiteY3" fmla="*/ 85756 h 2974631"/>
                  <a:gd name="connsiteX4" fmla="*/ 1758462 w 11851944"/>
                  <a:gd name="connsiteY4" fmla="*/ 45562 h 2974631"/>
                  <a:gd name="connsiteX5" fmla="*/ 2140299 w 11851944"/>
                  <a:gd name="connsiteY5" fmla="*/ 45562 h 2974631"/>
                  <a:gd name="connsiteX6" fmla="*/ 4652387 w 11851944"/>
                  <a:gd name="connsiteY6" fmla="*/ 65659 h 2974631"/>
                  <a:gd name="connsiteX7" fmla="*/ 4692580 w 11851944"/>
                  <a:gd name="connsiteY7" fmla="*/ 75708 h 2974631"/>
                  <a:gd name="connsiteX8" fmla="*/ 6420897 w 11851944"/>
                  <a:gd name="connsiteY8" fmla="*/ 95804 h 2974631"/>
                  <a:gd name="connsiteX9" fmla="*/ 7184571 w 11851944"/>
                  <a:gd name="connsiteY9" fmla="*/ 65659 h 2974631"/>
                  <a:gd name="connsiteX10" fmla="*/ 7928150 w 11851944"/>
                  <a:gd name="connsiteY10" fmla="*/ 65659 h 2974631"/>
                  <a:gd name="connsiteX11" fmla="*/ 8219552 w 11851944"/>
                  <a:gd name="connsiteY11" fmla="*/ 95804 h 2974631"/>
                  <a:gd name="connsiteX12" fmla="*/ 9606224 w 11851944"/>
                  <a:gd name="connsiteY12" fmla="*/ 95804 h 2974631"/>
                  <a:gd name="connsiteX13" fmla="*/ 9947868 w 11851944"/>
                  <a:gd name="connsiteY13" fmla="*/ 65659 h 2974631"/>
                  <a:gd name="connsiteX14" fmla="*/ 10791930 w 11851944"/>
                  <a:gd name="connsiteY14" fmla="*/ 35514 h 2974631"/>
                  <a:gd name="connsiteX15" fmla="*/ 11736475 w 11851944"/>
                  <a:gd name="connsiteY15" fmla="*/ 55611 h 2974631"/>
                  <a:gd name="connsiteX16" fmla="*/ 11806813 w 11851944"/>
                  <a:gd name="connsiteY16" fmla="*/ 769044 h 2974631"/>
                  <a:gd name="connsiteX17" fmla="*/ 11816862 w 11851944"/>
                  <a:gd name="connsiteY17" fmla="*/ 2336587 h 2974631"/>
                  <a:gd name="connsiteX18" fmla="*/ 11806813 w 11851944"/>
                  <a:gd name="connsiteY18" fmla="*/ 2828956 h 2974631"/>
                  <a:gd name="connsiteX19" fmla="*/ 11033090 w 11851944"/>
                  <a:gd name="connsiteY19" fmla="*/ 2859101 h 2974631"/>
                  <a:gd name="connsiteX20" fmla="*/ 10128739 w 11851944"/>
                  <a:gd name="connsiteY20" fmla="*/ 2859101 h 2974631"/>
                  <a:gd name="connsiteX21" fmla="*/ 9555982 w 11851944"/>
                  <a:gd name="connsiteY21" fmla="*/ 2859101 h 2974631"/>
                  <a:gd name="connsiteX22" fmla="*/ 9204290 w 11851944"/>
                  <a:gd name="connsiteY22" fmla="*/ 2808859 h 2974631"/>
                  <a:gd name="connsiteX23" fmla="*/ 7486022 w 11851944"/>
                  <a:gd name="connsiteY23" fmla="*/ 2818908 h 2974631"/>
                  <a:gd name="connsiteX24" fmla="*/ 6863024 w 11851944"/>
                  <a:gd name="connsiteY24" fmla="*/ 2839004 h 2974631"/>
                  <a:gd name="connsiteX25" fmla="*/ 6722347 w 11851944"/>
                  <a:gd name="connsiteY25" fmla="*/ 2828956 h 2974631"/>
                  <a:gd name="connsiteX26" fmla="*/ 4903596 w 11851944"/>
                  <a:gd name="connsiteY26" fmla="*/ 2879198 h 2974631"/>
                  <a:gd name="connsiteX27" fmla="*/ 4059534 w 11851944"/>
                  <a:gd name="connsiteY27" fmla="*/ 2859101 h 2974631"/>
                  <a:gd name="connsiteX28" fmla="*/ 3064747 w 11851944"/>
                  <a:gd name="connsiteY28" fmla="*/ 2839004 h 2974631"/>
                  <a:gd name="connsiteX29" fmla="*/ 2009670 w 11851944"/>
                  <a:gd name="connsiteY29" fmla="*/ 2849053 h 2974631"/>
                  <a:gd name="connsiteX30" fmla="*/ 1607736 w 11851944"/>
                  <a:gd name="connsiteY30" fmla="*/ 2969633 h 2974631"/>
                  <a:gd name="connsiteX31" fmla="*/ 1135464 w 11851944"/>
                  <a:gd name="connsiteY31" fmla="*/ 2949536 h 2974631"/>
                  <a:gd name="connsiteX32" fmla="*/ 944545 w 11851944"/>
                  <a:gd name="connsiteY32" fmla="*/ 2919391 h 2974631"/>
                  <a:gd name="connsiteX33" fmla="*/ 723481 w 11851944"/>
                  <a:gd name="connsiteY33" fmla="*/ 2879198 h 2974631"/>
                  <a:gd name="connsiteX34" fmla="*/ 643095 w 11851944"/>
                  <a:gd name="connsiteY34" fmla="*/ 2869149 h 2974631"/>
                  <a:gd name="connsiteX35" fmla="*/ 371789 w 11851944"/>
                  <a:gd name="connsiteY35" fmla="*/ 2828956 h 2974631"/>
                  <a:gd name="connsiteX36" fmla="*/ 0 w 11851944"/>
                  <a:gd name="connsiteY36" fmla="*/ 2818908 h 2974631"/>
                  <a:gd name="connsiteX0" fmla="*/ 120580 w 11851944"/>
                  <a:gd name="connsiteY0" fmla="*/ 55611 h 2949536"/>
                  <a:gd name="connsiteX1" fmla="*/ 281354 w 11851944"/>
                  <a:gd name="connsiteY1" fmla="*/ 45562 h 2949536"/>
                  <a:gd name="connsiteX2" fmla="*/ 673240 w 11851944"/>
                  <a:gd name="connsiteY2" fmla="*/ 35514 h 2949536"/>
                  <a:gd name="connsiteX3" fmla="*/ 1356528 w 11851944"/>
                  <a:gd name="connsiteY3" fmla="*/ 85756 h 2949536"/>
                  <a:gd name="connsiteX4" fmla="*/ 1758462 w 11851944"/>
                  <a:gd name="connsiteY4" fmla="*/ 45562 h 2949536"/>
                  <a:gd name="connsiteX5" fmla="*/ 2140299 w 11851944"/>
                  <a:gd name="connsiteY5" fmla="*/ 45562 h 2949536"/>
                  <a:gd name="connsiteX6" fmla="*/ 4652387 w 11851944"/>
                  <a:gd name="connsiteY6" fmla="*/ 65659 h 2949536"/>
                  <a:gd name="connsiteX7" fmla="*/ 4692580 w 11851944"/>
                  <a:gd name="connsiteY7" fmla="*/ 75708 h 2949536"/>
                  <a:gd name="connsiteX8" fmla="*/ 6420897 w 11851944"/>
                  <a:gd name="connsiteY8" fmla="*/ 95804 h 2949536"/>
                  <a:gd name="connsiteX9" fmla="*/ 7184571 w 11851944"/>
                  <a:gd name="connsiteY9" fmla="*/ 65659 h 2949536"/>
                  <a:gd name="connsiteX10" fmla="*/ 7928150 w 11851944"/>
                  <a:gd name="connsiteY10" fmla="*/ 65659 h 2949536"/>
                  <a:gd name="connsiteX11" fmla="*/ 8219552 w 11851944"/>
                  <a:gd name="connsiteY11" fmla="*/ 95804 h 2949536"/>
                  <a:gd name="connsiteX12" fmla="*/ 9606224 w 11851944"/>
                  <a:gd name="connsiteY12" fmla="*/ 95804 h 2949536"/>
                  <a:gd name="connsiteX13" fmla="*/ 9947868 w 11851944"/>
                  <a:gd name="connsiteY13" fmla="*/ 65659 h 2949536"/>
                  <a:gd name="connsiteX14" fmla="*/ 10791930 w 11851944"/>
                  <a:gd name="connsiteY14" fmla="*/ 35514 h 2949536"/>
                  <a:gd name="connsiteX15" fmla="*/ 11736475 w 11851944"/>
                  <a:gd name="connsiteY15" fmla="*/ 55611 h 2949536"/>
                  <a:gd name="connsiteX16" fmla="*/ 11806813 w 11851944"/>
                  <a:gd name="connsiteY16" fmla="*/ 769044 h 2949536"/>
                  <a:gd name="connsiteX17" fmla="*/ 11816862 w 11851944"/>
                  <a:gd name="connsiteY17" fmla="*/ 2336587 h 2949536"/>
                  <a:gd name="connsiteX18" fmla="*/ 11806813 w 11851944"/>
                  <a:gd name="connsiteY18" fmla="*/ 2828956 h 2949536"/>
                  <a:gd name="connsiteX19" fmla="*/ 11033090 w 11851944"/>
                  <a:gd name="connsiteY19" fmla="*/ 2859101 h 2949536"/>
                  <a:gd name="connsiteX20" fmla="*/ 10128739 w 11851944"/>
                  <a:gd name="connsiteY20" fmla="*/ 2859101 h 2949536"/>
                  <a:gd name="connsiteX21" fmla="*/ 9555982 w 11851944"/>
                  <a:gd name="connsiteY21" fmla="*/ 2859101 h 2949536"/>
                  <a:gd name="connsiteX22" fmla="*/ 9204290 w 11851944"/>
                  <a:gd name="connsiteY22" fmla="*/ 2808859 h 2949536"/>
                  <a:gd name="connsiteX23" fmla="*/ 7486022 w 11851944"/>
                  <a:gd name="connsiteY23" fmla="*/ 2818908 h 2949536"/>
                  <a:gd name="connsiteX24" fmla="*/ 6863024 w 11851944"/>
                  <a:gd name="connsiteY24" fmla="*/ 2839004 h 2949536"/>
                  <a:gd name="connsiteX25" fmla="*/ 6722347 w 11851944"/>
                  <a:gd name="connsiteY25" fmla="*/ 2828956 h 2949536"/>
                  <a:gd name="connsiteX26" fmla="*/ 4903596 w 11851944"/>
                  <a:gd name="connsiteY26" fmla="*/ 2879198 h 2949536"/>
                  <a:gd name="connsiteX27" fmla="*/ 4059534 w 11851944"/>
                  <a:gd name="connsiteY27" fmla="*/ 2859101 h 2949536"/>
                  <a:gd name="connsiteX28" fmla="*/ 3064747 w 11851944"/>
                  <a:gd name="connsiteY28" fmla="*/ 2839004 h 2949536"/>
                  <a:gd name="connsiteX29" fmla="*/ 2009670 w 11851944"/>
                  <a:gd name="connsiteY29" fmla="*/ 2849053 h 2949536"/>
                  <a:gd name="connsiteX30" fmla="*/ 1135464 w 11851944"/>
                  <a:gd name="connsiteY30" fmla="*/ 2949536 h 2949536"/>
                  <a:gd name="connsiteX31" fmla="*/ 944545 w 11851944"/>
                  <a:gd name="connsiteY31" fmla="*/ 2919391 h 2949536"/>
                  <a:gd name="connsiteX32" fmla="*/ 723481 w 11851944"/>
                  <a:gd name="connsiteY32" fmla="*/ 2879198 h 2949536"/>
                  <a:gd name="connsiteX33" fmla="*/ 643095 w 11851944"/>
                  <a:gd name="connsiteY33" fmla="*/ 2869149 h 2949536"/>
                  <a:gd name="connsiteX34" fmla="*/ 371789 w 11851944"/>
                  <a:gd name="connsiteY34" fmla="*/ 2828956 h 2949536"/>
                  <a:gd name="connsiteX35" fmla="*/ 0 w 11851944"/>
                  <a:gd name="connsiteY35" fmla="*/ 2818908 h 2949536"/>
                  <a:gd name="connsiteX0" fmla="*/ 120580 w 11851944"/>
                  <a:gd name="connsiteY0" fmla="*/ 55611 h 2949840"/>
                  <a:gd name="connsiteX1" fmla="*/ 281354 w 11851944"/>
                  <a:gd name="connsiteY1" fmla="*/ 45562 h 2949840"/>
                  <a:gd name="connsiteX2" fmla="*/ 673240 w 11851944"/>
                  <a:gd name="connsiteY2" fmla="*/ 35514 h 2949840"/>
                  <a:gd name="connsiteX3" fmla="*/ 1356528 w 11851944"/>
                  <a:gd name="connsiteY3" fmla="*/ 85756 h 2949840"/>
                  <a:gd name="connsiteX4" fmla="*/ 1758462 w 11851944"/>
                  <a:gd name="connsiteY4" fmla="*/ 45562 h 2949840"/>
                  <a:gd name="connsiteX5" fmla="*/ 2140299 w 11851944"/>
                  <a:gd name="connsiteY5" fmla="*/ 45562 h 2949840"/>
                  <a:gd name="connsiteX6" fmla="*/ 4652387 w 11851944"/>
                  <a:gd name="connsiteY6" fmla="*/ 65659 h 2949840"/>
                  <a:gd name="connsiteX7" fmla="*/ 4692580 w 11851944"/>
                  <a:gd name="connsiteY7" fmla="*/ 75708 h 2949840"/>
                  <a:gd name="connsiteX8" fmla="*/ 6420897 w 11851944"/>
                  <a:gd name="connsiteY8" fmla="*/ 95804 h 2949840"/>
                  <a:gd name="connsiteX9" fmla="*/ 7184571 w 11851944"/>
                  <a:gd name="connsiteY9" fmla="*/ 65659 h 2949840"/>
                  <a:gd name="connsiteX10" fmla="*/ 7928150 w 11851944"/>
                  <a:gd name="connsiteY10" fmla="*/ 65659 h 2949840"/>
                  <a:gd name="connsiteX11" fmla="*/ 8219552 w 11851944"/>
                  <a:gd name="connsiteY11" fmla="*/ 95804 h 2949840"/>
                  <a:gd name="connsiteX12" fmla="*/ 9606224 w 11851944"/>
                  <a:gd name="connsiteY12" fmla="*/ 95804 h 2949840"/>
                  <a:gd name="connsiteX13" fmla="*/ 9947868 w 11851944"/>
                  <a:gd name="connsiteY13" fmla="*/ 65659 h 2949840"/>
                  <a:gd name="connsiteX14" fmla="*/ 10791930 w 11851944"/>
                  <a:gd name="connsiteY14" fmla="*/ 35514 h 2949840"/>
                  <a:gd name="connsiteX15" fmla="*/ 11736475 w 11851944"/>
                  <a:gd name="connsiteY15" fmla="*/ 55611 h 2949840"/>
                  <a:gd name="connsiteX16" fmla="*/ 11806813 w 11851944"/>
                  <a:gd name="connsiteY16" fmla="*/ 769044 h 2949840"/>
                  <a:gd name="connsiteX17" fmla="*/ 11816862 w 11851944"/>
                  <a:gd name="connsiteY17" fmla="*/ 2336587 h 2949840"/>
                  <a:gd name="connsiteX18" fmla="*/ 11806813 w 11851944"/>
                  <a:gd name="connsiteY18" fmla="*/ 2828956 h 2949840"/>
                  <a:gd name="connsiteX19" fmla="*/ 11033090 w 11851944"/>
                  <a:gd name="connsiteY19" fmla="*/ 2859101 h 2949840"/>
                  <a:gd name="connsiteX20" fmla="*/ 10128739 w 11851944"/>
                  <a:gd name="connsiteY20" fmla="*/ 2859101 h 2949840"/>
                  <a:gd name="connsiteX21" fmla="*/ 9555982 w 11851944"/>
                  <a:gd name="connsiteY21" fmla="*/ 2859101 h 2949840"/>
                  <a:gd name="connsiteX22" fmla="*/ 9204290 w 11851944"/>
                  <a:gd name="connsiteY22" fmla="*/ 2808859 h 2949840"/>
                  <a:gd name="connsiteX23" fmla="*/ 7486022 w 11851944"/>
                  <a:gd name="connsiteY23" fmla="*/ 2818908 h 2949840"/>
                  <a:gd name="connsiteX24" fmla="*/ 6863024 w 11851944"/>
                  <a:gd name="connsiteY24" fmla="*/ 2839004 h 2949840"/>
                  <a:gd name="connsiteX25" fmla="*/ 6722347 w 11851944"/>
                  <a:gd name="connsiteY25" fmla="*/ 2828956 h 2949840"/>
                  <a:gd name="connsiteX26" fmla="*/ 4903596 w 11851944"/>
                  <a:gd name="connsiteY26" fmla="*/ 2879198 h 2949840"/>
                  <a:gd name="connsiteX27" fmla="*/ 4059534 w 11851944"/>
                  <a:gd name="connsiteY27" fmla="*/ 2859101 h 2949840"/>
                  <a:gd name="connsiteX28" fmla="*/ 3064747 w 11851944"/>
                  <a:gd name="connsiteY28" fmla="*/ 2839004 h 2949840"/>
                  <a:gd name="connsiteX29" fmla="*/ 2009670 w 11851944"/>
                  <a:gd name="connsiteY29" fmla="*/ 2849053 h 2949840"/>
                  <a:gd name="connsiteX30" fmla="*/ 1205803 w 11851944"/>
                  <a:gd name="connsiteY30" fmla="*/ 2929437 h 2949840"/>
                  <a:gd name="connsiteX31" fmla="*/ 1135464 w 11851944"/>
                  <a:gd name="connsiteY31" fmla="*/ 2949536 h 2949840"/>
                  <a:gd name="connsiteX32" fmla="*/ 944545 w 11851944"/>
                  <a:gd name="connsiteY32" fmla="*/ 2919391 h 2949840"/>
                  <a:gd name="connsiteX33" fmla="*/ 723481 w 11851944"/>
                  <a:gd name="connsiteY33" fmla="*/ 2879198 h 2949840"/>
                  <a:gd name="connsiteX34" fmla="*/ 643095 w 11851944"/>
                  <a:gd name="connsiteY34" fmla="*/ 2869149 h 2949840"/>
                  <a:gd name="connsiteX35" fmla="*/ 371789 w 11851944"/>
                  <a:gd name="connsiteY35" fmla="*/ 2828956 h 2949840"/>
                  <a:gd name="connsiteX36" fmla="*/ 0 w 11851944"/>
                  <a:gd name="connsiteY36" fmla="*/ 2818908 h 2949840"/>
                  <a:gd name="connsiteX0" fmla="*/ 120580 w 11851944"/>
                  <a:gd name="connsiteY0" fmla="*/ 55611 h 2934038"/>
                  <a:gd name="connsiteX1" fmla="*/ 281354 w 11851944"/>
                  <a:gd name="connsiteY1" fmla="*/ 45562 h 2934038"/>
                  <a:gd name="connsiteX2" fmla="*/ 673240 w 11851944"/>
                  <a:gd name="connsiteY2" fmla="*/ 35514 h 2934038"/>
                  <a:gd name="connsiteX3" fmla="*/ 1356528 w 11851944"/>
                  <a:gd name="connsiteY3" fmla="*/ 85756 h 2934038"/>
                  <a:gd name="connsiteX4" fmla="*/ 1758462 w 11851944"/>
                  <a:gd name="connsiteY4" fmla="*/ 45562 h 2934038"/>
                  <a:gd name="connsiteX5" fmla="*/ 2140299 w 11851944"/>
                  <a:gd name="connsiteY5" fmla="*/ 45562 h 2934038"/>
                  <a:gd name="connsiteX6" fmla="*/ 4652387 w 11851944"/>
                  <a:gd name="connsiteY6" fmla="*/ 65659 h 2934038"/>
                  <a:gd name="connsiteX7" fmla="*/ 4692580 w 11851944"/>
                  <a:gd name="connsiteY7" fmla="*/ 75708 h 2934038"/>
                  <a:gd name="connsiteX8" fmla="*/ 6420897 w 11851944"/>
                  <a:gd name="connsiteY8" fmla="*/ 95804 h 2934038"/>
                  <a:gd name="connsiteX9" fmla="*/ 7184571 w 11851944"/>
                  <a:gd name="connsiteY9" fmla="*/ 65659 h 2934038"/>
                  <a:gd name="connsiteX10" fmla="*/ 7928150 w 11851944"/>
                  <a:gd name="connsiteY10" fmla="*/ 65659 h 2934038"/>
                  <a:gd name="connsiteX11" fmla="*/ 8219552 w 11851944"/>
                  <a:gd name="connsiteY11" fmla="*/ 95804 h 2934038"/>
                  <a:gd name="connsiteX12" fmla="*/ 9606224 w 11851944"/>
                  <a:gd name="connsiteY12" fmla="*/ 95804 h 2934038"/>
                  <a:gd name="connsiteX13" fmla="*/ 9947868 w 11851944"/>
                  <a:gd name="connsiteY13" fmla="*/ 65659 h 2934038"/>
                  <a:gd name="connsiteX14" fmla="*/ 10791930 w 11851944"/>
                  <a:gd name="connsiteY14" fmla="*/ 35514 h 2934038"/>
                  <a:gd name="connsiteX15" fmla="*/ 11736475 w 11851944"/>
                  <a:gd name="connsiteY15" fmla="*/ 55611 h 2934038"/>
                  <a:gd name="connsiteX16" fmla="*/ 11806813 w 11851944"/>
                  <a:gd name="connsiteY16" fmla="*/ 769044 h 2934038"/>
                  <a:gd name="connsiteX17" fmla="*/ 11816862 w 11851944"/>
                  <a:gd name="connsiteY17" fmla="*/ 2336587 h 2934038"/>
                  <a:gd name="connsiteX18" fmla="*/ 11806813 w 11851944"/>
                  <a:gd name="connsiteY18" fmla="*/ 2828956 h 2934038"/>
                  <a:gd name="connsiteX19" fmla="*/ 11033090 w 11851944"/>
                  <a:gd name="connsiteY19" fmla="*/ 2859101 h 2934038"/>
                  <a:gd name="connsiteX20" fmla="*/ 10128739 w 11851944"/>
                  <a:gd name="connsiteY20" fmla="*/ 2859101 h 2934038"/>
                  <a:gd name="connsiteX21" fmla="*/ 9555982 w 11851944"/>
                  <a:gd name="connsiteY21" fmla="*/ 2859101 h 2934038"/>
                  <a:gd name="connsiteX22" fmla="*/ 9204290 w 11851944"/>
                  <a:gd name="connsiteY22" fmla="*/ 2808859 h 2934038"/>
                  <a:gd name="connsiteX23" fmla="*/ 7486022 w 11851944"/>
                  <a:gd name="connsiteY23" fmla="*/ 2818908 h 2934038"/>
                  <a:gd name="connsiteX24" fmla="*/ 6863024 w 11851944"/>
                  <a:gd name="connsiteY24" fmla="*/ 2839004 h 2934038"/>
                  <a:gd name="connsiteX25" fmla="*/ 6722347 w 11851944"/>
                  <a:gd name="connsiteY25" fmla="*/ 2828956 h 2934038"/>
                  <a:gd name="connsiteX26" fmla="*/ 4903596 w 11851944"/>
                  <a:gd name="connsiteY26" fmla="*/ 2879198 h 2934038"/>
                  <a:gd name="connsiteX27" fmla="*/ 4059534 w 11851944"/>
                  <a:gd name="connsiteY27" fmla="*/ 2859101 h 2934038"/>
                  <a:gd name="connsiteX28" fmla="*/ 3064747 w 11851944"/>
                  <a:gd name="connsiteY28" fmla="*/ 2839004 h 2934038"/>
                  <a:gd name="connsiteX29" fmla="*/ 2009670 w 11851944"/>
                  <a:gd name="connsiteY29" fmla="*/ 2849053 h 2934038"/>
                  <a:gd name="connsiteX30" fmla="*/ 1205803 w 11851944"/>
                  <a:gd name="connsiteY30" fmla="*/ 2929437 h 2934038"/>
                  <a:gd name="connsiteX31" fmla="*/ 944545 w 11851944"/>
                  <a:gd name="connsiteY31" fmla="*/ 2919391 h 2934038"/>
                  <a:gd name="connsiteX32" fmla="*/ 723481 w 11851944"/>
                  <a:gd name="connsiteY32" fmla="*/ 2879198 h 2934038"/>
                  <a:gd name="connsiteX33" fmla="*/ 643095 w 11851944"/>
                  <a:gd name="connsiteY33" fmla="*/ 2869149 h 2934038"/>
                  <a:gd name="connsiteX34" fmla="*/ 371789 w 11851944"/>
                  <a:gd name="connsiteY34" fmla="*/ 2828956 h 2934038"/>
                  <a:gd name="connsiteX35" fmla="*/ 0 w 11851944"/>
                  <a:gd name="connsiteY35" fmla="*/ 2818908 h 2934038"/>
                  <a:gd name="connsiteX0" fmla="*/ 120580 w 11851944"/>
                  <a:gd name="connsiteY0" fmla="*/ 55611 h 2919923"/>
                  <a:gd name="connsiteX1" fmla="*/ 281354 w 11851944"/>
                  <a:gd name="connsiteY1" fmla="*/ 45562 h 2919923"/>
                  <a:gd name="connsiteX2" fmla="*/ 673240 w 11851944"/>
                  <a:gd name="connsiteY2" fmla="*/ 35514 h 2919923"/>
                  <a:gd name="connsiteX3" fmla="*/ 1356528 w 11851944"/>
                  <a:gd name="connsiteY3" fmla="*/ 85756 h 2919923"/>
                  <a:gd name="connsiteX4" fmla="*/ 1758462 w 11851944"/>
                  <a:gd name="connsiteY4" fmla="*/ 45562 h 2919923"/>
                  <a:gd name="connsiteX5" fmla="*/ 2140299 w 11851944"/>
                  <a:gd name="connsiteY5" fmla="*/ 45562 h 2919923"/>
                  <a:gd name="connsiteX6" fmla="*/ 4652387 w 11851944"/>
                  <a:gd name="connsiteY6" fmla="*/ 65659 h 2919923"/>
                  <a:gd name="connsiteX7" fmla="*/ 4692580 w 11851944"/>
                  <a:gd name="connsiteY7" fmla="*/ 75708 h 2919923"/>
                  <a:gd name="connsiteX8" fmla="*/ 6420897 w 11851944"/>
                  <a:gd name="connsiteY8" fmla="*/ 95804 h 2919923"/>
                  <a:gd name="connsiteX9" fmla="*/ 7184571 w 11851944"/>
                  <a:gd name="connsiteY9" fmla="*/ 65659 h 2919923"/>
                  <a:gd name="connsiteX10" fmla="*/ 7928150 w 11851944"/>
                  <a:gd name="connsiteY10" fmla="*/ 65659 h 2919923"/>
                  <a:gd name="connsiteX11" fmla="*/ 8219552 w 11851944"/>
                  <a:gd name="connsiteY11" fmla="*/ 95804 h 2919923"/>
                  <a:gd name="connsiteX12" fmla="*/ 9606224 w 11851944"/>
                  <a:gd name="connsiteY12" fmla="*/ 95804 h 2919923"/>
                  <a:gd name="connsiteX13" fmla="*/ 9947868 w 11851944"/>
                  <a:gd name="connsiteY13" fmla="*/ 65659 h 2919923"/>
                  <a:gd name="connsiteX14" fmla="*/ 10791930 w 11851944"/>
                  <a:gd name="connsiteY14" fmla="*/ 35514 h 2919923"/>
                  <a:gd name="connsiteX15" fmla="*/ 11736475 w 11851944"/>
                  <a:gd name="connsiteY15" fmla="*/ 55611 h 2919923"/>
                  <a:gd name="connsiteX16" fmla="*/ 11806813 w 11851944"/>
                  <a:gd name="connsiteY16" fmla="*/ 769044 h 2919923"/>
                  <a:gd name="connsiteX17" fmla="*/ 11816862 w 11851944"/>
                  <a:gd name="connsiteY17" fmla="*/ 2336587 h 2919923"/>
                  <a:gd name="connsiteX18" fmla="*/ 11806813 w 11851944"/>
                  <a:gd name="connsiteY18" fmla="*/ 2828956 h 2919923"/>
                  <a:gd name="connsiteX19" fmla="*/ 11033090 w 11851944"/>
                  <a:gd name="connsiteY19" fmla="*/ 2859101 h 2919923"/>
                  <a:gd name="connsiteX20" fmla="*/ 10128739 w 11851944"/>
                  <a:gd name="connsiteY20" fmla="*/ 2859101 h 2919923"/>
                  <a:gd name="connsiteX21" fmla="*/ 9555982 w 11851944"/>
                  <a:gd name="connsiteY21" fmla="*/ 2859101 h 2919923"/>
                  <a:gd name="connsiteX22" fmla="*/ 9204290 w 11851944"/>
                  <a:gd name="connsiteY22" fmla="*/ 2808859 h 2919923"/>
                  <a:gd name="connsiteX23" fmla="*/ 7486022 w 11851944"/>
                  <a:gd name="connsiteY23" fmla="*/ 2818908 h 2919923"/>
                  <a:gd name="connsiteX24" fmla="*/ 6863024 w 11851944"/>
                  <a:gd name="connsiteY24" fmla="*/ 2839004 h 2919923"/>
                  <a:gd name="connsiteX25" fmla="*/ 6722347 w 11851944"/>
                  <a:gd name="connsiteY25" fmla="*/ 2828956 h 2919923"/>
                  <a:gd name="connsiteX26" fmla="*/ 4903596 w 11851944"/>
                  <a:gd name="connsiteY26" fmla="*/ 2879198 h 2919923"/>
                  <a:gd name="connsiteX27" fmla="*/ 4059534 w 11851944"/>
                  <a:gd name="connsiteY27" fmla="*/ 2859101 h 2919923"/>
                  <a:gd name="connsiteX28" fmla="*/ 3064747 w 11851944"/>
                  <a:gd name="connsiteY28" fmla="*/ 2839004 h 2919923"/>
                  <a:gd name="connsiteX29" fmla="*/ 2009670 w 11851944"/>
                  <a:gd name="connsiteY29" fmla="*/ 2849053 h 2919923"/>
                  <a:gd name="connsiteX30" fmla="*/ 944545 w 11851944"/>
                  <a:gd name="connsiteY30" fmla="*/ 2919391 h 2919923"/>
                  <a:gd name="connsiteX31" fmla="*/ 723481 w 11851944"/>
                  <a:gd name="connsiteY31" fmla="*/ 2879198 h 2919923"/>
                  <a:gd name="connsiteX32" fmla="*/ 643095 w 11851944"/>
                  <a:gd name="connsiteY32" fmla="*/ 2869149 h 2919923"/>
                  <a:gd name="connsiteX33" fmla="*/ 371789 w 11851944"/>
                  <a:gd name="connsiteY33" fmla="*/ 2828956 h 2919923"/>
                  <a:gd name="connsiteX34" fmla="*/ 0 w 11851944"/>
                  <a:gd name="connsiteY34" fmla="*/ 2818908 h 2919923"/>
                  <a:gd name="connsiteX0" fmla="*/ 120580 w 11851944"/>
                  <a:gd name="connsiteY0" fmla="*/ 55611 h 2890922"/>
                  <a:gd name="connsiteX1" fmla="*/ 281354 w 11851944"/>
                  <a:gd name="connsiteY1" fmla="*/ 45562 h 2890922"/>
                  <a:gd name="connsiteX2" fmla="*/ 673240 w 11851944"/>
                  <a:gd name="connsiteY2" fmla="*/ 35514 h 2890922"/>
                  <a:gd name="connsiteX3" fmla="*/ 1356528 w 11851944"/>
                  <a:gd name="connsiteY3" fmla="*/ 85756 h 2890922"/>
                  <a:gd name="connsiteX4" fmla="*/ 1758462 w 11851944"/>
                  <a:gd name="connsiteY4" fmla="*/ 45562 h 2890922"/>
                  <a:gd name="connsiteX5" fmla="*/ 2140299 w 11851944"/>
                  <a:gd name="connsiteY5" fmla="*/ 45562 h 2890922"/>
                  <a:gd name="connsiteX6" fmla="*/ 4652387 w 11851944"/>
                  <a:gd name="connsiteY6" fmla="*/ 65659 h 2890922"/>
                  <a:gd name="connsiteX7" fmla="*/ 4692580 w 11851944"/>
                  <a:gd name="connsiteY7" fmla="*/ 75708 h 2890922"/>
                  <a:gd name="connsiteX8" fmla="*/ 6420897 w 11851944"/>
                  <a:gd name="connsiteY8" fmla="*/ 95804 h 2890922"/>
                  <a:gd name="connsiteX9" fmla="*/ 7184571 w 11851944"/>
                  <a:gd name="connsiteY9" fmla="*/ 65659 h 2890922"/>
                  <a:gd name="connsiteX10" fmla="*/ 7928150 w 11851944"/>
                  <a:gd name="connsiteY10" fmla="*/ 65659 h 2890922"/>
                  <a:gd name="connsiteX11" fmla="*/ 8219552 w 11851944"/>
                  <a:gd name="connsiteY11" fmla="*/ 95804 h 2890922"/>
                  <a:gd name="connsiteX12" fmla="*/ 9606224 w 11851944"/>
                  <a:gd name="connsiteY12" fmla="*/ 95804 h 2890922"/>
                  <a:gd name="connsiteX13" fmla="*/ 9947868 w 11851944"/>
                  <a:gd name="connsiteY13" fmla="*/ 65659 h 2890922"/>
                  <a:gd name="connsiteX14" fmla="*/ 10791930 w 11851944"/>
                  <a:gd name="connsiteY14" fmla="*/ 35514 h 2890922"/>
                  <a:gd name="connsiteX15" fmla="*/ 11736475 w 11851944"/>
                  <a:gd name="connsiteY15" fmla="*/ 55611 h 2890922"/>
                  <a:gd name="connsiteX16" fmla="*/ 11806813 w 11851944"/>
                  <a:gd name="connsiteY16" fmla="*/ 769044 h 2890922"/>
                  <a:gd name="connsiteX17" fmla="*/ 11816862 w 11851944"/>
                  <a:gd name="connsiteY17" fmla="*/ 2336587 h 2890922"/>
                  <a:gd name="connsiteX18" fmla="*/ 11806813 w 11851944"/>
                  <a:gd name="connsiteY18" fmla="*/ 2828956 h 2890922"/>
                  <a:gd name="connsiteX19" fmla="*/ 11033090 w 11851944"/>
                  <a:gd name="connsiteY19" fmla="*/ 2859101 h 2890922"/>
                  <a:gd name="connsiteX20" fmla="*/ 10128739 w 11851944"/>
                  <a:gd name="connsiteY20" fmla="*/ 2859101 h 2890922"/>
                  <a:gd name="connsiteX21" fmla="*/ 9555982 w 11851944"/>
                  <a:gd name="connsiteY21" fmla="*/ 2859101 h 2890922"/>
                  <a:gd name="connsiteX22" fmla="*/ 9204290 w 11851944"/>
                  <a:gd name="connsiteY22" fmla="*/ 2808859 h 2890922"/>
                  <a:gd name="connsiteX23" fmla="*/ 7486022 w 11851944"/>
                  <a:gd name="connsiteY23" fmla="*/ 2818908 h 2890922"/>
                  <a:gd name="connsiteX24" fmla="*/ 6863024 w 11851944"/>
                  <a:gd name="connsiteY24" fmla="*/ 2839004 h 2890922"/>
                  <a:gd name="connsiteX25" fmla="*/ 6722347 w 11851944"/>
                  <a:gd name="connsiteY25" fmla="*/ 2828956 h 2890922"/>
                  <a:gd name="connsiteX26" fmla="*/ 4903596 w 11851944"/>
                  <a:gd name="connsiteY26" fmla="*/ 2879198 h 2890922"/>
                  <a:gd name="connsiteX27" fmla="*/ 4059534 w 11851944"/>
                  <a:gd name="connsiteY27" fmla="*/ 2859101 h 2890922"/>
                  <a:gd name="connsiteX28" fmla="*/ 3064747 w 11851944"/>
                  <a:gd name="connsiteY28" fmla="*/ 2839004 h 2890922"/>
                  <a:gd name="connsiteX29" fmla="*/ 2009670 w 11851944"/>
                  <a:gd name="connsiteY29" fmla="*/ 2849053 h 2890922"/>
                  <a:gd name="connsiteX30" fmla="*/ 723481 w 11851944"/>
                  <a:gd name="connsiteY30" fmla="*/ 2879198 h 2890922"/>
                  <a:gd name="connsiteX31" fmla="*/ 643095 w 11851944"/>
                  <a:gd name="connsiteY31" fmla="*/ 2869149 h 2890922"/>
                  <a:gd name="connsiteX32" fmla="*/ 371789 w 11851944"/>
                  <a:gd name="connsiteY32" fmla="*/ 2828956 h 2890922"/>
                  <a:gd name="connsiteX33" fmla="*/ 0 w 11851944"/>
                  <a:gd name="connsiteY33" fmla="*/ 2818908 h 2890922"/>
                  <a:gd name="connsiteX0" fmla="*/ 120580 w 11851944"/>
                  <a:gd name="connsiteY0" fmla="*/ 55611 h 2890922"/>
                  <a:gd name="connsiteX1" fmla="*/ 281354 w 11851944"/>
                  <a:gd name="connsiteY1" fmla="*/ 45562 h 2890922"/>
                  <a:gd name="connsiteX2" fmla="*/ 673240 w 11851944"/>
                  <a:gd name="connsiteY2" fmla="*/ 35514 h 2890922"/>
                  <a:gd name="connsiteX3" fmla="*/ 1356528 w 11851944"/>
                  <a:gd name="connsiteY3" fmla="*/ 85756 h 2890922"/>
                  <a:gd name="connsiteX4" fmla="*/ 1758462 w 11851944"/>
                  <a:gd name="connsiteY4" fmla="*/ 45562 h 2890922"/>
                  <a:gd name="connsiteX5" fmla="*/ 2140299 w 11851944"/>
                  <a:gd name="connsiteY5" fmla="*/ 45562 h 2890922"/>
                  <a:gd name="connsiteX6" fmla="*/ 4652387 w 11851944"/>
                  <a:gd name="connsiteY6" fmla="*/ 65659 h 2890922"/>
                  <a:gd name="connsiteX7" fmla="*/ 4692580 w 11851944"/>
                  <a:gd name="connsiteY7" fmla="*/ 75708 h 2890922"/>
                  <a:gd name="connsiteX8" fmla="*/ 6420897 w 11851944"/>
                  <a:gd name="connsiteY8" fmla="*/ 95804 h 2890922"/>
                  <a:gd name="connsiteX9" fmla="*/ 7184571 w 11851944"/>
                  <a:gd name="connsiteY9" fmla="*/ 65659 h 2890922"/>
                  <a:gd name="connsiteX10" fmla="*/ 7928150 w 11851944"/>
                  <a:gd name="connsiteY10" fmla="*/ 65659 h 2890922"/>
                  <a:gd name="connsiteX11" fmla="*/ 8219552 w 11851944"/>
                  <a:gd name="connsiteY11" fmla="*/ 95804 h 2890922"/>
                  <a:gd name="connsiteX12" fmla="*/ 9606224 w 11851944"/>
                  <a:gd name="connsiteY12" fmla="*/ 95804 h 2890922"/>
                  <a:gd name="connsiteX13" fmla="*/ 9947868 w 11851944"/>
                  <a:gd name="connsiteY13" fmla="*/ 65659 h 2890922"/>
                  <a:gd name="connsiteX14" fmla="*/ 10791930 w 11851944"/>
                  <a:gd name="connsiteY14" fmla="*/ 35514 h 2890922"/>
                  <a:gd name="connsiteX15" fmla="*/ 11736475 w 11851944"/>
                  <a:gd name="connsiteY15" fmla="*/ 55611 h 2890922"/>
                  <a:gd name="connsiteX16" fmla="*/ 11806813 w 11851944"/>
                  <a:gd name="connsiteY16" fmla="*/ 769044 h 2890922"/>
                  <a:gd name="connsiteX17" fmla="*/ 11816862 w 11851944"/>
                  <a:gd name="connsiteY17" fmla="*/ 2336587 h 2890922"/>
                  <a:gd name="connsiteX18" fmla="*/ 11806813 w 11851944"/>
                  <a:gd name="connsiteY18" fmla="*/ 2828956 h 2890922"/>
                  <a:gd name="connsiteX19" fmla="*/ 11033090 w 11851944"/>
                  <a:gd name="connsiteY19" fmla="*/ 2859101 h 2890922"/>
                  <a:gd name="connsiteX20" fmla="*/ 10128739 w 11851944"/>
                  <a:gd name="connsiteY20" fmla="*/ 2859101 h 2890922"/>
                  <a:gd name="connsiteX21" fmla="*/ 9555982 w 11851944"/>
                  <a:gd name="connsiteY21" fmla="*/ 2859101 h 2890922"/>
                  <a:gd name="connsiteX22" fmla="*/ 9204290 w 11851944"/>
                  <a:gd name="connsiteY22" fmla="*/ 2808859 h 2890922"/>
                  <a:gd name="connsiteX23" fmla="*/ 7486022 w 11851944"/>
                  <a:gd name="connsiteY23" fmla="*/ 2818908 h 2890922"/>
                  <a:gd name="connsiteX24" fmla="*/ 6863024 w 11851944"/>
                  <a:gd name="connsiteY24" fmla="*/ 2839004 h 2890922"/>
                  <a:gd name="connsiteX25" fmla="*/ 6722347 w 11851944"/>
                  <a:gd name="connsiteY25" fmla="*/ 2828956 h 2890922"/>
                  <a:gd name="connsiteX26" fmla="*/ 4903596 w 11851944"/>
                  <a:gd name="connsiteY26" fmla="*/ 2879198 h 2890922"/>
                  <a:gd name="connsiteX27" fmla="*/ 4059534 w 11851944"/>
                  <a:gd name="connsiteY27" fmla="*/ 2859101 h 2890922"/>
                  <a:gd name="connsiteX28" fmla="*/ 3064747 w 11851944"/>
                  <a:gd name="connsiteY28" fmla="*/ 2839004 h 2890922"/>
                  <a:gd name="connsiteX29" fmla="*/ 2009670 w 11851944"/>
                  <a:gd name="connsiteY29" fmla="*/ 2849053 h 2890922"/>
                  <a:gd name="connsiteX30" fmla="*/ 643095 w 11851944"/>
                  <a:gd name="connsiteY30" fmla="*/ 2869149 h 2890922"/>
                  <a:gd name="connsiteX31" fmla="*/ 371789 w 11851944"/>
                  <a:gd name="connsiteY31" fmla="*/ 2828956 h 2890922"/>
                  <a:gd name="connsiteX32" fmla="*/ 0 w 11851944"/>
                  <a:gd name="connsiteY32" fmla="*/ 2818908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9083710 w 11731364"/>
                  <a:gd name="connsiteY22" fmla="*/ 2808859 h 2890922"/>
                  <a:gd name="connsiteX23" fmla="*/ 7365442 w 11731364"/>
                  <a:gd name="connsiteY23" fmla="*/ 2818908 h 2890922"/>
                  <a:gd name="connsiteX24" fmla="*/ 6742444 w 11731364"/>
                  <a:gd name="connsiteY24" fmla="*/ 2839004 h 2890922"/>
                  <a:gd name="connsiteX25" fmla="*/ 6601767 w 11731364"/>
                  <a:gd name="connsiteY25" fmla="*/ 2828956 h 2890922"/>
                  <a:gd name="connsiteX26" fmla="*/ 4783016 w 11731364"/>
                  <a:gd name="connsiteY26" fmla="*/ 2879198 h 2890922"/>
                  <a:gd name="connsiteX27" fmla="*/ 3938954 w 11731364"/>
                  <a:gd name="connsiteY27" fmla="*/ 2859101 h 2890922"/>
                  <a:gd name="connsiteX28" fmla="*/ 2944167 w 11731364"/>
                  <a:gd name="connsiteY28" fmla="*/ 2839004 h 2890922"/>
                  <a:gd name="connsiteX29" fmla="*/ 1889090 w 11731364"/>
                  <a:gd name="connsiteY29" fmla="*/ 2849053 h 2890922"/>
                  <a:gd name="connsiteX30" fmla="*/ 522515 w 11731364"/>
                  <a:gd name="connsiteY30" fmla="*/ 2869149 h 2890922"/>
                  <a:gd name="connsiteX31" fmla="*/ 251209 w 11731364"/>
                  <a:gd name="connsiteY31" fmla="*/ 2828956 h 2890922"/>
                  <a:gd name="connsiteX32" fmla="*/ 10048 w 11731364"/>
                  <a:gd name="connsiteY32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7365442 w 11731364"/>
                  <a:gd name="connsiteY22" fmla="*/ 2818908 h 2890922"/>
                  <a:gd name="connsiteX23" fmla="*/ 6742444 w 11731364"/>
                  <a:gd name="connsiteY23" fmla="*/ 2839004 h 2890922"/>
                  <a:gd name="connsiteX24" fmla="*/ 6601767 w 11731364"/>
                  <a:gd name="connsiteY24" fmla="*/ 2828956 h 2890922"/>
                  <a:gd name="connsiteX25" fmla="*/ 4783016 w 11731364"/>
                  <a:gd name="connsiteY25" fmla="*/ 2879198 h 2890922"/>
                  <a:gd name="connsiteX26" fmla="*/ 3938954 w 11731364"/>
                  <a:gd name="connsiteY26" fmla="*/ 2859101 h 2890922"/>
                  <a:gd name="connsiteX27" fmla="*/ 2944167 w 11731364"/>
                  <a:gd name="connsiteY27" fmla="*/ 2839004 h 2890922"/>
                  <a:gd name="connsiteX28" fmla="*/ 1889090 w 11731364"/>
                  <a:gd name="connsiteY28" fmla="*/ 2849053 h 2890922"/>
                  <a:gd name="connsiteX29" fmla="*/ 522515 w 11731364"/>
                  <a:gd name="connsiteY29" fmla="*/ 2869149 h 2890922"/>
                  <a:gd name="connsiteX30" fmla="*/ 251209 w 11731364"/>
                  <a:gd name="connsiteY30" fmla="*/ 2828956 h 2890922"/>
                  <a:gd name="connsiteX31" fmla="*/ 10048 w 11731364"/>
                  <a:gd name="connsiteY31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235948 w 11731364"/>
                  <a:gd name="connsiteY3" fmla="*/ 85756 h 2890922"/>
                  <a:gd name="connsiteX4" fmla="*/ 1637882 w 11731364"/>
                  <a:gd name="connsiteY4" fmla="*/ 45562 h 2890922"/>
                  <a:gd name="connsiteX5" fmla="*/ 2019719 w 11731364"/>
                  <a:gd name="connsiteY5" fmla="*/ 45562 h 2890922"/>
                  <a:gd name="connsiteX6" fmla="*/ 4531807 w 11731364"/>
                  <a:gd name="connsiteY6" fmla="*/ 65659 h 2890922"/>
                  <a:gd name="connsiteX7" fmla="*/ 4572000 w 11731364"/>
                  <a:gd name="connsiteY7" fmla="*/ 75708 h 2890922"/>
                  <a:gd name="connsiteX8" fmla="*/ 6300317 w 11731364"/>
                  <a:gd name="connsiteY8" fmla="*/ 95804 h 2890922"/>
                  <a:gd name="connsiteX9" fmla="*/ 7063991 w 11731364"/>
                  <a:gd name="connsiteY9" fmla="*/ 65659 h 2890922"/>
                  <a:gd name="connsiteX10" fmla="*/ 7807570 w 11731364"/>
                  <a:gd name="connsiteY10" fmla="*/ 65659 h 2890922"/>
                  <a:gd name="connsiteX11" fmla="*/ 8098972 w 11731364"/>
                  <a:gd name="connsiteY11" fmla="*/ 95804 h 2890922"/>
                  <a:gd name="connsiteX12" fmla="*/ 9485644 w 11731364"/>
                  <a:gd name="connsiteY12" fmla="*/ 95804 h 2890922"/>
                  <a:gd name="connsiteX13" fmla="*/ 9827288 w 11731364"/>
                  <a:gd name="connsiteY13" fmla="*/ 65659 h 2890922"/>
                  <a:gd name="connsiteX14" fmla="*/ 10671350 w 11731364"/>
                  <a:gd name="connsiteY14" fmla="*/ 35514 h 2890922"/>
                  <a:gd name="connsiteX15" fmla="*/ 11615895 w 11731364"/>
                  <a:gd name="connsiteY15" fmla="*/ 55611 h 2890922"/>
                  <a:gd name="connsiteX16" fmla="*/ 11686233 w 11731364"/>
                  <a:gd name="connsiteY16" fmla="*/ 769044 h 2890922"/>
                  <a:gd name="connsiteX17" fmla="*/ 11696282 w 11731364"/>
                  <a:gd name="connsiteY17" fmla="*/ 2336587 h 2890922"/>
                  <a:gd name="connsiteX18" fmla="*/ 11686233 w 11731364"/>
                  <a:gd name="connsiteY18" fmla="*/ 2828956 h 2890922"/>
                  <a:gd name="connsiteX19" fmla="*/ 10912510 w 11731364"/>
                  <a:gd name="connsiteY19" fmla="*/ 2859101 h 2890922"/>
                  <a:gd name="connsiteX20" fmla="*/ 10008159 w 11731364"/>
                  <a:gd name="connsiteY20" fmla="*/ 2859101 h 2890922"/>
                  <a:gd name="connsiteX21" fmla="*/ 9435402 w 11731364"/>
                  <a:gd name="connsiteY21" fmla="*/ 2859101 h 2890922"/>
                  <a:gd name="connsiteX22" fmla="*/ 7365442 w 11731364"/>
                  <a:gd name="connsiteY22" fmla="*/ 2818908 h 2890922"/>
                  <a:gd name="connsiteX23" fmla="*/ 6742444 w 11731364"/>
                  <a:gd name="connsiteY23" fmla="*/ 2839004 h 2890922"/>
                  <a:gd name="connsiteX24" fmla="*/ 6601767 w 11731364"/>
                  <a:gd name="connsiteY24" fmla="*/ 2828956 h 2890922"/>
                  <a:gd name="connsiteX25" fmla="*/ 4783016 w 11731364"/>
                  <a:gd name="connsiteY25" fmla="*/ 2879198 h 2890922"/>
                  <a:gd name="connsiteX26" fmla="*/ 3938954 w 11731364"/>
                  <a:gd name="connsiteY26" fmla="*/ 2859101 h 2890922"/>
                  <a:gd name="connsiteX27" fmla="*/ 2944167 w 11731364"/>
                  <a:gd name="connsiteY27" fmla="*/ 2839004 h 2890922"/>
                  <a:gd name="connsiteX28" fmla="*/ 1889090 w 11731364"/>
                  <a:gd name="connsiteY28" fmla="*/ 2849053 h 2890922"/>
                  <a:gd name="connsiteX29" fmla="*/ 522515 w 11731364"/>
                  <a:gd name="connsiteY29" fmla="*/ 2869149 h 2890922"/>
                  <a:gd name="connsiteX30" fmla="*/ 10048 w 11731364"/>
                  <a:gd name="connsiteY30" fmla="*/ 2839005 h 2890922"/>
                  <a:gd name="connsiteX0" fmla="*/ 0 w 11731364"/>
                  <a:gd name="connsiteY0" fmla="*/ 55611 h 2890922"/>
                  <a:gd name="connsiteX1" fmla="*/ 160774 w 11731364"/>
                  <a:gd name="connsiteY1" fmla="*/ 45562 h 2890922"/>
                  <a:gd name="connsiteX2" fmla="*/ 552660 w 11731364"/>
                  <a:gd name="connsiteY2" fmla="*/ 35514 h 2890922"/>
                  <a:gd name="connsiteX3" fmla="*/ 1637882 w 11731364"/>
                  <a:gd name="connsiteY3" fmla="*/ 45562 h 2890922"/>
                  <a:gd name="connsiteX4" fmla="*/ 2019719 w 11731364"/>
                  <a:gd name="connsiteY4" fmla="*/ 45562 h 2890922"/>
                  <a:gd name="connsiteX5" fmla="*/ 4531807 w 11731364"/>
                  <a:gd name="connsiteY5" fmla="*/ 65659 h 2890922"/>
                  <a:gd name="connsiteX6" fmla="*/ 4572000 w 11731364"/>
                  <a:gd name="connsiteY6" fmla="*/ 75708 h 2890922"/>
                  <a:gd name="connsiteX7" fmla="*/ 6300317 w 11731364"/>
                  <a:gd name="connsiteY7" fmla="*/ 95804 h 2890922"/>
                  <a:gd name="connsiteX8" fmla="*/ 7063991 w 11731364"/>
                  <a:gd name="connsiteY8" fmla="*/ 65659 h 2890922"/>
                  <a:gd name="connsiteX9" fmla="*/ 7807570 w 11731364"/>
                  <a:gd name="connsiteY9" fmla="*/ 65659 h 2890922"/>
                  <a:gd name="connsiteX10" fmla="*/ 8098972 w 11731364"/>
                  <a:gd name="connsiteY10" fmla="*/ 95804 h 2890922"/>
                  <a:gd name="connsiteX11" fmla="*/ 9485644 w 11731364"/>
                  <a:gd name="connsiteY11" fmla="*/ 95804 h 2890922"/>
                  <a:gd name="connsiteX12" fmla="*/ 9827288 w 11731364"/>
                  <a:gd name="connsiteY12" fmla="*/ 65659 h 2890922"/>
                  <a:gd name="connsiteX13" fmla="*/ 10671350 w 11731364"/>
                  <a:gd name="connsiteY13" fmla="*/ 35514 h 2890922"/>
                  <a:gd name="connsiteX14" fmla="*/ 11615895 w 11731364"/>
                  <a:gd name="connsiteY14" fmla="*/ 55611 h 2890922"/>
                  <a:gd name="connsiteX15" fmla="*/ 11686233 w 11731364"/>
                  <a:gd name="connsiteY15" fmla="*/ 769044 h 2890922"/>
                  <a:gd name="connsiteX16" fmla="*/ 11696282 w 11731364"/>
                  <a:gd name="connsiteY16" fmla="*/ 2336587 h 2890922"/>
                  <a:gd name="connsiteX17" fmla="*/ 11686233 w 11731364"/>
                  <a:gd name="connsiteY17" fmla="*/ 2828956 h 2890922"/>
                  <a:gd name="connsiteX18" fmla="*/ 10912510 w 11731364"/>
                  <a:gd name="connsiteY18" fmla="*/ 2859101 h 2890922"/>
                  <a:gd name="connsiteX19" fmla="*/ 10008159 w 11731364"/>
                  <a:gd name="connsiteY19" fmla="*/ 2859101 h 2890922"/>
                  <a:gd name="connsiteX20" fmla="*/ 9435402 w 11731364"/>
                  <a:gd name="connsiteY20" fmla="*/ 2859101 h 2890922"/>
                  <a:gd name="connsiteX21" fmla="*/ 7365442 w 11731364"/>
                  <a:gd name="connsiteY21" fmla="*/ 2818908 h 2890922"/>
                  <a:gd name="connsiteX22" fmla="*/ 6742444 w 11731364"/>
                  <a:gd name="connsiteY22" fmla="*/ 2839004 h 2890922"/>
                  <a:gd name="connsiteX23" fmla="*/ 6601767 w 11731364"/>
                  <a:gd name="connsiteY23" fmla="*/ 2828956 h 2890922"/>
                  <a:gd name="connsiteX24" fmla="*/ 4783016 w 11731364"/>
                  <a:gd name="connsiteY24" fmla="*/ 2879198 h 2890922"/>
                  <a:gd name="connsiteX25" fmla="*/ 3938954 w 11731364"/>
                  <a:gd name="connsiteY25" fmla="*/ 2859101 h 2890922"/>
                  <a:gd name="connsiteX26" fmla="*/ 2944167 w 11731364"/>
                  <a:gd name="connsiteY26" fmla="*/ 2839004 h 2890922"/>
                  <a:gd name="connsiteX27" fmla="*/ 1889090 w 11731364"/>
                  <a:gd name="connsiteY27" fmla="*/ 2849053 h 2890922"/>
                  <a:gd name="connsiteX28" fmla="*/ 522515 w 11731364"/>
                  <a:gd name="connsiteY28" fmla="*/ 2869149 h 2890922"/>
                  <a:gd name="connsiteX29" fmla="*/ 10048 w 11731364"/>
                  <a:gd name="connsiteY29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4572000 w 11731364"/>
                  <a:gd name="connsiteY5" fmla="*/ 75708 h 2890922"/>
                  <a:gd name="connsiteX6" fmla="*/ 6300317 w 11731364"/>
                  <a:gd name="connsiteY6" fmla="*/ 95804 h 2890922"/>
                  <a:gd name="connsiteX7" fmla="*/ 7063991 w 11731364"/>
                  <a:gd name="connsiteY7" fmla="*/ 65659 h 2890922"/>
                  <a:gd name="connsiteX8" fmla="*/ 7807570 w 11731364"/>
                  <a:gd name="connsiteY8" fmla="*/ 65659 h 2890922"/>
                  <a:gd name="connsiteX9" fmla="*/ 8098972 w 11731364"/>
                  <a:gd name="connsiteY9" fmla="*/ 95804 h 2890922"/>
                  <a:gd name="connsiteX10" fmla="*/ 9485644 w 11731364"/>
                  <a:gd name="connsiteY10" fmla="*/ 95804 h 2890922"/>
                  <a:gd name="connsiteX11" fmla="*/ 9827288 w 11731364"/>
                  <a:gd name="connsiteY11" fmla="*/ 65659 h 2890922"/>
                  <a:gd name="connsiteX12" fmla="*/ 10671350 w 11731364"/>
                  <a:gd name="connsiteY12" fmla="*/ 35514 h 2890922"/>
                  <a:gd name="connsiteX13" fmla="*/ 11615895 w 11731364"/>
                  <a:gd name="connsiteY13" fmla="*/ 55611 h 2890922"/>
                  <a:gd name="connsiteX14" fmla="*/ 11686233 w 11731364"/>
                  <a:gd name="connsiteY14" fmla="*/ 769044 h 2890922"/>
                  <a:gd name="connsiteX15" fmla="*/ 11696282 w 11731364"/>
                  <a:gd name="connsiteY15" fmla="*/ 2336587 h 2890922"/>
                  <a:gd name="connsiteX16" fmla="*/ 11686233 w 11731364"/>
                  <a:gd name="connsiteY16" fmla="*/ 2828956 h 2890922"/>
                  <a:gd name="connsiteX17" fmla="*/ 10912510 w 11731364"/>
                  <a:gd name="connsiteY17" fmla="*/ 2859101 h 2890922"/>
                  <a:gd name="connsiteX18" fmla="*/ 10008159 w 11731364"/>
                  <a:gd name="connsiteY18" fmla="*/ 2859101 h 2890922"/>
                  <a:gd name="connsiteX19" fmla="*/ 9435402 w 11731364"/>
                  <a:gd name="connsiteY19" fmla="*/ 2859101 h 2890922"/>
                  <a:gd name="connsiteX20" fmla="*/ 7365442 w 11731364"/>
                  <a:gd name="connsiteY20" fmla="*/ 2818908 h 2890922"/>
                  <a:gd name="connsiteX21" fmla="*/ 6742444 w 11731364"/>
                  <a:gd name="connsiteY21" fmla="*/ 2839004 h 2890922"/>
                  <a:gd name="connsiteX22" fmla="*/ 6601767 w 11731364"/>
                  <a:gd name="connsiteY22" fmla="*/ 2828956 h 2890922"/>
                  <a:gd name="connsiteX23" fmla="*/ 4783016 w 11731364"/>
                  <a:gd name="connsiteY23" fmla="*/ 2879198 h 2890922"/>
                  <a:gd name="connsiteX24" fmla="*/ 3938954 w 11731364"/>
                  <a:gd name="connsiteY24" fmla="*/ 2859101 h 2890922"/>
                  <a:gd name="connsiteX25" fmla="*/ 2944167 w 11731364"/>
                  <a:gd name="connsiteY25" fmla="*/ 2839004 h 2890922"/>
                  <a:gd name="connsiteX26" fmla="*/ 1889090 w 11731364"/>
                  <a:gd name="connsiteY26" fmla="*/ 2849053 h 2890922"/>
                  <a:gd name="connsiteX27" fmla="*/ 522515 w 11731364"/>
                  <a:gd name="connsiteY27" fmla="*/ 2869149 h 2890922"/>
                  <a:gd name="connsiteX28" fmla="*/ 10048 w 11731364"/>
                  <a:gd name="connsiteY28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6300317 w 11731364"/>
                  <a:gd name="connsiteY5" fmla="*/ 95804 h 2890922"/>
                  <a:gd name="connsiteX6" fmla="*/ 7063991 w 11731364"/>
                  <a:gd name="connsiteY6" fmla="*/ 65659 h 2890922"/>
                  <a:gd name="connsiteX7" fmla="*/ 7807570 w 11731364"/>
                  <a:gd name="connsiteY7" fmla="*/ 65659 h 2890922"/>
                  <a:gd name="connsiteX8" fmla="*/ 8098972 w 11731364"/>
                  <a:gd name="connsiteY8" fmla="*/ 95804 h 2890922"/>
                  <a:gd name="connsiteX9" fmla="*/ 9485644 w 11731364"/>
                  <a:gd name="connsiteY9" fmla="*/ 95804 h 2890922"/>
                  <a:gd name="connsiteX10" fmla="*/ 9827288 w 11731364"/>
                  <a:gd name="connsiteY10" fmla="*/ 65659 h 2890922"/>
                  <a:gd name="connsiteX11" fmla="*/ 10671350 w 11731364"/>
                  <a:gd name="connsiteY11" fmla="*/ 35514 h 2890922"/>
                  <a:gd name="connsiteX12" fmla="*/ 11615895 w 11731364"/>
                  <a:gd name="connsiteY12" fmla="*/ 55611 h 2890922"/>
                  <a:gd name="connsiteX13" fmla="*/ 11686233 w 11731364"/>
                  <a:gd name="connsiteY13" fmla="*/ 769044 h 2890922"/>
                  <a:gd name="connsiteX14" fmla="*/ 11696282 w 11731364"/>
                  <a:gd name="connsiteY14" fmla="*/ 2336587 h 2890922"/>
                  <a:gd name="connsiteX15" fmla="*/ 11686233 w 11731364"/>
                  <a:gd name="connsiteY15" fmla="*/ 2828956 h 2890922"/>
                  <a:gd name="connsiteX16" fmla="*/ 10912510 w 11731364"/>
                  <a:gd name="connsiteY16" fmla="*/ 2859101 h 2890922"/>
                  <a:gd name="connsiteX17" fmla="*/ 10008159 w 11731364"/>
                  <a:gd name="connsiteY17" fmla="*/ 2859101 h 2890922"/>
                  <a:gd name="connsiteX18" fmla="*/ 9435402 w 11731364"/>
                  <a:gd name="connsiteY18" fmla="*/ 2859101 h 2890922"/>
                  <a:gd name="connsiteX19" fmla="*/ 7365442 w 11731364"/>
                  <a:gd name="connsiteY19" fmla="*/ 2818908 h 2890922"/>
                  <a:gd name="connsiteX20" fmla="*/ 6742444 w 11731364"/>
                  <a:gd name="connsiteY20" fmla="*/ 2839004 h 2890922"/>
                  <a:gd name="connsiteX21" fmla="*/ 6601767 w 11731364"/>
                  <a:gd name="connsiteY21" fmla="*/ 2828956 h 2890922"/>
                  <a:gd name="connsiteX22" fmla="*/ 4783016 w 11731364"/>
                  <a:gd name="connsiteY22" fmla="*/ 2879198 h 2890922"/>
                  <a:gd name="connsiteX23" fmla="*/ 3938954 w 11731364"/>
                  <a:gd name="connsiteY23" fmla="*/ 2859101 h 2890922"/>
                  <a:gd name="connsiteX24" fmla="*/ 2944167 w 11731364"/>
                  <a:gd name="connsiteY24" fmla="*/ 2839004 h 2890922"/>
                  <a:gd name="connsiteX25" fmla="*/ 1889090 w 11731364"/>
                  <a:gd name="connsiteY25" fmla="*/ 2849053 h 2890922"/>
                  <a:gd name="connsiteX26" fmla="*/ 522515 w 11731364"/>
                  <a:gd name="connsiteY26" fmla="*/ 2869149 h 2890922"/>
                  <a:gd name="connsiteX27" fmla="*/ 10048 w 11731364"/>
                  <a:gd name="connsiteY27" fmla="*/ 2839005 h 2890922"/>
                  <a:gd name="connsiteX0" fmla="*/ 0 w 11731364"/>
                  <a:gd name="connsiteY0" fmla="*/ 55611 h 2890922"/>
                  <a:gd name="connsiteX1" fmla="*/ 552660 w 11731364"/>
                  <a:gd name="connsiteY1" fmla="*/ 35514 h 2890922"/>
                  <a:gd name="connsiteX2" fmla="*/ 1637882 w 11731364"/>
                  <a:gd name="connsiteY2" fmla="*/ 45562 h 2890922"/>
                  <a:gd name="connsiteX3" fmla="*/ 2019719 w 11731364"/>
                  <a:gd name="connsiteY3" fmla="*/ 45562 h 2890922"/>
                  <a:gd name="connsiteX4" fmla="*/ 4531807 w 11731364"/>
                  <a:gd name="connsiteY4" fmla="*/ 65659 h 2890922"/>
                  <a:gd name="connsiteX5" fmla="*/ 6300317 w 11731364"/>
                  <a:gd name="connsiteY5" fmla="*/ 95804 h 2890922"/>
                  <a:gd name="connsiteX6" fmla="*/ 7063991 w 11731364"/>
                  <a:gd name="connsiteY6" fmla="*/ 65659 h 2890922"/>
                  <a:gd name="connsiteX7" fmla="*/ 8098972 w 11731364"/>
                  <a:gd name="connsiteY7" fmla="*/ 95804 h 2890922"/>
                  <a:gd name="connsiteX8" fmla="*/ 9485644 w 11731364"/>
                  <a:gd name="connsiteY8" fmla="*/ 95804 h 2890922"/>
                  <a:gd name="connsiteX9" fmla="*/ 9827288 w 11731364"/>
                  <a:gd name="connsiteY9" fmla="*/ 65659 h 2890922"/>
                  <a:gd name="connsiteX10" fmla="*/ 10671350 w 11731364"/>
                  <a:gd name="connsiteY10" fmla="*/ 35514 h 2890922"/>
                  <a:gd name="connsiteX11" fmla="*/ 11615895 w 11731364"/>
                  <a:gd name="connsiteY11" fmla="*/ 55611 h 2890922"/>
                  <a:gd name="connsiteX12" fmla="*/ 11686233 w 11731364"/>
                  <a:gd name="connsiteY12" fmla="*/ 769044 h 2890922"/>
                  <a:gd name="connsiteX13" fmla="*/ 11696282 w 11731364"/>
                  <a:gd name="connsiteY13" fmla="*/ 2336587 h 2890922"/>
                  <a:gd name="connsiteX14" fmla="*/ 11686233 w 11731364"/>
                  <a:gd name="connsiteY14" fmla="*/ 2828956 h 2890922"/>
                  <a:gd name="connsiteX15" fmla="*/ 10912510 w 11731364"/>
                  <a:gd name="connsiteY15" fmla="*/ 2859101 h 2890922"/>
                  <a:gd name="connsiteX16" fmla="*/ 10008159 w 11731364"/>
                  <a:gd name="connsiteY16" fmla="*/ 2859101 h 2890922"/>
                  <a:gd name="connsiteX17" fmla="*/ 9435402 w 11731364"/>
                  <a:gd name="connsiteY17" fmla="*/ 2859101 h 2890922"/>
                  <a:gd name="connsiteX18" fmla="*/ 7365442 w 11731364"/>
                  <a:gd name="connsiteY18" fmla="*/ 2818908 h 2890922"/>
                  <a:gd name="connsiteX19" fmla="*/ 6742444 w 11731364"/>
                  <a:gd name="connsiteY19" fmla="*/ 2839004 h 2890922"/>
                  <a:gd name="connsiteX20" fmla="*/ 6601767 w 11731364"/>
                  <a:gd name="connsiteY20" fmla="*/ 2828956 h 2890922"/>
                  <a:gd name="connsiteX21" fmla="*/ 4783016 w 11731364"/>
                  <a:gd name="connsiteY21" fmla="*/ 2879198 h 2890922"/>
                  <a:gd name="connsiteX22" fmla="*/ 3938954 w 11731364"/>
                  <a:gd name="connsiteY22" fmla="*/ 2859101 h 2890922"/>
                  <a:gd name="connsiteX23" fmla="*/ 2944167 w 11731364"/>
                  <a:gd name="connsiteY23" fmla="*/ 2839004 h 2890922"/>
                  <a:gd name="connsiteX24" fmla="*/ 1889090 w 11731364"/>
                  <a:gd name="connsiteY24" fmla="*/ 2849053 h 2890922"/>
                  <a:gd name="connsiteX25" fmla="*/ 522515 w 11731364"/>
                  <a:gd name="connsiteY25" fmla="*/ 2869149 h 2890922"/>
                  <a:gd name="connsiteX26" fmla="*/ 10048 w 11731364"/>
                  <a:gd name="connsiteY26" fmla="*/ 2839005 h 2890922"/>
                  <a:gd name="connsiteX0" fmla="*/ 0 w 11731364"/>
                  <a:gd name="connsiteY0" fmla="*/ 36371 h 2871682"/>
                  <a:gd name="connsiteX1" fmla="*/ 552660 w 11731364"/>
                  <a:gd name="connsiteY1" fmla="*/ 16274 h 2871682"/>
                  <a:gd name="connsiteX2" fmla="*/ 1637882 w 11731364"/>
                  <a:gd name="connsiteY2" fmla="*/ 26322 h 2871682"/>
                  <a:gd name="connsiteX3" fmla="*/ 2019719 w 11731364"/>
                  <a:gd name="connsiteY3" fmla="*/ 26322 h 2871682"/>
                  <a:gd name="connsiteX4" fmla="*/ 4531807 w 11731364"/>
                  <a:gd name="connsiteY4" fmla="*/ 46419 h 2871682"/>
                  <a:gd name="connsiteX5" fmla="*/ 6300317 w 11731364"/>
                  <a:gd name="connsiteY5" fmla="*/ 76564 h 2871682"/>
                  <a:gd name="connsiteX6" fmla="*/ 7063991 w 11731364"/>
                  <a:gd name="connsiteY6" fmla="*/ 46419 h 2871682"/>
                  <a:gd name="connsiteX7" fmla="*/ 8098972 w 11731364"/>
                  <a:gd name="connsiteY7" fmla="*/ 76564 h 2871682"/>
                  <a:gd name="connsiteX8" fmla="*/ 9485644 w 11731364"/>
                  <a:gd name="connsiteY8" fmla="*/ 76564 h 2871682"/>
                  <a:gd name="connsiteX9" fmla="*/ 9827288 w 11731364"/>
                  <a:gd name="connsiteY9" fmla="*/ 46419 h 2871682"/>
                  <a:gd name="connsiteX10" fmla="*/ 10671350 w 11731364"/>
                  <a:gd name="connsiteY10" fmla="*/ 16274 h 2871682"/>
                  <a:gd name="connsiteX11" fmla="*/ 11615895 w 11731364"/>
                  <a:gd name="connsiteY11" fmla="*/ 66517 h 2871682"/>
                  <a:gd name="connsiteX12" fmla="*/ 11686233 w 11731364"/>
                  <a:gd name="connsiteY12" fmla="*/ 749804 h 2871682"/>
                  <a:gd name="connsiteX13" fmla="*/ 11696282 w 11731364"/>
                  <a:gd name="connsiteY13" fmla="*/ 2317347 h 2871682"/>
                  <a:gd name="connsiteX14" fmla="*/ 11686233 w 11731364"/>
                  <a:gd name="connsiteY14" fmla="*/ 2809716 h 2871682"/>
                  <a:gd name="connsiteX15" fmla="*/ 10912510 w 11731364"/>
                  <a:gd name="connsiteY15" fmla="*/ 2839861 h 2871682"/>
                  <a:gd name="connsiteX16" fmla="*/ 10008159 w 11731364"/>
                  <a:gd name="connsiteY16" fmla="*/ 2839861 h 2871682"/>
                  <a:gd name="connsiteX17" fmla="*/ 9435402 w 11731364"/>
                  <a:gd name="connsiteY17" fmla="*/ 2839861 h 2871682"/>
                  <a:gd name="connsiteX18" fmla="*/ 7365442 w 11731364"/>
                  <a:gd name="connsiteY18" fmla="*/ 2799668 h 2871682"/>
                  <a:gd name="connsiteX19" fmla="*/ 6742444 w 11731364"/>
                  <a:gd name="connsiteY19" fmla="*/ 2819764 h 2871682"/>
                  <a:gd name="connsiteX20" fmla="*/ 6601767 w 11731364"/>
                  <a:gd name="connsiteY20" fmla="*/ 2809716 h 2871682"/>
                  <a:gd name="connsiteX21" fmla="*/ 4783016 w 11731364"/>
                  <a:gd name="connsiteY21" fmla="*/ 2859958 h 2871682"/>
                  <a:gd name="connsiteX22" fmla="*/ 3938954 w 11731364"/>
                  <a:gd name="connsiteY22" fmla="*/ 2839861 h 2871682"/>
                  <a:gd name="connsiteX23" fmla="*/ 2944167 w 11731364"/>
                  <a:gd name="connsiteY23" fmla="*/ 2819764 h 2871682"/>
                  <a:gd name="connsiteX24" fmla="*/ 1889090 w 11731364"/>
                  <a:gd name="connsiteY24" fmla="*/ 2829813 h 2871682"/>
                  <a:gd name="connsiteX25" fmla="*/ 522515 w 11731364"/>
                  <a:gd name="connsiteY25" fmla="*/ 2849909 h 2871682"/>
                  <a:gd name="connsiteX26" fmla="*/ 10048 w 11731364"/>
                  <a:gd name="connsiteY26" fmla="*/ 2819765 h 2871682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522515 w 11731364"/>
                  <a:gd name="connsiteY25" fmla="*/ 2853113 h 2874886"/>
                  <a:gd name="connsiteX26" fmla="*/ 10048 w 11731364"/>
                  <a:gd name="connsiteY26" fmla="*/ 2822969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522515 w 11731364"/>
                  <a:gd name="connsiteY25" fmla="*/ 2853113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1311934 w 11731364"/>
                  <a:gd name="connsiteY25" fmla="*/ 2812919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72846 w 11731364"/>
                  <a:gd name="connsiteY25" fmla="*/ 2772725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22882 w 11731364"/>
                  <a:gd name="connsiteY25" fmla="*/ 2843063 h 2874886"/>
                  <a:gd name="connsiteX0" fmla="*/ 0 w 11731364"/>
                  <a:gd name="connsiteY0" fmla="*/ 39575 h 2874886"/>
                  <a:gd name="connsiteX1" fmla="*/ 552660 w 11731364"/>
                  <a:gd name="connsiteY1" fmla="*/ 19478 h 2874886"/>
                  <a:gd name="connsiteX2" fmla="*/ 1637882 w 11731364"/>
                  <a:gd name="connsiteY2" fmla="*/ 29526 h 2874886"/>
                  <a:gd name="connsiteX3" fmla="*/ 2019719 w 11731364"/>
                  <a:gd name="connsiteY3" fmla="*/ 29526 h 2874886"/>
                  <a:gd name="connsiteX4" fmla="*/ 4531807 w 11731364"/>
                  <a:gd name="connsiteY4" fmla="*/ 49623 h 2874886"/>
                  <a:gd name="connsiteX5" fmla="*/ 6300317 w 11731364"/>
                  <a:gd name="connsiteY5" fmla="*/ 79768 h 2874886"/>
                  <a:gd name="connsiteX6" fmla="*/ 7063991 w 11731364"/>
                  <a:gd name="connsiteY6" fmla="*/ 49623 h 2874886"/>
                  <a:gd name="connsiteX7" fmla="*/ 8098972 w 11731364"/>
                  <a:gd name="connsiteY7" fmla="*/ 79768 h 2874886"/>
                  <a:gd name="connsiteX8" fmla="*/ 9485644 w 11731364"/>
                  <a:gd name="connsiteY8" fmla="*/ 79768 h 2874886"/>
                  <a:gd name="connsiteX9" fmla="*/ 9827288 w 11731364"/>
                  <a:gd name="connsiteY9" fmla="*/ 49623 h 2874886"/>
                  <a:gd name="connsiteX10" fmla="*/ 10671350 w 11731364"/>
                  <a:gd name="connsiteY10" fmla="*/ 19478 h 2874886"/>
                  <a:gd name="connsiteX11" fmla="*/ 11615895 w 11731364"/>
                  <a:gd name="connsiteY11" fmla="*/ 69721 h 2874886"/>
                  <a:gd name="connsiteX12" fmla="*/ 11686233 w 11731364"/>
                  <a:gd name="connsiteY12" fmla="*/ 753008 h 2874886"/>
                  <a:gd name="connsiteX13" fmla="*/ 11696282 w 11731364"/>
                  <a:gd name="connsiteY13" fmla="*/ 2320551 h 2874886"/>
                  <a:gd name="connsiteX14" fmla="*/ 11686233 w 11731364"/>
                  <a:gd name="connsiteY14" fmla="*/ 2812920 h 2874886"/>
                  <a:gd name="connsiteX15" fmla="*/ 10912510 w 11731364"/>
                  <a:gd name="connsiteY15" fmla="*/ 2843065 h 2874886"/>
                  <a:gd name="connsiteX16" fmla="*/ 10008159 w 11731364"/>
                  <a:gd name="connsiteY16" fmla="*/ 2843065 h 2874886"/>
                  <a:gd name="connsiteX17" fmla="*/ 9435402 w 11731364"/>
                  <a:gd name="connsiteY17" fmla="*/ 2843065 h 2874886"/>
                  <a:gd name="connsiteX18" fmla="*/ 7365442 w 11731364"/>
                  <a:gd name="connsiteY18" fmla="*/ 2802872 h 2874886"/>
                  <a:gd name="connsiteX19" fmla="*/ 6742444 w 11731364"/>
                  <a:gd name="connsiteY19" fmla="*/ 2822968 h 2874886"/>
                  <a:gd name="connsiteX20" fmla="*/ 6601767 w 11731364"/>
                  <a:gd name="connsiteY20" fmla="*/ 2812920 h 2874886"/>
                  <a:gd name="connsiteX21" fmla="*/ 4783016 w 11731364"/>
                  <a:gd name="connsiteY21" fmla="*/ 2863162 h 2874886"/>
                  <a:gd name="connsiteX22" fmla="*/ 3938954 w 11731364"/>
                  <a:gd name="connsiteY22" fmla="*/ 2843065 h 2874886"/>
                  <a:gd name="connsiteX23" fmla="*/ 2944167 w 11731364"/>
                  <a:gd name="connsiteY23" fmla="*/ 2822968 h 2874886"/>
                  <a:gd name="connsiteX24" fmla="*/ 1889090 w 11731364"/>
                  <a:gd name="connsiteY24" fmla="*/ 2833017 h 2874886"/>
                  <a:gd name="connsiteX25" fmla="*/ 12890 w 11731364"/>
                  <a:gd name="connsiteY25" fmla="*/ 2812918 h 2874886"/>
                  <a:gd name="connsiteX0" fmla="*/ 0 w 11795893"/>
                  <a:gd name="connsiteY0" fmla="*/ 28410 h 2863721"/>
                  <a:gd name="connsiteX1" fmla="*/ 552660 w 11795893"/>
                  <a:gd name="connsiteY1" fmla="*/ 8313 h 2863721"/>
                  <a:gd name="connsiteX2" fmla="*/ 1637882 w 11795893"/>
                  <a:gd name="connsiteY2" fmla="*/ 18361 h 2863721"/>
                  <a:gd name="connsiteX3" fmla="*/ 2019719 w 11795893"/>
                  <a:gd name="connsiteY3" fmla="*/ 18361 h 2863721"/>
                  <a:gd name="connsiteX4" fmla="*/ 4531807 w 11795893"/>
                  <a:gd name="connsiteY4" fmla="*/ 38458 h 2863721"/>
                  <a:gd name="connsiteX5" fmla="*/ 6300317 w 11795893"/>
                  <a:gd name="connsiteY5" fmla="*/ 68603 h 2863721"/>
                  <a:gd name="connsiteX6" fmla="*/ 7063991 w 11795893"/>
                  <a:gd name="connsiteY6" fmla="*/ 38458 h 2863721"/>
                  <a:gd name="connsiteX7" fmla="*/ 8098972 w 11795893"/>
                  <a:gd name="connsiteY7" fmla="*/ 68603 h 2863721"/>
                  <a:gd name="connsiteX8" fmla="*/ 9485644 w 11795893"/>
                  <a:gd name="connsiteY8" fmla="*/ 68603 h 2863721"/>
                  <a:gd name="connsiteX9" fmla="*/ 9827288 w 11795893"/>
                  <a:gd name="connsiteY9" fmla="*/ 38458 h 2863721"/>
                  <a:gd name="connsiteX10" fmla="*/ 10671350 w 11795893"/>
                  <a:gd name="connsiteY10" fmla="*/ 8313 h 2863721"/>
                  <a:gd name="connsiteX11" fmla="*/ 11615895 w 11795893"/>
                  <a:gd name="connsiteY11" fmla="*/ 58556 h 2863721"/>
                  <a:gd name="connsiteX12" fmla="*/ 11686233 w 11795893"/>
                  <a:gd name="connsiteY12" fmla="*/ 741843 h 2863721"/>
                  <a:gd name="connsiteX13" fmla="*/ 11696282 w 11795893"/>
                  <a:gd name="connsiteY13" fmla="*/ 2309386 h 2863721"/>
                  <a:gd name="connsiteX14" fmla="*/ 11686233 w 11795893"/>
                  <a:gd name="connsiteY14" fmla="*/ 2801755 h 2863721"/>
                  <a:gd name="connsiteX15" fmla="*/ 10912510 w 11795893"/>
                  <a:gd name="connsiteY15" fmla="*/ 2831900 h 2863721"/>
                  <a:gd name="connsiteX16" fmla="*/ 10008159 w 11795893"/>
                  <a:gd name="connsiteY16" fmla="*/ 2831900 h 2863721"/>
                  <a:gd name="connsiteX17" fmla="*/ 9435402 w 11795893"/>
                  <a:gd name="connsiteY17" fmla="*/ 2831900 h 2863721"/>
                  <a:gd name="connsiteX18" fmla="*/ 7365442 w 11795893"/>
                  <a:gd name="connsiteY18" fmla="*/ 2791707 h 2863721"/>
                  <a:gd name="connsiteX19" fmla="*/ 6742444 w 11795893"/>
                  <a:gd name="connsiteY19" fmla="*/ 2811803 h 2863721"/>
                  <a:gd name="connsiteX20" fmla="*/ 6601767 w 11795893"/>
                  <a:gd name="connsiteY20" fmla="*/ 2801755 h 2863721"/>
                  <a:gd name="connsiteX21" fmla="*/ 4783016 w 11795893"/>
                  <a:gd name="connsiteY21" fmla="*/ 2851997 h 2863721"/>
                  <a:gd name="connsiteX22" fmla="*/ 3938954 w 11795893"/>
                  <a:gd name="connsiteY22" fmla="*/ 2831900 h 2863721"/>
                  <a:gd name="connsiteX23" fmla="*/ 2944167 w 11795893"/>
                  <a:gd name="connsiteY23" fmla="*/ 2811803 h 2863721"/>
                  <a:gd name="connsiteX24" fmla="*/ 1889090 w 11795893"/>
                  <a:gd name="connsiteY24" fmla="*/ 2821852 h 2863721"/>
                  <a:gd name="connsiteX25" fmla="*/ 12890 w 11795893"/>
                  <a:gd name="connsiteY25" fmla="*/ 2801753 h 2863721"/>
                  <a:gd name="connsiteX0" fmla="*/ 0 w 11731364"/>
                  <a:gd name="connsiteY0" fmla="*/ 152690 h 2988001"/>
                  <a:gd name="connsiteX1" fmla="*/ 552660 w 11731364"/>
                  <a:gd name="connsiteY1" fmla="*/ 132593 h 2988001"/>
                  <a:gd name="connsiteX2" fmla="*/ 1637882 w 11731364"/>
                  <a:gd name="connsiteY2" fmla="*/ 142641 h 2988001"/>
                  <a:gd name="connsiteX3" fmla="*/ 2019719 w 11731364"/>
                  <a:gd name="connsiteY3" fmla="*/ 142641 h 2988001"/>
                  <a:gd name="connsiteX4" fmla="*/ 4531807 w 11731364"/>
                  <a:gd name="connsiteY4" fmla="*/ 162738 h 2988001"/>
                  <a:gd name="connsiteX5" fmla="*/ 6300317 w 11731364"/>
                  <a:gd name="connsiteY5" fmla="*/ 192883 h 2988001"/>
                  <a:gd name="connsiteX6" fmla="*/ 7063991 w 11731364"/>
                  <a:gd name="connsiteY6" fmla="*/ 162738 h 2988001"/>
                  <a:gd name="connsiteX7" fmla="*/ 8098972 w 11731364"/>
                  <a:gd name="connsiteY7" fmla="*/ 192883 h 2988001"/>
                  <a:gd name="connsiteX8" fmla="*/ 9485644 w 11731364"/>
                  <a:gd name="connsiteY8" fmla="*/ 192883 h 2988001"/>
                  <a:gd name="connsiteX9" fmla="*/ 9827288 w 11731364"/>
                  <a:gd name="connsiteY9" fmla="*/ 162738 h 2988001"/>
                  <a:gd name="connsiteX10" fmla="*/ 10671350 w 11731364"/>
                  <a:gd name="connsiteY10" fmla="*/ 132593 h 2988001"/>
                  <a:gd name="connsiteX11" fmla="*/ 11615895 w 11731364"/>
                  <a:gd name="connsiteY11" fmla="*/ 182836 h 2988001"/>
                  <a:gd name="connsiteX12" fmla="*/ 11696282 w 11731364"/>
                  <a:gd name="connsiteY12" fmla="*/ 2433666 h 2988001"/>
                  <a:gd name="connsiteX13" fmla="*/ 11686233 w 11731364"/>
                  <a:gd name="connsiteY13" fmla="*/ 2926035 h 2988001"/>
                  <a:gd name="connsiteX14" fmla="*/ 10912510 w 11731364"/>
                  <a:gd name="connsiteY14" fmla="*/ 2956180 h 2988001"/>
                  <a:gd name="connsiteX15" fmla="*/ 10008159 w 11731364"/>
                  <a:gd name="connsiteY15" fmla="*/ 2956180 h 2988001"/>
                  <a:gd name="connsiteX16" fmla="*/ 9435402 w 11731364"/>
                  <a:gd name="connsiteY16" fmla="*/ 2956180 h 2988001"/>
                  <a:gd name="connsiteX17" fmla="*/ 7365442 w 11731364"/>
                  <a:gd name="connsiteY17" fmla="*/ 2915987 h 2988001"/>
                  <a:gd name="connsiteX18" fmla="*/ 6742444 w 11731364"/>
                  <a:gd name="connsiteY18" fmla="*/ 2936083 h 2988001"/>
                  <a:gd name="connsiteX19" fmla="*/ 6601767 w 11731364"/>
                  <a:gd name="connsiteY19" fmla="*/ 2926035 h 2988001"/>
                  <a:gd name="connsiteX20" fmla="*/ 4783016 w 11731364"/>
                  <a:gd name="connsiteY20" fmla="*/ 2976277 h 2988001"/>
                  <a:gd name="connsiteX21" fmla="*/ 3938954 w 11731364"/>
                  <a:gd name="connsiteY21" fmla="*/ 2956180 h 2988001"/>
                  <a:gd name="connsiteX22" fmla="*/ 2944167 w 11731364"/>
                  <a:gd name="connsiteY22" fmla="*/ 2936083 h 2988001"/>
                  <a:gd name="connsiteX23" fmla="*/ 1889090 w 11731364"/>
                  <a:gd name="connsiteY23" fmla="*/ 2946132 h 2988001"/>
                  <a:gd name="connsiteX24" fmla="*/ 12890 w 11731364"/>
                  <a:gd name="connsiteY24" fmla="*/ 2926033 h 2988001"/>
                  <a:gd name="connsiteX0" fmla="*/ 0 w 11761041"/>
                  <a:gd name="connsiteY0" fmla="*/ 189003 h 3175501"/>
                  <a:gd name="connsiteX1" fmla="*/ 552660 w 11761041"/>
                  <a:gd name="connsiteY1" fmla="*/ 168906 h 3175501"/>
                  <a:gd name="connsiteX2" fmla="*/ 1637882 w 11761041"/>
                  <a:gd name="connsiteY2" fmla="*/ 178954 h 3175501"/>
                  <a:gd name="connsiteX3" fmla="*/ 2019719 w 11761041"/>
                  <a:gd name="connsiteY3" fmla="*/ 178954 h 3175501"/>
                  <a:gd name="connsiteX4" fmla="*/ 4531807 w 11761041"/>
                  <a:gd name="connsiteY4" fmla="*/ 199051 h 3175501"/>
                  <a:gd name="connsiteX5" fmla="*/ 6300317 w 11761041"/>
                  <a:gd name="connsiteY5" fmla="*/ 229196 h 3175501"/>
                  <a:gd name="connsiteX6" fmla="*/ 7063991 w 11761041"/>
                  <a:gd name="connsiteY6" fmla="*/ 199051 h 3175501"/>
                  <a:gd name="connsiteX7" fmla="*/ 8098972 w 11761041"/>
                  <a:gd name="connsiteY7" fmla="*/ 229196 h 3175501"/>
                  <a:gd name="connsiteX8" fmla="*/ 9485644 w 11761041"/>
                  <a:gd name="connsiteY8" fmla="*/ 229196 h 3175501"/>
                  <a:gd name="connsiteX9" fmla="*/ 9827288 w 11761041"/>
                  <a:gd name="connsiteY9" fmla="*/ 199051 h 3175501"/>
                  <a:gd name="connsiteX10" fmla="*/ 10671350 w 11761041"/>
                  <a:gd name="connsiteY10" fmla="*/ 168906 h 3175501"/>
                  <a:gd name="connsiteX11" fmla="*/ 11615895 w 11761041"/>
                  <a:gd name="connsiteY11" fmla="*/ 219149 h 3175501"/>
                  <a:gd name="connsiteX12" fmla="*/ 11686233 w 11761041"/>
                  <a:gd name="connsiteY12" fmla="*/ 2962348 h 3175501"/>
                  <a:gd name="connsiteX13" fmla="*/ 10912510 w 11761041"/>
                  <a:gd name="connsiteY13" fmla="*/ 2992493 h 3175501"/>
                  <a:gd name="connsiteX14" fmla="*/ 10008159 w 11761041"/>
                  <a:gd name="connsiteY14" fmla="*/ 2992493 h 3175501"/>
                  <a:gd name="connsiteX15" fmla="*/ 9435402 w 11761041"/>
                  <a:gd name="connsiteY15" fmla="*/ 2992493 h 3175501"/>
                  <a:gd name="connsiteX16" fmla="*/ 7365442 w 11761041"/>
                  <a:gd name="connsiteY16" fmla="*/ 2952300 h 3175501"/>
                  <a:gd name="connsiteX17" fmla="*/ 6742444 w 11761041"/>
                  <a:gd name="connsiteY17" fmla="*/ 2972396 h 3175501"/>
                  <a:gd name="connsiteX18" fmla="*/ 6601767 w 11761041"/>
                  <a:gd name="connsiteY18" fmla="*/ 2962348 h 3175501"/>
                  <a:gd name="connsiteX19" fmla="*/ 4783016 w 11761041"/>
                  <a:gd name="connsiteY19" fmla="*/ 3012590 h 3175501"/>
                  <a:gd name="connsiteX20" fmla="*/ 3938954 w 11761041"/>
                  <a:gd name="connsiteY20" fmla="*/ 2992493 h 3175501"/>
                  <a:gd name="connsiteX21" fmla="*/ 2944167 w 11761041"/>
                  <a:gd name="connsiteY21" fmla="*/ 2972396 h 3175501"/>
                  <a:gd name="connsiteX22" fmla="*/ 1889090 w 11761041"/>
                  <a:gd name="connsiteY22" fmla="*/ 2982445 h 3175501"/>
                  <a:gd name="connsiteX23" fmla="*/ 12890 w 11761041"/>
                  <a:gd name="connsiteY23" fmla="*/ 2962346 h 3175501"/>
                  <a:gd name="connsiteX0" fmla="*/ 0 w 11837985"/>
                  <a:gd name="connsiteY0" fmla="*/ 32082 h 2997028"/>
                  <a:gd name="connsiteX1" fmla="*/ 552660 w 11837985"/>
                  <a:gd name="connsiteY1" fmla="*/ 11985 h 2997028"/>
                  <a:gd name="connsiteX2" fmla="*/ 1637882 w 11837985"/>
                  <a:gd name="connsiteY2" fmla="*/ 22033 h 2997028"/>
                  <a:gd name="connsiteX3" fmla="*/ 2019719 w 11837985"/>
                  <a:gd name="connsiteY3" fmla="*/ 22033 h 2997028"/>
                  <a:gd name="connsiteX4" fmla="*/ 4531807 w 11837985"/>
                  <a:gd name="connsiteY4" fmla="*/ 42130 h 2997028"/>
                  <a:gd name="connsiteX5" fmla="*/ 6300317 w 11837985"/>
                  <a:gd name="connsiteY5" fmla="*/ 72275 h 2997028"/>
                  <a:gd name="connsiteX6" fmla="*/ 7063991 w 11837985"/>
                  <a:gd name="connsiteY6" fmla="*/ 42130 h 2997028"/>
                  <a:gd name="connsiteX7" fmla="*/ 8098972 w 11837985"/>
                  <a:gd name="connsiteY7" fmla="*/ 72275 h 2997028"/>
                  <a:gd name="connsiteX8" fmla="*/ 9485644 w 11837985"/>
                  <a:gd name="connsiteY8" fmla="*/ 72275 h 2997028"/>
                  <a:gd name="connsiteX9" fmla="*/ 9827288 w 11837985"/>
                  <a:gd name="connsiteY9" fmla="*/ 42130 h 2997028"/>
                  <a:gd name="connsiteX10" fmla="*/ 10671350 w 11837985"/>
                  <a:gd name="connsiteY10" fmla="*/ 11985 h 2997028"/>
                  <a:gd name="connsiteX11" fmla="*/ 11745799 w 11837985"/>
                  <a:gd name="connsiteY11" fmla="*/ 353631 h 2997028"/>
                  <a:gd name="connsiteX12" fmla="*/ 11686233 w 11837985"/>
                  <a:gd name="connsiteY12" fmla="*/ 2805427 h 2997028"/>
                  <a:gd name="connsiteX13" fmla="*/ 10912510 w 11837985"/>
                  <a:gd name="connsiteY13" fmla="*/ 2835572 h 2997028"/>
                  <a:gd name="connsiteX14" fmla="*/ 10008159 w 11837985"/>
                  <a:gd name="connsiteY14" fmla="*/ 2835572 h 2997028"/>
                  <a:gd name="connsiteX15" fmla="*/ 9435402 w 11837985"/>
                  <a:gd name="connsiteY15" fmla="*/ 2835572 h 2997028"/>
                  <a:gd name="connsiteX16" fmla="*/ 7365442 w 11837985"/>
                  <a:gd name="connsiteY16" fmla="*/ 2795379 h 2997028"/>
                  <a:gd name="connsiteX17" fmla="*/ 6742444 w 11837985"/>
                  <a:gd name="connsiteY17" fmla="*/ 2815475 h 2997028"/>
                  <a:gd name="connsiteX18" fmla="*/ 6601767 w 11837985"/>
                  <a:gd name="connsiteY18" fmla="*/ 2805427 h 2997028"/>
                  <a:gd name="connsiteX19" fmla="*/ 4783016 w 11837985"/>
                  <a:gd name="connsiteY19" fmla="*/ 2855669 h 2997028"/>
                  <a:gd name="connsiteX20" fmla="*/ 3938954 w 11837985"/>
                  <a:gd name="connsiteY20" fmla="*/ 2835572 h 2997028"/>
                  <a:gd name="connsiteX21" fmla="*/ 2944167 w 11837985"/>
                  <a:gd name="connsiteY21" fmla="*/ 2815475 h 2997028"/>
                  <a:gd name="connsiteX22" fmla="*/ 1889090 w 11837985"/>
                  <a:gd name="connsiteY22" fmla="*/ 2825524 h 2997028"/>
                  <a:gd name="connsiteX23" fmla="*/ 12890 w 11837985"/>
                  <a:gd name="connsiteY23" fmla="*/ 2805425 h 2997028"/>
                  <a:gd name="connsiteX0" fmla="*/ 0 w 11890507"/>
                  <a:gd name="connsiteY0" fmla="*/ 20097 h 2985043"/>
                  <a:gd name="connsiteX1" fmla="*/ 552660 w 11890507"/>
                  <a:gd name="connsiteY1" fmla="*/ 0 h 2985043"/>
                  <a:gd name="connsiteX2" fmla="*/ 1637882 w 11890507"/>
                  <a:gd name="connsiteY2" fmla="*/ 10048 h 2985043"/>
                  <a:gd name="connsiteX3" fmla="*/ 2019719 w 11890507"/>
                  <a:gd name="connsiteY3" fmla="*/ 10048 h 2985043"/>
                  <a:gd name="connsiteX4" fmla="*/ 4531807 w 11890507"/>
                  <a:gd name="connsiteY4" fmla="*/ 30145 h 2985043"/>
                  <a:gd name="connsiteX5" fmla="*/ 6300317 w 11890507"/>
                  <a:gd name="connsiteY5" fmla="*/ 60290 h 2985043"/>
                  <a:gd name="connsiteX6" fmla="*/ 7063991 w 11890507"/>
                  <a:gd name="connsiteY6" fmla="*/ 30145 h 2985043"/>
                  <a:gd name="connsiteX7" fmla="*/ 8098972 w 11890507"/>
                  <a:gd name="connsiteY7" fmla="*/ 60290 h 2985043"/>
                  <a:gd name="connsiteX8" fmla="*/ 9485644 w 11890507"/>
                  <a:gd name="connsiteY8" fmla="*/ 60290 h 2985043"/>
                  <a:gd name="connsiteX9" fmla="*/ 9827288 w 11890507"/>
                  <a:gd name="connsiteY9" fmla="*/ 30145 h 2985043"/>
                  <a:gd name="connsiteX10" fmla="*/ 10671350 w 11890507"/>
                  <a:gd name="connsiteY10" fmla="*/ 0 h 2985043"/>
                  <a:gd name="connsiteX11" fmla="*/ 11745799 w 11890507"/>
                  <a:gd name="connsiteY11" fmla="*/ 341646 h 2985043"/>
                  <a:gd name="connsiteX12" fmla="*/ 11686233 w 11890507"/>
                  <a:gd name="connsiteY12" fmla="*/ 2793442 h 2985043"/>
                  <a:gd name="connsiteX13" fmla="*/ 10912510 w 11890507"/>
                  <a:gd name="connsiteY13" fmla="*/ 2823587 h 2985043"/>
                  <a:gd name="connsiteX14" fmla="*/ 10008159 w 11890507"/>
                  <a:gd name="connsiteY14" fmla="*/ 2823587 h 2985043"/>
                  <a:gd name="connsiteX15" fmla="*/ 9435402 w 11890507"/>
                  <a:gd name="connsiteY15" fmla="*/ 2823587 h 2985043"/>
                  <a:gd name="connsiteX16" fmla="*/ 7365442 w 11890507"/>
                  <a:gd name="connsiteY16" fmla="*/ 2783394 h 2985043"/>
                  <a:gd name="connsiteX17" fmla="*/ 6742444 w 11890507"/>
                  <a:gd name="connsiteY17" fmla="*/ 2803490 h 2985043"/>
                  <a:gd name="connsiteX18" fmla="*/ 6601767 w 11890507"/>
                  <a:gd name="connsiteY18" fmla="*/ 2793442 h 2985043"/>
                  <a:gd name="connsiteX19" fmla="*/ 4783016 w 11890507"/>
                  <a:gd name="connsiteY19" fmla="*/ 2843684 h 2985043"/>
                  <a:gd name="connsiteX20" fmla="*/ 3938954 w 11890507"/>
                  <a:gd name="connsiteY20" fmla="*/ 2823587 h 2985043"/>
                  <a:gd name="connsiteX21" fmla="*/ 2944167 w 11890507"/>
                  <a:gd name="connsiteY21" fmla="*/ 2803490 h 2985043"/>
                  <a:gd name="connsiteX22" fmla="*/ 1889090 w 11890507"/>
                  <a:gd name="connsiteY22" fmla="*/ 2813539 h 2985043"/>
                  <a:gd name="connsiteX23" fmla="*/ 12890 w 11890507"/>
                  <a:gd name="connsiteY23" fmla="*/ 2793440 h 2985043"/>
                  <a:gd name="connsiteX0" fmla="*/ 0 w 11888066"/>
                  <a:gd name="connsiteY0" fmla="*/ 24726 h 2863208"/>
                  <a:gd name="connsiteX1" fmla="*/ 552660 w 11888066"/>
                  <a:gd name="connsiteY1" fmla="*/ 4629 h 2863208"/>
                  <a:gd name="connsiteX2" fmla="*/ 1637882 w 11888066"/>
                  <a:gd name="connsiteY2" fmla="*/ 14677 h 2863208"/>
                  <a:gd name="connsiteX3" fmla="*/ 2019719 w 11888066"/>
                  <a:gd name="connsiteY3" fmla="*/ 14677 h 2863208"/>
                  <a:gd name="connsiteX4" fmla="*/ 4531807 w 11888066"/>
                  <a:gd name="connsiteY4" fmla="*/ 34774 h 2863208"/>
                  <a:gd name="connsiteX5" fmla="*/ 6300317 w 11888066"/>
                  <a:gd name="connsiteY5" fmla="*/ 64919 h 2863208"/>
                  <a:gd name="connsiteX6" fmla="*/ 7063991 w 11888066"/>
                  <a:gd name="connsiteY6" fmla="*/ 34774 h 2863208"/>
                  <a:gd name="connsiteX7" fmla="*/ 8098972 w 11888066"/>
                  <a:gd name="connsiteY7" fmla="*/ 64919 h 2863208"/>
                  <a:gd name="connsiteX8" fmla="*/ 9485644 w 11888066"/>
                  <a:gd name="connsiteY8" fmla="*/ 64919 h 2863208"/>
                  <a:gd name="connsiteX9" fmla="*/ 9827288 w 11888066"/>
                  <a:gd name="connsiteY9" fmla="*/ 34774 h 2863208"/>
                  <a:gd name="connsiteX10" fmla="*/ 10671350 w 11888066"/>
                  <a:gd name="connsiteY10" fmla="*/ 4629 h 2863208"/>
                  <a:gd name="connsiteX11" fmla="*/ 11745799 w 11888066"/>
                  <a:gd name="connsiteY11" fmla="*/ 346275 h 2863208"/>
                  <a:gd name="connsiteX12" fmla="*/ 11786160 w 11888066"/>
                  <a:gd name="connsiteY12" fmla="*/ 2587055 h 2863208"/>
                  <a:gd name="connsiteX13" fmla="*/ 10912510 w 11888066"/>
                  <a:gd name="connsiteY13" fmla="*/ 2828216 h 2863208"/>
                  <a:gd name="connsiteX14" fmla="*/ 10008159 w 11888066"/>
                  <a:gd name="connsiteY14" fmla="*/ 2828216 h 2863208"/>
                  <a:gd name="connsiteX15" fmla="*/ 9435402 w 11888066"/>
                  <a:gd name="connsiteY15" fmla="*/ 2828216 h 2863208"/>
                  <a:gd name="connsiteX16" fmla="*/ 7365442 w 11888066"/>
                  <a:gd name="connsiteY16" fmla="*/ 2788023 h 2863208"/>
                  <a:gd name="connsiteX17" fmla="*/ 6742444 w 11888066"/>
                  <a:gd name="connsiteY17" fmla="*/ 2808119 h 2863208"/>
                  <a:gd name="connsiteX18" fmla="*/ 6601767 w 11888066"/>
                  <a:gd name="connsiteY18" fmla="*/ 2798071 h 2863208"/>
                  <a:gd name="connsiteX19" fmla="*/ 4783016 w 11888066"/>
                  <a:gd name="connsiteY19" fmla="*/ 2848313 h 2863208"/>
                  <a:gd name="connsiteX20" fmla="*/ 3938954 w 11888066"/>
                  <a:gd name="connsiteY20" fmla="*/ 2828216 h 2863208"/>
                  <a:gd name="connsiteX21" fmla="*/ 2944167 w 11888066"/>
                  <a:gd name="connsiteY21" fmla="*/ 2808119 h 2863208"/>
                  <a:gd name="connsiteX22" fmla="*/ 1889090 w 11888066"/>
                  <a:gd name="connsiteY22" fmla="*/ 2818168 h 2863208"/>
                  <a:gd name="connsiteX23" fmla="*/ 12890 w 11888066"/>
                  <a:gd name="connsiteY23" fmla="*/ 2798069 h 2863208"/>
                  <a:gd name="connsiteX0" fmla="*/ 0 w 11848891"/>
                  <a:gd name="connsiteY0" fmla="*/ 24726 h 2849235"/>
                  <a:gd name="connsiteX1" fmla="*/ 552660 w 11848891"/>
                  <a:gd name="connsiteY1" fmla="*/ 4629 h 2849235"/>
                  <a:gd name="connsiteX2" fmla="*/ 1637882 w 11848891"/>
                  <a:gd name="connsiteY2" fmla="*/ 14677 h 2849235"/>
                  <a:gd name="connsiteX3" fmla="*/ 2019719 w 11848891"/>
                  <a:gd name="connsiteY3" fmla="*/ 14677 h 2849235"/>
                  <a:gd name="connsiteX4" fmla="*/ 4531807 w 11848891"/>
                  <a:gd name="connsiteY4" fmla="*/ 34774 h 2849235"/>
                  <a:gd name="connsiteX5" fmla="*/ 6300317 w 11848891"/>
                  <a:gd name="connsiteY5" fmla="*/ 64919 h 2849235"/>
                  <a:gd name="connsiteX6" fmla="*/ 7063991 w 11848891"/>
                  <a:gd name="connsiteY6" fmla="*/ 34774 h 2849235"/>
                  <a:gd name="connsiteX7" fmla="*/ 8098972 w 11848891"/>
                  <a:gd name="connsiteY7" fmla="*/ 64919 h 2849235"/>
                  <a:gd name="connsiteX8" fmla="*/ 9485644 w 11848891"/>
                  <a:gd name="connsiteY8" fmla="*/ 64919 h 2849235"/>
                  <a:gd name="connsiteX9" fmla="*/ 9827288 w 11848891"/>
                  <a:gd name="connsiteY9" fmla="*/ 34774 h 2849235"/>
                  <a:gd name="connsiteX10" fmla="*/ 10671350 w 11848891"/>
                  <a:gd name="connsiteY10" fmla="*/ 4629 h 2849235"/>
                  <a:gd name="connsiteX11" fmla="*/ 11745799 w 11848891"/>
                  <a:gd name="connsiteY11" fmla="*/ 346275 h 2849235"/>
                  <a:gd name="connsiteX12" fmla="*/ 11786160 w 11848891"/>
                  <a:gd name="connsiteY12" fmla="*/ 2587055 h 2849235"/>
                  <a:gd name="connsiteX13" fmla="*/ 10912510 w 11848891"/>
                  <a:gd name="connsiteY13" fmla="*/ 2828216 h 2849235"/>
                  <a:gd name="connsiteX14" fmla="*/ 10008159 w 11848891"/>
                  <a:gd name="connsiteY14" fmla="*/ 2828216 h 2849235"/>
                  <a:gd name="connsiteX15" fmla="*/ 9435402 w 11848891"/>
                  <a:gd name="connsiteY15" fmla="*/ 2828216 h 2849235"/>
                  <a:gd name="connsiteX16" fmla="*/ 7365442 w 11848891"/>
                  <a:gd name="connsiteY16" fmla="*/ 2788023 h 2849235"/>
                  <a:gd name="connsiteX17" fmla="*/ 6742444 w 11848891"/>
                  <a:gd name="connsiteY17" fmla="*/ 2808119 h 2849235"/>
                  <a:gd name="connsiteX18" fmla="*/ 6601767 w 11848891"/>
                  <a:gd name="connsiteY18" fmla="*/ 2798071 h 2849235"/>
                  <a:gd name="connsiteX19" fmla="*/ 4783016 w 11848891"/>
                  <a:gd name="connsiteY19" fmla="*/ 2848313 h 2849235"/>
                  <a:gd name="connsiteX20" fmla="*/ 3938954 w 11848891"/>
                  <a:gd name="connsiteY20" fmla="*/ 2828216 h 2849235"/>
                  <a:gd name="connsiteX21" fmla="*/ 2944167 w 11848891"/>
                  <a:gd name="connsiteY21" fmla="*/ 2808119 h 2849235"/>
                  <a:gd name="connsiteX22" fmla="*/ 1889090 w 11848891"/>
                  <a:gd name="connsiteY22" fmla="*/ 2818168 h 2849235"/>
                  <a:gd name="connsiteX23" fmla="*/ 12890 w 11848891"/>
                  <a:gd name="connsiteY23" fmla="*/ 2798069 h 2849235"/>
                  <a:gd name="connsiteX0" fmla="*/ 0 w 11916572"/>
                  <a:gd name="connsiteY0" fmla="*/ 24726 h 2849235"/>
                  <a:gd name="connsiteX1" fmla="*/ 552660 w 11916572"/>
                  <a:gd name="connsiteY1" fmla="*/ 4629 h 2849235"/>
                  <a:gd name="connsiteX2" fmla="*/ 1637882 w 11916572"/>
                  <a:gd name="connsiteY2" fmla="*/ 14677 h 2849235"/>
                  <a:gd name="connsiteX3" fmla="*/ 2019719 w 11916572"/>
                  <a:gd name="connsiteY3" fmla="*/ 14677 h 2849235"/>
                  <a:gd name="connsiteX4" fmla="*/ 4531807 w 11916572"/>
                  <a:gd name="connsiteY4" fmla="*/ 34774 h 2849235"/>
                  <a:gd name="connsiteX5" fmla="*/ 6300317 w 11916572"/>
                  <a:gd name="connsiteY5" fmla="*/ 64919 h 2849235"/>
                  <a:gd name="connsiteX6" fmla="*/ 7063991 w 11916572"/>
                  <a:gd name="connsiteY6" fmla="*/ 34774 h 2849235"/>
                  <a:gd name="connsiteX7" fmla="*/ 8098972 w 11916572"/>
                  <a:gd name="connsiteY7" fmla="*/ 64919 h 2849235"/>
                  <a:gd name="connsiteX8" fmla="*/ 9485644 w 11916572"/>
                  <a:gd name="connsiteY8" fmla="*/ 64919 h 2849235"/>
                  <a:gd name="connsiteX9" fmla="*/ 9827288 w 11916572"/>
                  <a:gd name="connsiteY9" fmla="*/ 34774 h 2849235"/>
                  <a:gd name="connsiteX10" fmla="*/ 10671350 w 11916572"/>
                  <a:gd name="connsiteY10" fmla="*/ 4629 h 2849235"/>
                  <a:gd name="connsiteX11" fmla="*/ 11745799 w 11916572"/>
                  <a:gd name="connsiteY11" fmla="*/ 346275 h 2849235"/>
                  <a:gd name="connsiteX12" fmla="*/ 11786160 w 11916572"/>
                  <a:gd name="connsiteY12" fmla="*/ 2587055 h 2849235"/>
                  <a:gd name="connsiteX13" fmla="*/ 10912510 w 11916572"/>
                  <a:gd name="connsiteY13" fmla="*/ 2828216 h 2849235"/>
                  <a:gd name="connsiteX14" fmla="*/ 10008159 w 11916572"/>
                  <a:gd name="connsiteY14" fmla="*/ 2828216 h 2849235"/>
                  <a:gd name="connsiteX15" fmla="*/ 9435402 w 11916572"/>
                  <a:gd name="connsiteY15" fmla="*/ 2828216 h 2849235"/>
                  <a:gd name="connsiteX16" fmla="*/ 7365442 w 11916572"/>
                  <a:gd name="connsiteY16" fmla="*/ 2788023 h 2849235"/>
                  <a:gd name="connsiteX17" fmla="*/ 6742444 w 11916572"/>
                  <a:gd name="connsiteY17" fmla="*/ 2808119 h 2849235"/>
                  <a:gd name="connsiteX18" fmla="*/ 6601767 w 11916572"/>
                  <a:gd name="connsiteY18" fmla="*/ 2798071 h 2849235"/>
                  <a:gd name="connsiteX19" fmla="*/ 4783016 w 11916572"/>
                  <a:gd name="connsiteY19" fmla="*/ 2848313 h 2849235"/>
                  <a:gd name="connsiteX20" fmla="*/ 3938954 w 11916572"/>
                  <a:gd name="connsiteY20" fmla="*/ 2828216 h 2849235"/>
                  <a:gd name="connsiteX21" fmla="*/ 2944167 w 11916572"/>
                  <a:gd name="connsiteY21" fmla="*/ 2808119 h 2849235"/>
                  <a:gd name="connsiteX22" fmla="*/ 1889090 w 11916572"/>
                  <a:gd name="connsiteY22" fmla="*/ 2818168 h 2849235"/>
                  <a:gd name="connsiteX23" fmla="*/ 12890 w 11916572"/>
                  <a:gd name="connsiteY23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9485644 w 11936930"/>
                  <a:gd name="connsiteY8" fmla="*/ 64919 h 2849235"/>
                  <a:gd name="connsiteX9" fmla="*/ 9827288 w 11936930"/>
                  <a:gd name="connsiteY9" fmla="*/ 34774 h 2849235"/>
                  <a:gd name="connsiteX10" fmla="*/ 10311615 w 11936930"/>
                  <a:gd name="connsiteY10" fmla="*/ 4629 h 2849235"/>
                  <a:gd name="connsiteX11" fmla="*/ 11745799 w 11936930"/>
                  <a:gd name="connsiteY11" fmla="*/ 346275 h 2849235"/>
                  <a:gd name="connsiteX12" fmla="*/ 11786160 w 11936930"/>
                  <a:gd name="connsiteY12" fmla="*/ 2587055 h 2849235"/>
                  <a:gd name="connsiteX13" fmla="*/ 10912510 w 11936930"/>
                  <a:gd name="connsiteY13" fmla="*/ 2828216 h 2849235"/>
                  <a:gd name="connsiteX14" fmla="*/ 10008159 w 11936930"/>
                  <a:gd name="connsiteY14" fmla="*/ 2828216 h 2849235"/>
                  <a:gd name="connsiteX15" fmla="*/ 9435402 w 11936930"/>
                  <a:gd name="connsiteY15" fmla="*/ 2828216 h 2849235"/>
                  <a:gd name="connsiteX16" fmla="*/ 7365442 w 11936930"/>
                  <a:gd name="connsiteY16" fmla="*/ 2788023 h 2849235"/>
                  <a:gd name="connsiteX17" fmla="*/ 6742444 w 11936930"/>
                  <a:gd name="connsiteY17" fmla="*/ 2808119 h 2849235"/>
                  <a:gd name="connsiteX18" fmla="*/ 6601767 w 11936930"/>
                  <a:gd name="connsiteY18" fmla="*/ 2798071 h 2849235"/>
                  <a:gd name="connsiteX19" fmla="*/ 4783016 w 11936930"/>
                  <a:gd name="connsiteY19" fmla="*/ 2848313 h 2849235"/>
                  <a:gd name="connsiteX20" fmla="*/ 3938954 w 11936930"/>
                  <a:gd name="connsiteY20" fmla="*/ 2828216 h 2849235"/>
                  <a:gd name="connsiteX21" fmla="*/ 2944167 w 11936930"/>
                  <a:gd name="connsiteY21" fmla="*/ 2808119 h 2849235"/>
                  <a:gd name="connsiteX22" fmla="*/ 1889090 w 11936930"/>
                  <a:gd name="connsiteY22" fmla="*/ 2818168 h 2849235"/>
                  <a:gd name="connsiteX23" fmla="*/ 12890 w 11936930"/>
                  <a:gd name="connsiteY23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9485644 w 11936930"/>
                  <a:gd name="connsiteY8" fmla="*/ 64919 h 2849235"/>
                  <a:gd name="connsiteX9" fmla="*/ 10311615 w 11936930"/>
                  <a:gd name="connsiteY9" fmla="*/ 4629 h 2849235"/>
                  <a:gd name="connsiteX10" fmla="*/ 11745799 w 11936930"/>
                  <a:gd name="connsiteY10" fmla="*/ 346275 h 2849235"/>
                  <a:gd name="connsiteX11" fmla="*/ 11786160 w 11936930"/>
                  <a:gd name="connsiteY11" fmla="*/ 2587055 h 2849235"/>
                  <a:gd name="connsiteX12" fmla="*/ 10912510 w 11936930"/>
                  <a:gd name="connsiteY12" fmla="*/ 2828216 h 2849235"/>
                  <a:gd name="connsiteX13" fmla="*/ 10008159 w 11936930"/>
                  <a:gd name="connsiteY13" fmla="*/ 2828216 h 2849235"/>
                  <a:gd name="connsiteX14" fmla="*/ 9435402 w 11936930"/>
                  <a:gd name="connsiteY14" fmla="*/ 2828216 h 2849235"/>
                  <a:gd name="connsiteX15" fmla="*/ 7365442 w 11936930"/>
                  <a:gd name="connsiteY15" fmla="*/ 2788023 h 2849235"/>
                  <a:gd name="connsiteX16" fmla="*/ 6742444 w 11936930"/>
                  <a:gd name="connsiteY16" fmla="*/ 2808119 h 2849235"/>
                  <a:gd name="connsiteX17" fmla="*/ 6601767 w 11936930"/>
                  <a:gd name="connsiteY17" fmla="*/ 2798071 h 2849235"/>
                  <a:gd name="connsiteX18" fmla="*/ 4783016 w 11936930"/>
                  <a:gd name="connsiteY18" fmla="*/ 2848313 h 2849235"/>
                  <a:gd name="connsiteX19" fmla="*/ 3938954 w 11936930"/>
                  <a:gd name="connsiteY19" fmla="*/ 2828216 h 2849235"/>
                  <a:gd name="connsiteX20" fmla="*/ 2944167 w 11936930"/>
                  <a:gd name="connsiteY20" fmla="*/ 2808119 h 2849235"/>
                  <a:gd name="connsiteX21" fmla="*/ 1889090 w 11936930"/>
                  <a:gd name="connsiteY21" fmla="*/ 2818168 h 2849235"/>
                  <a:gd name="connsiteX22" fmla="*/ 12890 w 11936930"/>
                  <a:gd name="connsiteY22" fmla="*/ 2798069 h 2849235"/>
                  <a:gd name="connsiteX0" fmla="*/ 0 w 11936930"/>
                  <a:gd name="connsiteY0" fmla="*/ 24726 h 2849235"/>
                  <a:gd name="connsiteX1" fmla="*/ 552660 w 11936930"/>
                  <a:gd name="connsiteY1" fmla="*/ 4629 h 2849235"/>
                  <a:gd name="connsiteX2" fmla="*/ 1637882 w 11936930"/>
                  <a:gd name="connsiteY2" fmla="*/ 14677 h 2849235"/>
                  <a:gd name="connsiteX3" fmla="*/ 2019719 w 11936930"/>
                  <a:gd name="connsiteY3" fmla="*/ 14677 h 2849235"/>
                  <a:gd name="connsiteX4" fmla="*/ 4531807 w 11936930"/>
                  <a:gd name="connsiteY4" fmla="*/ 34774 h 2849235"/>
                  <a:gd name="connsiteX5" fmla="*/ 6300317 w 11936930"/>
                  <a:gd name="connsiteY5" fmla="*/ 64919 h 2849235"/>
                  <a:gd name="connsiteX6" fmla="*/ 7063991 w 11936930"/>
                  <a:gd name="connsiteY6" fmla="*/ 34774 h 2849235"/>
                  <a:gd name="connsiteX7" fmla="*/ 8098972 w 11936930"/>
                  <a:gd name="connsiteY7" fmla="*/ 64919 h 2849235"/>
                  <a:gd name="connsiteX8" fmla="*/ 8956033 w 11936930"/>
                  <a:gd name="connsiteY8" fmla="*/ 64919 h 2849235"/>
                  <a:gd name="connsiteX9" fmla="*/ 10311615 w 11936930"/>
                  <a:gd name="connsiteY9" fmla="*/ 4629 h 2849235"/>
                  <a:gd name="connsiteX10" fmla="*/ 11745799 w 11936930"/>
                  <a:gd name="connsiteY10" fmla="*/ 346275 h 2849235"/>
                  <a:gd name="connsiteX11" fmla="*/ 11786160 w 11936930"/>
                  <a:gd name="connsiteY11" fmla="*/ 2587055 h 2849235"/>
                  <a:gd name="connsiteX12" fmla="*/ 10912510 w 11936930"/>
                  <a:gd name="connsiteY12" fmla="*/ 2828216 h 2849235"/>
                  <a:gd name="connsiteX13" fmla="*/ 10008159 w 11936930"/>
                  <a:gd name="connsiteY13" fmla="*/ 2828216 h 2849235"/>
                  <a:gd name="connsiteX14" fmla="*/ 9435402 w 11936930"/>
                  <a:gd name="connsiteY14" fmla="*/ 2828216 h 2849235"/>
                  <a:gd name="connsiteX15" fmla="*/ 7365442 w 11936930"/>
                  <a:gd name="connsiteY15" fmla="*/ 2788023 h 2849235"/>
                  <a:gd name="connsiteX16" fmla="*/ 6742444 w 11936930"/>
                  <a:gd name="connsiteY16" fmla="*/ 2808119 h 2849235"/>
                  <a:gd name="connsiteX17" fmla="*/ 6601767 w 11936930"/>
                  <a:gd name="connsiteY17" fmla="*/ 2798071 h 2849235"/>
                  <a:gd name="connsiteX18" fmla="*/ 4783016 w 11936930"/>
                  <a:gd name="connsiteY18" fmla="*/ 2848313 h 2849235"/>
                  <a:gd name="connsiteX19" fmla="*/ 3938954 w 11936930"/>
                  <a:gd name="connsiteY19" fmla="*/ 2828216 h 2849235"/>
                  <a:gd name="connsiteX20" fmla="*/ 2944167 w 11936930"/>
                  <a:gd name="connsiteY20" fmla="*/ 2808119 h 2849235"/>
                  <a:gd name="connsiteX21" fmla="*/ 1889090 w 11936930"/>
                  <a:gd name="connsiteY21" fmla="*/ 2818168 h 2849235"/>
                  <a:gd name="connsiteX22" fmla="*/ 12890 w 11936930"/>
                  <a:gd name="connsiteY22" fmla="*/ 2798069 h 2849235"/>
                  <a:gd name="connsiteX0" fmla="*/ 0 w 11949661"/>
                  <a:gd name="connsiteY0" fmla="*/ 24726 h 2849235"/>
                  <a:gd name="connsiteX1" fmla="*/ 552660 w 11949661"/>
                  <a:gd name="connsiteY1" fmla="*/ 4629 h 2849235"/>
                  <a:gd name="connsiteX2" fmla="*/ 1637882 w 11949661"/>
                  <a:gd name="connsiteY2" fmla="*/ 14677 h 2849235"/>
                  <a:gd name="connsiteX3" fmla="*/ 2019719 w 11949661"/>
                  <a:gd name="connsiteY3" fmla="*/ 14677 h 2849235"/>
                  <a:gd name="connsiteX4" fmla="*/ 4531807 w 11949661"/>
                  <a:gd name="connsiteY4" fmla="*/ 34774 h 2849235"/>
                  <a:gd name="connsiteX5" fmla="*/ 6300317 w 11949661"/>
                  <a:gd name="connsiteY5" fmla="*/ 64919 h 2849235"/>
                  <a:gd name="connsiteX6" fmla="*/ 7063991 w 11949661"/>
                  <a:gd name="connsiteY6" fmla="*/ 34774 h 2849235"/>
                  <a:gd name="connsiteX7" fmla="*/ 8098972 w 11949661"/>
                  <a:gd name="connsiteY7" fmla="*/ 64919 h 2849235"/>
                  <a:gd name="connsiteX8" fmla="*/ 8956033 w 11949661"/>
                  <a:gd name="connsiteY8" fmla="*/ 64919 h 2849235"/>
                  <a:gd name="connsiteX9" fmla="*/ 10101769 w 11949661"/>
                  <a:gd name="connsiteY9" fmla="*/ 4629 h 2849235"/>
                  <a:gd name="connsiteX10" fmla="*/ 11745799 w 11949661"/>
                  <a:gd name="connsiteY10" fmla="*/ 346275 h 2849235"/>
                  <a:gd name="connsiteX11" fmla="*/ 11786160 w 11949661"/>
                  <a:gd name="connsiteY11" fmla="*/ 2587055 h 2849235"/>
                  <a:gd name="connsiteX12" fmla="*/ 10912510 w 11949661"/>
                  <a:gd name="connsiteY12" fmla="*/ 2828216 h 2849235"/>
                  <a:gd name="connsiteX13" fmla="*/ 10008159 w 11949661"/>
                  <a:gd name="connsiteY13" fmla="*/ 2828216 h 2849235"/>
                  <a:gd name="connsiteX14" fmla="*/ 9435402 w 11949661"/>
                  <a:gd name="connsiteY14" fmla="*/ 2828216 h 2849235"/>
                  <a:gd name="connsiteX15" fmla="*/ 7365442 w 11949661"/>
                  <a:gd name="connsiteY15" fmla="*/ 2788023 h 2849235"/>
                  <a:gd name="connsiteX16" fmla="*/ 6742444 w 11949661"/>
                  <a:gd name="connsiteY16" fmla="*/ 2808119 h 2849235"/>
                  <a:gd name="connsiteX17" fmla="*/ 6601767 w 11949661"/>
                  <a:gd name="connsiteY17" fmla="*/ 2798071 h 2849235"/>
                  <a:gd name="connsiteX18" fmla="*/ 4783016 w 11949661"/>
                  <a:gd name="connsiteY18" fmla="*/ 2848313 h 2849235"/>
                  <a:gd name="connsiteX19" fmla="*/ 3938954 w 11949661"/>
                  <a:gd name="connsiteY19" fmla="*/ 2828216 h 2849235"/>
                  <a:gd name="connsiteX20" fmla="*/ 2944167 w 11949661"/>
                  <a:gd name="connsiteY20" fmla="*/ 2808119 h 2849235"/>
                  <a:gd name="connsiteX21" fmla="*/ 1889090 w 11949661"/>
                  <a:gd name="connsiteY21" fmla="*/ 2818168 h 2849235"/>
                  <a:gd name="connsiteX22" fmla="*/ 12890 w 11949661"/>
                  <a:gd name="connsiteY22" fmla="*/ 2798069 h 2849235"/>
                  <a:gd name="connsiteX0" fmla="*/ 0 w 11981169"/>
                  <a:gd name="connsiteY0" fmla="*/ 24726 h 2849235"/>
                  <a:gd name="connsiteX1" fmla="*/ 552660 w 11981169"/>
                  <a:gd name="connsiteY1" fmla="*/ 4629 h 2849235"/>
                  <a:gd name="connsiteX2" fmla="*/ 1637882 w 11981169"/>
                  <a:gd name="connsiteY2" fmla="*/ 14677 h 2849235"/>
                  <a:gd name="connsiteX3" fmla="*/ 2019719 w 11981169"/>
                  <a:gd name="connsiteY3" fmla="*/ 14677 h 2849235"/>
                  <a:gd name="connsiteX4" fmla="*/ 4531807 w 11981169"/>
                  <a:gd name="connsiteY4" fmla="*/ 34774 h 2849235"/>
                  <a:gd name="connsiteX5" fmla="*/ 6300317 w 11981169"/>
                  <a:gd name="connsiteY5" fmla="*/ 64919 h 2849235"/>
                  <a:gd name="connsiteX6" fmla="*/ 7063991 w 11981169"/>
                  <a:gd name="connsiteY6" fmla="*/ 34774 h 2849235"/>
                  <a:gd name="connsiteX7" fmla="*/ 8098972 w 11981169"/>
                  <a:gd name="connsiteY7" fmla="*/ 64919 h 2849235"/>
                  <a:gd name="connsiteX8" fmla="*/ 8956033 w 11981169"/>
                  <a:gd name="connsiteY8" fmla="*/ 64919 h 2849235"/>
                  <a:gd name="connsiteX9" fmla="*/ 10101769 w 11981169"/>
                  <a:gd name="connsiteY9" fmla="*/ 4629 h 2849235"/>
                  <a:gd name="connsiteX10" fmla="*/ 11745799 w 11981169"/>
                  <a:gd name="connsiteY10" fmla="*/ 346275 h 2849235"/>
                  <a:gd name="connsiteX11" fmla="*/ 11786160 w 11981169"/>
                  <a:gd name="connsiteY11" fmla="*/ 2587055 h 2849235"/>
                  <a:gd name="connsiteX12" fmla="*/ 10008159 w 11981169"/>
                  <a:gd name="connsiteY12" fmla="*/ 2828216 h 2849235"/>
                  <a:gd name="connsiteX13" fmla="*/ 9435402 w 11981169"/>
                  <a:gd name="connsiteY13" fmla="*/ 2828216 h 2849235"/>
                  <a:gd name="connsiteX14" fmla="*/ 7365442 w 11981169"/>
                  <a:gd name="connsiteY14" fmla="*/ 2788023 h 2849235"/>
                  <a:gd name="connsiteX15" fmla="*/ 6742444 w 11981169"/>
                  <a:gd name="connsiteY15" fmla="*/ 2808119 h 2849235"/>
                  <a:gd name="connsiteX16" fmla="*/ 6601767 w 11981169"/>
                  <a:gd name="connsiteY16" fmla="*/ 2798071 h 2849235"/>
                  <a:gd name="connsiteX17" fmla="*/ 4783016 w 11981169"/>
                  <a:gd name="connsiteY17" fmla="*/ 2848313 h 2849235"/>
                  <a:gd name="connsiteX18" fmla="*/ 3938954 w 11981169"/>
                  <a:gd name="connsiteY18" fmla="*/ 2828216 h 2849235"/>
                  <a:gd name="connsiteX19" fmla="*/ 2944167 w 11981169"/>
                  <a:gd name="connsiteY19" fmla="*/ 2808119 h 2849235"/>
                  <a:gd name="connsiteX20" fmla="*/ 1889090 w 11981169"/>
                  <a:gd name="connsiteY20" fmla="*/ 2818168 h 2849235"/>
                  <a:gd name="connsiteX21" fmla="*/ 12890 w 11981169"/>
                  <a:gd name="connsiteY21" fmla="*/ 2798069 h 2849235"/>
                  <a:gd name="connsiteX0" fmla="*/ 0 w 11940760"/>
                  <a:gd name="connsiteY0" fmla="*/ 24144 h 2848653"/>
                  <a:gd name="connsiteX1" fmla="*/ 552660 w 11940760"/>
                  <a:gd name="connsiteY1" fmla="*/ 4047 h 2848653"/>
                  <a:gd name="connsiteX2" fmla="*/ 1637882 w 11940760"/>
                  <a:gd name="connsiteY2" fmla="*/ 14095 h 2848653"/>
                  <a:gd name="connsiteX3" fmla="*/ 2019719 w 11940760"/>
                  <a:gd name="connsiteY3" fmla="*/ 14095 h 2848653"/>
                  <a:gd name="connsiteX4" fmla="*/ 4531807 w 11940760"/>
                  <a:gd name="connsiteY4" fmla="*/ 34192 h 2848653"/>
                  <a:gd name="connsiteX5" fmla="*/ 6300317 w 11940760"/>
                  <a:gd name="connsiteY5" fmla="*/ 64337 h 2848653"/>
                  <a:gd name="connsiteX6" fmla="*/ 7063991 w 11940760"/>
                  <a:gd name="connsiteY6" fmla="*/ 34192 h 2848653"/>
                  <a:gd name="connsiteX7" fmla="*/ 8098972 w 11940760"/>
                  <a:gd name="connsiteY7" fmla="*/ 64337 h 2848653"/>
                  <a:gd name="connsiteX8" fmla="*/ 8956033 w 11940760"/>
                  <a:gd name="connsiteY8" fmla="*/ 64337 h 2848653"/>
                  <a:gd name="connsiteX9" fmla="*/ 10101769 w 11940760"/>
                  <a:gd name="connsiteY9" fmla="*/ 4047 h 2848653"/>
                  <a:gd name="connsiteX10" fmla="*/ 11745799 w 11940760"/>
                  <a:gd name="connsiteY10" fmla="*/ 345693 h 2848653"/>
                  <a:gd name="connsiteX11" fmla="*/ 11716211 w 11940760"/>
                  <a:gd name="connsiteY11" fmla="*/ 2566377 h 2848653"/>
                  <a:gd name="connsiteX12" fmla="*/ 10008159 w 11940760"/>
                  <a:gd name="connsiteY12" fmla="*/ 2827634 h 2848653"/>
                  <a:gd name="connsiteX13" fmla="*/ 9435402 w 11940760"/>
                  <a:gd name="connsiteY13" fmla="*/ 2827634 h 2848653"/>
                  <a:gd name="connsiteX14" fmla="*/ 7365442 w 11940760"/>
                  <a:gd name="connsiteY14" fmla="*/ 2787441 h 2848653"/>
                  <a:gd name="connsiteX15" fmla="*/ 6742444 w 11940760"/>
                  <a:gd name="connsiteY15" fmla="*/ 2807537 h 2848653"/>
                  <a:gd name="connsiteX16" fmla="*/ 6601767 w 11940760"/>
                  <a:gd name="connsiteY16" fmla="*/ 2797489 h 2848653"/>
                  <a:gd name="connsiteX17" fmla="*/ 4783016 w 11940760"/>
                  <a:gd name="connsiteY17" fmla="*/ 2847731 h 2848653"/>
                  <a:gd name="connsiteX18" fmla="*/ 3938954 w 11940760"/>
                  <a:gd name="connsiteY18" fmla="*/ 2827634 h 2848653"/>
                  <a:gd name="connsiteX19" fmla="*/ 2944167 w 11940760"/>
                  <a:gd name="connsiteY19" fmla="*/ 2807537 h 2848653"/>
                  <a:gd name="connsiteX20" fmla="*/ 1889090 w 11940760"/>
                  <a:gd name="connsiteY20" fmla="*/ 2817586 h 2848653"/>
                  <a:gd name="connsiteX21" fmla="*/ 12890 w 11940760"/>
                  <a:gd name="connsiteY21" fmla="*/ 2797487 h 2848653"/>
                  <a:gd name="connsiteX0" fmla="*/ 0 w 12001276"/>
                  <a:gd name="connsiteY0" fmla="*/ 24144 h 2848653"/>
                  <a:gd name="connsiteX1" fmla="*/ 552660 w 12001276"/>
                  <a:gd name="connsiteY1" fmla="*/ 4047 h 2848653"/>
                  <a:gd name="connsiteX2" fmla="*/ 1637882 w 12001276"/>
                  <a:gd name="connsiteY2" fmla="*/ 14095 h 2848653"/>
                  <a:gd name="connsiteX3" fmla="*/ 2019719 w 12001276"/>
                  <a:gd name="connsiteY3" fmla="*/ 14095 h 2848653"/>
                  <a:gd name="connsiteX4" fmla="*/ 4531807 w 12001276"/>
                  <a:gd name="connsiteY4" fmla="*/ 34192 h 2848653"/>
                  <a:gd name="connsiteX5" fmla="*/ 6300317 w 12001276"/>
                  <a:gd name="connsiteY5" fmla="*/ 64337 h 2848653"/>
                  <a:gd name="connsiteX6" fmla="*/ 7063991 w 12001276"/>
                  <a:gd name="connsiteY6" fmla="*/ 34192 h 2848653"/>
                  <a:gd name="connsiteX7" fmla="*/ 8098972 w 12001276"/>
                  <a:gd name="connsiteY7" fmla="*/ 64337 h 2848653"/>
                  <a:gd name="connsiteX8" fmla="*/ 8956033 w 12001276"/>
                  <a:gd name="connsiteY8" fmla="*/ 64337 h 2848653"/>
                  <a:gd name="connsiteX9" fmla="*/ 10101769 w 12001276"/>
                  <a:gd name="connsiteY9" fmla="*/ 4047 h 2848653"/>
                  <a:gd name="connsiteX10" fmla="*/ 11745799 w 12001276"/>
                  <a:gd name="connsiteY10" fmla="*/ 345693 h 2848653"/>
                  <a:gd name="connsiteX11" fmla="*/ 11716211 w 12001276"/>
                  <a:gd name="connsiteY11" fmla="*/ 2566377 h 2848653"/>
                  <a:gd name="connsiteX12" fmla="*/ 10008159 w 12001276"/>
                  <a:gd name="connsiteY12" fmla="*/ 2827634 h 2848653"/>
                  <a:gd name="connsiteX13" fmla="*/ 9435402 w 12001276"/>
                  <a:gd name="connsiteY13" fmla="*/ 2827634 h 2848653"/>
                  <a:gd name="connsiteX14" fmla="*/ 7365442 w 12001276"/>
                  <a:gd name="connsiteY14" fmla="*/ 2787441 h 2848653"/>
                  <a:gd name="connsiteX15" fmla="*/ 6742444 w 12001276"/>
                  <a:gd name="connsiteY15" fmla="*/ 2807537 h 2848653"/>
                  <a:gd name="connsiteX16" fmla="*/ 6601767 w 12001276"/>
                  <a:gd name="connsiteY16" fmla="*/ 2797489 h 2848653"/>
                  <a:gd name="connsiteX17" fmla="*/ 4783016 w 12001276"/>
                  <a:gd name="connsiteY17" fmla="*/ 2847731 h 2848653"/>
                  <a:gd name="connsiteX18" fmla="*/ 3938954 w 12001276"/>
                  <a:gd name="connsiteY18" fmla="*/ 2827634 h 2848653"/>
                  <a:gd name="connsiteX19" fmla="*/ 2944167 w 12001276"/>
                  <a:gd name="connsiteY19" fmla="*/ 2807537 h 2848653"/>
                  <a:gd name="connsiteX20" fmla="*/ 1889090 w 12001276"/>
                  <a:gd name="connsiteY20" fmla="*/ 2817586 h 2848653"/>
                  <a:gd name="connsiteX21" fmla="*/ 12890 w 12001276"/>
                  <a:gd name="connsiteY21" fmla="*/ 2797487 h 2848653"/>
                  <a:gd name="connsiteX0" fmla="*/ 0 w 11892644"/>
                  <a:gd name="connsiteY0" fmla="*/ 20953 h 2845462"/>
                  <a:gd name="connsiteX1" fmla="*/ 552660 w 11892644"/>
                  <a:gd name="connsiteY1" fmla="*/ 856 h 2845462"/>
                  <a:gd name="connsiteX2" fmla="*/ 1637882 w 11892644"/>
                  <a:gd name="connsiteY2" fmla="*/ 10904 h 2845462"/>
                  <a:gd name="connsiteX3" fmla="*/ 2019719 w 11892644"/>
                  <a:gd name="connsiteY3" fmla="*/ 10904 h 2845462"/>
                  <a:gd name="connsiteX4" fmla="*/ 4531807 w 11892644"/>
                  <a:gd name="connsiteY4" fmla="*/ 31001 h 2845462"/>
                  <a:gd name="connsiteX5" fmla="*/ 6300317 w 11892644"/>
                  <a:gd name="connsiteY5" fmla="*/ 61146 h 2845462"/>
                  <a:gd name="connsiteX6" fmla="*/ 7063991 w 11892644"/>
                  <a:gd name="connsiteY6" fmla="*/ 31001 h 2845462"/>
                  <a:gd name="connsiteX7" fmla="*/ 8098972 w 11892644"/>
                  <a:gd name="connsiteY7" fmla="*/ 61146 h 2845462"/>
                  <a:gd name="connsiteX8" fmla="*/ 8956033 w 11892644"/>
                  <a:gd name="connsiteY8" fmla="*/ 61146 h 2845462"/>
                  <a:gd name="connsiteX9" fmla="*/ 10101769 w 11892644"/>
                  <a:gd name="connsiteY9" fmla="*/ 856 h 2845462"/>
                  <a:gd name="connsiteX10" fmla="*/ 11655866 w 11892644"/>
                  <a:gd name="connsiteY10" fmla="*/ 362598 h 2845462"/>
                  <a:gd name="connsiteX11" fmla="*/ 11716211 w 11892644"/>
                  <a:gd name="connsiteY11" fmla="*/ 2563186 h 2845462"/>
                  <a:gd name="connsiteX12" fmla="*/ 10008159 w 11892644"/>
                  <a:gd name="connsiteY12" fmla="*/ 2824443 h 2845462"/>
                  <a:gd name="connsiteX13" fmla="*/ 9435402 w 11892644"/>
                  <a:gd name="connsiteY13" fmla="*/ 2824443 h 2845462"/>
                  <a:gd name="connsiteX14" fmla="*/ 7365442 w 11892644"/>
                  <a:gd name="connsiteY14" fmla="*/ 2784250 h 2845462"/>
                  <a:gd name="connsiteX15" fmla="*/ 6742444 w 11892644"/>
                  <a:gd name="connsiteY15" fmla="*/ 2804346 h 2845462"/>
                  <a:gd name="connsiteX16" fmla="*/ 6601767 w 11892644"/>
                  <a:gd name="connsiteY16" fmla="*/ 2794298 h 2845462"/>
                  <a:gd name="connsiteX17" fmla="*/ 4783016 w 11892644"/>
                  <a:gd name="connsiteY17" fmla="*/ 2844540 h 2845462"/>
                  <a:gd name="connsiteX18" fmla="*/ 3938954 w 11892644"/>
                  <a:gd name="connsiteY18" fmla="*/ 2824443 h 2845462"/>
                  <a:gd name="connsiteX19" fmla="*/ 2944167 w 11892644"/>
                  <a:gd name="connsiteY19" fmla="*/ 2804346 h 2845462"/>
                  <a:gd name="connsiteX20" fmla="*/ 1889090 w 11892644"/>
                  <a:gd name="connsiteY20" fmla="*/ 2814395 h 2845462"/>
                  <a:gd name="connsiteX21" fmla="*/ 12890 w 11892644"/>
                  <a:gd name="connsiteY21" fmla="*/ 2794296 h 2845462"/>
                  <a:gd name="connsiteX0" fmla="*/ 0 w 11834291"/>
                  <a:gd name="connsiteY0" fmla="*/ 20767 h 2845276"/>
                  <a:gd name="connsiteX1" fmla="*/ 552660 w 11834291"/>
                  <a:gd name="connsiteY1" fmla="*/ 670 h 2845276"/>
                  <a:gd name="connsiteX2" fmla="*/ 1637882 w 11834291"/>
                  <a:gd name="connsiteY2" fmla="*/ 10718 h 2845276"/>
                  <a:gd name="connsiteX3" fmla="*/ 2019719 w 11834291"/>
                  <a:gd name="connsiteY3" fmla="*/ 10718 h 2845276"/>
                  <a:gd name="connsiteX4" fmla="*/ 4531807 w 11834291"/>
                  <a:gd name="connsiteY4" fmla="*/ 30815 h 2845276"/>
                  <a:gd name="connsiteX5" fmla="*/ 6300317 w 11834291"/>
                  <a:gd name="connsiteY5" fmla="*/ 60960 h 2845276"/>
                  <a:gd name="connsiteX6" fmla="*/ 7063991 w 11834291"/>
                  <a:gd name="connsiteY6" fmla="*/ 30815 h 2845276"/>
                  <a:gd name="connsiteX7" fmla="*/ 8098972 w 11834291"/>
                  <a:gd name="connsiteY7" fmla="*/ 60960 h 2845276"/>
                  <a:gd name="connsiteX8" fmla="*/ 8956033 w 11834291"/>
                  <a:gd name="connsiteY8" fmla="*/ 60960 h 2845276"/>
                  <a:gd name="connsiteX9" fmla="*/ 10101769 w 11834291"/>
                  <a:gd name="connsiteY9" fmla="*/ 670 h 2845276"/>
                  <a:gd name="connsiteX10" fmla="*/ 11655866 w 11834291"/>
                  <a:gd name="connsiteY10" fmla="*/ 362412 h 2845276"/>
                  <a:gd name="connsiteX11" fmla="*/ 11616285 w 11834291"/>
                  <a:gd name="connsiteY11" fmla="*/ 2552952 h 2845276"/>
                  <a:gd name="connsiteX12" fmla="*/ 10008159 w 11834291"/>
                  <a:gd name="connsiteY12" fmla="*/ 2824257 h 2845276"/>
                  <a:gd name="connsiteX13" fmla="*/ 9435402 w 11834291"/>
                  <a:gd name="connsiteY13" fmla="*/ 2824257 h 2845276"/>
                  <a:gd name="connsiteX14" fmla="*/ 7365442 w 11834291"/>
                  <a:gd name="connsiteY14" fmla="*/ 2784064 h 2845276"/>
                  <a:gd name="connsiteX15" fmla="*/ 6742444 w 11834291"/>
                  <a:gd name="connsiteY15" fmla="*/ 2804160 h 2845276"/>
                  <a:gd name="connsiteX16" fmla="*/ 6601767 w 11834291"/>
                  <a:gd name="connsiteY16" fmla="*/ 2794112 h 2845276"/>
                  <a:gd name="connsiteX17" fmla="*/ 4783016 w 11834291"/>
                  <a:gd name="connsiteY17" fmla="*/ 2844354 h 2845276"/>
                  <a:gd name="connsiteX18" fmla="*/ 3938954 w 11834291"/>
                  <a:gd name="connsiteY18" fmla="*/ 2824257 h 2845276"/>
                  <a:gd name="connsiteX19" fmla="*/ 2944167 w 11834291"/>
                  <a:gd name="connsiteY19" fmla="*/ 2804160 h 2845276"/>
                  <a:gd name="connsiteX20" fmla="*/ 1889090 w 11834291"/>
                  <a:gd name="connsiteY20" fmla="*/ 2814209 h 2845276"/>
                  <a:gd name="connsiteX21" fmla="*/ 12890 w 11834291"/>
                  <a:gd name="connsiteY21" fmla="*/ 2794110 h 2845276"/>
                  <a:gd name="connsiteX0" fmla="*/ 0 w 11903126"/>
                  <a:gd name="connsiteY0" fmla="*/ 20767 h 2845276"/>
                  <a:gd name="connsiteX1" fmla="*/ 552660 w 11903126"/>
                  <a:gd name="connsiteY1" fmla="*/ 670 h 2845276"/>
                  <a:gd name="connsiteX2" fmla="*/ 1637882 w 11903126"/>
                  <a:gd name="connsiteY2" fmla="*/ 10718 h 2845276"/>
                  <a:gd name="connsiteX3" fmla="*/ 2019719 w 11903126"/>
                  <a:gd name="connsiteY3" fmla="*/ 10718 h 2845276"/>
                  <a:gd name="connsiteX4" fmla="*/ 4531807 w 11903126"/>
                  <a:gd name="connsiteY4" fmla="*/ 30815 h 2845276"/>
                  <a:gd name="connsiteX5" fmla="*/ 6300317 w 11903126"/>
                  <a:gd name="connsiteY5" fmla="*/ 60960 h 2845276"/>
                  <a:gd name="connsiteX6" fmla="*/ 7063991 w 11903126"/>
                  <a:gd name="connsiteY6" fmla="*/ 30815 h 2845276"/>
                  <a:gd name="connsiteX7" fmla="*/ 8098972 w 11903126"/>
                  <a:gd name="connsiteY7" fmla="*/ 60960 h 2845276"/>
                  <a:gd name="connsiteX8" fmla="*/ 8956033 w 11903126"/>
                  <a:gd name="connsiteY8" fmla="*/ 60960 h 2845276"/>
                  <a:gd name="connsiteX9" fmla="*/ 10101769 w 11903126"/>
                  <a:gd name="connsiteY9" fmla="*/ 670 h 2845276"/>
                  <a:gd name="connsiteX10" fmla="*/ 11655866 w 11903126"/>
                  <a:gd name="connsiteY10" fmla="*/ 362412 h 2845276"/>
                  <a:gd name="connsiteX11" fmla="*/ 11616285 w 11903126"/>
                  <a:gd name="connsiteY11" fmla="*/ 2552952 h 2845276"/>
                  <a:gd name="connsiteX12" fmla="*/ 10008159 w 11903126"/>
                  <a:gd name="connsiteY12" fmla="*/ 2824257 h 2845276"/>
                  <a:gd name="connsiteX13" fmla="*/ 9435402 w 11903126"/>
                  <a:gd name="connsiteY13" fmla="*/ 2824257 h 2845276"/>
                  <a:gd name="connsiteX14" fmla="*/ 7365442 w 11903126"/>
                  <a:gd name="connsiteY14" fmla="*/ 2784064 h 2845276"/>
                  <a:gd name="connsiteX15" fmla="*/ 6742444 w 11903126"/>
                  <a:gd name="connsiteY15" fmla="*/ 2804160 h 2845276"/>
                  <a:gd name="connsiteX16" fmla="*/ 6601767 w 11903126"/>
                  <a:gd name="connsiteY16" fmla="*/ 2794112 h 2845276"/>
                  <a:gd name="connsiteX17" fmla="*/ 4783016 w 11903126"/>
                  <a:gd name="connsiteY17" fmla="*/ 2844354 h 2845276"/>
                  <a:gd name="connsiteX18" fmla="*/ 3938954 w 11903126"/>
                  <a:gd name="connsiteY18" fmla="*/ 2824257 h 2845276"/>
                  <a:gd name="connsiteX19" fmla="*/ 2944167 w 11903126"/>
                  <a:gd name="connsiteY19" fmla="*/ 2804160 h 2845276"/>
                  <a:gd name="connsiteX20" fmla="*/ 1889090 w 11903126"/>
                  <a:gd name="connsiteY20" fmla="*/ 2814209 h 2845276"/>
                  <a:gd name="connsiteX21" fmla="*/ 12890 w 11903126"/>
                  <a:gd name="connsiteY21" fmla="*/ 2794110 h 2845276"/>
                  <a:gd name="connsiteX0" fmla="*/ 0 w 11949884"/>
                  <a:gd name="connsiteY0" fmla="*/ 20097 h 2844606"/>
                  <a:gd name="connsiteX1" fmla="*/ 552660 w 11949884"/>
                  <a:gd name="connsiteY1" fmla="*/ 0 h 2844606"/>
                  <a:gd name="connsiteX2" fmla="*/ 1637882 w 11949884"/>
                  <a:gd name="connsiteY2" fmla="*/ 10048 h 2844606"/>
                  <a:gd name="connsiteX3" fmla="*/ 2019719 w 11949884"/>
                  <a:gd name="connsiteY3" fmla="*/ 10048 h 2844606"/>
                  <a:gd name="connsiteX4" fmla="*/ 4531807 w 11949884"/>
                  <a:gd name="connsiteY4" fmla="*/ 30145 h 2844606"/>
                  <a:gd name="connsiteX5" fmla="*/ 6300317 w 11949884"/>
                  <a:gd name="connsiteY5" fmla="*/ 60290 h 2844606"/>
                  <a:gd name="connsiteX6" fmla="*/ 7063991 w 11949884"/>
                  <a:gd name="connsiteY6" fmla="*/ 30145 h 2844606"/>
                  <a:gd name="connsiteX7" fmla="*/ 8098972 w 11949884"/>
                  <a:gd name="connsiteY7" fmla="*/ 60290 h 2844606"/>
                  <a:gd name="connsiteX8" fmla="*/ 8956033 w 11949884"/>
                  <a:gd name="connsiteY8" fmla="*/ 60290 h 2844606"/>
                  <a:gd name="connsiteX9" fmla="*/ 10101769 w 11949884"/>
                  <a:gd name="connsiteY9" fmla="*/ 0 h 2844606"/>
                  <a:gd name="connsiteX10" fmla="*/ 11655866 w 11949884"/>
                  <a:gd name="connsiteY10" fmla="*/ 361742 h 2844606"/>
                  <a:gd name="connsiteX11" fmla="*/ 11616285 w 11949884"/>
                  <a:gd name="connsiteY11" fmla="*/ 2552282 h 2844606"/>
                  <a:gd name="connsiteX12" fmla="*/ 10008159 w 11949884"/>
                  <a:gd name="connsiteY12" fmla="*/ 2823587 h 2844606"/>
                  <a:gd name="connsiteX13" fmla="*/ 9435402 w 11949884"/>
                  <a:gd name="connsiteY13" fmla="*/ 2823587 h 2844606"/>
                  <a:gd name="connsiteX14" fmla="*/ 7365442 w 11949884"/>
                  <a:gd name="connsiteY14" fmla="*/ 2783394 h 2844606"/>
                  <a:gd name="connsiteX15" fmla="*/ 6742444 w 11949884"/>
                  <a:gd name="connsiteY15" fmla="*/ 2803490 h 2844606"/>
                  <a:gd name="connsiteX16" fmla="*/ 6601767 w 11949884"/>
                  <a:gd name="connsiteY16" fmla="*/ 2793442 h 2844606"/>
                  <a:gd name="connsiteX17" fmla="*/ 4783016 w 11949884"/>
                  <a:gd name="connsiteY17" fmla="*/ 2843684 h 2844606"/>
                  <a:gd name="connsiteX18" fmla="*/ 3938954 w 11949884"/>
                  <a:gd name="connsiteY18" fmla="*/ 2823587 h 2844606"/>
                  <a:gd name="connsiteX19" fmla="*/ 2944167 w 11949884"/>
                  <a:gd name="connsiteY19" fmla="*/ 2803490 h 2844606"/>
                  <a:gd name="connsiteX20" fmla="*/ 1889090 w 11949884"/>
                  <a:gd name="connsiteY20" fmla="*/ 2813539 h 2844606"/>
                  <a:gd name="connsiteX21" fmla="*/ 12890 w 11949884"/>
                  <a:gd name="connsiteY21" fmla="*/ 2793440 h 2844606"/>
                  <a:gd name="connsiteX0" fmla="*/ 0 w 11868023"/>
                  <a:gd name="connsiteY0" fmla="*/ 20097 h 2844606"/>
                  <a:gd name="connsiteX1" fmla="*/ 552660 w 11868023"/>
                  <a:gd name="connsiteY1" fmla="*/ 0 h 2844606"/>
                  <a:gd name="connsiteX2" fmla="*/ 1637882 w 11868023"/>
                  <a:gd name="connsiteY2" fmla="*/ 10048 h 2844606"/>
                  <a:gd name="connsiteX3" fmla="*/ 2019719 w 11868023"/>
                  <a:gd name="connsiteY3" fmla="*/ 10048 h 2844606"/>
                  <a:gd name="connsiteX4" fmla="*/ 4531807 w 11868023"/>
                  <a:gd name="connsiteY4" fmla="*/ 30145 h 2844606"/>
                  <a:gd name="connsiteX5" fmla="*/ 6300317 w 11868023"/>
                  <a:gd name="connsiteY5" fmla="*/ 60290 h 2844606"/>
                  <a:gd name="connsiteX6" fmla="*/ 7063991 w 11868023"/>
                  <a:gd name="connsiteY6" fmla="*/ 30145 h 2844606"/>
                  <a:gd name="connsiteX7" fmla="*/ 8098972 w 11868023"/>
                  <a:gd name="connsiteY7" fmla="*/ 60290 h 2844606"/>
                  <a:gd name="connsiteX8" fmla="*/ 8956033 w 11868023"/>
                  <a:gd name="connsiteY8" fmla="*/ 60290 h 2844606"/>
                  <a:gd name="connsiteX9" fmla="*/ 10101769 w 11868023"/>
                  <a:gd name="connsiteY9" fmla="*/ 0 h 2844606"/>
                  <a:gd name="connsiteX10" fmla="*/ 11625888 w 11868023"/>
                  <a:gd name="connsiteY10" fmla="*/ 351694 h 2844606"/>
                  <a:gd name="connsiteX11" fmla="*/ 11616285 w 11868023"/>
                  <a:gd name="connsiteY11" fmla="*/ 2552282 h 2844606"/>
                  <a:gd name="connsiteX12" fmla="*/ 10008159 w 11868023"/>
                  <a:gd name="connsiteY12" fmla="*/ 2823587 h 2844606"/>
                  <a:gd name="connsiteX13" fmla="*/ 9435402 w 11868023"/>
                  <a:gd name="connsiteY13" fmla="*/ 2823587 h 2844606"/>
                  <a:gd name="connsiteX14" fmla="*/ 7365442 w 11868023"/>
                  <a:gd name="connsiteY14" fmla="*/ 2783394 h 2844606"/>
                  <a:gd name="connsiteX15" fmla="*/ 6742444 w 11868023"/>
                  <a:gd name="connsiteY15" fmla="*/ 2803490 h 2844606"/>
                  <a:gd name="connsiteX16" fmla="*/ 6601767 w 11868023"/>
                  <a:gd name="connsiteY16" fmla="*/ 2793442 h 2844606"/>
                  <a:gd name="connsiteX17" fmla="*/ 4783016 w 11868023"/>
                  <a:gd name="connsiteY17" fmla="*/ 2843684 h 2844606"/>
                  <a:gd name="connsiteX18" fmla="*/ 3938954 w 11868023"/>
                  <a:gd name="connsiteY18" fmla="*/ 2823587 h 2844606"/>
                  <a:gd name="connsiteX19" fmla="*/ 2944167 w 11868023"/>
                  <a:gd name="connsiteY19" fmla="*/ 2803490 h 2844606"/>
                  <a:gd name="connsiteX20" fmla="*/ 1889090 w 11868023"/>
                  <a:gd name="connsiteY20" fmla="*/ 2813539 h 2844606"/>
                  <a:gd name="connsiteX21" fmla="*/ 12890 w 11868023"/>
                  <a:gd name="connsiteY21" fmla="*/ 2793440 h 2844606"/>
                  <a:gd name="connsiteX0" fmla="*/ 0 w 11911375"/>
                  <a:gd name="connsiteY0" fmla="*/ 20097 h 2844606"/>
                  <a:gd name="connsiteX1" fmla="*/ 552660 w 11911375"/>
                  <a:gd name="connsiteY1" fmla="*/ 0 h 2844606"/>
                  <a:gd name="connsiteX2" fmla="*/ 1637882 w 11911375"/>
                  <a:gd name="connsiteY2" fmla="*/ 10048 h 2844606"/>
                  <a:gd name="connsiteX3" fmla="*/ 2019719 w 11911375"/>
                  <a:gd name="connsiteY3" fmla="*/ 10048 h 2844606"/>
                  <a:gd name="connsiteX4" fmla="*/ 4531807 w 11911375"/>
                  <a:gd name="connsiteY4" fmla="*/ 30145 h 2844606"/>
                  <a:gd name="connsiteX5" fmla="*/ 6300317 w 11911375"/>
                  <a:gd name="connsiteY5" fmla="*/ 60290 h 2844606"/>
                  <a:gd name="connsiteX6" fmla="*/ 7063991 w 11911375"/>
                  <a:gd name="connsiteY6" fmla="*/ 30145 h 2844606"/>
                  <a:gd name="connsiteX7" fmla="*/ 8098972 w 11911375"/>
                  <a:gd name="connsiteY7" fmla="*/ 60290 h 2844606"/>
                  <a:gd name="connsiteX8" fmla="*/ 8956033 w 11911375"/>
                  <a:gd name="connsiteY8" fmla="*/ 60290 h 2844606"/>
                  <a:gd name="connsiteX9" fmla="*/ 10101769 w 11911375"/>
                  <a:gd name="connsiteY9" fmla="*/ 0 h 2844606"/>
                  <a:gd name="connsiteX10" fmla="*/ 11625888 w 11911375"/>
                  <a:gd name="connsiteY10" fmla="*/ 351694 h 2844606"/>
                  <a:gd name="connsiteX11" fmla="*/ 11616285 w 11911375"/>
                  <a:gd name="connsiteY11" fmla="*/ 2552282 h 2844606"/>
                  <a:gd name="connsiteX12" fmla="*/ 10008159 w 11911375"/>
                  <a:gd name="connsiteY12" fmla="*/ 2823587 h 2844606"/>
                  <a:gd name="connsiteX13" fmla="*/ 9435402 w 11911375"/>
                  <a:gd name="connsiteY13" fmla="*/ 2823587 h 2844606"/>
                  <a:gd name="connsiteX14" fmla="*/ 7365442 w 11911375"/>
                  <a:gd name="connsiteY14" fmla="*/ 2783394 h 2844606"/>
                  <a:gd name="connsiteX15" fmla="*/ 6742444 w 11911375"/>
                  <a:gd name="connsiteY15" fmla="*/ 2803490 h 2844606"/>
                  <a:gd name="connsiteX16" fmla="*/ 6601767 w 11911375"/>
                  <a:gd name="connsiteY16" fmla="*/ 2793442 h 2844606"/>
                  <a:gd name="connsiteX17" fmla="*/ 4783016 w 11911375"/>
                  <a:gd name="connsiteY17" fmla="*/ 2843684 h 2844606"/>
                  <a:gd name="connsiteX18" fmla="*/ 3938954 w 11911375"/>
                  <a:gd name="connsiteY18" fmla="*/ 2823587 h 2844606"/>
                  <a:gd name="connsiteX19" fmla="*/ 2944167 w 11911375"/>
                  <a:gd name="connsiteY19" fmla="*/ 2803490 h 2844606"/>
                  <a:gd name="connsiteX20" fmla="*/ 1889090 w 11911375"/>
                  <a:gd name="connsiteY20" fmla="*/ 2813539 h 2844606"/>
                  <a:gd name="connsiteX21" fmla="*/ 12890 w 11911375"/>
                  <a:gd name="connsiteY21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9435402 w 11932818"/>
                  <a:gd name="connsiteY13" fmla="*/ 2823587 h 2844606"/>
                  <a:gd name="connsiteX14" fmla="*/ 7365442 w 11932818"/>
                  <a:gd name="connsiteY14" fmla="*/ 2783394 h 2844606"/>
                  <a:gd name="connsiteX15" fmla="*/ 6742444 w 11932818"/>
                  <a:gd name="connsiteY15" fmla="*/ 2803490 h 2844606"/>
                  <a:gd name="connsiteX16" fmla="*/ 6601767 w 11932818"/>
                  <a:gd name="connsiteY16" fmla="*/ 2793442 h 2844606"/>
                  <a:gd name="connsiteX17" fmla="*/ 4783016 w 11932818"/>
                  <a:gd name="connsiteY17" fmla="*/ 2843684 h 2844606"/>
                  <a:gd name="connsiteX18" fmla="*/ 3938954 w 11932818"/>
                  <a:gd name="connsiteY18" fmla="*/ 2823587 h 2844606"/>
                  <a:gd name="connsiteX19" fmla="*/ 2944167 w 11932818"/>
                  <a:gd name="connsiteY19" fmla="*/ 2803490 h 2844606"/>
                  <a:gd name="connsiteX20" fmla="*/ 1889090 w 11932818"/>
                  <a:gd name="connsiteY20" fmla="*/ 2813539 h 2844606"/>
                  <a:gd name="connsiteX21" fmla="*/ 12890 w 11932818"/>
                  <a:gd name="connsiteY21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9435402 w 11932818"/>
                  <a:gd name="connsiteY13" fmla="*/ 2823587 h 2844606"/>
                  <a:gd name="connsiteX14" fmla="*/ 7365442 w 11932818"/>
                  <a:gd name="connsiteY14" fmla="*/ 2783394 h 2844606"/>
                  <a:gd name="connsiteX15" fmla="*/ 7438490 w 11932818"/>
                  <a:gd name="connsiteY15" fmla="*/ 2776911 h 2844606"/>
                  <a:gd name="connsiteX16" fmla="*/ 6742444 w 11932818"/>
                  <a:gd name="connsiteY16" fmla="*/ 2803490 h 2844606"/>
                  <a:gd name="connsiteX17" fmla="*/ 6601767 w 11932818"/>
                  <a:gd name="connsiteY17" fmla="*/ 2793442 h 2844606"/>
                  <a:gd name="connsiteX18" fmla="*/ 4783016 w 11932818"/>
                  <a:gd name="connsiteY18" fmla="*/ 2843684 h 2844606"/>
                  <a:gd name="connsiteX19" fmla="*/ 3938954 w 11932818"/>
                  <a:gd name="connsiteY19" fmla="*/ 2823587 h 2844606"/>
                  <a:gd name="connsiteX20" fmla="*/ 2944167 w 11932818"/>
                  <a:gd name="connsiteY20" fmla="*/ 2803490 h 2844606"/>
                  <a:gd name="connsiteX21" fmla="*/ 1889090 w 11932818"/>
                  <a:gd name="connsiteY21" fmla="*/ 2813539 h 2844606"/>
                  <a:gd name="connsiteX22" fmla="*/ 12890 w 11932818"/>
                  <a:gd name="connsiteY22" fmla="*/ 2793440 h 2844606"/>
                  <a:gd name="connsiteX0" fmla="*/ 0 w 11932818"/>
                  <a:gd name="connsiteY0" fmla="*/ 20097 h 2844606"/>
                  <a:gd name="connsiteX1" fmla="*/ 552660 w 11932818"/>
                  <a:gd name="connsiteY1" fmla="*/ 0 h 2844606"/>
                  <a:gd name="connsiteX2" fmla="*/ 1637882 w 11932818"/>
                  <a:gd name="connsiteY2" fmla="*/ 10048 h 2844606"/>
                  <a:gd name="connsiteX3" fmla="*/ 2019719 w 11932818"/>
                  <a:gd name="connsiteY3" fmla="*/ 10048 h 2844606"/>
                  <a:gd name="connsiteX4" fmla="*/ 4531807 w 11932818"/>
                  <a:gd name="connsiteY4" fmla="*/ 30145 h 2844606"/>
                  <a:gd name="connsiteX5" fmla="*/ 6300317 w 11932818"/>
                  <a:gd name="connsiteY5" fmla="*/ 60290 h 2844606"/>
                  <a:gd name="connsiteX6" fmla="*/ 7063991 w 11932818"/>
                  <a:gd name="connsiteY6" fmla="*/ 30145 h 2844606"/>
                  <a:gd name="connsiteX7" fmla="*/ 8098972 w 11932818"/>
                  <a:gd name="connsiteY7" fmla="*/ 60290 h 2844606"/>
                  <a:gd name="connsiteX8" fmla="*/ 8956033 w 11932818"/>
                  <a:gd name="connsiteY8" fmla="*/ 60290 h 2844606"/>
                  <a:gd name="connsiteX9" fmla="*/ 10101769 w 11932818"/>
                  <a:gd name="connsiteY9" fmla="*/ 0 h 2844606"/>
                  <a:gd name="connsiteX10" fmla="*/ 11625888 w 11932818"/>
                  <a:gd name="connsiteY10" fmla="*/ 351694 h 2844606"/>
                  <a:gd name="connsiteX11" fmla="*/ 11616285 w 11932818"/>
                  <a:gd name="connsiteY11" fmla="*/ 2552282 h 2844606"/>
                  <a:gd name="connsiteX12" fmla="*/ 10008159 w 11932818"/>
                  <a:gd name="connsiteY12" fmla="*/ 2823587 h 2844606"/>
                  <a:gd name="connsiteX13" fmla="*/ 7365442 w 11932818"/>
                  <a:gd name="connsiteY13" fmla="*/ 2783394 h 2844606"/>
                  <a:gd name="connsiteX14" fmla="*/ 7438490 w 11932818"/>
                  <a:gd name="connsiteY14" fmla="*/ 2776911 h 2844606"/>
                  <a:gd name="connsiteX15" fmla="*/ 6742444 w 11932818"/>
                  <a:gd name="connsiteY15" fmla="*/ 2803490 h 2844606"/>
                  <a:gd name="connsiteX16" fmla="*/ 6601767 w 11932818"/>
                  <a:gd name="connsiteY16" fmla="*/ 2793442 h 2844606"/>
                  <a:gd name="connsiteX17" fmla="*/ 4783016 w 11932818"/>
                  <a:gd name="connsiteY17" fmla="*/ 2843684 h 2844606"/>
                  <a:gd name="connsiteX18" fmla="*/ 3938954 w 11932818"/>
                  <a:gd name="connsiteY18" fmla="*/ 2823587 h 2844606"/>
                  <a:gd name="connsiteX19" fmla="*/ 2944167 w 11932818"/>
                  <a:gd name="connsiteY19" fmla="*/ 2803490 h 2844606"/>
                  <a:gd name="connsiteX20" fmla="*/ 1889090 w 11932818"/>
                  <a:gd name="connsiteY20" fmla="*/ 2813539 h 2844606"/>
                  <a:gd name="connsiteX21" fmla="*/ 12890 w 11932818"/>
                  <a:gd name="connsiteY21" fmla="*/ 2793440 h 2844606"/>
                  <a:gd name="connsiteX0" fmla="*/ 0 w 12056788"/>
                  <a:gd name="connsiteY0" fmla="*/ 20097 h 2844606"/>
                  <a:gd name="connsiteX1" fmla="*/ 552660 w 12056788"/>
                  <a:gd name="connsiteY1" fmla="*/ 0 h 2844606"/>
                  <a:gd name="connsiteX2" fmla="*/ 1637882 w 12056788"/>
                  <a:gd name="connsiteY2" fmla="*/ 10048 h 2844606"/>
                  <a:gd name="connsiteX3" fmla="*/ 2019719 w 12056788"/>
                  <a:gd name="connsiteY3" fmla="*/ 10048 h 2844606"/>
                  <a:gd name="connsiteX4" fmla="*/ 4531807 w 12056788"/>
                  <a:gd name="connsiteY4" fmla="*/ 30145 h 2844606"/>
                  <a:gd name="connsiteX5" fmla="*/ 6300317 w 12056788"/>
                  <a:gd name="connsiteY5" fmla="*/ 60290 h 2844606"/>
                  <a:gd name="connsiteX6" fmla="*/ 7063991 w 12056788"/>
                  <a:gd name="connsiteY6" fmla="*/ 30145 h 2844606"/>
                  <a:gd name="connsiteX7" fmla="*/ 8098972 w 12056788"/>
                  <a:gd name="connsiteY7" fmla="*/ 60290 h 2844606"/>
                  <a:gd name="connsiteX8" fmla="*/ 8956033 w 12056788"/>
                  <a:gd name="connsiteY8" fmla="*/ 60290 h 2844606"/>
                  <a:gd name="connsiteX9" fmla="*/ 10101769 w 12056788"/>
                  <a:gd name="connsiteY9" fmla="*/ 0 h 2844606"/>
                  <a:gd name="connsiteX10" fmla="*/ 11625888 w 12056788"/>
                  <a:gd name="connsiteY10" fmla="*/ 351694 h 2844606"/>
                  <a:gd name="connsiteX11" fmla="*/ 11616285 w 12056788"/>
                  <a:gd name="connsiteY11" fmla="*/ 2552282 h 2844606"/>
                  <a:gd name="connsiteX12" fmla="*/ 7365442 w 12056788"/>
                  <a:gd name="connsiteY12" fmla="*/ 2783394 h 2844606"/>
                  <a:gd name="connsiteX13" fmla="*/ 7438490 w 12056788"/>
                  <a:gd name="connsiteY13" fmla="*/ 2776911 h 2844606"/>
                  <a:gd name="connsiteX14" fmla="*/ 6742444 w 12056788"/>
                  <a:gd name="connsiteY14" fmla="*/ 2803490 h 2844606"/>
                  <a:gd name="connsiteX15" fmla="*/ 6601767 w 12056788"/>
                  <a:gd name="connsiteY15" fmla="*/ 2793442 h 2844606"/>
                  <a:gd name="connsiteX16" fmla="*/ 4783016 w 12056788"/>
                  <a:gd name="connsiteY16" fmla="*/ 2843684 h 2844606"/>
                  <a:gd name="connsiteX17" fmla="*/ 3938954 w 12056788"/>
                  <a:gd name="connsiteY17" fmla="*/ 2823587 h 2844606"/>
                  <a:gd name="connsiteX18" fmla="*/ 2944167 w 12056788"/>
                  <a:gd name="connsiteY18" fmla="*/ 2803490 h 2844606"/>
                  <a:gd name="connsiteX19" fmla="*/ 1889090 w 12056788"/>
                  <a:gd name="connsiteY19" fmla="*/ 2813539 h 2844606"/>
                  <a:gd name="connsiteX20" fmla="*/ 12890 w 12056788"/>
                  <a:gd name="connsiteY20" fmla="*/ 2793440 h 2844606"/>
                  <a:gd name="connsiteX0" fmla="*/ 0 w 11704427"/>
                  <a:gd name="connsiteY0" fmla="*/ 29047 h 2853556"/>
                  <a:gd name="connsiteX1" fmla="*/ 552660 w 11704427"/>
                  <a:gd name="connsiteY1" fmla="*/ 8950 h 2853556"/>
                  <a:gd name="connsiteX2" fmla="*/ 1637882 w 11704427"/>
                  <a:gd name="connsiteY2" fmla="*/ 18998 h 2853556"/>
                  <a:gd name="connsiteX3" fmla="*/ 2019719 w 11704427"/>
                  <a:gd name="connsiteY3" fmla="*/ 18998 h 2853556"/>
                  <a:gd name="connsiteX4" fmla="*/ 4531807 w 11704427"/>
                  <a:gd name="connsiteY4" fmla="*/ 39095 h 2853556"/>
                  <a:gd name="connsiteX5" fmla="*/ 6300317 w 11704427"/>
                  <a:gd name="connsiteY5" fmla="*/ 69240 h 2853556"/>
                  <a:gd name="connsiteX6" fmla="*/ 7063991 w 11704427"/>
                  <a:gd name="connsiteY6" fmla="*/ 39095 h 2853556"/>
                  <a:gd name="connsiteX7" fmla="*/ 8098972 w 11704427"/>
                  <a:gd name="connsiteY7" fmla="*/ 69240 h 2853556"/>
                  <a:gd name="connsiteX8" fmla="*/ 8956033 w 11704427"/>
                  <a:gd name="connsiteY8" fmla="*/ 69240 h 2853556"/>
                  <a:gd name="connsiteX9" fmla="*/ 10101769 w 11704427"/>
                  <a:gd name="connsiteY9" fmla="*/ 8950 h 2853556"/>
                  <a:gd name="connsiteX10" fmla="*/ 11625888 w 11704427"/>
                  <a:gd name="connsiteY10" fmla="*/ 360644 h 2853556"/>
                  <a:gd name="connsiteX11" fmla="*/ 7365442 w 11704427"/>
                  <a:gd name="connsiteY11" fmla="*/ 2792344 h 2853556"/>
                  <a:gd name="connsiteX12" fmla="*/ 7438490 w 11704427"/>
                  <a:gd name="connsiteY12" fmla="*/ 2785861 h 2853556"/>
                  <a:gd name="connsiteX13" fmla="*/ 6742444 w 11704427"/>
                  <a:gd name="connsiteY13" fmla="*/ 2812440 h 2853556"/>
                  <a:gd name="connsiteX14" fmla="*/ 6601767 w 11704427"/>
                  <a:gd name="connsiteY14" fmla="*/ 2802392 h 2853556"/>
                  <a:gd name="connsiteX15" fmla="*/ 4783016 w 11704427"/>
                  <a:gd name="connsiteY15" fmla="*/ 2852634 h 2853556"/>
                  <a:gd name="connsiteX16" fmla="*/ 3938954 w 11704427"/>
                  <a:gd name="connsiteY16" fmla="*/ 2832537 h 2853556"/>
                  <a:gd name="connsiteX17" fmla="*/ 2944167 w 11704427"/>
                  <a:gd name="connsiteY17" fmla="*/ 2812440 h 2853556"/>
                  <a:gd name="connsiteX18" fmla="*/ 1889090 w 11704427"/>
                  <a:gd name="connsiteY18" fmla="*/ 2822489 h 2853556"/>
                  <a:gd name="connsiteX19" fmla="*/ 12890 w 11704427"/>
                  <a:gd name="connsiteY19" fmla="*/ 2802390 h 2853556"/>
                  <a:gd name="connsiteX0" fmla="*/ 0 w 10101769"/>
                  <a:gd name="connsiteY0" fmla="*/ 20097 h 2844606"/>
                  <a:gd name="connsiteX1" fmla="*/ 552660 w 10101769"/>
                  <a:gd name="connsiteY1" fmla="*/ 0 h 2844606"/>
                  <a:gd name="connsiteX2" fmla="*/ 1637882 w 10101769"/>
                  <a:gd name="connsiteY2" fmla="*/ 10048 h 2844606"/>
                  <a:gd name="connsiteX3" fmla="*/ 2019719 w 10101769"/>
                  <a:gd name="connsiteY3" fmla="*/ 10048 h 2844606"/>
                  <a:gd name="connsiteX4" fmla="*/ 4531807 w 10101769"/>
                  <a:gd name="connsiteY4" fmla="*/ 30145 h 2844606"/>
                  <a:gd name="connsiteX5" fmla="*/ 6300317 w 10101769"/>
                  <a:gd name="connsiteY5" fmla="*/ 60290 h 2844606"/>
                  <a:gd name="connsiteX6" fmla="*/ 7063991 w 10101769"/>
                  <a:gd name="connsiteY6" fmla="*/ 30145 h 2844606"/>
                  <a:gd name="connsiteX7" fmla="*/ 8098972 w 10101769"/>
                  <a:gd name="connsiteY7" fmla="*/ 60290 h 2844606"/>
                  <a:gd name="connsiteX8" fmla="*/ 8956033 w 10101769"/>
                  <a:gd name="connsiteY8" fmla="*/ 60290 h 2844606"/>
                  <a:gd name="connsiteX9" fmla="*/ 10101769 w 10101769"/>
                  <a:gd name="connsiteY9" fmla="*/ 0 h 2844606"/>
                  <a:gd name="connsiteX10" fmla="*/ 7365442 w 10101769"/>
                  <a:gd name="connsiteY10" fmla="*/ 2783394 h 2844606"/>
                  <a:gd name="connsiteX11" fmla="*/ 7438490 w 10101769"/>
                  <a:gd name="connsiteY11" fmla="*/ 2776911 h 2844606"/>
                  <a:gd name="connsiteX12" fmla="*/ 6742444 w 10101769"/>
                  <a:gd name="connsiteY12" fmla="*/ 2803490 h 2844606"/>
                  <a:gd name="connsiteX13" fmla="*/ 6601767 w 10101769"/>
                  <a:gd name="connsiteY13" fmla="*/ 2793442 h 2844606"/>
                  <a:gd name="connsiteX14" fmla="*/ 4783016 w 10101769"/>
                  <a:gd name="connsiteY14" fmla="*/ 2843684 h 2844606"/>
                  <a:gd name="connsiteX15" fmla="*/ 3938954 w 10101769"/>
                  <a:gd name="connsiteY15" fmla="*/ 2823587 h 2844606"/>
                  <a:gd name="connsiteX16" fmla="*/ 2944167 w 10101769"/>
                  <a:gd name="connsiteY16" fmla="*/ 2803490 h 2844606"/>
                  <a:gd name="connsiteX17" fmla="*/ 1889090 w 10101769"/>
                  <a:gd name="connsiteY17" fmla="*/ 2813539 h 2844606"/>
                  <a:gd name="connsiteX18" fmla="*/ 12890 w 10101769"/>
                  <a:gd name="connsiteY18" fmla="*/ 2793440 h 2844606"/>
                  <a:gd name="connsiteX0" fmla="*/ 0 w 8956033"/>
                  <a:gd name="connsiteY0" fmla="*/ 20097 h 2844606"/>
                  <a:gd name="connsiteX1" fmla="*/ 552660 w 8956033"/>
                  <a:gd name="connsiteY1" fmla="*/ 0 h 2844606"/>
                  <a:gd name="connsiteX2" fmla="*/ 1637882 w 8956033"/>
                  <a:gd name="connsiteY2" fmla="*/ 10048 h 2844606"/>
                  <a:gd name="connsiteX3" fmla="*/ 2019719 w 8956033"/>
                  <a:gd name="connsiteY3" fmla="*/ 10048 h 2844606"/>
                  <a:gd name="connsiteX4" fmla="*/ 4531807 w 8956033"/>
                  <a:gd name="connsiteY4" fmla="*/ 30145 h 2844606"/>
                  <a:gd name="connsiteX5" fmla="*/ 6300317 w 8956033"/>
                  <a:gd name="connsiteY5" fmla="*/ 60290 h 2844606"/>
                  <a:gd name="connsiteX6" fmla="*/ 7063991 w 8956033"/>
                  <a:gd name="connsiteY6" fmla="*/ 30145 h 2844606"/>
                  <a:gd name="connsiteX7" fmla="*/ 8098972 w 8956033"/>
                  <a:gd name="connsiteY7" fmla="*/ 60290 h 2844606"/>
                  <a:gd name="connsiteX8" fmla="*/ 8956033 w 8956033"/>
                  <a:gd name="connsiteY8" fmla="*/ 60290 h 2844606"/>
                  <a:gd name="connsiteX9" fmla="*/ 7365442 w 8956033"/>
                  <a:gd name="connsiteY9" fmla="*/ 2783394 h 2844606"/>
                  <a:gd name="connsiteX10" fmla="*/ 7438490 w 8956033"/>
                  <a:gd name="connsiteY10" fmla="*/ 2776911 h 2844606"/>
                  <a:gd name="connsiteX11" fmla="*/ 6742444 w 8956033"/>
                  <a:gd name="connsiteY11" fmla="*/ 2803490 h 2844606"/>
                  <a:gd name="connsiteX12" fmla="*/ 6601767 w 8956033"/>
                  <a:gd name="connsiteY12" fmla="*/ 2793442 h 2844606"/>
                  <a:gd name="connsiteX13" fmla="*/ 4783016 w 8956033"/>
                  <a:gd name="connsiteY13" fmla="*/ 2843684 h 2844606"/>
                  <a:gd name="connsiteX14" fmla="*/ 3938954 w 8956033"/>
                  <a:gd name="connsiteY14" fmla="*/ 2823587 h 2844606"/>
                  <a:gd name="connsiteX15" fmla="*/ 2944167 w 8956033"/>
                  <a:gd name="connsiteY15" fmla="*/ 2803490 h 2844606"/>
                  <a:gd name="connsiteX16" fmla="*/ 1889090 w 8956033"/>
                  <a:gd name="connsiteY16" fmla="*/ 2813539 h 2844606"/>
                  <a:gd name="connsiteX17" fmla="*/ 12890 w 8956033"/>
                  <a:gd name="connsiteY17" fmla="*/ 2793440 h 2844606"/>
                  <a:gd name="connsiteX0" fmla="*/ 539770 w 8943143"/>
                  <a:gd name="connsiteY0" fmla="*/ 0 h 2844606"/>
                  <a:gd name="connsiteX1" fmla="*/ 1624992 w 8943143"/>
                  <a:gd name="connsiteY1" fmla="*/ 10048 h 2844606"/>
                  <a:gd name="connsiteX2" fmla="*/ 2006829 w 8943143"/>
                  <a:gd name="connsiteY2" fmla="*/ 10048 h 2844606"/>
                  <a:gd name="connsiteX3" fmla="*/ 4518917 w 8943143"/>
                  <a:gd name="connsiteY3" fmla="*/ 30145 h 2844606"/>
                  <a:gd name="connsiteX4" fmla="*/ 6287427 w 8943143"/>
                  <a:gd name="connsiteY4" fmla="*/ 60290 h 2844606"/>
                  <a:gd name="connsiteX5" fmla="*/ 7051101 w 8943143"/>
                  <a:gd name="connsiteY5" fmla="*/ 30145 h 2844606"/>
                  <a:gd name="connsiteX6" fmla="*/ 8086082 w 8943143"/>
                  <a:gd name="connsiteY6" fmla="*/ 60290 h 2844606"/>
                  <a:gd name="connsiteX7" fmla="*/ 8943143 w 8943143"/>
                  <a:gd name="connsiteY7" fmla="*/ 60290 h 2844606"/>
                  <a:gd name="connsiteX8" fmla="*/ 7352552 w 8943143"/>
                  <a:gd name="connsiteY8" fmla="*/ 2783394 h 2844606"/>
                  <a:gd name="connsiteX9" fmla="*/ 7425600 w 8943143"/>
                  <a:gd name="connsiteY9" fmla="*/ 2776911 h 2844606"/>
                  <a:gd name="connsiteX10" fmla="*/ 6729554 w 8943143"/>
                  <a:gd name="connsiteY10" fmla="*/ 2803490 h 2844606"/>
                  <a:gd name="connsiteX11" fmla="*/ 6588877 w 8943143"/>
                  <a:gd name="connsiteY11" fmla="*/ 2793442 h 2844606"/>
                  <a:gd name="connsiteX12" fmla="*/ 4770126 w 8943143"/>
                  <a:gd name="connsiteY12" fmla="*/ 2843684 h 2844606"/>
                  <a:gd name="connsiteX13" fmla="*/ 3926064 w 8943143"/>
                  <a:gd name="connsiteY13" fmla="*/ 2823587 h 2844606"/>
                  <a:gd name="connsiteX14" fmla="*/ 2931277 w 8943143"/>
                  <a:gd name="connsiteY14" fmla="*/ 2803490 h 2844606"/>
                  <a:gd name="connsiteX15" fmla="*/ 1876200 w 8943143"/>
                  <a:gd name="connsiteY15" fmla="*/ 2813539 h 2844606"/>
                  <a:gd name="connsiteX16" fmla="*/ 0 w 8943143"/>
                  <a:gd name="connsiteY16" fmla="*/ 2793440 h 2844606"/>
                  <a:gd name="connsiteX0" fmla="*/ 539770 w 8943143"/>
                  <a:gd name="connsiteY0" fmla="*/ 0 h 2844606"/>
                  <a:gd name="connsiteX1" fmla="*/ 1624992 w 8943143"/>
                  <a:gd name="connsiteY1" fmla="*/ 10048 h 2844606"/>
                  <a:gd name="connsiteX2" fmla="*/ 2006829 w 8943143"/>
                  <a:gd name="connsiteY2" fmla="*/ 10048 h 2844606"/>
                  <a:gd name="connsiteX3" fmla="*/ 6287427 w 8943143"/>
                  <a:gd name="connsiteY3" fmla="*/ 60290 h 2844606"/>
                  <a:gd name="connsiteX4" fmla="*/ 7051101 w 8943143"/>
                  <a:gd name="connsiteY4" fmla="*/ 30145 h 2844606"/>
                  <a:gd name="connsiteX5" fmla="*/ 8086082 w 8943143"/>
                  <a:gd name="connsiteY5" fmla="*/ 60290 h 2844606"/>
                  <a:gd name="connsiteX6" fmla="*/ 8943143 w 8943143"/>
                  <a:gd name="connsiteY6" fmla="*/ 60290 h 2844606"/>
                  <a:gd name="connsiteX7" fmla="*/ 7352552 w 8943143"/>
                  <a:gd name="connsiteY7" fmla="*/ 2783394 h 2844606"/>
                  <a:gd name="connsiteX8" fmla="*/ 7425600 w 8943143"/>
                  <a:gd name="connsiteY8" fmla="*/ 2776911 h 2844606"/>
                  <a:gd name="connsiteX9" fmla="*/ 6729554 w 8943143"/>
                  <a:gd name="connsiteY9" fmla="*/ 2803490 h 2844606"/>
                  <a:gd name="connsiteX10" fmla="*/ 6588877 w 8943143"/>
                  <a:gd name="connsiteY10" fmla="*/ 2793442 h 2844606"/>
                  <a:gd name="connsiteX11" fmla="*/ 4770126 w 8943143"/>
                  <a:gd name="connsiteY11" fmla="*/ 2843684 h 2844606"/>
                  <a:gd name="connsiteX12" fmla="*/ 3926064 w 8943143"/>
                  <a:gd name="connsiteY12" fmla="*/ 2823587 h 2844606"/>
                  <a:gd name="connsiteX13" fmla="*/ 2931277 w 8943143"/>
                  <a:gd name="connsiteY13" fmla="*/ 2803490 h 2844606"/>
                  <a:gd name="connsiteX14" fmla="*/ 1876200 w 8943143"/>
                  <a:gd name="connsiteY14" fmla="*/ 2813539 h 2844606"/>
                  <a:gd name="connsiteX15" fmla="*/ 0 w 8943143"/>
                  <a:gd name="connsiteY15" fmla="*/ 2793440 h 2844606"/>
                  <a:gd name="connsiteX0" fmla="*/ 539770 w 8943143"/>
                  <a:gd name="connsiteY0" fmla="*/ 0 h 2844606"/>
                  <a:gd name="connsiteX1" fmla="*/ 1624992 w 8943143"/>
                  <a:gd name="connsiteY1" fmla="*/ 10048 h 2844606"/>
                  <a:gd name="connsiteX2" fmla="*/ 2006829 w 8943143"/>
                  <a:gd name="connsiteY2" fmla="*/ 10048 h 2844606"/>
                  <a:gd name="connsiteX3" fmla="*/ 6287427 w 8943143"/>
                  <a:gd name="connsiteY3" fmla="*/ 60290 h 2844606"/>
                  <a:gd name="connsiteX4" fmla="*/ 8086082 w 8943143"/>
                  <a:gd name="connsiteY4" fmla="*/ 60290 h 2844606"/>
                  <a:gd name="connsiteX5" fmla="*/ 8943143 w 8943143"/>
                  <a:gd name="connsiteY5" fmla="*/ 60290 h 2844606"/>
                  <a:gd name="connsiteX6" fmla="*/ 7352552 w 8943143"/>
                  <a:gd name="connsiteY6" fmla="*/ 2783394 h 2844606"/>
                  <a:gd name="connsiteX7" fmla="*/ 7425600 w 8943143"/>
                  <a:gd name="connsiteY7" fmla="*/ 2776911 h 2844606"/>
                  <a:gd name="connsiteX8" fmla="*/ 6729554 w 8943143"/>
                  <a:gd name="connsiteY8" fmla="*/ 2803490 h 2844606"/>
                  <a:gd name="connsiteX9" fmla="*/ 6588877 w 8943143"/>
                  <a:gd name="connsiteY9" fmla="*/ 2793442 h 2844606"/>
                  <a:gd name="connsiteX10" fmla="*/ 4770126 w 8943143"/>
                  <a:gd name="connsiteY10" fmla="*/ 2843684 h 2844606"/>
                  <a:gd name="connsiteX11" fmla="*/ 3926064 w 8943143"/>
                  <a:gd name="connsiteY11" fmla="*/ 2823587 h 2844606"/>
                  <a:gd name="connsiteX12" fmla="*/ 2931277 w 8943143"/>
                  <a:gd name="connsiteY12" fmla="*/ 2803490 h 2844606"/>
                  <a:gd name="connsiteX13" fmla="*/ 1876200 w 8943143"/>
                  <a:gd name="connsiteY13" fmla="*/ 2813539 h 2844606"/>
                  <a:gd name="connsiteX14" fmla="*/ 0 w 8943143"/>
                  <a:gd name="connsiteY14" fmla="*/ 2793440 h 2844606"/>
                  <a:gd name="connsiteX0" fmla="*/ 539770 w 8943143"/>
                  <a:gd name="connsiteY0" fmla="*/ 0 h 2844606"/>
                  <a:gd name="connsiteX1" fmla="*/ 1624992 w 8943143"/>
                  <a:gd name="connsiteY1" fmla="*/ 10048 h 2844606"/>
                  <a:gd name="connsiteX2" fmla="*/ 2006829 w 8943143"/>
                  <a:gd name="connsiteY2" fmla="*/ 10048 h 2844606"/>
                  <a:gd name="connsiteX3" fmla="*/ 8086082 w 8943143"/>
                  <a:gd name="connsiteY3" fmla="*/ 60290 h 2844606"/>
                  <a:gd name="connsiteX4" fmla="*/ 8943143 w 8943143"/>
                  <a:gd name="connsiteY4" fmla="*/ 60290 h 2844606"/>
                  <a:gd name="connsiteX5" fmla="*/ 7352552 w 8943143"/>
                  <a:gd name="connsiteY5" fmla="*/ 2783394 h 2844606"/>
                  <a:gd name="connsiteX6" fmla="*/ 7425600 w 8943143"/>
                  <a:gd name="connsiteY6" fmla="*/ 2776911 h 2844606"/>
                  <a:gd name="connsiteX7" fmla="*/ 6729554 w 8943143"/>
                  <a:gd name="connsiteY7" fmla="*/ 2803490 h 2844606"/>
                  <a:gd name="connsiteX8" fmla="*/ 6588877 w 8943143"/>
                  <a:gd name="connsiteY8" fmla="*/ 2793442 h 2844606"/>
                  <a:gd name="connsiteX9" fmla="*/ 4770126 w 8943143"/>
                  <a:gd name="connsiteY9" fmla="*/ 2843684 h 2844606"/>
                  <a:gd name="connsiteX10" fmla="*/ 3926064 w 8943143"/>
                  <a:gd name="connsiteY10" fmla="*/ 2823587 h 2844606"/>
                  <a:gd name="connsiteX11" fmla="*/ 2931277 w 8943143"/>
                  <a:gd name="connsiteY11" fmla="*/ 2803490 h 2844606"/>
                  <a:gd name="connsiteX12" fmla="*/ 1876200 w 8943143"/>
                  <a:gd name="connsiteY12" fmla="*/ 2813539 h 2844606"/>
                  <a:gd name="connsiteX13" fmla="*/ 0 w 8943143"/>
                  <a:gd name="connsiteY13" fmla="*/ 2793440 h 2844606"/>
                  <a:gd name="connsiteX0" fmla="*/ 539770 w 8943143"/>
                  <a:gd name="connsiteY0" fmla="*/ 0 h 2844606"/>
                  <a:gd name="connsiteX1" fmla="*/ 1624992 w 8943143"/>
                  <a:gd name="connsiteY1" fmla="*/ 10048 h 2844606"/>
                  <a:gd name="connsiteX2" fmla="*/ 8086082 w 8943143"/>
                  <a:gd name="connsiteY2" fmla="*/ 60290 h 2844606"/>
                  <a:gd name="connsiteX3" fmla="*/ 8943143 w 8943143"/>
                  <a:gd name="connsiteY3" fmla="*/ 60290 h 2844606"/>
                  <a:gd name="connsiteX4" fmla="*/ 7352552 w 8943143"/>
                  <a:gd name="connsiteY4" fmla="*/ 2783394 h 2844606"/>
                  <a:gd name="connsiteX5" fmla="*/ 7425600 w 8943143"/>
                  <a:gd name="connsiteY5" fmla="*/ 2776911 h 2844606"/>
                  <a:gd name="connsiteX6" fmla="*/ 6729554 w 8943143"/>
                  <a:gd name="connsiteY6" fmla="*/ 2803490 h 2844606"/>
                  <a:gd name="connsiteX7" fmla="*/ 6588877 w 8943143"/>
                  <a:gd name="connsiteY7" fmla="*/ 2793442 h 2844606"/>
                  <a:gd name="connsiteX8" fmla="*/ 4770126 w 8943143"/>
                  <a:gd name="connsiteY8" fmla="*/ 2843684 h 2844606"/>
                  <a:gd name="connsiteX9" fmla="*/ 3926064 w 8943143"/>
                  <a:gd name="connsiteY9" fmla="*/ 2823587 h 2844606"/>
                  <a:gd name="connsiteX10" fmla="*/ 2931277 w 8943143"/>
                  <a:gd name="connsiteY10" fmla="*/ 2803490 h 2844606"/>
                  <a:gd name="connsiteX11" fmla="*/ 1876200 w 8943143"/>
                  <a:gd name="connsiteY11" fmla="*/ 2813539 h 2844606"/>
                  <a:gd name="connsiteX12" fmla="*/ 0 w 8943143"/>
                  <a:gd name="connsiteY12" fmla="*/ 2793440 h 2844606"/>
                  <a:gd name="connsiteX0" fmla="*/ 539770 w 8943143"/>
                  <a:gd name="connsiteY0" fmla="*/ 0 h 2844606"/>
                  <a:gd name="connsiteX1" fmla="*/ 8086082 w 8943143"/>
                  <a:gd name="connsiteY1" fmla="*/ 60290 h 2844606"/>
                  <a:gd name="connsiteX2" fmla="*/ 8943143 w 8943143"/>
                  <a:gd name="connsiteY2" fmla="*/ 60290 h 2844606"/>
                  <a:gd name="connsiteX3" fmla="*/ 7352552 w 8943143"/>
                  <a:gd name="connsiteY3" fmla="*/ 2783394 h 2844606"/>
                  <a:gd name="connsiteX4" fmla="*/ 7425600 w 8943143"/>
                  <a:gd name="connsiteY4" fmla="*/ 2776911 h 2844606"/>
                  <a:gd name="connsiteX5" fmla="*/ 6729554 w 8943143"/>
                  <a:gd name="connsiteY5" fmla="*/ 2803490 h 2844606"/>
                  <a:gd name="connsiteX6" fmla="*/ 6588877 w 8943143"/>
                  <a:gd name="connsiteY6" fmla="*/ 2793442 h 2844606"/>
                  <a:gd name="connsiteX7" fmla="*/ 4770126 w 8943143"/>
                  <a:gd name="connsiteY7" fmla="*/ 2843684 h 2844606"/>
                  <a:gd name="connsiteX8" fmla="*/ 3926064 w 8943143"/>
                  <a:gd name="connsiteY8" fmla="*/ 2823587 h 2844606"/>
                  <a:gd name="connsiteX9" fmla="*/ 2931277 w 8943143"/>
                  <a:gd name="connsiteY9" fmla="*/ 2803490 h 2844606"/>
                  <a:gd name="connsiteX10" fmla="*/ 1876200 w 8943143"/>
                  <a:gd name="connsiteY10" fmla="*/ 2813539 h 2844606"/>
                  <a:gd name="connsiteX11" fmla="*/ 0 w 8943143"/>
                  <a:gd name="connsiteY11" fmla="*/ 2793440 h 2844606"/>
                  <a:gd name="connsiteX0" fmla="*/ 8086082 w 8943143"/>
                  <a:gd name="connsiteY0" fmla="*/ 0 h 2784316"/>
                  <a:gd name="connsiteX1" fmla="*/ 8943143 w 8943143"/>
                  <a:gd name="connsiteY1" fmla="*/ 0 h 2784316"/>
                  <a:gd name="connsiteX2" fmla="*/ 7352552 w 8943143"/>
                  <a:gd name="connsiteY2" fmla="*/ 2723104 h 2784316"/>
                  <a:gd name="connsiteX3" fmla="*/ 7425600 w 8943143"/>
                  <a:gd name="connsiteY3" fmla="*/ 2716621 h 2784316"/>
                  <a:gd name="connsiteX4" fmla="*/ 6729554 w 8943143"/>
                  <a:gd name="connsiteY4" fmla="*/ 2743200 h 2784316"/>
                  <a:gd name="connsiteX5" fmla="*/ 6588877 w 8943143"/>
                  <a:gd name="connsiteY5" fmla="*/ 2733152 h 2784316"/>
                  <a:gd name="connsiteX6" fmla="*/ 4770126 w 8943143"/>
                  <a:gd name="connsiteY6" fmla="*/ 2783394 h 2784316"/>
                  <a:gd name="connsiteX7" fmla="*/ 3926064 w 8943143"/>
                  <a:gd name="connsiteY7" fmla="*/ 2763297 h 2784316"/>
                  <a:gd name="connsiteX8" fmla="*/ 2931277 w 8943143"/>
                  <a:gd name="connsiteY8" fmla="*/ 2743200 h 2784316"/>
                  <a:gd name="connsiteX9" fmla="*/ 1876200 w 8943143"/>
                  <a:gd name="connsiteY9" fmla="*/ 2753249 h 2784316"/>
                  <a:gd name="connsiteX10" fmla="*/ 0 w 8943143"/>
                  <a:gd name="connsiteY10" fmla="*/ 2733150 h 2784316"/>
                  <a:gd name="connsiteX0" fmla="*/ 8943143 w 8943143"/>
                  <a:gd name="connsiteY0" fmla="*/ 0 h 2784316"/>
                  <a:gd name="connsiteX1" fmla="*/ 7352552 w 8943143"/>
                  <a:gd name="connsiteY1" fmla="*/ 2723104 h 2784316"/>
                  <a:gd name="connsiteX2" fmla="*/ 7425600 w 8943143"/>
                  <a:gd name="connsiteY2" fmla="*/ 2716621 h 2784316"/>
                  <a:gd name="connsiteX3" fmla="*/ 6729554 w 8943143"/>
                  <a:gd name="connsiteY3" fmla="*/ 2743200 h 2784316"/>
                  <a:gd name="connsiteX4" fmla="*/ 6588877 w 8943143"/>
                  <a:gd name="connsiteY4" fmla="*/ 2733152 h 2784316"/>
                  <a:gd name="connsiteX5" fmla="*/ 4770126 w 8943143"/>
                  <a:gd name="connsiteY5" fmla="*/ 2783394 h 2784316"/>
                  <a:gd name="connsiteX6" fmla="*/ 3926064 w 8943143"/>
                  <a:gd name="connsiteY6" fmla="*/ 2763297 h 2784316"/>
                  <a:gd name="connsiteX7" fmla="*/ 2931277 w 8943143"/>
                  <a:gd name="connsiteY7" fmla="*/ 2743200 h 2784316"/>
                  <a:gd name="connsiteX8" fmla="*/ 1876200 w 8943143"/>
                  <a:gd name="connsiteY8" fmla="*/ 2753249 h 2784316"/>
                  <a:gd name="connsiteX9" fmla="*/ 0 w 8943143"/>
                  <a:gd name="connsiteY9" fmla="*/ 2733150 h 2784316"/>
                  <a:gd name="connsiteX0" fmla="*/ 7352552 w 7439829"/>
                  <a:gd name="connsiteY0" fmla="*/ 8031 h 69243"/>
                  <a:gd name="connsiteX1" fmla="*/ 7425600 w 7439829"/>
                  <a:gd name="connsiteY1" fmla="*/ 1548 h 69243"/>
                  <a:gd name="connsiteX2" fmla="*/ 6729554 w 7439829"/>
                  <a:gd name="connsiteY2" fmla="*/ 28127 h 69243"/>
                  <a:gd name="connsiteX3" fmla="*/ 6588877 w 7439829"/>
                  <a:gd name="connsiteY3" fmla="*/ 18079 h 69243"/>
                  <a:gd name="connsiteX4" fmla="*/ 4770126 w 7439829"/>
                  <a:gd name="connsiteY4" fmla="*/ 68321 h 69243"/>
                  <a:gd name="connsiteX5" fmla="*/ 3926064 w 7439829"/>
                  <a:gd name="connsiteY5" fmla="*/ 48224 h 69243"/>
                  <a:gd name="connsiteX6" fmla="*/ 2931277 w 7439829"/>
                  <a:gd name="connsiteY6" fmla="*/ 28127 h 69243"/>
                  <a:gd name="connsiteX7" fmla="*/ 1876200 w 7439829"/>
                  <a:gd name="connsiteY7" fmla="*/ 38176 h 69243"/>
                  <a:gd name="connsiteX8" fmla="*/ 0 w 7439829"/>
                  <a:gd name="connsiteY8" fmla="*/ 18077 h 69243"/>
                  <a:gd name="connsiteX0" fmla="*/ 7352552 w 7439829"/>
                  <a:gd name="connsiteY0" fmla="*/ 8031 h 92339"/>
                  <a:gd name="connsiteX1" fmla="*/ 7425600 w 7439829"/>
                  <a:gd name="connsiteY1" fmla="*/ 1548 h 92339"/>
                  <a:gd name="connsiteX2" fmla="*/ 6729554 w 7439829"/>
                  <a:gd name="connsiteY2" fmla="*/ 28127 h 92339"/>
                  <a:gd name="connsiteX3" fmla="*/ 6588877 w 7439829"/>
                  <a:gd name="connsiteY3" fmla="*/ 18079 h 92339"/>
                  <a:gd name="connsiteX4" fmla="*/ 4770126 w 7439829"/>
                  <a:gd name="connsiteY4" fmla="*/ 68321 h 92339"/>
                  <a:gd name="connsiteX5" fmla="*/ 4538615 w 7439829"/>
                  <a:gd name="connsiteY5" fmla="*/ 91853 h 92339"/>
                  <a:gd name="connsiteX6" fmla="*/ 3926064 w 7439829"/>
                  <a:gd name="connsiteY6" fmla="*/ 48224 h 92339"/>
                  <a:gd name="connsiteX7" fmla="*/ 2931277 w 7439829"/>
                  <a:gd name="connsiteY7" fmla="*/ 28127 h 92339"/>
                  <a:gd name="connsiteX8" fmla="*/ 1876200 w 7439829"/>
                  <a:gd name="connsiteY8" fmla="*/ 38176 h 92339"/>
                  <a:gd name="connsiteX9" fmla="*/ 0 w 7439829"/>
                  <a:gd name="connsiteY9" fmla="*/ 18077 h 92339"/>
                  <a:gd name="connsiteX0" fmla="*/ 7352552 w 7439829"/>
                  <a:gd name="connsiteY0" fmla="*/ 8031 h 91853"/>
                  <a:gd name="connsiteX1" fmla="*/ 7425600 w 7439829"/>
                  <a:gd name="connsiteY1" fmla="*/ 1548 h 91853"/>
                  <a:gd name="connsiteX2" fmla="*/ 6729554 w 7439829"/>
                  <a:gd name="connsiteY2" fmla="*/ 28127 h 91853"/>
                  <a:gd name="connsiteX3" fmla="*/ 6588877 w 7439829"/>
                  <a:gd name="connsiteY3" fmla="*/ 18079 h 91853"/>
                  <a:gd name="connsiteX4" fmla="*/ 4538615 w 7439829"/>
                  <a:gd name="connsiteY4" fmla="*/ 91853 h 91853"/>
                  <a:gd name="connsiteX5" fmla="*/ 3926064 w 7439829"/>
                  <a:gd name="connsiteY5" fmla="*/ 48224 h 91853"/>
                  <a:gd name="connsiteX6" fmla="*/ 2931277 w 7439829"/>
                  <a:gd name="connsiteY6" fmla="*/ 28127 h 91853"/>
                  <a:gd name="connsiteX7" fmla="*/ 1876200 w 7439829"/>
                  <a:gd name="connsiteY7" fmla="*/ 38176 h 91853"/>
                  <a:gd name="connsiteX8" fmla="*/ 0 w 7439829"/>
                  <a:gd name="connsiteY8" fmla="*/ 18077 h 91853"/>
                  <a:gd name="connsiteX0" fmla="*/ 7352552 w 7439829"/>
                  <a:gd name="connsiteY0" fmla="*/ 8031 h 91853"/>
                  <a:gd name="connsiteX1" fmla="*/ 7425600 w 7439829"/>
                  <a:gd name="connsiteY1" fmla="*/ 1548 h 91853"/>
                  <a:gd name="connsiteX2" fmla="*/ 6729554 w 7439829"/>
                  <a:gd name="connsiteY2" fmla="*/ 28127 h 91853"/>
                  <a:gd name="connsiteX3" fmla="*/ 4538615 w 7439829"/>
                  <a:gd name="connsiteY3" fmla="*/ 91853 h 91853"/>
                  <a:gd name="connsiteX4" fmla="*/ 3926064 w 7439829"/>
                  <a:gd name="connsiteY4" fmla="*/ 48224 h 91853"/>
                  <a:gd name="connsiteX5" fmla="*/ 2931277 w 7439829"/>
                  <a:gd name="connsiteY5" fmla="*/ 28127 h 91853"/>
                  <a:gd name="connsiteX6" fmla="*/ 1876200 w 7439829"/>
                  <a:gd name="connsiteY6" fmla="*/ 38176 h 91853"/>
                  <a:gd name="connsiteX7" fmla="*/ 0 w 7439829"/>
                  <a:gd name="connsiteY7" fmla="*/ 18077 h 91853"/>
                  <a:gd name="connsiteX0" fmla="*/ 7352552 w 7439829"/>
                  <a:gd name="connsiteY0" fmla="*/ 8031 h 91853"/>
                  <a:gd name="connsiteX1" fmla="*/ 7425600 w 7439829"/>
                  <a:gd name="connsiteY1" fmla="*/ 1548 h 91853"/>
                  <a:gd name="connsiteX2" fmla="*/ 4538615 w 7439829"/>
                  <a:gd name="connsiteY2" fmla="*/ 91853 h 91853"/>
                  <a:gd name="connsiteX3" fmla="*/ 3926064 w 7439829"/>
                  <a:gd name="connsiteY3" fmla="*/ 48224 h 91853"/>
                  <a:gd name="connsiteX4" fmla="*/ 2931277 w 7439829"/>
                  <a:gd name="connsiteY4" fmla="*/ 28127 h 91853"/>
                  <a:gd name="connsiteX5" fmla="*/ 1876200 w 7439829"/>
                  <a:gd name="connsiteY5" fmla="*/ 38176 h 91853"/>
                  <a:gd name="connsiteX6" fmla="*/ 0 w 7439829"/>
                  <a:gd name="connsiteY6" fmla="*/ 18077 h 91853"/>
                  <a:gd name="connsiteX0" fmla="*/ 7352552 w 7352552"/>
                  <a:gd name="connsiteY0" fmla="*/ 0 h 83822"/>
                  <a:gd name="connsiteX1" fmla="*/ 4538615 w 7352552"/>
                  <a:gd name="connsiteY1" fmla="*/ 83822 h 83822"/>
                  <a:gd name="connsiteX2" fmla="*/ 3926064 w 7352552"/>
                  <a:gd name="connsiteY2" fmla="*/ 40193 h 83822"/>
                  <a:gd name="connsiteX3" fmla="*/ 2931277 w 7352552"/>
                  <a:gd name="connsiteY3" fmla="*/ 20096 h 83822"/>
                  <a:gd name="connsiteX4" fmla="*/ 1876200 w 7352552"/>
                  <a:gd name="connsiteY4" fmla="*/ 30145 h 83822"/>
                  <a:gd name="connsiteX5" fmla="*/ 0 w 7352552"/>
                  <a:gd name="connsiteY5" fmla="*/ 10046 h 83822"/>
                  <a:gd name="connsiteX0" fmla="*/ 4538615 w 4538615"/>
                  <a:gd name="connsiteY0" fmla="*/ 73776 h 73776"/>
                  <a:gd name="connsiteX1" fmla="*/ 3926064 w 4538615"/>
                  <a:gd name="connsiteY1" fmla="*/ 30147 h 73776"/>
                  <a:gd name="connsiteX2" fmla="*/ 2931277 w 4538615"/>
                  <a:gd name="connsiteY2" fmla="*/ 10050 h 73776"/>
                  <a:gd name="connsiteX3" fmla="*/ 1876200 w 4538615"/>
                  <a:gd name="connsiteY3" fmla="*/ 20099 h 73776"/>
                  <a:gd name="connsiteX4" fmla="*/ 0 w 4538615"/>
                  <a:gd name="connsiteY4" fmla="*/ 0 h 73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8615" h="73776">
                    <a:moveTo>
                      <a:pt x="4538615" y="73776"/>
                    </a:moveTo>
                    <a:cubicBezTo>
                      <a:pt x="4397938" y="70427"/>
                      <a:pt x="4193954" y="40768"/>
                      <a:pt x="3926064" y="30147"/>
                    </a:cubicBezTo>
                    <a:lnTo>
                      <a:pt x="2931277" y="10050"/>
                    </a:lnTo>
                    <a:lnTo>
                      <a:pt x="1876200" y="20099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53" name="Group 123">
              <a:extLst>
                <a:ext uri="{FF2B5EF4-FFF2-40B4-BE49-F238E27FC236}">
                  <a16:creationId xmlns:a16="http://schemas.microsoft.com/office/drawing/2014/main" id="{C6134EE8-6CBA-169B-C1DA-BB9FAE430365}"/>
                </a:ext>
              </a:extLst>
            </p:cNvPr>
            <p:cNvGrpSpPr/>
            <p:nvPr/>
          </p:nvGrpSpPr>
          <p:grpSpPr>
            <a:xfrm rot="10800000">
              <a:off x="3158734" y="1464913"/>
              <a:ext cx="422234" cy="514735"/>
              <a:chOff x="352424" y="3433220"/>
              <a:chExt cx="1582577" cy="1918336"/>
            </a:xfrm>
          </p:grpSpPr>
          <p:sp>
            <p:nvSpPr>
              <p:cNvPr id="54" name="Freeform: Shape 124">
                <a:extLst>
                  <a:ext uri="{FF2B5EF4-FFF2-40B4-BE49-F238E27FC236}">
                    <a16:creationId xmlns:a16="http://schemas.microsoft.com/office/drawing/2014/main" id="{A6817423-352E-2613-F33F-94D545147E2E}"/>
                  </a:ext>
                </a:extLst>
              </p:cNvPr>
              <p:cNvSpPr/>
              <p:nvPr/>
            </p:nvSpPr>
            <p:spPr>
              <a:xfrm rot="10800000">
                <a:off x="358140" y="3608480"/>
                <a:ext cx="1576861" cy="174307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55" name="Freeform: Shape 125">
                <a:extLst>
                  <a:ext uri="{FF2B5EF4-FFF2-40B4-BE49-F238E27FC236}">
                    <a16:creationId xmlns:a16="http://schemas.microsoft.com/office/drawing/2014/main" id="{9C43A2A1-6F83-96A6-CF2A-289516E555F2}"/>
                  </a:ext>
                </a:extLst>
              </p:cNvPr>
              <p:cNvSpPr/>
              <p:nvPr/>
            </p:nvSpPr>
            <p:spPr>
              <a:xfrm rot="10800000">
                <a:off x="352424" y="3433220"/>
                <a:ext cx="1576861" cy="174307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noFill/>
              <a:ln>
                <a:solidFill>
                  <a:srgbClr val="88BCA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pic>
          <p:nvPicPr>
            <p:cNvPr id="56" name="Graphic 1">
              <a:extLst>
                <a:ext uri="{FF2B5EF4-FFF2-40B4-BE49-F238E27FC236}">
                  <a16:creationId xmlns:a16="http://schemas.microsoft.com/office/drawing/2014/main" id="{423C3219-82F4-4114-206A-A5C7311D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6898" y="2095691"/>
              <a:ext cx="2805700" cy="2213707"/>
            </a:xfrm>
            <a:prstGeom prst="rect">
              <a:avLst/>
            </a:prstGeom>
          </p:spPr>
        </p:pic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0B6D535-649D-A6B6-1280-452411C379BD}"/>
              </a:ext>
            </a:extLst>
          </p:cNvPr>
          <p:cNvCxnSpPr>
            <a:cxnSpLocks/>
          </p:cNvCxnSpPr>
          <p:nvPr/>
        </p:nvCxnSpPr>
        <p:spPr>
          <a:xfrm>
            <a:off x="9275737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4" name="Graphic 83">
            <a:extLst>
              <a:ext uri="{FF2B5EF4-FFF2-40B4-BE49-F238E27FC236}">
                <a16:creationId xmlns:a16="http://schemas.microsoft.com/office/drawing/2014/main" id="{71CDDCAD-5726-70EF-AEE1-6E55D15E56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56750" y="3310248"/>
            <a:ext cx="342922" cy="342922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95A242E4-416C-F57A-C53B-69AE7CF7BA0A}"/>
              </a:ext>
            </a:extLst>
          </p:cNvPr>
          <p:cNvGrpSpPr/>
          <p:nvPr/>
        </p:nvGrpSpPr>
        <p:grpSpPr>
          <a:xfrm>
            <a:off x="4216522" y="3798196"/>
            <a:ext cx="223379" cy="264909"/>
            <a:chOff x="-500362" y="3798874"/>
            <a:chExt cx="274718" cy="325790"/>
          </a:xfrm>
          <a:solidFill>
            <a:srgbClr val="B5CEBD"/>
          </a:solidFill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FE6C519-669D-5140-9644-CA6F6FB0B33F}"/>
                </a:ext>
              </a:extLst>
            </p:cNvPr>
            <p:cNvSpPr/>
            <p:nvPr/>
          </p:nvSpPr>
          <p:spPr>
            <a:xfrm>
              <a:off x="-453549" y="3882251"/>
              <a:ext cx="120405" cy="194715"/>
            </a:xfrm>
            <a:custGeom>
              <a:avLst/>
              <a:gdLst>
                <a:gd name="connsiteX0" fmla="*/ 68827 w 120405"/>
                <a:gd name="connsiteY0" fmla="*/ 142631 h 194715"/>
                <a:gd name="connsiteX1" fmla="*/ 76461 w 120405"/>
                <a:gd name="connsiteY1" fmla="*/ 130949 h 194715"/>
                <a:gd name="connsiteX2" fmla="*/ 81985 w 120405"/>
                <a:gd name="connsiteY2" fmla="*/ 118676 h 194715"/>
                <a:gd name="connsiteX3" fmla="*/ 69966 w 120405"/>
                <a:gd name="connsiteY3" fmla="*/ 117538 h 194715"/>
                <a:gd name="connsiteX4" fmla="*/ 56681 w 120405"/>
                <a:gd name="connsiteY4" fmla="*/ 118718 h 194715"/>
                <a:gd name="connsiteX5" fmla="*/ 61995 w 120405"/>
                <a:gd name="connsiteY5" fmla="*/ 104632 h 194715"/>
                <a:gd name="connsiteX6" fmla="*/ 67351 w 120405"/>
                <a:gd name="connsiteY6" fmla="*/ 91137 h 194715"/>
                <a:gd name="connsiteX7" fmla="*/ 72159 w 120405"/>
                <a:gd name="connsiteY7" fmla="*/ 77473 h 194715"/>
                <a:gd name="connsiteX8" fmla="*/ 76503 w 120405"/>
                <a:gd name="connsiteY8" fmla="*/ 63598 h 194715"/>
                <a:gd name="connsiteX9" fmla="*/ 81521 w 120405"/>
                <a:gd name="connsiteY9" fmla="*/ 49933 h 194715"/>
                <a:gd name="connsiteX10" fmla="*/ 85697 w 120405"/>
                <a:gd name="connsiteY10" fmla="*/ 36016 h 194715"/>
                <a:gd name="connsiteX11" fmla="*/ 88185 w 120405"/>
                <a:gd name="connsiteY11" fmla="*/ 35594 h 194715"/>
                <a:gd name="connsiteX12" fmla="*/ 91390 w 120405"/>
                <a:gd name="connsiteY12" fmla="*/ 47445 h 194715"/>
                <a:gd name="connsiteX13" fmla="*/ 94848 w 120405"/>
                <a:gd name="connsiteY13" fmla="*/ 59085 h 194715"/>
                <a:gd name="connsiteX14" fmla="*/ 98180 w 120405"/>
                <a:gd name="connsiteY14" fmla="*/ 70767 h 194715"/>
                <a:gd name="connsiteX15" fmla="*/ 103072 w 120405"/>
                <a:gd name="connsiteY15" fmla="*/ 82618 h 194715"/>
                <a:gd name="connsiteX16" fmla="*/ 109778 w 120405"/>
                <a:gd name="connsiteY16" fmla="*/ 71779 h 194715"/>
                <a:gd name="connsiteX17" fmla="*/ 114417 w 120405"/>
                <a:gd name="connsiteY17" fmla="*/ 60435 h 194715"/>
                <a:gd name="connsiteX18" fmla="*/ 120405 w 120405"/>
                <a:gd name="connsiteY18" fmla="*/ 50102 h 194715"/>
                <a:gd name="connsiteX19" fmla="*/ 117285 w 120405"/>
                <a:gd name="connsiteY19" fmla="*/ 37619 h 194715"/>
                <a:gd name="connsiteX20" fmla="*/ 112392 w 120405"/>
                <a:gd name="connsiteY20" fmla="*/ 25515 h 194715"/>
                <a:gd name="connsiteX21" fmla="*/ 108470 w 120405"/>
                <a:gd name="connsiteY21" fmla="*/ 13032 h 194715"/>
                <a:gd name="connsiteX22" fmla="*/ 103620 w 120405"/>
                <a:gd name="connsiteY22" fmla="*/ 422 h 194715"/>
                <a:gd name="connsiteX23" fmla="*/ 86456 w 120405"/>
                <a:gd name="connsiteY23" fmla="*/ 0 h 194715"/>
                <a:gd name="connsiteX24" fmla="*/ 69460 w 120405"/>
                <a:gd name="connsiteY24" fmla="*/ 633 h 194715"/>
                <a:gd name="connsiteX25" fmla="*/ 64230 w 120405"/>
                <a:gd name="connsiteY25" fmla="*/ 13580 h 194715"/>
                <a:gd name="connsiteX26" fmla="*/ 60941 w 120405"/>
                <a:gd name="connsiteY26" fmla="*/ 26907 h 194715"/>
                <a:gd name="connsiteX27" fmla="*/ 55079 w 120405"/>
                <a:gd name="connsiteY27" fmla="*/ 39306 h 194715"/>
                <a:gd name="connsiteX28" fmla="*/ 51663 w 120405"/>
                <a:gd name="connsiteY28" fmla="*/ 52590 h 194715"/>
                <a:gd name="connsiteX29" fmla="*/ 46391 w 120405"/>
                <a:gd name="connsiteY29" fmla="*/ 65200 h 194715"/>
                <a:gd name="connsiteX30" fmla="*/ 41457 w 120405"/>
                <a:gd name="connsiteY30" fmla="*/ 77937 h 194715"/>
                <a:gd name="connsiteX31" fmla="*/ 36607 w 120405"/>
                <a:gd name="connsiteY31" fmla="*/ 90715 h 194715"/>
                <a:gd name="connsiteX32" fmla="*/ 33275 w 120405"/>
                <a:gd name="connsiteY32" fmla="*/ 104042 h 194715"/>
                <a:gd name="connsiteX33" fmla="*/ 28045 w 120405"/>
                <a:gd name="connsiteY33" fmla="*/ 116652 h 194715"/>
                <a:gd name="connsiteX34" fmla="*/ 23195 w 120405"/>
                <a:gd name="connsiteY34" fmla="*/ 129430 h 194715"/>
                <a:gd name="connsiteX35" fmla="*/ 19315 w 120405"/>
                <a:gd name="connsiteY35" fmla="*/ 142546 h 194715"/>
                <a:gd name="connsiteX36" fmla="*/ 14676 w 120405"/>
                <a:gd name="connsiteY36" fmla="*/ 155409 h 194715"/>
                <a:gd name="connsiteX37" fmla="*/ 10290 w 120405"/>
                <a:gd name="connsiteY37" fmla="*/ 168357 h 194715"/>
                <a:gd name="connsiteX38" fmla="*/ 4133 w 120405"/>
                <a:gd name="connsiteY38" fmla="*/ 180713 h 194715"/>
                <a:gd name="connsiteX39" fmla="*/ 0 w 120405"/>
                <a:gd name="connsiteY39" fmla="*/ 194082 h 194715"/>
                <a:gd name="connsiteX40" fmla="*/ 15689 w 120405"/>
                <a:gd name="connsiteY40" fmla="*/ 193576 h 194715"/>
                <a:gd name="connsiteX41" fmla="*/ 31714 w 120405"/>
                <a:gd name="connsiteY41" fmla="*/ 194715 h 194715"/>
                <a:gd name="connsiteX42" fmla="*/ 36185 w 120405"/>
                <a:gd name="connsiteY42" fmla="*/ 181304 h 194715"/>
                <a:gd name="connsiteX43" fmla="*/ 39095 w 120405"/>
                <a:gd name="connsiteY43" fmla="*/ 168061 h 194715"/>
                <a:gd name="connsiteX44" fmla="*/ 44577 w 120405"/>
                <a:gd name="connsiteY44" fmla="*/ 155662 h 194715"/>
                <a:gd name="connsiteX45" fmla="*/ 49259 w 120405"/>
                <a:gd name="connsiteY45" fmla="*/ 143643 h 194715"/>
                <a:gd name="connsiteX46" fmla="*/ 68827 w 120405"/>
                <a:gd name="connsiteY46" fmla="*/ 142631 h 19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0405" h="194715">
                  <a:moveTo>
                    <a:pt x="68827" y="142631"/>
                  </a:moveTo>
                  <a:lnTo>
                    <a:pt x="76461" y="130949"/>
                  </a:lnTo>
                  <a:lnTo>
                    <a:pt x="81985" y="118676"/>
                  </a:lnTo>
                  <a:lnTo>
                    <a:pt x="69966" y="117538"/>
                  </a:lnTo>
                  <a:lnTo>
                    <a:pt x="56681" y="118718"/>
                  </a:lnTo>
                  <a:lnTo>
                    <a:pt x="61995" y="104632"/>
                  </a:lnTo>
                  <a:lnTo>
                    <a:pt x="67351" y="91137"/>
                  </a:lnTo>
                  <a:lnTo>
                    <a:pt x="72159" y="77473"/>
                  </a:lnTo>
                  <a:lnTo>
                    <a:pt x="76503" y="63598"/>
                  </a:lnTo>
                  <a:lnTo>
                    <a:pt x="81521" y="49933"/>
                  </a:lnTo>
                  <a:lnTo>
                    <a:pt x="85697" y="36016"/>
                  </a:lnTo>
                  <a:lnTo>
                    <a:pt x="88185" y="35594"/>
                  </a:lnTo>
                  <a:lnTo>
                    <a:pt x="91390" y="47445"/>
                  </a:lnTo>
                  <a:lnTo>
                    <a:pt x="94848" y="59085"/>
                  </a:lnTo>
                  <a:lnTo>
                    <a:pt x="98180" y="70767"/>
                  </a:lnTo>
                  <a:lnTo>
                    <a:pt x="103072" y="82618"/>
                  </a:lnTo>
                  <a:lnTo>
                    <a:pt x="109778" y="71779"/>
                  </a:lnTo>
                  <a:lnTo>
                    <a:pt x="114417" y="60435"/>
                  </a:lnTo>
                  <a:lnTo>
                    <a:pt x="120405" y="50102"/>
                  </a:lnTo>
                  <a:lnTo>
                    <a:pt x="117285" y="37619"/>
                  </a:lnTo>
                  <a:lnTo>
                    <a:pt x="112392" y="25515"/>
                  </a:lnTo>
                  <a:lnTo>
                    <a:pt x="108470" y="13032"/>
                  </a:lnTo>
                  <a:lnTo>
                    <a:pt x="103620" y="422"/>
                  </a:lnTo>
                  <a:lnTo>
                    <a:pt x="86456" y="0"/>
                  </a:lnTo>
                  <a:lnTo>
                    <a:pt x="69460" y="633"/>
                  </a:lnTo>
                  <a:lnTo>
                    <a:pt x="64230" y="13580"/>
                  </a:lnTo>
                  <a:lnTo>
                    <a:pt x="60941" y="26907"/>
                  </a:lnTo>
                  <a:lnTo>
                    <a:pt x="55079" y="39306"/>
                  </a:lnTo>
                  <a:lnTo>
                    <a:pt x="51663" y="52590"/>
                  </a:lnTo>
                  <a:lnTo>
                    <a:pt x="46391" y="65200"/>
                  </a:lnTo>
                  <a:lnTo>
                    <a:pt x="41457" y="77937"/>
                  </a:lnTo>
                  <a:lnTo>
                    <a:pt x="36607" y="90715"/>
                  </a:lnTo>
                  <a:lnTo>
                    <a:pt x="33275" y="104042"/>
                  </a:lnTo>
                  <a:lnTo>
                    <a:pt x="28045" y="116652"/>
                  </a:lnTo>
                  <a:lnTo>
                    <a:pt x="23195" y="129430"/>
                  </a:lnTo>
                  <a:lnTo>
                    <a:pt x="19315" y="142546"/>
                  </a:lnTo>
                  <a:lnTo>
                    <a:pt x="14676" y="155409"/>
                  </a:lnTo>
                  <a:lnTo>
                    <a:pt x="10290" y="168357"/>
                  </a:lnTo>
                  <a:lnTo>
                    <a:pt x="4133" y="180713"/>
                  </a:lnTo>
                  <a:lnTo>
                    <a:pt x="0" y="194082"/>
                  </a:lnTo>
                  <a:lnTo>
                    <a:pt x="15689" y="193576"/>
                  </a:lnTo>
                  <a:lnTo>
                    <a:pt x="31714" y="194715"/>
                  </a:lnTo>
                  <a:lnTo>
                    <a:pt x="36185" y="181304"/>
                  </a:lnTo>
                  <a:lnTo>
                    <a:pt x="39095" y="168061"/>
                  </a:lnTo>
                  <a:lnTo>
                    <a:pt x="44577" y="155662"/>
                  </a:lnTo>
                  <a:lnTo>
                    <a:pt x="49259" y="143643"/>
                  </a:lnTo>
                  <a:lnTo>
                    <a:pt x="68827" y="142631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4E5EE076-1FBD-7D44-6152-564B26044875}"/>
                </a:ext>
              </a:extLst>
            </p:cNvPr>
            <p:cNvSpPr/>
            <p:nvPr/>
          </p:nvSpPr>
          <p:spPr>
            <a:xfrm>
              <a:off x="-500362" y="3798874"/>
              <a:ext cx="266114" cy="72707"/>
            </a:xfrm>
            <a:custGeom>
              <a:avLst/>
              <a:gdLst>
                <a:gd name="connsiteX0" fmla="*/ 0 w 266114"/>
                <a:gd name="connsiteY0" fmla="*/ 72707 h 72707"/>
                <a:gd name="connsiteX1" fmla="*/ 11513 w 266114"/>
                <a:gd name="connsiteY1" fmla="*/ 65833 h 72707"/>
                <a:gd name="connsiteX2" fmla="*/ 23533 w 266114"/>
                <a:gd name="connsiteY2" fmla="*/ 59844 h 72707"/>
                <a:gd name="connsiteX3" fmla="*/ 35805 w 266114"/>
                <a:gd name="connsiteY3" fmla="*/ 54362 h 72707"/>
                <a:gd name="connsiteX4" fmla="*/ 46897 w 266114"/>
                <a:gd name="connsiteY4" fmla="*/ 46686 h 72707"/>
                <a:gd name="connsiteX5" fmla="*/ 59254 w 266114"/>
                <a:gd name="connsiteY5" fmla="*/ 41372 h 72707"/>
                <a:gd name="connsiteX6" fmla="*/ 70261 w 266114"/>
                <a:gd name="connsiteY6" fmla="*/ 33612 h 72707"/>
                <a:gd name="connsiteX7" fmla="*/ 82154 w 266114"/>
                <a:gd name="connsiteY7" fmla="*/ 27413 h 72707"/>
                <a:gd name="connsiteX8" fmla="*/ 93752 w 266114"/>
                <a:gd name="connsiteY8" fmla="*/ 20665 h 72707"/>
                <a:gd name="connsiteX9" fmla="*/ 105349 w 266114"/>
                <a:gd name="connsiteY9" fmla="*/ 13917 h 72707"/>
                <a:gd name="connsiteX10" fmla="*/ 116694 w 266114"/>
                <a:gd name="connsiteY10" fmla="*/ 6706 h 72707"/>
                <a:gd name="connsiteX11" fmla="*/ 128882 w 266114"/>
                <a:gd name="connsiteY11" fmla="*/ 0 h 72707"/>
                <a:gd name="connsiteX12" fmla="*/ 141787 w 266114"/>
                <a:gd name="connsiteY12" fmla="*/ 6748 h 72707"/>
                <a:gd name="connsiteX13" fmla="*/ 153807 w 266114"/>
                <a:gd name="connsiteY13" fmla="*/ 14002 h 72707"/>
                <a:gd name="connsiteX14" fmla="*/ 166543 w 266114"/>
                <a:gd name="connsiteY14" fmla="*/ 19990 h 72707"/>
                <a:gd name="connsiteX15" fmla="*/ 178647 w 266114"/>
                <a:gd name="connsiteY15" fmla="*/ 27244 h 72707"/>
                <a:gd name="connsiteX16" fmla="*/ 190835 w 266114"/>
                <a:gd name="connsiteY16" fmla="*/ 34245 h 72707"/>
                <a:gd name="connsiteX17" fmla="*/ 203740 w 266114"/>
                <a:gd name="connsiteY17" fmla="*/ 39938 h 72707"/>
                <a:gd name="connsiteX18" fmla="*/ 215717 w 266114"/>
                <a:gd name="connsiteY18" fmla="*/ 47361 h 72707"/>
                <a:gd name="connsiteX19" fmla="*/ 228833 w 266114"/>
                <a:gd name="connsiteY19" fmla="*/ 52675 h 72707"/>
                <a:gd name="connsiteX20" fmla="*/ 240811 w 266114"/>
                <a:gd name="connsiteY20" fmla="*/ 60097 h 72707"/>
                <a:gd name="connsiteX21" fmla="*/ 253421 w 266114"/>
                <a:gd name="connsiteY21" fmla="*/ 66465 h 72707"/>
                <a:gd name="connsiteX22" fmla="*/ 266115 w 266114"/>
                <a:gd name="connsiteY22" fmla="*/ 72581 h 7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114" h="72707">
                  <a:moveTo>
                    <a:pt x="0" y="72707"/>
                  </a:moveTo>
                  <a:lnTo>
                    <a:pt x="11513" y="65833"/>
                  </a:lnTo>
                  <a:lnTo>
                    <a:pt x="23533" y="59844"/>
                  </a:lnTo>
                  <a:lnTo>
                    <a:pt x="35805" y="54362"/>
                  </a:lnTo>
                  <a:lnTo>
                    <a:pt x="46897" y="46686"/>
                  </a:lnTo>
                  <a:lnTo>
                    <a:pt x="59254" y="41372"/>
                  </a:lnTo>
                  <a:lnTo>
                    <a:pt x="70261" y="33612"/>
                  </a:lnTo>
                  <a:lnTo>
                    <a:pt x="82154" y="27413"/>
                  </a:lnTo>
                  <a:lnTo>
                    <a:pt x="93752" y="20665"/>
                  </a:lnTo>
                  <a:lnTo>
                    <a:pt x="105349" y="13917"/>
                  </a:lnTo>
                  <a:lnTo>
                    <a:pt x="116694" y="6706"/>
                  </a:lnTo>
                  <a:lnTo>
                    <a:pt x="128882" y="0"/>
                  </a:lnTo>
                  <a:lnTo>
                    <a:pt x="141787" y="6748"/>
                  </a:lnTo>
                  <a:lnTo>
                    <a:pt x="153807" y="14002"/>
                  </a:lnTo>
                  <a:lnTo>
                    <a:pt x="166543" y="19990"/>
                  </a:lnTo>
                  <a:lnTo>
                    <a:pt x="178647" y="27244"/>
                  </a:lnTo>
                  <a:lnTo>
                    <a:pt x="190835" y="34245"/>
                  </a:lnTo>
                  <a:lnTo>
                    <a:pt x="203740" y="39938"/>
                  </a:lnTo>
                  <a:lnTo>
                    <a:pt x="215717" y="47361"/>
                  </a:lnTo>
                  <a:lnTo>
                    <a:pt x="228833" y="52675"/>
                  </a:lnTo>
                  <a:lnTo>
                    <a:pt x="240811" y="60097"/>
                  </a:lnTo>
                  <a:lnTo>
                    <a:pt x="253421" y="66465"/>
                  </a:lnTo>
                  <a:lnTo>
                    <a:pt x="266115" y="72581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B908EEE-3B08-66C5-EF07-B598AAD63317}"/>
                </a:ext>
              </a:extLst>
            </p:cNvPr>
            <p:cNvSpPr/>
            <p:nvPr/>
          </p:nvSpPr>
          <p:spPr>
            <a:xfrm>
              <a:off x="-479782" y="3860870"/>
              <a:ext cx="53602" cy="263246"/>
            </a:xfrm>
            <a:custGeom>
              <a:avLst/>
              <a:gdLst>
                <a:gd name="connsiteX0" fmla="*/ 380 w 53602"/>
                <a:gd name="connsiteY0" fmla="*/ 0 h 263246"/>
                <a:gd name="connsiteX1" fmla="*/ 1434 w 53602"/>
                <a:gd name="connsiteY1" fmla="*/ 13833 h 263246"/>
                <a:gd name="connsiteX2" fmla="*/ 970 w 53602"/>
                <a:gd name="connsiteY2" fmla="*/ 27624 h 263246"/>
                <a:gd name="connsiteX3" fmla="*/ 42 w 53602"/>
                <a:gd name="connsiteY3" fmla="*/ 41414 h 263246"/>
                <a:gd name="connsiteX4" fmla="*/ 1181 w 53602"/>
                <a:gd name="connsiteY4" fmla="*/ 55247 h 263246"/>
                <a:gd name="connsiteX5" fmla="*/ 506 w 53602"/>
                <a:gd name="connsiteY5" fmla="*/ 69080 h 263246"/>
                <a:gd name="connsiteX6" fmla="*/ 0 w 53602"/>
                <a:gd name="connsiteY6" fmla="*/ 82871 h 263246"/>
                <a:gd name="connsiteX7" fmla="*/ 1307 w 53602"/>
                <a:gd name="connsiteY7" fmla="*/ 96704 h 263246"/>
                <a:gd name="connsiteX8" fmla="*/ 127 w 53602"/>
                <a:gd name="connsiteY8" fmla="*/ 110495 h 263246"/>
                <a:gd name="connsiteX9" fmla="*/ 84 w 53602"/>
                <a:gd name="connsiteY9" fmla="*/ 124327 h 263246"/>
                <a:gd name="connsiteX10" fmla="*/ 380 w 53602"/>
                <a:gd name="connsiteY10" fmla="*/ 138160 h 263246"/>
                <a:gd name="connsiteX11" fmla="*/ 675 w 53602"/>
                <a:gd name="connsiteY11" fmla="*/ 151993 h 263246"/>
                <a:gd name="connsiteX12" fmla="*/ 0 w 53602"/>
                <a:gd name="connsiteY12" fmla="*/ 165826 h 263246"/>
                <a:gd name="connsiteX13" fmla="*/ 1350 w 53602"/>
                <a:gd name="connsiteY13" fmla="*/ 179659 h 263246"/>
                <a:gd name="connsiteX14" fmla="*/ 1138 w 53602"/>
                <a:gd name="connsiteY14" fmla="*/ 193492 h 263246"/>
                <a:gd name="connsiteX15" fmla="*/ 1223 w 53602"/>
                <a:gd name="connsiteY15" fmla="*/ 207325 h 263246"/>
                <a:gd name="connsiteX16" fmla="*/ 506 w 53602"/>
                <a:gd name="connsiteY16" fmla="*/ 221158 h 263246"/>
                <a:gd name="connsiteX17" fmla="*/ 1560 w 53602"/>
                <a:gd name="connsiteY17" fmla="*/ 234991 h 263246"/>
                <a:gd name="connsiteX18" fmla="*/ 886 w 53602"/>
                <a:gd name="connsiteY18" fmla="*/ 248824 h 263246"/>
                <a:gd name="connsiteX19" fmla="*/ 1138 w 53602"/>
                <a:gd name="connsiteY19" fmla="*/ 262150 h 263246"/>
                <a:gd name="connsiteX20" fmla="*/ 13833 w 53602"/>
                <a:gd name="connsiteY20" fmla="*/ 262530 h 263246"/>
                <a:gd name="connsiteX21" fmla="*/ 27075 w 53602"/>
                <a:gd name="connsiteY21" fmla="*/ 261855 h 263246"/>
                <a:gd name="connsiteX22" fmla="*/ 40360 w 53602"/>
                <a:gd name="connsiteY22" fmla="*/ 263247 h 263246"/>
                <a:gd name="connsiteX23" fmla="*/ 53603 w 53602"/>
                <a:gd name="connsiteY23" fmla="*/ 262952 h 26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2" h="263246">
                  <a:moveTo>
                    <a:pt x="380" y="0"/>
                  </a:moveTo>
                  <a:lnTo>
                    <a:pt x="1434" y="13833"/>
                  </a:lnTo>
                  <a:lnTo>
                    <a:pt x="970" y="27624"/>
                  </a:lnTo>
                  <a:lnTo>
                    <a:pt x="42" y="41414"/>
                  </a:lnTo>
                  <a:lnTo>
                    <a:pt x="1181" y="55247"/>
                  </a:lnTo>
                  <a:lnTo>
                    <a:pt x="506" y="69080"/>
                  </a:lnTo>
                  <a:lnTo>
                    <a:pt x="0" y="82871"/>
                  </a:lnTo>
                  <a:lnTo>
                    <a:pt x="1307" y="96704"/>
                  </a:lnTo>
                  <a:lnTo>
                    <a:pt x="127" y="110495"/>
                  </a:lnTo>
                  <a:lnTo>
                    <a:pt x="84" y="124327"/>
                  </a:lnTo>
                  <a:lnTo>
                    <a:pt x="380" y="138160"/>
                  </a:lnTo>
                  <a:lnTo>
                    <a:pt x="675" y="151993"/>
                  </a:lnTo>
                  <a:lnTo>
                    <a:pt x="0" y="165826"/>
                  </a:lnTo>
                  <a:lnTo>
                    <a:pt x="1350" y="179659"/>
                  </a:lnTo>
                  <a:lnTo>
                    <a:pt x="1138" y="193492"/>
                  </a:lnTo>
                  <a:lnTo>
                    <a:pt x="1223" y="207325"/>
                  </a:lnTo>
                  <a:lnTo>
                    <a:pt x="506" y="221158"/>
                  </a:lnTo>
                  <a:lnTo>
                    <a:pt x="1560" y="234991"/>
                  </a:lnTo>
                  <a:lnTo>
                    <a:pt x="886" y="248824"/>
                  </a:lnTo>
                  <a:lnTo>
                    <a:pt x="1138" y="262150"/>
                  </a:lnTo>
                  <a:lnTo>
                    <a:pt x="13833" y="262530"/>
                  </a:lnTo>
                  <a:lnTo>
                    <a:pt x="27075" y="261855"/>
                  </a:lnTo>
                  <a:lnTo>
                    <a:pt x="40360" y="263247"/>
                  </a:lnTo>
                  <a:lnTo>
                    <a:pt x="53603" y="262952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D1FF26A2-3A01-2F01-CB27-884BD84C4D97}"/>
                </a:ext>
              </a:extLst>
            </p:cNvPr>
            <p:cNvSpPr/>
            <p:nvPr/>
          </p:nvSpPr>
          <p:spPr>
            <a:xfrm>
              <a:off x="-298224" y="3915399"/>
              <a:ext cx="72580" cy="52421"/>
            </a:xfrm>
            <a:custGeom>
              <a:avLst/>
              <a:gdLst>
                <a:gd name="connsiteX0" fmla="*/ 72496 w 72580"/>
                <a:gd name="connsiteY0" fmla="*/ 0 h 52421"/>
                <a:gd name="connsiteX1" fmla="*/ 71231 w 72580"/>
                <a:gd name="connsiteY1" fmla="*/ 13411 h 52421"/>
                <a:gd name="connsiteX2" fmla="*/ 71105 w 72580"/>
                <a:gd name="connsiteY2" fmla="*/ 26148 h 52421"/>
                <a:gd name="connsiteX3" fmla="*/ 72454 w 72580"/>
                <a:gd name="connsiteY3" fmla="*/ 38926 h 52421"/>
                <a:gd name="connsiteX4" fmla="*/ 72581 w 72580"/>
                <a:gd name="connsiteY4" fmla="*/ 52422 h 52421"/>
                <a:gd name="connsiteX5" fmla="*/ 59085 w 72580"/>
                <a:gd name="connsiteY5" fmla="*/ 51873 h 52421"/>
                <a:gd name="connsiteX6" fmla="*/ 46349 w 72580"/>
                <a:gd name="connsiteY6" fmla="*/ 51916 h 52421"/>
                <a:gd name="connsiteX7" fmla="*/ 33570 w 72580"/>
                <a:gd name="connsiteY7" fmla="*/ 51620 h 52421"/>
                <a:gd name="connsiteX8" fmla="*/ 20749 w 72580"/>
                <a:gd name="connsiteY8" fmla="*/ 51789 h 52421"/>
                <a:gd name="connsiteX9" fmla="*/ 10122 w 72580"/>
                <a:gd name="connsiteY9" fmla="*/ 38968 h 52421"/>
                <a:gd name="connsiteX10" fmla="*/ 0 w 72580"/>
                <a:gd name="connsiteY10" fmla="*/ 26190 h 52421"/>
                <a:gd name="connsiteX11" fmla="*/ 9784 w 72580"/>
                <a:gd name="connsiteY11" fmla="*/ 13116 h 52421"/>
                <a:gd name="connsiteX12" fmla="*/ 21129 w 72580"/>
                <a:gd name="connsiteY12" fmla="*/ 1307 h 52421"/>
                <a:gd name="connsiteX13" fmla="*/ 33528 w 72580"/>
                <a:gd name="connsiteY13" fmla="*/ 1012 h 52421"/>
                <a:gd name="connsiteX14" fmla="*/ 46307 w 72580"/>
                <a:gd name="connsiteY14" fmla="*/ 928 h 52421"/>
                <a:gd name="connsiteX15" fmla="*/ 59085 w 72580"/>
                <a:gd name="connsiteY15" fmla="*/ 928 h 52421"/>
                <a:gd name="connsiteX16" fmla="*/ 72496 w 72580"/>
                <a:gd name="connsiteY16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580" h="52421">
                  <a:moveTo>
                    <a:pt x="72496" y="0"/>
                  </a:moveTo>
                  <a:lnTo>
                    <a:pt x="71231" y="13411"/>
                  </a:lnTo>
                  <a:lnTo>
                    <a:pt x="71105" y="26148"/>
                  </a:lnTo>
                  <a:lnTo>
                    <a:pt x="72454" y="38926"/>
                  </a:lnTo>
                  <a:lnTo>
                    <a:pt x="72581" y="52422"/>
                  </a:lnTo>
                  <a:lnTo>
                    <a:pt x="59085" y="51873"/>
                  </a:lnTo>
                  <a:lnTo>
                    <a:pt x="46349" y="51916"/>
                  </a:lnTo>
                  <a:lnTo>
                    <a:pt x="33570" y="51620"/>
                  </a:lnTo>
                  <a:lnTo>
                    <a:pt x="20749" y="51789"/>
                  </a:lnTo>
                  <a:lnTo>
                    <a:pt x="10122" y="38968"/>
                  </a:lnTo>
                  <a:lnTo>
                    <a:pt x="0" y="26190"/>
                  </a:lnTo>
                  <a:lnTo>
                    <a:pt x="9784" y="13116"/>
                  </a:lnTo>
                  <a:lnTo>
                    <a:pt x="21129" y="1307"/>
                  </a:lnTo>
                  <a:lnTo>
                    <a:pt x="33528" y="1012"/>
                  </a:lnTo>
                  <a:lnTo>
                    <a:pt x="46307" y="928"/>
                  </a:lnTo>
                  <a:lnTo>
                    <a:pt x="59085" y="928"/>
                  </a:lnTo>
                  <a:lnTo>
                    <a:pt x="72496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234E819-785D-89E2-1586-52B62C2BF7D5}"/>
                </a:ext>
              </a:extLst>
            </p:cNvPr>
            <p:cNvSpPr/>
            <p:nvPr/>
          </p:nvSpPr>
          <p:spPr>
            <a:xfrm>
              <a:off x="-344362" y="3993885"/>
              <a:ext cx="118634" cy="52421"/>
            </a:xfrm>
            <a:custGeom>
              <a:avLst/>
              <a:gdLst>
                <a:gd name="connsiteX0" fmla="*/ 118423 w 118634"/>
                <a:gd name="connsiteY0" fmla="*/ 0 h 52421"/>
                <a:gd name="connsiteX1" fmla="*/ 117748 w 118634"/>
                <a:gd name="connsiteY1" fmla="*/ 13242 h 52421"/>
                <a:gd name="connsiteX2" fmla="*/ 118550 w 118634"/>
                <a:gd name="connsiteY2" fmla="*/ 26021 h 52421"/>
                <a:gd name="connsiteX3" fmla="*/ 118086 w 118634"/>
                <a:gd name="connsiteY3" fmla="*/ 38757 h 52421"/>
                <a:gd name="connsiteX4" fmla="*/ 118634 w 118634"/>
                <a:gd name="connsiteY4" fmla="*/ 52253 h 52421"/>
                <a:gd name="connsiteX5" fmla="*/ 104253 w 118634"/>
                <a:gd name="connsiteY5" fmla="*/ 51578 h 52421"/>
                <a:gd name="connsiteX6" fmla="*/ 90589 w 118634"/>
                <a:gd name="connsiteY6" fmla="*/ 51789 h 52421"/>
                <a:gd name="connsiteX7" fmla="*/ 76882 w 118634"/>
                <a:gd name="connsiteY7" fmla="*/ 51705 h 52421"/>
                <a:gd name="connsiteX8" fmla="*/ 63176 w 118634"/>
                <a:gd name="connsiteY8" fmla="*/ 51452 h 52421"/>
                <a:gd name="connsiteX9" fmla="*/ 49470 w 118634"/>
                <a:gd name="connsiteY9" fmla="*/ 51873 h 52421"/>
                <a:gd name="connsiteX10" fmla="*/ 35763 w 118634"/>
                <a:gd name="connsiteY10" fmla="*/ 51663 h 52421"/>
                <a:gd name="connsiteX11" fmla="*/ 21551 w 118634"/>
                <a:gd name="connsiteY11" fmla="*/ 52422 h 52421"/>
                <a:gd name="connsiteX12" fmla="*/ 10965 w 118634"/>
                <a:gd name="connsiteY12" fmla="*/ 39137 h 52421"/>
                <a:gd name="connsiteX13" fmla="*/ 0 w 118634"/>
                <a:gd name="connsiteY13" fmla="*/ 26021 h 52421"/>
                <a:gd name="connsiteX14" fmla="*/ 12104 w 118634"/>
                <a:gd name="connsiteY14" fmla="*/ 13875 h 52421"/>
                <a:gd name="connsiteX15" fmla="*/ 22394 w 118634"/>
                <a:gd name="connsiteY15" fmla="*/ 1223 h 52421"/>
                <a:gd name="connsiteX16" fmla="*/ 35721 w 118634"/>
                <a:gd name="connsiteY16" fmla="*/ 337 h 52421"/>
                <a:gd name="connsiteX17" fmla="*/ 49427 w 118634"/>
                <a:gd name="connsiteY17" fmla="*/ 970 h 52421"/>
                <a:gd name="connsiteX18" fmla="*/ 63092 w 118634"/>
                <a:gd name="connsiteY18" fmla="*/ 1476 h 52421"/>
                <a:gd name="connsiteX19" fmla="*/ 76798 w 118634"/>
                <a:gd name="connsiteY19" fmla="*/ 1012 h 52421"/>
                <a:gd name="connsiteX20" fmla="*/ 90504 w 118634"/>
                <a:gd name="connsiteY20" fmla="*/ 970 h 52421"/>
                <a:gd name="connsiteX21" fmla="*/ 104253 w 118634"/>
                <a:gd name="connsiteY21" fmla="*/ 127 h 52421"/>
                <a:gd name="connsiteX22" fmla="*/ 118423 w 118634"/>
                <a:gd name="connsiteY22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34" h="52421">
                  <a:moveTo>
                    <a:pt x="118423" y="0"/>
                  </a:moveTo>
                  <a:lnTo>
                    <a:pt x="117748" y="13242"/>
                  </a:lnTo>
                  <a:lnTo>
                    <a:pt x="118550" y="26021"/>
                  </a:lnTo>
                  <a:lnTo>
                    <a:pt x="118086" y="38757"/>
                  </a:lnTo>
                  <a:lnTo>
                    <a:pt x="118634" y="52253"/>
                  </a:lnTo>
                  <a:lnTo>
                    <a:pt x="104253" y="51578"/>
                  </a:lnTo>
                  <a:lnTo>
                    <a:pt x="90589" y="51789"/>
                  </a:lnTo>
                  <a:lnTo>
                    <a:pt x="76882" y="51705"/>
                  </a:lnTo>
                  <a:lnTo>
                    <a:pt x="63176" y="51452"/>
                  </a:lnTo>
                  <a:lnTo>
                    <a:pt x="49470" y="51873"/>
                  </a:lnTo>
                  <a:lnTo>
                    <a:pt x="35763" y="51663"/>
                  </a:lnTo>
                  <a:lnTo>
                    <a:pt x="21551" y="52422"/>
                  </a:lnTo>
                  <a:lnTo>
                    <a:pt x="10965" y="39137"/>
                  </a:lnTo>
                  <a:lnTo>
                    <a:pt x="0" y="26021"/>
                  </a:lnTo>
                  <a:lnTo>
                    <a:pt x="12104" y="13875"/>
                  </a:lnTo>
                  <a:lnTo>
                    <a:pt x="22394" y="1223"/>
                  </a:lnTo>
                  <a:lnTo>
                    <a:pt x="35721" y="337"/>
                  </a:lnTo>
                  <a:lnTo>
                    <a:pt x="49427" y="970"/>
                  </a:lnTo>
                  <a:lnTo>
                    <a:pt x="63092" y="1476"/>
                  </a:lnTo>
                  <a:lnTo>
                    <a:pt x="76798" y="1012"/>
                  </a:lnTo>
                  <a:lnTo>
                    <a:pt x="90504" y="970"/>
                  </a:lnTo>
                  <a:lnTo>
                    <a:pt x="104253" y="127"/>
                  </a:lnTo>
                  <a:lnTo>
                    <a:pt x="118423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9F47671-DA29-313C-A0D0-76C6612D4869}"/>
                </a:ext>
              </a:extLst>
            </p:cNvPr>
            <p:cNvSpPr/>
            <p:nvPr/>
          </p:nvSpPr>
          <p:spPr>
            <a:xfrm>
              <a:off x="-398767" y="4071737"/>
              <a:ext cx="173080" cy="52927"/>
            </a:xfrm>
            <a:custGeom>
              <a:avLst/>
              <a:gdLst>
                <a:gd name="connsiteX0" fmla="*/ 172532 w 173080"/>
                <a:gd name="connsiteY0" fmla="*/ 843 h 52927"/>
                <a:gd name="connsiteX1" fmla="*/ 172743 w 173080"/>
                <a:gd name="connsiteY1" fmla="*/ 13749 h 52927"/>
                <a:gd name="connsiteX2" fmla="*/ 172068 w 173080"/>
                <a:gd name="connsiteY2" fmla="*/ 26485 h 52927"/>
                <a:gd name="connsiteX3" fmla="*/ 171646 w 173080"/>
                <a:gd name="connsiteY3" fmla="*/ 39264 h 52927"/>
                <a:gd name="connsiteX4" fmla="*/ 173080 w 173080"/>
                <a:gd name="connsiteY4" fmla="*/ 52759 h 52927"/>
                <a:gd name="connsiteX5" fmla="*/ 158657 w 173080"/>
                <a:gd name="connsiteY5" fmla="*/ 52126 h 52927"/>
                <a:gd name="connsiteX6" fmla="*/ 144993 w 173080"/>
                <a:gd name="connsiteY6" fmla="*/ 51620 h 52927"/>
                <a:gd name="connsiteX7" fmla="*/ 131286 w 173080"/>
                <a:gd name="connsiteY7" fmla="*/ 52928 h 52927"/>
                <a:gd name="connsiteX8" fmla="*/ 117538 w 173080"/>
                <a:gd name="connsiteY8" fmla="*/ 51325 h 52927"/>
                <a:gd name="connsiteX9" fmla="*/ 103831 w 173080"/>
                <a:gd name="connsiteY9" fmla="*/ 52211 h 52927"/>
                <a:gd name="connsiteX10" fmla="*/ 90167 w 173080"/>
                <a:gd name="connsiteY10" fmla="*/ 52000 h 52927"/>
                <a:gd name="connsiteX11" fmla="*/ 76418 w 173080"/>
                <a:gd name="connsiteY11" fmla="*/ 52633 h 52927"/>
                <a:gd name="connsiteX12" fmla="*/ 62712 w 173080"/>
                <a:gd name="connsiteY12" fmla="*/ 51325 h 52927"/>
                <a:gd name="connsiteX13" fmla="*/ 49006 w 173080"/>
                <a:gd name="connsiteY13" fmla="*/ 51283 h 52927"/>
                <a:gd name="connsiteX14" fmla="*/ 35257 w 173080"/>
                <a:gd name="connsiteY14" fmla="*/ 52506 h 52927"/>
                <a:gd name="connsiteX15" fmla="*/ 21846 w 173080"/>
                <a:gd name="connsiteY15" fmla="*/ 51452 h 52927"/>
                <a:gd name="connsiteX16" fmla="*/ 10839 w 173080"/>
                <a:gd name="connsiteY16" fmla="*/ 39306 h 52927"/>
                <a:gd name="connsiteX17" fmla="*/ 0 w 173080"/>
                <a:gd name="connsiteY17" fmla="*/ 26527 h 52927"/>
                <a:gd name="connsiteX18" fmla="*/ 11345 w 173080"/>
                <a:gd name="connsiteY18" fmla="*/ 14128 h 52927"/>
                <a:gd name="connsiteX19" fmla="*/ 21804 w 173080"/>
                <a:gd name="connsiteY19" fmla="*/ 1518 h 52927"/>
                <a:gd name="connsiteX20" fmla="*/ 35257 w 173080"/>
                <a:gd name="connsiteY20" fmla="*/ 717 h 52927"/>
                <a:gd name="connsiteX21" fmla="*/ 48921 w 173080"/>
                <a:gd name="connsiteY21" fmla="*/ 1898 h 52927"/>
                <a:gd name="connsiteX22" fmla="*/ 62628 w 173080"/>
                <a:gd name="connsiteY22" fmla="*/ 1518 h 52927"/>
                <a:gd name="connsiteX23" fmla="*/ 76334 w 173080"/>
                <a:gd name="connsiteY23" fmla="*/ 590 h 52927"/>
                <a:gd name="connsiteX24" fmla="*/ 90083 w 173080"/>
                <a:gd name="connsiteY24" fmla="*/ 675 h 52927"/>
                <a:gd name="connsiteX25" fmla="*/ 103747 w 173080"/>
                <a:gd name="connsiteY25" fmla="*/ 1856 h 52927"/>
                <a:gd name="connsiteX26" fmla="*/ 117453 w 173080"/>
                <a:gd name="connsiteY26" fmla="*/ 717 h 52927"/>
                <a:gd name="connsiteX27" fmla="*/ 131202 w 173080"/>
                <a:gd name="connsiteY27" fmla="*/ 2024 h 52927"/>
                <a:gd name="connsiteX28" fmla="*/ 144908 w 173080"/>
                <a:gd name="connsiteY28" fmla="*/ 759 h 52927"/>
                <a:gd name="connsiteX29" fmla="*/ 158615 w 173080"/>
                <a:gd name="connsiteY29" fmla="*/ 0 h 52927"/>
                <a:gd name="connsiteX30" fmla="*/ 172532 w 173080"/>
                <a:gd name="connsiteY30" fmla="*/ 843 h 5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3080" h="52927">
                  <a:moveTo>
                    <a:pt x="172532" y="843"/>
                  </a:moveTo>
                  <a:lnTo>
                    <a:pt x="172743" y="13749"/>
                  </a:lnTo>
                  <a:lnTo>
                    <a:pt x="172068" y="26485"/>
                  </a:lnTo>
                  <a:lnTo>
                    <a:pt x="171646" y="39264"/>
                  </a:lnTo>
                  <a:lnTo>
                    <a:pt x="173080" y="52759"/>
                  </a:lnTo>
                  <a:lnTo>
                    <a:pt x="158657" y="52126"/>
                  </a:lnTo>
                  <a:lnTo>
                    <a:pt x="144993" y="51620"/>
                  </a:lnTo>
                  <a:lnTo>
                    <a:pt x="131286" y="52928"/>
                  </a:lnTo>
                  <a:lnTo>
                    <a:pt x="117538" y="51325"/>
                  </a:lnTo>
                  <a:lnTo>
                    <a:pt x="103831" y="52211"/>
                  </a:lnTo>
                  <a:lnTo>
                    <a:pt x="90167" y="52000"/>
                  </a:lnTo>
                  <a:lnTo>
                    <a:pt x="76418" y="52633"/>
                  </a:lnTo>
                  <a:lnTo>
                    <a:pt x="62712" y="51325"/>
                  </a:lnTo>
                  <a:lnTo>
                    <a:pt x="49006" y="51283"/>
                  </a:lnTo>
                  <a:lnTo>
                    <a:pt x="35257" y="52506"/>
                  </a:lnTo>
                  <a:lnTo>
                    <a:pt x="21846" y="51452"/>
                  </a:lnTo>
                  <a:lnTo>
                    <a:pt x="10839" y="39306"/>
                  </a:lnTo>
                  <a:lnTo>
                    <a:pt x="0" y="26527"/>
                  </a:lnTo>
                  <a:lnTo>
                    <a:pt x="11345" y="14128"/>
                  </a:lnTo>
                  <a:lnTo>
                    <a:pt x="21804" y="1518"/>
                  </a:lnTo>
                  <a:lnTo>
                    <a:pt x="35257" y="717"/>
                  </a:lnTo>
                  <a:lnTo>
                    <a:pt x="48921" y="1898"/>
                  </a:lnTo>
                  <a:lnTo>
                    <a:pt x="62628" y="1518"/>
                  </a:lnTo>
                  <a:lnTo>
                    <a:pt x="76334" y="590"/>
                  </a:lnTo>
                  <a:lnTo>
                    <a:pt x="90083" y="675"/>
                  </a:lnTo>
                  <a:lnTo>
                    <a:pt x="103747" y="1856"/>
                  </a:lnTo>
                  <a:lnTo>
                    <a:pt x="117453" y="717"/>
                  </a:lnTo>
                  <a:lnTo>
                    <a:pt x="131202" y="2024"/>
                  </a:lnTo>
                  <a:lnTo>
                    <a:pt x="144908" y="759"/>
                  </a:lnTo>
                  <a:lnTo>
                    <a:pt x="158615" y="0"/>
                  </a:lnTo>
                  <a:lnTo>
                    <a:pt x="172532" y="843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048499C-A453-F459-0C35-889064436C1A}"/>
              </a:ext>
            </a:extLst>
          </p:cNvPr>
          <p:cNvGrpSpPr/>
          <p:nvPr/>
        </p:nvGrpSpPr>
        <p:grpSpPr>
          <a:xfrm>
            <a:off x="4177005" y="2908082"/>
            <a:ext cx="302413" cy="249372"/>
            <a:chOff x="-741021" y="2103591"/>
            <a:chExt cx="370665" cy="305654"/>
          </a:xfrm>
          <a:solidFill>
            <a:srgbClr val="B5CEBD"/>
          </a:solidFill>
        </p:grpSpPr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CDF3355-8EC1-1047-CD3A-F6F1B57211A8}"/>
                </a:ext>
              </a:extLst>
            </p:cNvPr>
            <p:cNvSpPr/>
            <p:nvPr/>
          </p:nvSpPr>
          <p:spPr>
            <a:xfrm>
              <a:off x="-741021" y="2103591"/>
              <a:ext cx="219358" cy="95103"/>
            </a:xfrm>
            <a:custGeom>
              <a:avLst/>
              <a:gdLst>
                <a:gd name="connsiteX0" fmla="*/ 0 w 353231"/>
                <a:gd name="connsiteY0" fmla="*/ 153144 h 153144"/>
                <a:gd name="connsiteX1" fmla="*/ 21672 w 353231"/>
                <a:gd name="connsiteY1" fmla="*/ 142344 h 153144"/>
                <a:gd name="connsiteX2" fmla="*/ 41832 w 353231"/>
                <a:gd name="connsiteY2" fmla="*/ 128736 h 153144"/>
                <a:gd name="connsiteX3" fmla="*/ 64584 w 353231"/>
                <a:gd name="connsiteY3" fmla="*/ 119808 h 153144"/>
                <a:gd name="connsiteX4" fmla="*/ 84456 w 353231"/>
                <a:gd name="connsiteY4" fmla="*/ 105768 h 153144"/>
                <a:gd name="connsiteX5" fmla="*/ 106488 w 353231"/>
                <a:gd name="connsiteY5" fmla="*/ 95544 h 153144"/>
                <a:gd name="connsiteX6" fmla="*/ 127440 w 353231"/>
                <a:gd name="connsiteY6" fmla="*/ 83376 h 153144"/>
                <a:gd name="connsiteX7" fmla="*/ 147888 w 353231"/>
                <a:gd name="connsiteY7" fmla="*/ 70344 h 153144"/>
                <a:gd name="connsiteX8" fmla="*/ 169560 w 353231"/>
                <a:gd name="connsiteY8" fmla="*/ 59472 h 153144"/>
                <a:gd name="connsiteX9" fmla="*/ 189936 w 353231"/>
                <a:gd name="connsiteY9" fmla="*/ 46440 h 153144"/>
                <a:gd name="connsiteX10" fmla="*/ 210960 w 353231"/>
                <a:gd name="connsiteY10" fmla="*/ 34344 h 153144"/>
                <a:gd name="connsiteX11" fmla="*/ 232416 w 353231"/>
                <a:gd name="connsiteY11" fmla="*/ 22968 h 153144"/>
                <a:gd name="connsiteX12" fmla="*/ 252936 w 353231"/>
                <a:gd name="connsiteY12" fmla="*/ 10080 h 153144"/>
                <a:gd name="connsiteX13" fmla="*/ 274896 w 353231"/>
                <a:gd name="connsiteY13" fmla="*/ 0 h 153144"/>
                <a:gd name="connsiteX14" fmla="*/ 293760 w 353231"/>
                <a:gd name="connsiteY14" fmla="*/ 11232 h 153144"/>
                <a:gd name="connsiteX15" fmla="*/ 313776 w 353231"/>
                <a:gd name="connsiteY15" fmla="*/ 20808 h 153144"/>
                <a:gd name="connsiteX16" fmla="*/ 333000 w 353231"/>
                <a:gd name="connsiteY16" fmla="*/ 32040 h 153144"/>
                <a:gd name="connsiteX17" fmla="*/ 353232 w 353231"/>
                <a:gd name="connsiteY17" fmla="*/ 41328 h 15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231" h="153144">
                  <a:moveTo>
                    <a:pt x="0" y="153144"/>
                  </a:moveTo>
                  <a:lnTo>
                    <a:pt x="21672" y="142344"/>
                  </a:lnTo>
                  <a:lnTo>
                    <a:pt x="41832" y="128736"/>
                  </a:lnTo>
                  <a:lnTo>
                    <a:pt x="64584" y="119808"/>
                  </a:lnTo>
                  <a:lnTo>
                    <a:pt x="84456" y="105768"/>
                  </a:lnTo>
                  <a:lnTo>
                    <a:pt x="106488" y="95544"/>
                  </a:lnTo>
                  <a:lnTo>
                    <a:pt x="127440" y="83376"/>
                  </a:lnTo>
                  <a:lnTo>
                    <a:pt x="147888" y="70344"/>
                  </a:lnTo>
                  <a:lnTo>
                    <a:pt x="169560" y="59472"/>
                  </a:lnTo>
                  <a:lnTo>
                    <a:pt x="189936" y="46440"/>
                  </a:lnTo>
                  <a:lnTo>
                    <a:pt x="210960" y="34344"/>
                  </a:lnTo>
                  <a:lnTo>
                    <a:pt x="232416" y="22968"/>
                  </a:lnTo>
                  <a:lnTo>
                    <a:pt x="252936" y="10080"/>
                  </a:lnTo>
                  <a:lnTo>
                    <a:pt x="274896" y="0"/>
                  </a:lnTo>
                  <a:lnTo>
                    <a:pt x="293760" y="11232"/>
                  </a:lnTo>
                  <a:lnTo>
                    <a:pt x="313776" y="20808"/>
                  </a:lnTo>
                  <a:lnTo>
                    <a:pt x="333000" y="32040"/>
                  </a:lnTo>
                  <a:lnTo>
                    <a:pt x="353232" y="41328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5B159684-5327-761B-8921-17ED8BA27DB4}"/>
                </a:ext>
              </a:extLst>
            </p:cNvPr>
            <p:cNvSpPr/>
            <p:nvPr/>
          </p:nvSpPr>
          <p:spPr>
            <a:xfrm>
              <a:off x="-715133" y="2184163"/>
              <a:ext cx="298410" cy="225082"/>
            </a:xfrm>
            <a:custGeom>
              <a:avLst/>
              <a:gdLst>
                <a:gd name="connsiteX0" fmla="*/ 2880 w 480528"/>
                <a:gd name="connsiteY0" fmla="*/ 0 h 362448"/>
                <a:gd name="connsiteX1" fmla="*/ 0 w 480528"/>
                <a:gd name="connsiteY1" fmla="*/ 23976 h 362448"/>
                <a:gd name="connsiteX2" fmla="*/ 3312 w 480528"/>
                <a:gd name="connsiteY2" fmla="*/ 48024 h 362448"/>
                <a:gd name="connsiteX3" fmla="*/ 1584 w 480528"/>
                <a:gd name="connsiteY3" fmla="*/ 72072 h 362448"/>
                <a:gd name="connsiteX4" fmla="*/ 3024 w 480528"/>
                <a:gd name="connsiteY4" fmla="*/ 96120 h 362448"/>
                <a:gd name="connsiteX5" fmla="*/ 2376 w 480528"/>
                <a:gd name="connsiteY5" fmla="*/ 120168 h 362448"/>
                <a:gd name="connsiteX6" fmla="*/ 288 w 480528"/>
                <a:gd name="connsiteY6" fmla="*/ 144144 h 362448"/>
                <a:gd name="connsiteX7" fmla="*/ 1800 w 480528"/>
                <a:gd name="connsiteY7" fmla="*/ 168192 h 362448"/>
                <a:gd name="connsiteX8" fmla="*/ 2232 w 480528"/>
                <a:gd name="connsiteY8" fmla="*/ 192312 h 362448"/>
                <a:gd name="connsiteX9" fmla="*/ 3312 w 480528"/>
                <a:gd name="connsiteY9" fmla="*/ 216360 h 362448"/>
                <a:gd name="connsiteX10" fmla="*/ 3456 w 480528"/>
                <a:gd name="connsiteY10" fmla="*/ 240336 h 362448"/>
                <a:gd name="connsiteX11" fmla="*/ 1512 w 480528"/>
                <a:gd name="connsiteY11" fmla="*/ 264456 h 362448"/>
                <a:gd name="connsiteX12" fmla="*/ 2304 w 480528"/>
                <a:gd name="connsiteY12" fmla="*/ 288504 h 362448"/>
                <a:gd name="connsiteX13" fmla="*/ 2880 w 480528"/>
                <a:gd name="connsiteY13" fmla="*/ 312552 h 362448"/>
                <a:gd name="connsiteX14" fmla="*/ 2952 w 480528"/>
                <a:gd name="connsiteY14" fmla="*/ 336672 h 362448"/>
                <a:gd name="connsiteX15" fmla="*/ 2016 w 480528"/>
                <a:gd name="connsiteY15" fmla="*/ 360504 h 362448"/>
                <a:gd name="connsiteX16" fmla="*/ 25632 w 480528"/>
                <a:gd name="connsiteY16" fmla="*/ 362448 h 362448"/>
                <a:gd name="connsiteX17" fmla="*/ 49536 w 480528"/>
                <a:gd name="connsiteY17" fmla="*/ 361296 h 362448"/>
                <a:gd name="connsiteX18" fmla="*/ 73368 w 480528"/>
                <a:gd name="connsiteY18" fmla="*/ 360072 h 362448"/>
                <a:gd name="connsiteX19" fmla="*/ 97272 w 480528"/>
                <a:gd name="connsiteY19" fmla="*/ 361296 h 362448"/>
                <a:gd name="connsiteX20" fmla="*/ 121104 w 480528"/>
                <a:gd name="connsiteY20" fmla="*/ 360000 h 362448"/>
                <a:gd name="connsiteX21" fmla="*/ 145008 w 480528"/>
                <a:gd name="connsiteY21" fmla="*/ 361512 h 362448"/>
                <a:gd name="connsiteX22" fmla="*/ 168840 w 480528"/>
                <a:gd name="connsiteY22" fmla="*/ 361152 h 362448"/>
                <a:gd name="connsiteX23" fmla="*/ 192744 w 480528"/>
                <a:gd name="connsiteY23" fmla="*/ 359064 h 362448"/>
                <a:gd name="connsiteX24" fmla="*/ 216576 w 480528"/>
                <a:gd name="connsiteY24" fmla="*/ 359352 h 362448"/>
                <a:gd name="connsiteX25" fmla="*/ 240480 w 480528"/>
                <a:gd name="connsiteY25" fmla="*/ 360432 h 362448"/>
                <a:gd name="connsiteX26" fmla="*/ 264312 w 480528"/>
                <a:gd name="connsiteY26" fmla="*/ 359496 h 362448"/>
                <a:gd name="connsiteX27" fmla="*/ 288216 w 480528"/>
                <a:gd name="connsiteY27" fmla="*/ 362448 h 362448"/>
                <a:gd name="connsiteX28" fmla="*/ 312120 w 480528"/>
                <a:gd name="connsiteY28" fmla="*/ 361944 h 362448"/>
                <a:gd name="connsiteX29" fmla="*/ 336024 w 480528"/>
                <a:gd name="connsiteY29" fmla="*/ 361080 h 362448"/>
                <a:gd name="connsiteX30" fmla="*/ 359928 w 480528"/>
                <a:gd name="connsiteY30" fmla="*/ 359568 h 362448"/>
                <a:gd name="connsiteX31" fmla="*/ 383832 w 480528"/>
                <a:gd name="connsiteY31" fmla="*/ 359280 h 362448"/>
                <a:gd name="connsiteX32" fmla="*/ 407736 w 480528"/>
                <a:gd name="connsiteY32" fmla="*/ 360792 h 362448"/>
                <a:gd name="connsiteX33" fmla="*/ 431640 w 480528"/>
                <a:gd name="connsiteY33" fmla="*/ 358992 h 362448"/>
                <a:gd name="connsiteX34" fmla="*/ 455544 w 480528"/>
                <a:gd name="connsiteY34" fmla="*/ 360288 h 362448"/>
                <a:gd name="connsiteX35" fmla="*/ 478800 w 480528"/>
                <a:gd name="connsiteY35" fmla="*/ 360072 h 362448"/>
                <a:gd name="connsiteX36" fmla="*/ 480528 w 480528"/>
                <a:gd name="connsiteY36" fmla="*/ 335520 h 362448"/>
                <a:gd name="connsiteX37" fmla="*/ 479304 w 480528"/>
                <a:gd name="connsiteY37" fmla="*/ 310320 h 362448"/>
                <a:gd name="connsiteX38" fmla="*/ 478800 w 480528"/>
                <a:gd name="connsiteY38" fmla="*/ 285048 h 362448"/>
                <a:gd name="connsiteX39" fmla="*/ 479232 w 480528"/>
                <a:gd name="connsiteY39" fmla="*/ 259776 h 36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0528" h="362448">
                  <a:moveTo>
                    <a:pt x="2880" y="0"/>
                  </a:moveTo>
                  <a:lnTo>
                    <a:pt x="0" y="23976"/>
                  </a:lnTo>
                  <a:lnTo>
                    <a:pt x="3312" y="48024"/>
                  </a:lnTo>
                  <a:lnTo>
                    <a:pt x="1584" y="72072"/>
                  </a:lnTo>
                  <a:lnTo>
                    <a:pt x="3024" y="96120"/>
                  </a:lnTo>
                  <a:lnTo>
                    <a:pt x="2376" y="120168"/>
                  </a:lnTo>
                  <a:lnTo>
                    <a:pt x="288" y="144144"/>
                  </a:lnTo>
                  <a:lnTo>
                    <a:pt x="1800" y="168192"/>
                  </a:lnTo>
                  <a:lnTo>
                    <a:pt x="2232" y="192312"/>
                  </a:lnTo>
                  <a:lnTo>
                    <a:pt x="3312" y="216360"/>
                  </a:lnTo>
                  <a:lnTo>
                    <a:pt x="3456" y="240336"/>
                  </a:lnTo>
                  <a:lnTo>
                    <a:pt x="1512" y="264456"/>
                  </a:lnTo>
                  <a:lnTo>
                    <a:pt x="2304" y="288504"/>
                  </a:lnTo>
                  <a:lnTo>
                    <a:pt x="2880" y="312552"/>
                  </a:lnTo>
                  <a:lnTo>
                    <a:pt x="2952" y="336672"/>
                  </a:lnTo>
                  <a:lnTo>
                    <a:pt x="2016" y="360504"/>
                  </a:lnTo>
                  <a:lnTo>
                    <a:pt x="25632" y="362448"/>
                  </a:lnTo>
                  <a:lnTo>
                    <a:pt x="49536" y="361296"/>
                  </a:lnTo>
                  <a:lnTo>
                    <a:pt x="73368" y="360072"/>
                  </a:lnTo>
                  <a:lnTo>
                    <a:pt x="97272" y="361296"/>
                  </a:lnTo>
                  <a:lnTo>
                    <a:pt x="121104" y="360000"/>
                  </a:lnTo>
                  <a:lnTo>
                    <a:pt x="145008" y="361512"/>
                  </a:lnTo>
                  <a:lnTo>
                    <a:pt x="168840" y="361152"/>
                  </a:lnTo>
                  <a:lnTo>
                    <a:pt x="192744" y="359064"/>
                  </a:lnTo>
                  <a:lnTo>
                    <a:pt x="216576" y="359352"/>
                  </a:lnTo>
                  <a:lnTo>
                    <a:pt x="240480" y="360432"/>
                  </a:lnTo>
                  <a:lnTo>
                    <a:pt x="264312" y="359496"/>
                  </a:lnTo>
                  <a:lnTo>
                    <a:pt x="288216" y="362448"/>
                  </a:lnTo>
                  <a:lnTo>
                    <a:pt x="312120" y="361944"/>
                  </a:lnTo>
                  <a:lnTo>
                    <a:pt x="336024" y="361080"/>
                  </a:lnTo>
                  <a:lnTo>
                    <a:pt x="359928" y="359568"/>
                  </a:lnTo>
                  <a:lnTo>
                    <a:pt x="383832" y="359280"/>
                  </a:lnTo>
                  <a:lnTo>
                    <a:pt x="407736" y="360792"/>
                  </a:lnTo>
                  <a:lnTo>
                    <a:pt x="431640" y="358992"/>
                  </a:lnTo>
                  <a:lnTo>
                    <a:pt x="455544" y="360288"/>
                  </a:lnTo>
                  <a:lnTo>
                    <a:pt x="478800" y="360072"/>
                  </a:lnTo>
                  <a:lnTo>
                    <a:pt x="480528" y="335520"/>
                  </a:lnTo>
                  <a:lnTo>
                    <a:pt x="479304" y="310320"/>
                  </a:lnTo>
                  <a:lnTo>
                    <a:pt x="478800" y="285048"/>
                  </a:lnTo>
                  <a:lnTo>
                    <a:pt x="479232" y="25977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45A43E7-8DC0-8449-A850-910F1992B005}"/>
                </a:ext>
              </a:extLst>
            </p:cNvPr>
            <p:cNvSpPr/>
            <p:nvPr/>
          </p:nvSpPr>
          <p:spPr>
            <a:xfrm>
              <a:off x="-594677" y="2161269"/>
              <a:ext cx="224321" cy="145181"/>
            </a:xfrm>
            <a:custGeom>
              <a:avLst/>
              <a:gdLst>
                <a:gd name="connsiteX0" fmla="*/ 56952 w 361223"/>
                <a:gd name="connsiteY0" fmla="*/ 233784 h 233784"/>
                <a:gd name="connsiteX1" fmla="*/ 35208 w 361223"/>
                <a:gd name="connsiteY1" fmla="*/ 227520 h 233784"/>
                <a:gd name="connsiteX2" fmla="*/ 16416 w 361223"/>
                <a:gd name="connsiteY2" fmla="*/ 215496 h 233784"/>
                <a:gd name="connsiteX3" fmla="*/ 3384 w 361223"/>
                <a:gd name="connsiteY3" fmla="*/ 197136 h 233784"/>
                <a:gd name="connsiteX4" fmla="*/ 0 w 361223"/>
                <a:gd name="connsiteY4" fmla="*/ 174960 h 233784"/>
                <a:gd name="connsiteX5" fmla="*/ 3168 w 361223"/>
                <a:gd name="connsiteY5" fmla="*/ 154656 h 233784"/>
                <a:gd name="connsiteX6" fmla="*/ 13248 w 361223"/>
                <a:gd name="connsiteY6" fmla="*/ 136440 h 233784"/>
                <a:gd name="connsiteX7" fmla="*/ 29736 w 361223"/>
                <a:gd name="connsiteY7" fmla="*/ 123624 h 233784"/>
                <a:gd name="connsiteX8" fmla="*/ 48528 w 361223"/>
                <a:gd name="connsiteY8" fmla="*/ 116280 h 233784"/>
                <a:gd name="connsiteX9" fmla="*/ 44928 w 361223"/>
                <a:gd name="connsiteY9" fmla="*/ 93240 h 233784"/>
                <a:gd name="connsiteX10" fmla="*/ 49680 w 361223"/>
                <a:gd name="connsiteY10" fmla="*/ 68760 h 233784"/>
                <a:gd name="connsiteX11" fmla="*/ 58536 w 361223"/>
                <a:gd name="connsiteY11" fmla="*/ 45576 h 233784"/>
                <a:gd name="connsiteX12" fmla="*/ 74160 w 361223"/>
                <a:gd name="connsiteY12" fmla="*/ 26280 h 233784"/>
                <a:gd name="connsiteX13" fmla="*/ 93312 w 361223"/>
                <a:gd name="connsiteY13" fmla="*/ 10440 h 233784"/>
                <a:gd name="connsiteX14" fmla="*/ 116208 w 361223"/>
                <a:gd name="connsiteY14" fmla="*/ 216 h 233784"/>
                <a:gd name="connsiteX15" fmla="*/ 141120 w 361223"/>
                <a:gd name="connsiteY15" fmla="*/ 0 h 233784"/>
                <a:gd name="connsiteX16" fmla="*/ 162792 w 361223"/>
                <a:gd name="connsiteY16" fmla="*/ 2520 h 233784"/>
                <a:gd name="connsiteX17" fmla="*/ 183312 w 361223"/>
                <a:gd name="connsiteY17" fmla="*/ 9864 h 233784"/>
                <a:gd name="connsiteX18" fmla="*/ 202824 w 361223"/>
                <a:gd name="connsiteY18" fmla="*/ 20448 h 233784"/>
                <a:gd name="connsiteX19" fmla="*/ 217872 w 361223"/>
                <a:gd name="connsiteY19" fmla="*/ 36792 h 233784"/>
                <a:gd name="connsiteX20" fmla="*/ 227952 w 361223"/>
                <a:gd name="connsiteY20" fmla="*/ 56520 h 233784"/>
                <a:gd name="connsiteX21" fmla="*/ 234000 w 361223"/>
                <a:gd name="connsiteY21" fmla="*/ 78768 h 233784"/>
                <a:gd name="connsiteX22" fmla="*/ 250344 w 361223"/>
                <a:gd name="connsiteY22" fmla="*/ 64152 h 233784"/>
                <a:gd name="connsiteX23" fmla="*/ 268560 w 361223"/>
                <a:gd name="connsiteY23" fmla="*/ 53424 h 233784"/>
                <a:gd name="connsiteX24" fmla="*/ 289728 w 361223"/>
                <a:gd name="connsiteY24" fmla="*/ 51552 h 233784"/>
                <a:gd name="connsiteX25" fmla="*/ 311472 w 361223"/>
                <a:gd name="connsiteY25" fmla="*/ 55800 h 233784"/>
                <a:gd name="connsiteX26" fmla="*/ 331056 w 361223"/>
                <a:gd name="connsiteY26" fmla="*/ 65808 h 233784"/>
                <a:gd name="connsiteX27" fmla="*/ 346536 w 361223"/>
                <a:gd name="connsiteY27" fmla="*/ 81432 h 233784"/>
                <a:gd name="connsiteX28" fmla="*/ 358992 w 361223"/>
                <a:gd name="connsiteY28" fmla="*/ 100224 h 233784"/>
                <a:gd name="connsiteX29" fmla="*/ 361224 w 361223"/>
                <a:gd name="connsiteY29" fmla="*/ 122688 h 233784"/>
                <a:gd name="connsiteX30" fmla="*/ 356760 w 361223"/>
                <a:gd name="connsiteY30" fmla="*/ 145152 h 233784"/>
                <a:gd name="connsiteX31" fmla="*/ 346032 w 361223"/>
                <a:gd name="connsiteY31" fmla="*/ 165168 h 233784"/>
                <a:gd name="connsiteX32" fmla="*/ 330192 w 361223"/>
                <a:gd name="connsiteY32" fmla="*/ 181656 h 233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223" h="233784">
                  <a:moveTo>
                    <a:pt x="56952" y="233784"/>
                  </a:moveTo>
                  <a:lnTo>
                    <a:pt x="35208" y="227520"/>
                  </a:lnTo>
                  <a:lnTo>
                    <a:pt x="16416" y="215496"/>
                  </a:lnTo>
                  <a:lnTo>
                    <a:pt x="3384" y="197136"/>
                  </a:lnTo>
                  <a:lnTo>
                    <a:pt x="0" y="174960"/>
                  </a:lnTo>
                  <a:lnTo>
                    <a:pt x="3168" y="154656"/>
                  </a:lnTo>
                  <a:lnTo>
                    <a:pt x="13248" y="136440"/>
                  </a:lnTo>
                  <a:lnTo>
                    <a:pt x="29736" y="123624"/>
                  </a:lnTo>
                  <a:lnTo>
                    <a:pt x="48528" y="116280"/>
                  </a:lnTo>
                  <a:lnTo>
                    <a:pt x="44928" y="93240"/>
                  </a:lnTo>
                  <a:lnTo>
                    <a:pt x="49680" y="68760"/>
                  </a:lnTo>
                  <a:lnTo>
                    <a:pt x="58536" y="45576"/>
                  </a:lnTo>
                  <a:lnTo>
                    <a:pt x="74160" y="26280"/>
                  </a:lnTo>
                  <a:lnTo>
                    <a:pt x="93312" y="10440"/>
                  </a:lnTo>
                  <a:lnTo>
                    <a:pt x="116208" y="216"/>
                  </a:lnTo>
                  <a:lnTo>
                    <a:pt x="141120" y="0"/>
                  </a:lnTo>
                  <a:lnTo>
                    <a:pt x="162792" y="2520"/>
                  </a:lnTo>
                  <a:lnTo>
                    <a:pt x="183312" y="9864"/>
                  </a:lnTo>
                  <a:lnTo>
                    <a:pt x="202824" y="20448"/>
                  </a:lnTo>
                  <a:lnTo>
                    <a:pt x="217872" y="36792"/>
                  </a:lnTo>
                  <a:lnTo>
                    <a:pt x="227952" y="56520"/>
                  </a:lnTo>
                  <a:lnTo>
                    <a:pt x="234000" y="78768"/>
                  </a:lnTo>
                  <a:lnTo>
                    <a:pt x="250344" y="64152"/>
                  </a:lnTo>
                  <a:lnTo>
                    <a:pt x="268560" y="53424"/>
                  </a:lnTo>
                  <a:lnTo>
                    <a:pt x="289728" y="51552"/>
                  </a:lnTo>
                  <a:lnTo>
                    <a:pt x="311472" y="55800"/>
                  </a:lnTo>
                  <a:lnTo>
                    <a:pt x="331056" y="65808"/>
                  </a:lnTo>
                  <a:lnTo>
                    <a:pt x="346536" y="81432"/>
                  </a:lnTo>
                  <a:lnTo>
                    <a:pt x="358992" y="100224"/>
                  </a:lnTo>
                  <a:lnTo>
                    <a:pt x="361224" y="122688"/>
                  </a:lnTo>
                  <a:lnTo>
                    <a:pt x="356760" y="145152"/>
                  </a:lnTo>
                  <a:lnTo>
                    <a:pt x="346032" y="165168"/>
                  </a:lnTo>
                  <a:lnTo>
                    <a:pt x="330192" y="18165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0A4D910-F810-68F3-0079-5C20281495CC}"/>
                </a:ext>
              </a:extLst>
            </p:cNvPr>
            <p:cNvSpPr/>
            <p:nvPr/>
          </p:nvSpPr>
          <p:spPr>
            <a:xfrm>
              <a:off x="-542007" y="2267730"/>
              <a:ext cx="46500" cy="51777"/>
            </a:xfrm>
            <a:custGeom>
              <a:avLst/>
              <a:gdLst>
                <a:gd name="connsiteX0" fmla="*/ 74808 w 74879"/>
                <a:gd name="connsiteY0" fmla="*/ 28656 h 83376"/>
                <a:gd name="connsiteX1" fmla="*/ 57456 w 74879"/>
                <a:gd name="connsiteY1" fmla="*/ 27648 h 83376"/>
                <a:gd name="connsiteX2" fmla="*/ 56880 w 74879"/>
                <a:gd name="connsiteY2" fmla="*/ 21672 h 83376"/>
                <a:gd name="connsiteX3" fmla="*/ 51119 w 74879"/>
                <a:gd name="connsiteY3" fmla="*/ 18648 h 83376"/>
                <a:gd name="connsiteX4" fmla="*/ 46656 w 74879"/>
                <a:gd name="connsiteY4" fmla="*/ 14256 h 83376"/>
                <a:gd name="connsiteX5" fmla="*/ 39816 w 74879"/>
                <a:gd name="connsiteY5" fmla="*/ 15480 h 83376"/>
                <a:gd name="connsiteX6" fmla="*/ 29087 w 74879"/>
                <a:gd name="connsiteY6" fmla="*/ 17712 h 83376"/>
                <a:gd name="connsiteX7" fmla="*/ 20160 w 74879"/>
                <a:gd name="connsiteY7" fmla="*/ 25776 h 83376"/>
                <a:gd name="connsiteX8" fmla="*/ 19152 w 74879"/>
                <a:gd name="connsiteY8" fmla="*/ 40752 h 83376"/>
                <a:gd name="connsiteX9" fmla="*/ 21168 w 74879"/>
                <a:gd name="connsiteY9" fmla="*/ 55584 h 83376"/>
                <a:gd name="connsiteX10" fmla="*/ 28800 w 74879"/>
                <a:gd name="connsiteY10" fmla="*/ 64512 h 83376"/>
                <a:gd name="connsiteX11" fmla="*/ 39744 w 74879"/>
                <a:gd name="connsiteY11" fmla="*/ 69120 h 83376"/>
                <a:gd name="connsiteX12" fmla="*/ 45935 w 74879"/>
                <a:gd name="connsiteY12" fmla="*/ 65664 h 83376"/>
                <a:gd name="connsiteX13" fmla="*/ 52200 w 74879"/>
                <a:gd name="connsiteY13" fmla="*/ 64728 h 83376"/>
                <a:gd name="connsiteX14" fmla="*/ 55440 w 74879"/>
                <a:gd name="connsiteY14" fmla="*/ 59544 h 83376"/>
                <a:gd name="connsiteX15" fmla="*/ 57384 w 74879"/>
                <a:gd name="connsiteY15" fmla="*/ 53496 h 83376"/>
                <a:gd name="connsiteX16" fmla="*/ 74664 w 74879"/>
                <a:gd name="connsiteY16" fmla="*/ 54576 h 83376"/>
                <a:gd name="connsiteX17" fmla="*/ 71352 w 74879"/>
                <a:gd name="connsiteY17" fmla="*/ 64440 h 83376"/>
                <a:gd name="connsiteX18" fmla="*/ 63792 w 74879"/>
                <a:gd name="connsiteY18" fmla="*/ 73152 h 83376"/>
                <a:gd name="connsiteX19" fmla="*/ 53424 w 74879"/>
                <a:gd name="connsiteY19" fmla="*/ 79776 h 83376"/>
                <a:gd name="connsiteX20" fmla="*/ 39528 w 74879"/>
                <a:gd name="connsiteY20" fmla="*/ 83376 h 83376"/>
                <a:gd name="connsiteX21" fmla="*/ 19800 w 74879"/>
                <a:gd name="connsiteY21" fmla="*/ 77976 h 83376"/>
                <a:gd name="connsiteX22" fmla="*/ 5832 w 74879"/>
                <a:gd name="connsiteY22" fmla="*/ 63648 h 83376"/>
                <a:gd name="connsiteX23" fmla="*/ 0 w 74879"/>
                <a:gd name="connsiteY23" fmla="*/ 40680 h 83376"/>
                <a:gd name="connsiteX24" fmla="*/ 6768 w 74879"/>
                <a:gd name="connsiteY24" fmla="*/ 18144 h 83376"/>
                <a:gd name="connsiteX25" fmla="*/ 19800 w 74879"/>
                <a:gd name="connsiteY25" fmla="*/ 3096 h 83376"/>
                <a:gd name="connsiteX26" fmla="*/ 39528 w 74879"/>
                <a:gd name="connsiteY26" fmla="*/ 288 h 83376"/>
                <a:gd name="connsiteX27" fmla="*/ 52919 w 74879"/>
                <a:gd name="connsiteY27" fmla="*/ 0 h 83376"/>
                <a:gd name="connsiteX28" fmla="*/ 63000 w 74879"/>
                <a:gd name="connsiteY28" fmla="*/ 7128 h 83376"/>
                <a:gd name="connsiteX29" fmla="*/ 70271 w 74879"/>
                <a:gd name="connsiteY29" fmla="*/ 16344 h 83376"/>
                <a:gd name="connsiteX30" fmla="*/ 74880 w 74879"/>
                <a:gd name="connsiteY30" fmla="*/ 28656 h 83376"/>
                <a:gd name="connsiteX31" fmla="*/ 74808 w 74879"/>
                <a:gd name="connsiteY31" fmla="*/ 28656 h 8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879" h="83376">
                  <a:moveTo>
                    <a:pt x="74808" y="28656"/>
                  </a:moveTo>
                  <a:lnTo>
                    <a:pt x="57456" y="27648"/>
                  </a:lnTo>
                  <a:lnTo>
                    <a:pt x="56880" y="21672"/>
                  </a:lnTo>
                  <a:lnTo>
                    <a:pt x="51119" y="18648"/>
                  </a:lnTo>
                  <a:lnTo>
                    <a:pt x="46656" y="14256"/>
                  </a:lnTo>
                  <a:lnTo>
                    <a:pt x="39816" y="15480"/>
                  </a:lnTo>
                  <a:lnTo>
                    <a:pt x="29087" y="17712"/>
                  </a:lnTo>
                  <a:lnTo>
                    <a:pt x="20160" y="25776"/>
                  </a:lnTo>
                  <a:lnTo>
                    <a:pt x="19152" y="40752"/>
                  </a:lnTo>
                  <a:lnTo>
                    <a:pt x="21168" y="55584"/>
                  </a:lnTo>
                  <a:lnTo>
                    <a:pt x="28800" y="64512"/>
                  </a:lnTo>
                  <a:lnTo>
                    <a:pt x="39744" y="69120"/>
                  </a:lnTo>
                  <a:lnTo>
                    <a:pt x="45935" y="65664"/>
                  </a:lnTo>
                  <a:lnTo>
                    <a:pt x="52200" y="64728"/>
                  </a:lnTo>
                  <a:lnTo>
                    <a:pt x="55440" y="59544"/>
                  </a:lnTo>
                  <a:lnTo>
                    <a:pt x="57384" y="53496"/>
                  </a:lnTo>
                  <a:lnTo>
                    <a:pt x="74664" y="54576"/>
                  </a:lnTo>
                  <a:lnTo>
                    <a:pt x="71352" y="64440"/>
                  </a:lnTo>
                  <a:lnTo>
                    <a:pt x="63792" y="73152"/>
                  </a:lnTo>
                  <a:lnTo>
                    <a:pt x="53424" y="79776"/>
                  </a:lnTo>
                  <a:lnTo>
                    <a:pt x="39528" y="83376"/>
                  </a:lnTo>
                  <a:lnTo>
                    <a:pt x="19800" y="77976"/>
                  </a:lnTo>
                  <a:lnTo>
                    <a:pt x="5832" y="63648"/>
                  </a:lnTo>
                  <a:lnTo>
                    <a:pt x="0" y="40680"/>
                  </a:lnTo>
                  <a:lnTo>
                    <a:pt x="6768" y="18144"/>
                  </a:lnTo>
                  <a:lnTo>
                    <a:pt x="19800" y="3096"/>
                  </a:lnTo>
                  <a:lnTo>
                    <a:pt x="39528" y="288"/>
                  </a:lnTo>
                  <a:lnTo>
                    <a:pt x="52919" y="0"/>
                  </a:lnTo>
                  <a:lnTo>
                    <a:pt x="63000" y="7128"/>
                  </a:lnTo>
                  <a:lnTo>
                    <a:pt x="70271" y="16344"/>
                  </a:lnTo>
                  <a:lnTo>
                    <a:pt x="74880" y="28656"/>
                  </a:lnTo>
                  <a:lnTo>
                    <a:pt x="74808" y="2865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381F45E-EFBA-9736-093E-C3AF48F8D32B}"/>
                </a:ext>
              </a:extLst>
            </p:cNvPr>
            <p:cNvSpPr/>
            <p:nvPr/>
          </p:nvSpPr>
          <p:spPr>
            <a:xfrm>
              <a:off x="-488665" y="2278908"/>
              <a:ext cx="37155" cy="41180"/>
            </a:xfrm>
            <a:custGeom>
              <a:avLst/>
              <a:gdLst>
                <a:gd name="connsiteX0" fmla="*/ 31537 w 59831"/>
                <a:gd name="connsiteY0" fmla="*/ 66240 h 66311"/>
                <a:gd name="connsiteX1" fmla="*/ 16344 w 59831"/>
                <a:gd name="connsiteY1" fmla="*/ 59184 h 66311"/>
                <a:gd name="connsiteX2" fmla="*/ 3744 w 59831"/>
                <a:gd name="connsiteY2" fmla="*/ 50256 h 66311"/>
                <a:gd name="connsiteX3" fmla="*/ 0 w 59831"/>
                <a:gd name="connsiteY3" fmla="*/ 33048 h 66311"/>
                <a:gd name="connsiteX4" fmla="*/ 4248 w 59831"/>
                <a:gd name="connsiteY4" fmla="*/ 16056 h 66311"/>
                <a:gd name="connsiteX5" fmla="*/ 15264 w 59831"/>
                <a:gd name="connsiteY5" fmla="*/ 4968 h 66311"/>
                <a:gd name="connsiteX6" fmla="*/ 31537 w 59831"/>
                <a:gd name="connsiteY6" fmla="*/ 0 h 66311"/>
                <a:gd name="connsiteX7" fmla="*/ 47232 w 59831"/>
                <a:gd name="connsiteY7" fmla="*/ 5904 h 66311"/>
                <a:gd name="connsiteX8" fmla="*/ 58968 w 59831"/>
                <a:gd name="connsiteY8" fmla="*/ 15984 h 66311"/>
                <a:gd name="connsiteX9" fmla="*/ 59832 w 59831"/>
                <a:gd name="connsiteY9" fmla="*/ 33120 h 66311"/>
                <a:gd name="connsiteX10" fmla="*/ 58896 w 59831"/>
                <a:gd name="connsiteY10" fmla="*/ 50112 h 66311"/>
                <a:gd name="connsiteX11" fmla="*/ 46584 w 59831"/>
                <a:gd name="connsiteY11" fmla="*/ 59112 h 66311"/>
                <a:gd name="connsiteX12" fmla="*/ 31464 w 59831"/>
                <a:gd name="connsiteY12" fmla="*/ 66312 h 66311"/>
                <a:gd name="connsiteX13" fmla="*/ 31537 w 59831"/>
                <a:gd name="connsiteY13" fmla="*/ 66240 h 66311"/>
                <a:gd name="connsiteX14" fmla="*/ 31608 w 59831"/>
                <a:gd name="connsiteY14" fmla="*/ 49752 h 66311"/>
                <a:gd name="connsiteX15" fmla="*/ 39744 w 59831"/>
                <a:gd name="connsiteY15" fmla="*/ 50328 h 66311"/>
                <a:gd name="connsiteX16" fmla="*/ 41473 w 59831"/>
                <a:gd name="connsiteY16" fmla="*/ 41976 h 66311"/>
                <a:gd name="connsiteX17" fmla="*/ 42912 w 59831"/>
                <a:gd name="connsiteY17" fmla="*/ 32976 h 66311"/>
                <a:gd name="connsiteX18" fmla="*/ 41976 w 59831"/>
                <a:gd name="connsiteY18" fmla="*/ 23832 h 66311"/>
                <a:gd name="connsiteX19" fmla="*/ 38305 w 59831"/>
                <a:gd name="connsiteY19" fmla="*/ 17352 h 66311"/>
                <a:gd name="connsiteX20" fmla="*/ 31680 w 59831"/>
                <a:gd name="connsiteY20" fmla="*/ 15984 h 66311"/>
                <a:gd name="connsiteX21" fmla="*/ 24192 w 59831"/>
                <a:gd name="connsiteY21" fmla="*/ 16488 h 66311"/>
                <a:gd name="connsiteX22" fmla="*/ 21312 w 59831"/>
                <a:gd name="connsiteY22" fmla="*/ 23904 h 66311"/>
                <a:gd name="connsiteX23" fmla="*/ 17064 w 59831"/>
                <a:gd name="connsiteY23" fmla="*/ 33048 h 66311"/>
                <a:gd name="connsiteX24" fmla="*/ 21240 w 59831"/>
                <a:gd name="connsiteY24" fmla="*/ 42192 h 66311"/>
                <a:gd name="connsiteX25" fmla="*/ 23400 w 59831"/>
                <a:gd name="connsiteY25" fmla="*/ 50544 h 66311"/>
                <a:gd name="connsiteX26" fmla="*/ 31680 w 59831"/>
                <a:gd name="connsiteY26" fmla="*/ 49896 h 66311"/>
                <a:gd name="connsiteX27" fmla="*/ 31608 w 59831"/>
                <a:gd name="connsiteY27" fmla="*/ 49752 h 6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831" h="66311">
                  <a:moveTo>
                    <a:pt x="31537" y="66240"/>
                  </a:moveTo>
                  <a:lnTo>
                    <a:pt x="16344" y="59184"/>
                  </a:lnTo>
                  <a:lnTo>
                    <a:pt x="3744" y="50256"/>
                  </a:lnTo>
                  <a:lnTo>
                    <a:pt x="0" y="33048"/>
                  </a:lnTo>
                  <a:lnTo>
                    <a:pt x="4248" y="16056"/>
                  </a:lnTo>
                  <a:lnTo>
                    <a:pt x="15264" y="4968"/>
                  </a:lnTo>
                  <a:lnTo>
                    <a:pt x="31537" y="0"/>
                  </a:lnTo>
                  <a:lnTo>
                    <a:pt x="47232" y="5904"/>
                  </a:lnTo>
                  <a:lnTo>
                    <a:pt x="58968" y="15984"/>
                  </a:lnTo>
                  <a:lnTo>
                    <a:pt x="59832" y="33120"/>
                  </a:lnTo>
                  <a:lnTo>
                    <a:pt x="58896" y="50112"/>
                  </a:lnTo>
                  <a:lnTo>
                    <a:pt x="46584" y="59112"/>
                  </a:lnTo>
                  <a:lnTo>
                    <a:pt x="31464" y="66312"/>
                  </a:lnTo>
                  <a:lnTo>
                    <a:pt x="31537" y="66240"/>
                  </a:lnTo>
                  <a:close/>
                  <a:moveTo>
                    <a:pt x="31608" y="49752"/>
                  </a:moveTo>
                  <a:lnTo>
                    <a:pt x="39744" y="50328"/>
                  </a:lnTo>
                  <a:lnTo>
                    <a:pt x="41473" y="41976"/>
                  </a:lnTo>
                  <a:lnTo>
                    <a:pt x="42912" y="32976"/>
                  </a:lnTo>
                  <a:lnTo>
                    <a:pt x="41976" y="23832"/>
                  </a:lnTo>
                  <a:lnTo>
                    <a:pt x="38305" y="17352"/>
                  </a:lnTo>
                  <a:lnTo>
                    <a:pt x="31680" y="15984"/>
                  </a:lnTo>
                  <a:lnTo>
                    <a:pt x="24192" y="16488"/>
                  </a:lnTo>
                  <a:lnTo>
                    <a:pt x="21312" y="23904"/>
                  </a:lnTo>
                  <a:lnTo>
                    <a:pt x="17064" y="33048"/>
                  </a:lnTo>
                  <a:lnTo>
                    <a:pt x="21240" y="42192"/>
                  </a:lnTo>
                  <a:lnTo>
                    <a:pt x="23400" y="50544"/>
                  </a:lnTo>
                  <a:lnTo>
                    <a:pt x="31680" y="49896"/>
                  </a:lnTo>
                  <a:lnTo>
                    <a:pt x="31608" y="49752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E17BC5C-A270-4E49-2113-7C7C1BD14B88}"/>
                </a:ext>
              </a:extLst>
            </p:cNvPr>
            <p:cNvSpPr/>
            <p:nvPr/>
          </p:nvSpPr>
          <p:spPr>
            <a:xfrm>
              <a:off x="-442254" y="2266523"/>
              <a:ext cx="36888" cy="52850"/>
            </a:xfrm>
            <a:custGeom>
              <a:avLst/>
              <a:gdLst>
                <a:gd name="connsiteX0" fmla="*/ 1224 w 59400"/>
                <a:gd name="connsiteY0" fmla="*/ 82296 h 85104"/>
                <a:gd name="connsiteX1" fmla="*/ 648 w 59400"/>
                <a:gd name="connsiteY1" fmla="*/ 70848 h 85104"/>
                <a:gd name="connsiteX2" fmla="*/ 15624 w 59400"/>
                <a:gd name="connsiteY2" fmla="*/ 57888 h 85104"/>
                <a:gd name="connsiteX3" fmla="*/ 29808 w 59400"/>
                <a:gd name="connsiteY3" fmla="*/ 44136 h 85104"/>
                <a:gd name="connsiteX4" fmla="*/ 36720 w 59400"/>
                <a:gd name="connsiteY4" fmla="*/ 38304 h 85104"/>
                <a:gd name="connsiteX5" fmla="*/ 39168 w 59400"/>
                <a:gd name="connsiteY5" fmla="*/ 31752 h 85104"/>
                <a:gd name="connsiteX6" fmla="*/ 42768 w 59400"/>
                <a:gd name="connsiteY6" fmla="*/ 26064 h 85104"/>
                <a:gd name="connsiteX7" fmla="*/ 39744 w 59400"/>
                <a:gd name="connsiteY7" fmla="*/ 19728 h 85104"/>
                <a:gd name="connsiteX8" fmla="*/ 34920 w 59400"/>
                <a:gd name="connsiteY8" fmla="*/ 16200 h 85104"/>
                <a:gd name="connsiteX9" fmla="*/ 28656 w 59400"/>
                <a:gd name="connsiteY9" fmla="*/ 13392 h 85104"/>
                <a:gd name="connsiteX10" fmla="*/ 21672 w 59400"/>
                <a:gd name="connsiteY10" fmla="*/ 15192 h 85104"/>
                <a:gd name="connsiteX11" fmla="*/ 16920 w 59400"/>
                <a:gd name="connsiteY11" fmla="*/ 19944 h 85104"/>
                <a:gd name="connsiteX12" fmla="*/ 16200 w 59400"/>
                <a:gd name="connsiteY12" fmla="*/ 26352 h 85104"/>
                <a:gd name="connsiteX13" fmla="*/ 0 w 59400"/>
                <a:gd name="connsiteY13" fmla="*/ 27144 h 85104"/>
                <a:gd name="connsiteX14" fmla="*/ 4680 w 59400"/>
                <a:gd name="connsiteY14" fmla="*/ 13896 h 85104"/>
                <a:gd name="connsiteX15" fmla="*/ 13824 w 59400"/>
                <a:gd name="connsiteY15" fmla="*/ 4320 h 85104"/>
                <a:gd name="connsiteX16" fmla="*/ 28728 w 59400"/>
                <a:gd name="connsiteY16" fmla="*/ 0 h 85104"/>
                <a:gd name="connsiteX17" fmla="*/ 43632 w 59400"/>
                <a:gd name="connsiteY17" fmla="*/ 4680 h 85104"/>
                <a:gd name="connsiteX18" fmla="*/ 54792 w 59400"/>
                <a:gd name="connsiteY18" fmla="*/ 12024 h 85104"/>
                <a:gd name="connsiteX19" fmla="*/ 58032 w 59400"/>
                <a:gd name="connsiteY19" fmla="*/ 24984 h 85104"/>
                <a:gd name="connsiteX20" fmla="*/ 57240 w 59400"/>
                <a:gd name="connsiteY20" fmla="*/ 34632 h 85104"/>
                <a:gd name="connsiteX21" fmla="*/ 49536 w 59400"/>
                <a:gd name="connsiteY21" fmla="*/ 44136 h 85104"/>
                <a:gd name="connsiteX22" fmla="*/ 37296 w 59400"/>
                <a:gd name="connsiteY22" fmla="*/ 58032 h 85104"/>
                <a:gd name="connsiteX23" fmla="*/ 25488 w 59400"/>
                <a:gd name="connsiteY23" fmla="*/ 69696 h 85104"/>
                <a:gd name="connsiteX24" fmla="*/ 24624 w 59400"/>
                <a:gd name="connsiteY24" fmla="*/ 68832 h 85104"/>
                <a:gd name="connsiteX25" fmla="*/ 59400 w 59400"/>
                <a:gd name="connsiteY25" fmla="*/ 68040 h 85104"/>
                <a:gd name="connsiteX26" fmla="*/ 58176 w 59400"/>
                <a:gd name="connsiteY26" fmla="*/ 82152 h 85104"/>
                <a:gd name="connsiteX27" fmla="*/ 29736 w 59400"/>
                <a:gd name="connsiteY27" fmla="*/ 85104 h 85104"/>
                <a:gd name="connsiteX28" fmla="*/ 1152 w 59400"/>
                <a:gd name="connsiteY28" fmla="*/ 82440 h 85104"/>
                <a:gd name="connsiteX29" fmla="*/ 1224 w 59400"/>
                <a:gd name="connsiteY29" fmla="*/ 82296 h 85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400" h="85104">
                  <a:moveTo>
                    <a:pt x="1224" y="82296"/>
                  </a:moveTo>
                  <a:lnTo>
                    <a:pt x="648" y="70848"/>
                  </a:lnTo>
                  <a:lnTo>
                    <a:pt x="15624" y="57888"/>
                  </a:lnTo>
                  <a:lnTo>
                    <a:pt x="29808" y="44136"/>
                  </a:lnTo>
                  <a:lnTo>
                    <a:pt x="36720" y="38304"/>
                  </a:lnTo>
                  <a:lnTo>
                    <a:pt x="39168" y="31752"/>
                  </a:lnTo>
                  <a:lnTo>
                    <a:pt x="42768" y="26064"/>
                  </a:lnTo>
                  <a:lnTo>
                    <a:pt x="39744" y="19728"/>
                  </a:lnTo>
                  <a:lnTo>
                    <a:pt x="34920" y="16200"/>
                  </a:lnTo>
                  <a:lnTo>
                    <a:pt x="28656" y="13392"/>
                  </a:lnTo>
                  <a:lnTo>
                    <a:pt x="21672" y="15192"/>
                  </a:lnTo>
                  <a:lnTo>
                    <a:pt x="16920" y="19944"/>
                  </a:lnTo>
                  <a:lnTo>
                    <a:pt x="16200" y="26352"/>
                  </a:lnTo>
                  <a:lnTo>
                    <a:pt x="0" y="27144"/>
                  </a:lnTo>
                  <a:lnTo>
                    <a:pt x="4680" y="13896"/>
                  </a:lnTo>
                  <a:lnTo>
                    <a:pt x="13824" y="4320"/>
                  </a:lnTo>
                  <a:lnTo>
                    <a:pt x="28728" y="0"/>
                  </a:lnTo>
                  <a:lnTo>
                    <a:pt x="43632" y="4680"/>
                  </a:lnTo>
                  <a:lnTo>
                    <a:pt x="54792" y="12024"/>
                  </a:lnTo>
                  <a:lnTo>
                    <a:pt x="58032" y="24984"/>
                  </a:lnTo>
                  <a:lnTo>
                    <a:pt x="57240" y="34632"/>
                  </a:lnTo>
                  <a:lnTo>
                    <a:pt x="49536" y="44136"/>
                  </a:lnTo>
                  <a:lnTo>
                    <a:pt x="37296" y="58032"/>
                  </a:lnTo>
                  <a:lnTo>
                    <a:pt x="25488" y="69696"/>
                  </a:lnTo>
                  <a:lnTo>
                    <a:pt x="24624" y="68832"/>
                  </a:lnTo>
                  <a:lnTo>
                    <a:pt x="59400" y="68040"/>
                  </a:lnTo>
                  <a:lnTo>
                    <a:pt x="58176" y="82152"/>
                  </a:lnTo>
                  <a:lnTo>
                    <a:pt x="29736" y="85104"/>
                  </a:lnTo>
                  <a:lnTo>
                    <a:pt x="1152" y="82440"/>
                  </a:lnTo>
                  <a:lnTo>
                    <a:pt x="1224" y="8229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110" name="Graphic 109">
            <a:extLst>
              <a:ext uri="{FF2B5EF4-FFF2-40B4-BE49-F238E27FC236}">
                <a16:creationId xmlns:a16="http://schemas.microsoft.com/office/drawing/2014/main" id="{847CC8DF-97E5-C976-2A87-3A3EAE428D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174984" y="4490678"/>
            <a:ext cx="306455" cy="306455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98A1944D-2F05-2BEA-96A5-A7A70D1D81A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90172" y="5219121"/>
            <a:ext cx="276078" cy="276078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ACF7ABC4-2FC9-F671-A3D1-B3728C2417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415591" y="4142820"/>
            <a:ext cx="329189" cy="329189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D442E74B-D93C-3A3F-3BCC-305FB229350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420115" y="2895188"/>
            <a:ext cx="320141" cy="320141"/>
          </a:xfrm>
          <a:prstGeom prst="rect">
            <a:avLst/>
          </a:prstGeom>
        </p:spPr>
      </p:pic>
      <p:pic>
        <p:nvPicPr>
          <p:cNvPr id="120" name="Graphic 17">
            <a:extLst>
              <a:ext uri="{FF2B5EF4-FFF2-40B4-BE49-F238E27FC236}">
                <a16:creationId xmlns:a16="http://schemas.microsoft.com/office/drawing/2014/main" id="{B22B20C9-69EC-6813-84C4-D2DD6582E6F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447260" y="5882580"/>
            <a:ext cx="349732" cy="349732"/>
          </a:xfrm>
          <a:prstGeom prst="rect">
            <a:avLst/>
          </a:prstGeom>
        </p:spPr>
      </p:pic>
      <p:pic>
        <p:nvPicPr>
          <p:cNvPr id="121" name="Graphic 21">
            <a:extLst>
              <a:ext uri="{FF2B5EF4-FFF2-40B4-BE49-F238E27FC236}">
                <a16:creationId xmlns:a16="http://schemas.microsoft.com/office/drawing/2014/main" id="{8BFE53B9-5562-DFA4-D57C-4ADC596B663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385876" y="5365261"/>
            <a:ext cx="388619" cy="388619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BD42A744-F177-D4FC-DF58-18BF84E55A1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771840" y="4209171"/>
            <a:ext cx="292945" cy="292945"/>
          </a:xfrm>
          <a:prstGeom prst="rect">
            <a:avLst/>
          </a:prstGeom>
        </p:spPr>
      </p:pic>
      <p:pic>
        <p:nvPicPr>
          <p:cNvPr id="123" name="Graphic 58">
            <a:extLst>
              <a:ext uri="{FF2B5EF4-FFF2-40B4-BE49-F238E27FC236}">
                <a16:creationId xmlns:a16="http://schemas.microsoft.com/office/drawing/2014/main" id="{00FC7B62-2247-6B5D-DFD0-0A4244A38C1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762745" y="5934386"/>
            <a:ext cx="378983" cy="378983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C3842DB7-6929-877E-116E-A4D4FC5593D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774948" y="3837552"/>
            <a:ext cx="283940" cy="2839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3C7F18C-3759-1725-D7C7-66C53FCF509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119302" y="5887028"/>
            <a:ext cx="379025" cy="37902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0426CC3-2D1C-2869-7EBE-F095A9D56EE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377642" y="3332410"/>
            <a:ext cx="413966" cy="41396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274F985-7864-5E1E-416D-FF36A135DB0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61576" y="4547522"/>
            <a:ext cx="465572" cy="46557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B3667CA-FDC7-5389-8CD1-7EA3F6E7CDF7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6732450" y="4543148"/>
            <a:ext cx="368937" cy="36893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AB7153F-0193-4DE1-F400-C795F21300D1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6770734" y="5581246"/>
            <a:ext cx="353139" cy="35313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CEF3A19-D115-EA26-D930-9B16E286D5E7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749226" y="3186833"/>
            <a:ext cx="338172" cy="33817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9EC63E1-AA54-4ED9-15E1-56BB78B4F76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759276" y="4907474"/>
            <a:ext cx="393176" cy="393176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FE9268EE-EB56-4455-CAD8-67AEFB22F3AD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6749226" y="2806670"/>
            <a:ext cx="336658" cy="3366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3695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D12937-28AD-AFBD-E810-B42F0C49F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6B0C1762-507B-4FBE-04B2-FB7954DD5EE8}"/>
              </a:ext>
            </a:extLst>
          </p:cNvPr>
          <p:cNvSpPr/>
          <p:nvPr/>
        </p:nvSpPr>
        <p:spPr>
          <a:xfrm>
            <a:off x="360000" y="1594268"/>
            <a:ext cx="3754884" cy="45478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Branchestandarden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6B60B4A-F78D-43EA-0F37-9AF99460B2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9639" y="4645291"/>
            <a:ext cx="839376" cy="122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A4DB70-119B-F798-F181-E87F39DA0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A4DB70-119B-F798-F181-E87F39DA0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0" name="Rectangle 6">
            <a:extLst>
              <a:ext uri="{FF2B5EF4-FFF2-40B4-BE49-F238E27FC236}">
                <a16:creationId xmlns:a16="http://schemas.microsoft.com/office/drawing/2014/main" id="{1B9CE617-4EBC-127E-C4C5-B54E9AA0A740}"/>
              </a:ext>
            </a:extLst>
          </p:cNvPr>
          <p:cNvSpPr/>
          <p:nvPr/>
        </p:nvSpPr>
        <p:spPr>
          <a:xfrm>
            <a:off x="8191521" y="1589313"/>
            <a:ext cx="3754884" cy="45478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Første prioriterede værktøj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E9FA51-4509-667D-C108-59061D26AF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8643" y="4613055"/>
            <a:ext cx="862457" cy="12244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059" name="Rectangle 6">
            <a:extLst>
              <a:ext uri="{FF2B5EF4-FFF2-40B4-BE49-F238E27FC236}">
                <a16:creationId xmlns:a16="http://schemas.microsoft.com/office/drawing/2014/main" id="{A3994B12-3075-D32C-BD67-0F4F47E4B54B}"/>
              </a:ext>
            </a:extLst>
          </p:cNvPr>
          <p:cNvSpPr/>
          <p:nvPr/>
        </p:nvSpPr>
        <p:spPr>
          <a:xfrm>
            <a:off x="4277699" y="1589313"/>
            <a:ext cx="3754884" cy="45478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Dataunderstøttels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0A296B9-7F59-9FDD-E164-5474A04C769A}"/>
              </a:ext>
            </a:extLst>
          </p:cNvPr>
          <p:cNvSpPr txBox="1"/>
          <p:nvPr/>
        </p:nvSpPr>
        <p:spPr>
          <a:xfrm>
            <a:off x="495531" y="5875689"/>
            <a:ext cx="14159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G-standard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7EF441C8-9433-434A-03B9-F366502E1B81}"/>
              </a:ext>
            </a:extLst>
          </p:cNvPr>
          <p:cNvSpPr txBox="1"/>
          <p:nvPr/>
        </p:nvSpPr>
        <p:spPr>
          <a:xfrm>
            <a:off x="4515509" y="5870786"/>
            <a:ext cx="176569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da-DK" sz="1100" b="1">
                <a:solidFill>
                  <a:srgbClr val="000000"/>
                </a:solidFill>
                <a:latin typeface="Verdana"/>
                <a:ea typeface="Verdana"/>
                <a:cs typeface="Verdana" panose="020B0604030504040204" pitchFamily="34" charset="0"/>
              </a:rPr>
              <a:t>(evt) Beboermåling</a:t>
            </a:r>
            <a:endParaRPr kumimoji="0" lang="da-DK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 panose="020B0604030504040204" pitchFamily="34" charset="0"/>
            </a:endParaRPr>
          </a:p>
        </p:txBody>
      </p:sp>
      <p:sp>
        <p:nvSpPr>
          <p:cNvPr id="2051" name="Tekstfelt 2050">
            <a:extLst>
              <a:ext uri="{FF2B5EF4-FFF2-40B4-BE49-F238E27FC236}">
                <a16:creationId xmlns:a16="http://schemas.microsoft.com/office/drawing/2014/main" id="{2B9232F7-F2F6-6A85-B05B-350F35E25EE2}"/>
              </a:ext>
            </a:extLst>
          </p:cNvPr>
          <p:cNvSpPr txBox="1"/>
          <p:nvPr/>
        </p:nvSpPr>
        <p:spPr>
          <a:xfrm>
            <a:off x="8708971" y="5869857"/>
            <a:ext cx="11821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G rapport</a:t>
            </a:r>
          </a:p>
        </p:txBody>
      </p:sp>
      <p:sp>
        <p:nvSpPr>
          <p:cNvPr id="2053" name="Tekstfelt 2052">
            <a:extLst>
              <a:ext uri="{FF2B5EF4-FFF2-40B4-BE49-F238E27FC236}">
                <a16:creationId xmlns:a16="http://schemas.microsoft.com/office/drawing/2014/main" id="{9B927774-F871-B34F-3A60-B847CD76C24F}"/>
              </a:ext>
            </a:extLst>
          </p:cNvPr>
          <p:cNvSpPr txBox="1"/>
          <p:nvPr/>
        </p:nvSpPr>
        <p:spPr>
          <a:xfrm>
            <a:off x="6278871" y="5875539"/>
            <a:ext cx="17371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tastningsmodul</a:t>
            </a:r>
          </a:p>
        </p:txBody>
      </p:sp>
      <p:sp>
        <p:nvSpPr>
          <p:cNvPr id="2057" name="Tekstfelt 2056">
            <a:extLst>
              <a:ext uri="{FF2B5EF4-FFF2-40B4-BE49-F238E27FC236}">
                <a16:creationId xmlns:a16="http://schemas.microsoft.com/office/drawing/2014/main" id="{0F5CB3C3-3C4B-0BE3-2201-BB93EF251725}"/>
              </a:ext>
            </a:extLst>
          </p:cNvPr>
          <p:cNvSpPr txBox="1"/>
          <p:nvPr/>
        </p:nvSpPr>
        <p:spPr>
          <a:xfrm>
            <a:off x="10243823" y="5875539"/>
            <a:ext cx="14888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uger guide</a:t>
            </a:r>
          </a:p>
        </p:txBody>
      </p:sp>
      <p:sp>
        <p:nvSpPr>
          <p:cNvPr id="2061" name="Tekstfelt 2060">
            <a:extLst>
              <a:ext uri="{FF2B5EF4-FFF2-40B4-BE49-F238E27FC236}">
                <a16:creationId xmlns:a16="http://schemas.microsoft.com/office/drawing/2014/main" id="{47ED144D-99DC-2C0D-4133-A732D5619418}"/>
              </a:ext>
            </a:extLst>
          </p:cNvPr>
          <p:cNvSpPr txBox="1"/>
          <p:nvPr/>
        </p:nvSpPr>
        <p:spPr>
          <a:xfrm>
            <a:off x="8779615" y="4083406"/>
            <a:ext cx="2656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shboard i datavarehuset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39ED6F1-B432-161E-6A60-509AC11E4269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/>
              <a:t>Hvad leverer AlmenKompas projektet i 2025</a:t>
            </a:r>
            <a:r>
              <a:rPr kumimoji="0" lang="da-DK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 ExtraBold"/>
                <a:ea typeface="+mj-ea"/>
                <a:cs typeface="+mj-cs"/>
              </a:rPr>
              <a:t> </a:t>
            </a:r>
          </a:p>
        </p:txBody>
      </p:sp>
      <p:sp>
        <p:nvSpPr>
          <p:cNvPr id="12" name="Pladsholder til tekst 5">
            <a:extLst>
              <a:ext uri="{FF2B5EF4-FFF2-40B4-BE49-F238E27FC236}">
                <a16:creationId xmlns:a16="http://schemas.microsoft.com/office/drawing/2014/main" id="{D4E2FEC8-A39E-D76D-23D6-67B6FA07E173}"/>
              </a:ext>
            </a:extLst>
          </p:cNvPr>
          <p:cNvSpPr txBox="1">
            <a:spLocks/>
          </p:cNvSpPr>
          <p:nvPr/>
        </p:nvSpPr>
        <p:spPr>
          <a:xfrm>
            <a:off x="360000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Fokus på fundamentet: Målepunkter, datagrundlag og de første værktøjer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C9492748-614F-0198-039A-FBE554CBF8A8}"/>
              </a:ext>
            </a:extLst>
          </p:cNvPr>
          <p:cNvSpPr txBox="1"/>
          <p:nvPr/>
        </p:nvSpPr>
        <p:spPr>
          <a:xfrm>
            <a:off x="443517" y="4078305"/>
            <a:ext cx="265348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Standardiserede målepunkter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9836C35C-3BBC-1116-A149-D0BBF775C56E}"/>
              </a:ext>
            </a:extLst>
          </p:cNvPr>
          <p:cNvSpPr txBox="1"/>
          <p:nvPr/>
        </p:nvSpPr>
        <p:spPr>
          <a:xfrm>
            <a:off x="2264198" y="5869857"/>
            <a:ext cx="15255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beskrivelser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F22E54B-FB42-F9EF-3D0C-0D5D16AF568F}"/>
              </a:ext>
            </a:extLst>
          </p:cNvPr>
          <p:cNvSpPr txBox="1"/>
          <p:nvPr/>
        </p:nvSpPr>
        <p:spPr>
          <a:xfrm>
            <a:off x="4461541" y="4060355"/>
            <a:ext cx="35249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b="1">
                <a:latin typeface="Verdana" panose="020B0604030504040204" pitchFamily="34" charset="0"/>
                <a:ea typeface="Verdana" panose="020B0604030504040204" pitchFamily="34" charset="0"/>
              </a:rPr>
              <a:t>Dataunderstøttelse i Det Almene Datavarehus (i Landsbyggefonden)</a:t>
            </a:r>
          </a:p>
        </p:txBody>
      </p:sp>
      <p:pic>
        <p:nvPicPr>
          <p:cNvPr id="20" name="Billede 19">
            <a:extLst>
              <a:ext uri="{FF2B5EF4-FFF2-40B4-BE49-F238E27FC236}">
                <a16:creationId xmlns:a16="http://schemas.microsoft.com/office/drawing/2014/main" id="{2F61D944-9264-D202-8F58-1F2292FA74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23154" y="4901770"/>
            <a:ext cx="1311481" cy="86497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DD5852C0-72D9-8ADA-DF1E-0F1815E9F1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4832" y="2212621"/>
            <a:ext cx="2796555" cy="1817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F353781A-2BB3-82A6-459D-0DE1BF9E7F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08971" y="2212622"/>
            <a:ext cx="2597485" cy="176297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430026BA-2840-AB36-02C0-5DEDC2D4CE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6443" y="4636711"/>
            <a:ext cx="821685" cy="11873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F9807004-76AC-CF1F-C12F-0C9B4C97371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0354" y="4574750"/>
            <a:ext cx="821685" cy="119199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46A8A2EB-E0B5-EF50-93D8-8CDC8E9F197B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46583"/>
          <a:stretch/>
        </p:blipFill>
        <p:spPr>
          <a:xfrm>
            <a:off x="10309319" y="4851219"/>
            <a:ext cx="1357868" cy="9155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50" name="Billede 2049">
            <a:extLst>
              <a:ext uri="{FF2B5EF4-FFF2-40B4-BE49-F238E27FC236}">
                <a16:creationId xmlns:a16="http://schemas.microsoft.com/office/drawing/2014/main" id="{7AF34FD1-370B-0DC2-F31B-93BF933A52B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56626" y="5013755"/>
            <a:ext cx="1174628" cy="82373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48" name="Billede 2047">
            <a:extLst>
              <a:ext uri="{FF2B5EF4-FFF2-40B4-BE49-F238E27FC236}">
                <a16:creationId xmlns:a16="http://schemas.microsoft.com/office/drawing/2014/main" id="{94E0BC9E-F6F0-689C-D9A7-EAD93D82FC8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619360" y="4847023"/>
            <a:ext cx="1124867" cy="82373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CAF6E52-5E61-EDA8-87AE-75587D12BDF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84310" y="4482055"/>
            <a:ext cx="903908" cy="128328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067C9AC0-9AB7-0BF9-CFD4-B6E13FF3170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314571" y="4600475"/>
            <a:ext cx="839376" cy="118736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45DEABD-5CF1-3F5C-B265-2A82FF92CD8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37924" y="2215815"/>
            <a:ext cx="3155784" cy="18147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22389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3-25 00:32:49"/>
  <p:tag name="KM-CONTENT-SLIDE" val="2025-03-25 00:32:5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_REF" val="ZS8xVWxDZDZDclJ3Z2p0aHYrNnpkSUtoT21IeFVwLzVneWJzelVuZmFsenB0M0w5NW44bFgzUnhJZmMvSzZCNw%3D%3D"/>
  <p:tag name="SLIDEHUBID" val="9237977586735398944498f6f7b4ac3590f433dd9fccc7e2feda2d234968282069484951"/>
  <p:tag name="SLIDEHUBID_NEW" val="updated"/>
  <p:tag name="SLIDEHUBUPDATETIME" val="2024-11-28 13:06:43.917"/>
  <p:tag name="KM-QUALITY-SLIDE" val="2025-01-11 18:36:18"/>
  <p:tag name="KM-CONTENT-SLIDE" val="2025-01-11 18:36:4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_REF" val="ZS8xVWxDZDZDclJ3Z2p0aHYrNnpkSUtoT21IeFVwLzVneWJzelVuZmFselZ5LytHZnpOd2l6a2pHeDlnRzhsag%3D%3D"/>
  <p:tag name="SLIDEHUBID" val="995893829389904506555554240525c61ed7015b59fa581da6f448a36889d61397411351"/>
  <p:tag name="SLIDEHUBID_NEW" val="updated"/>
  <p:tag name="SLIDEHUBUPDATETIME" val="2024-11-28 10:46:10.30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_REF" val="ZS8xVWxDZDZDclJ3Z2p0aHYrNnpkSUtoT21IeFVwLzVneWJzelVuZmFselZ5LytHZnpOd2l6a2pHeDlnRzhsag%3D%3D"/>
  <p:tag name="SLIDEHUBID" val="995893829389904506555554240525c61ed7015b59fa581da6f448a36889d61397411351"/>
  <p:tag name="SLIDEHUBID_NEW" val="updated"/>
  <p:tag name="SLIDEHUBUPDATETIME" val="2024-11-28 10:46:10.30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_REF" val="ZS8xVWxDZDZDclJ3Z2p0aHYrNnpkSUtoT21IeFVwLzVneWJzelVuZmFselZ5LytHZnpOd2l6a2pHeDlnRzhsag%3D%3D"/>
  <p:tag name="SLIDEHUBID" val="995893829389904506555554240525c61ed7015b59fa581da6f448a36889d61397411351"/>
  <p:tag name="SLIDEHUBID_NEW" val="updated"/>
  <p:tag name="SLIDEHUBUPDATETIME" val="2024-11-28 10:46:10.30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163E16A-AEDE-4B0F-8687-AFED5BD2FBB2}">
  <we:reference id="wa200001625" version="1.0.0.8" store="en-US" storeType="OMEX"/>
  <we:alternateReferences>
    <we:reference id="wa200001625" version="1.0.0.8" store="" storeType="OMEX"/>
  </we:alternateReferences>
  <we:properties>
    <we:property name="Office.AutoShowTaskpaneWithDocument" value="fals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1c72820fba1ce7a2e2f9ea744adafcfc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28961509a9cd983eea0530e2492a6d90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FAFCBA-9EEA-45C2-B980-8D00CF0469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3E0EDA0-C3BD-4D1D-A8D6-C7FCC5ABF1A0}">
  <ds:schemaRefs>
    <ds:schemaRef ds:uri="07b48e10-c04f-417b-9474-e48ce6fea886"/>
    <ds:schemaRef ds:uri="58e21f3c-b20b-41e4-9fa9-33c4bbbe68a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E205655-DDA9-4B4A-8430-46C1B3E19AE3}">
  <ds:schemaRefs>
    <ds:schemaRef ds:uri="07b48e10-c04f-417b-9474-e48ce6fea886"/>
    <ds:schemaRef ds:uri="58e21f3c-b20b-41e4-9fa9-33c4bbbe68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8e93ebf9-81bd-44ac-bf29-c9a20c23d45b}" enabled="1" method="Standard" siteId="{9395c127-4642-416e-8d2d-69e01e31c0d5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7</Slides>
  <Notes>20</Notes>
  <HiddenSlides>15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AlmenKompas</vt:lpstr>
      <vt:lpstr>2_AlmenKompas</vt:lpstr>
      <vt:lpstr>PowerPoint Presentation</vt:lpstr>
      <vt:lpstr>Missionen for AlmenKompas</vt:lpstr>
      <vt:lpstr>En branche med stort ansvar</vt:lpstr>
      <vt:lpstr>Hvorfor en branchestandard for bæredygtighed?</vt:lpstr>
      <vt:lpstr>Hvordan: ESG-landskabet i den almene sektor</vt:lpstr>
      <vt:lpstr>Sådan arbejder AlmenKompas</vt:lpstr>
      <vt:lpstr>Vejen til ESG-standarden</vt:lpstr>
      <vt:lpstr>ESG standardens målepunkter (under udvikling!)</vt:lpstr>
      <vt:lpstr>PowerPoint Presentation</vt:lpstr>
      <vt:lpstr>Bred involvering og imponerende opbakning</vt:lpstr>
      <vt:lpstr>Sådan er AlmenKompas organiseret </vt:lpstr>
      <vt:lpstr>Vil du vide mere om AlmenKompas? </vt:lpstr>
      <vt:lpstr>PowerPoint Presentation</vt:lpstr>
      <vt:lpstr>PowerPoint Presentation</vt:lpstr>
      <vt:lpstr>Titel, DM Sans ExtraBold, 36 pkt</vt:lpstr>
      <vt:lpstr>Titel, DM Sans ExtraBold, 36 pkt</vt:lpstr>
      <vt:lpstr>Titel, DM Sans ExtraBold, 36 pkt</vt:lpstr>
      <vt:lpstr>Titel, DM Sans ExtraBold, 36 pkt</vt:lpstr>
      <vt:lpstr>Titel, DM Sans ExtraBold, 36 pkt</vt:lpstr>
      <vt:lpstr>PowerPoint Presentation</vt:lpstr>
      <vt:lpstr>Nyt slide med stor, nedtonet illustration</vt:lpstr>
      <vt:lpstr>Illustrationer til brug på nye slides</vt:lpstr>
      <vt:lpstr>Illustrationer til brug på nye slides</vt:lpstr>
      <vt:lpstr>Illustrationer til brug på nye slides</vt:lpstr>
      <vt:lpstr>Illustrationer til brug på nye slides</vt:lpstr>
      <vt:lpstr>Ikoner til målepunkter  – med tekst</vt:lpstr>
      <vt:lpstr>Ikoner til målepunkter – med eller uden baggru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/a</dc:creator>
  <cp:revision>1</cp:revision>
  <dcterms:created xsi:type="dcterms:W3CDTF">2024-10-14T12:25:09Z</dcterms:created>
  <dcterms:modified xsi:type="dcterms:W3CDTF">2025-04-29T11:5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93ebf9-81bd-44ac-bf29-c9a20c23d45b_Enabled">
    <vt:lpwstr>true</vt:lpwstr>
  </property>
  <property fmtid="{D5CDD505-2E9C-101B-9397-08002B2CF9AE}" pid="3" name="MSIP_Label_8e93ebf9-81bd-44ac-bf29-c9a20c23d45b_SetDate">
    <vt:lpwstr>2024-10-16T10:14:04Z</vt:lpwstr>
  </property>
  <property fmtid="{D5CDD505-2E9C-101B-9397-08002B2CF9AE}" pid="4" name="MSIP_Label_8e93ebf9-81bd-44ac-bf29-c9a20c23d45b_Method">
    <vt:lpwstr>Standard</vt:lpwstr>
  </property>
  <property fmtid="{D5CDD505-2E9C-101B-9397-08002B2CF9AE}" pid="5" name="MSIP_Label_8e93ebf9-81bd-44ac-bf29-c9a20c23d45b_Name">
    <vt:lpwstr>Restricted</vt:lpwstr>
  </property>
  <property fmtid="{D5CDD505-2E9C-101B-9397-08002B2CF9AE}" pid="6" name="MSIP_Label_8e93ebf9-81bd-44ac-bf29-c9a20c23d45b_SiteId">
    <vt:lpwstr>9395c127-4642-416e-8d2d-69e01e31c0d5</vt:lpwstr>
  </property>
  <property fmtid="{D5CDD505-2E9C-101B-9397-08002B2CF9AE}" pid="7" name="MSIP_Label_8e93ebf9-81bd-44ac-bf29-c9a20c23d45b_ActionId">
    <vt:lpwstr>c10becb7-3917-426f-ba5f-2eef8e594860</vt:lpwstr>
  </property>
  <property fmtid="{D5CDD505-2E9C-101B-9397-08002B2CF9AE}" pid="8" name="MSIP_Label_8e93ebf9-81bd-44ac-bf29-c9a20c23d45b_ContentBits">
    <vt:lpwstr>3</vt:lpwstr>
  </property>
  <property fmtid="{D5CDD505-2E9C-101B-9397-08002B2CF9AE}" pid="9" name="ClassificationContentMarkingHeaderLocations">
    <vt:lpwstr>Office Theme:9</vt:lpwstr>
  </property>
  <property fmtid="{D5CDD505-2E9C-101B-9397-08002B2CF9AE}" pid="10" name="ClassificationContentMarkingHeaderText">
    <vt:lpwstr>This information is RESTRICTED to authorized recipients</vt:lpwstr>
  </property>
  <property fmtid="{D5CDD505-2E9C-101B-9397-08002B2CF9AE}" pid="11" name="ContentTypeId">
    <vt:lpwstr>0x010100CB7D845375A7054B9D1190F5089F308E</vt:lpwstr>
  </property>
  <property fmtid="{D5CDD505-2E9C-101B-9397-08002B2CF9AE}" pid="12" name="MediaServiceImageTags">
    <vt:lpwstr/>
  </property>
  <property fmtid="{D5CDD505-2E9C-101B-9397-08002B2CF9AE}" pid="13" name="MSIP_Label_20ea7001-5c24-4702-a3ac-e436ccb02747_Enabled">
    <vt:lpwstr>true</vt:lpwstr>
  </property>
  <property fmtid="{D5CDD505-2E9C-101B-9397-08002B2CF9AE}" pid="14" name="MSIP_Label_20ea7001-5c24-4702-a3ac-e436ccb02747_Name">
    <vt:lpwstr>Confidential</vt:lpwstr>
  </property>
  <property fmtid="{D5CDD505-2E9C-101B-9397-08002B2CF9AE}" pid="15" name="MSIP_Label_20ea7001-5c24-4702-a3ac-e436ccb02747_ContentBits">
    <vt:lpwstr>2</vt:lpwstr>
  </property>
  <property fmtid="{D5CDD505-2E9C-101B-9397-08002B2CF9AE}" pid="16" name="MSIP_Label_20ea7001-5c24-4702-a3ac-e436ccb02747_ActionId">
    <vt:lpwstr>28553abd-d428-486e-84d6-e436cbff8524</vt:lpwstr>
  </property>
  <property fmtid="{D5CDD505-2E9C-101B-9397-08002B2CF9AE}" pid="17" name="MSIP_Label_20ea7001-5c24-4702-a3ac-e436ccb02747_SetDate">
    <vt:lpwstr>2024-11-27T09:54:50Z</vt:lpwstr>
  </property>
  <property fmtid="{D5CDD505-2E9C-101B-9397-08002B2CF9AE}" pid="18" name="MSIP_Label_20ea7001-5c24-4702-a3ac-e436ccb02747_SiteId">
    <vt:lpwstr>c8823c91-be81-4f89-b024-6c3dd789c106</vt:lpwstr>
  </property>
  <property fmtid="{D5CDD505-2E9C-101B-9397-08002B2CF9AE}" pid="19" name="MSIP_Label_20ea7001-5c24-4702-a3ac-e436ccb02747_Method">
    <vt:lpwstr>Standard</vt:lpwstr>
  </property>
</Properties>
</file>